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85" r:id="rId5"/>
    <p:sldMasterId id="2147483705" r:id="rId6"/>
    <p:sldMasterId id="2147483717" r:id="rId7"/>
    <p:sldMasterId id="2147483765" r:id="rId8"/>
  </p:sldMasterIdLst>
  <p:notesMasterIdLst>
    <p:notesMasterId r:id="rId23"/>
  </p:notesMasterIdLst>
  <p:sldIdLst>
    <p:sldId id="300" r:id="rId9"/>
    <p:sldId id="313" r:id="rId10"/>
    <p:sldId id="285" r:id="rId11"/>
    <p:sldId id="344" r:id="rId12"/>
    <p:sldId id="352" r:id="rId13"/>
    <p:sldId id="353" r:id="rId14"/>
    <p:sldId id="2371" r:id="rId15"/>
    <p:sldId id="256" r:id="rId16"/>
    <p:sldId id="301" r:id="rId17"/>
    <p:sldId id="302" r:id="rId18"/>
    <p:sldId id="2372" r:id="rId19"/>
    <p:sldId id="2370" r:id="rId20"/>
    <p:sldId id="303" r:id="rId21"/>
    <p:sldId id="2373" r:id="rId22"/>
  </p:sldIdLst>
  <p:sldSz cx="9144000" cy="5143500" type="screen16x9"/>
  <p:notesSz cx="9926638" cy="14355763"/>
  <p:defaultTextStyle>
    <a:defPPr>
      <a:defRPr lang="da-DK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96" userDrawn="1">
          <p15:clr>
            <a:srgbClr val="A4A3A4"/>
          </p15:clr>
        </p15:guide>
        <p15:guide id="2" pos="4566" userDrawn="1">
          <p15:clr>
            <a:srgbClr val="A4A3A4"/>
          </p15:clr>
        </p15:guide>
        <p15:guide id="3" orient="horz" pos="4522" userDrawn="1">
          <p15:clr>
            <a:srgbClr val="A4A3A4"/>
          </p15:clr>
        </p15:guide>
        <p15:guide id="4" pos="312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83C"/>
    <a:srgbClr val="1D3A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234" autoAdjust="0"/>
    <p:restoredTop sz="88981" autoAdjust="0"/>
  </p:normalViewPr>
  <p:slideViewPr>
    <p:cSldViewPr snapToGrid="0" snapToObjects="1">
      <p:cViewPr varScale="1">
        <p:scale>
          <a:sx n="134" d="100"/>
          <a:sy n="134" d="100"/>
        </p:scale>
        <p:origin x="1092" y="96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>
        <p:scale>
          <a:sx n="100" d="100"/>
          <a:sy n="100" d="100"/>
        </p:scale>
        <p:origin x="-2838" y="1260"/>
      </p:cViewPr>
      <p:guideLst>
        <p:guide orient="horz" pos="3096"/>
        <p:guide pos="4566"/>
        <p:guide orient="horz" pos="4522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322236" y="5909442"/>
            <a:ext cx="9249372" cy="8072104"/>
          </a:xfrm>
          <a:prstGeom prst="rect">
            <a:avLst/>
          </a:prstGeom>
        </p:spPr>
        <p:txBody>
          <a:bodyPr vert="horz" lIns="132762" tIns="66381" rIns="132762" bIns="66381" rtlCol="0"/>
          <a:lstStyle/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9" name="Pladsholder til diasbillede 8"/>
          <p:cNvSpPr>
            <a:spLocks noGrp="1" noRot="1" noChangeAspect="1"/>
          </p:cNvSpPr>
          <p:nvPr>
            <p:ph type="sldImg" idx="2"/>
          </p:nvPr>
        </p:nvSpPr>
        <p:spPr>
          <a:xfrm>
            <a:off x="365125" y="304800"/>
            <a:ext cx="9164638" cy="51546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2762" tIns="66381" rIns="132762" bIns="66381" rtlCol="0" anchor="ctr"/>
          <a:lstStyle/>
          <a:p>
            <a:endParaRPr lang="da-DK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5"/>
          </p:nvPr>
        </p:nvSpPr>
        <p:spPr>
          <a:xfrm>
            <a:off x="8707252" y="13981546"/>
            <a:ext cx="1217069" cy="371923"/>
          </a:xfrm>
          <a:prstGeom prst="rect">
            <a:avLst/>
          </a:prstGeom>
        </p:spPr>
        <p:txBody>
          <a:bodyPr vert="horz" lIns="132762" tIns="66381" rIns="132762" bIns="66381" rtlCol="0" anchor="b"/>
          <a:lstStyle>
            <a:lvl1pPr algn="r">
              <a:defRPr sz="1700"/>
            </a:lvl1pPr>
          </a:lstStyle>
          <a:p>
            <a:r>
              <a:rPr lang="da-DK" dirty="0"/>
              <a:t>Side </a:t>
            </a:r>
            <a:fld id="{E39C5B1D-41F1-4A55-83C0-62D22C2C2346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76578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>
          <a:xfrm>
            <a:off x="365125" y="304800"/>
            <a:ext cx="9164638" cy="5154613"/>
          </a:xfrm>
        </p:spPr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da-DK" dirty="0">
                <a:solidFill>
                  <a:schemeClr val="tx1"/>
                </a:solidFill>
              </a:rPr>
            </a:b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da-DK"/>
              <a:t>Side </a:t>
            </a:r>
            <a:fld id="{E39C5B1D-41F1-4A55-83C0-62D22C2C2346}" type="slidenum">
              <a:rPr lang="da-DK" smtClean="0"/>
              <a:pPr/>
              <a:t>1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319096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47F799A-8BBA-48B6-B0E5-AC7A9C3170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274E58D-E56A-465C-82F6-820DF20B3C7A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436040-855F-43EE-99CF-D1F5C6EF1BAD}"/>
              </a:ext>
            </a:extLst>
          </p:cNvPr>
          <p:cNvSpPr txBox="1"/>
          <p:nvPr/>
        </p:nvSpPr>
        <p:spPr>
          <a:xfrm>
            <a:off x="3884608" y="8685208"/>
            <a:ext cx="2971800" cy="458791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74295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F6C5E896-6C36-40FF-804D-D71F6F352592}" type="slidenum">
              <a: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4295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 typeface="Arial" pitchFamily="34"/>
                <a:buChar char="​"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2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srgbClr val="1F202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12.png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9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oleObject" Target="../embeddings/oleObject2.bin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7.emf"/><Relationship Id="rId4" Type="http://schemas.openxmlformats.org/officeDocument/2006/relationships/image" Target="../media/image19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oleObject" Target="../embeddings/oleObject3.bin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oleObject" Target="../embeddings/oleObject4.bin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oleObject" Target="../embeddings/oleObject5.bin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oleObject" Target="../embeddings/oleObject6.bin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oleObject" Target="../embeddings/oleObject7.bin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oleObject" Target="../embeddings/oleObject8.bin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oleObject" Target="../embeddings/oleObject9.bin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220399"/>
            <a:ext cx="7772400" cy="1102519"/>
          </a:xfrm>
          <a:prstGeom prst="rect">
            <a:avLst/>
          </a:prstGeom>
          <a:noFill/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2397941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>
                    <a:lumMod val="8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dirty="0"/>
              <a:t>Klik for at redigere undertiteltypografien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EC1568-49BF-594E-9B2C-38E80A379FCB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26-09-2021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6FB5BB-5704-FB48-BA77-7254DC263D9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9045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446715"/>
            <a:ext cx="9144000" cy="627143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5pPr>
              <a:defRPr sz="1600"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EC1568-49BF-594E-9B2C-38E80A379FCB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26-09-2021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6FB5BB-5704-FB48-BA77-7254DC263D9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56293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ECEF261D-6D12-4D30-A374-9048744F5A3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ECE48D40-FB62-4C58-B791-8016ADA851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119D0E4-0239-48CE-AD57-82B7D83C2C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109A1-8EA1-4005-8E57-E60AEF06B641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ADC023C7-BB73-42FE-8FFB-CEC53065A0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601B98A-E8AB-44CE-9495-DC0AC2AC11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2BCF-C1BA-4C99-B746-A9A1B2B8F52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839057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  <a:prstGeom prst="rect">
            <a:avLst/>
          </a:prstGeom>
        </p:spPr>
        <p:txBody>
          <a:bodyPr vert="eaVert"/>
          <a:lstStyle>
            <a:lvl1pPr>
              <a:defRPr sz="3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>
            <a:lvl5pPr>
              <a:defRPr sz="1600"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EC1568-49BF-594E-9B2C-38E80A379FCB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26-09-2021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6FB5BB-5704-FB48-BA77-7254DC263D9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52408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7396" y="294664"/>
            <a:ext cx="7040215" cy="533729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 dirty="0"/>
              <a:t>Overskrift i op til 2 linjer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-1861700" y="-510"/>
            <a:ext cx="1809306" cy="738698"/>
            <a:chOff x="-2481943" y="-680"/>
            <a:chExt cx="2412094" cy="984930"/>
          </a:xfrm>
        </p:grpSpPr>
        <p:sp>
          <p:nvSpPr>
            <p:cNvPr id="17" name="TextBox 20"/>
            <p:cNvSpPr txBox="1">
              <a:spLocks noChangeArrowheads="1"/>
            </p:cNvSpPr>
            <p:nvPr/>
          </p:nvSpPr>
          <p:spPr bwMode="auto">
            <a:xfrm>
              <a:off x="-2481943" y="-680"/>
              <a:ext cx="2412094" cy="923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da-DK" sz="750" b="1" dirty="0">
                  <a:solidFill>
                    <a:schemeClr val="tx1"/>
                  </a:solidFill>
                  <a:latin typeface="+mn-lt"/>
                </a:rPr>
                <a:t>Tekstslide med punktopstilling</a:t>
              </a:r>
              <a:endParaRPr lang="da-DK" sz="750" dirty="0">
                <a:solidFill>
                  <a:schemeClr val="tx1"/>
                </a:solidFill>
                <a:latin typeface="+mn-lt"/>
              </a:endParaRPr>
            </a:p>
            <a:p>
              <a:pPr algn="r" eaLnBrk="1" hangingPunct="1">
                <a:spcBef>
                  <a:spcPct val="50000"/>
                </a:spcBef>
                <a:defRPr/>
              </a:pP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Brug knapperne ‘Forøge / Formindske </a:t>
              </a:r>
              <a:br>
                <a:rPr lang="da-DK" sz="750" dirty="0">
                  <a:solidFill>
                    <a:schemeClr val="tx1"/>
                  </a:solidFill>
                  <a:latin typeface="+mn-lt"/>
                </a:rPr>
              </a:b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indryk’ for at skifte mellem</a:t>
              </a:r>
              <a:br>
                <a:rPr lang="da-DK" sz="750" dirty="0">
                  <a:solidFill>
                    <a:schemeClr val="tx1"/>
                  </a:solidFill>
                  <a:latin typeface="+mn-lt"/>
                </a:rPr>
              </a:b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de forskellige tekst niveauer</a:t>
              </a:r>
            </a:p>
            <a:p>
              <a:pPr algn="r" eaLnBrk="1" hangingPunct="1">
                <a:spcBef>
                  <a:spcPct val="50000"/>
                </a:spcBef>
                <a:defRPr/>
              </a:pPr>
              <a:endParaRPr lang="da-DK" sz="7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-1072921" y="733313"/>
              <a:ext cx="992188" cy="250937"/>
              <a:chOff x="-1214439" y="765971"/>
              <a:chExt cx="992188" cy="250937"/>
            </a:xfrm>
          </p:grpSpPr>
          <p:grpSp>
            <p:nvGrpSpPr>
              <p:cNvPr id="20" name="Group 2"/>
              <p:cNvGrpSpPr>
                <a:grpSpLocks/>
              </p:cNvGrpSpPr>
              <p:nvPr/>
            </p:nvGrpSpPr>
            <p:grpSpPr bwMode="auto">
              <a:xfrm>
                <a:off x="-1214439" y="765971"/>
                <a:ext cx="437608" cy="246173"/>
                <a:chOff x="-1214439" y="732970"/>
                <a:chExt cx="437608" cy="246063"/>
              </a:xfrm>
            </p:grpSpPr>
            <p:grpSp>
              <p:nvGrpSpPr>
                <p:cNvPr id="25" name="Group 3"/>
                <p:cNvGrpSpPr>
                  <a:grpSpLocks/>
                </p:cNvGrpSpPr>
                <p:nvPr/>
              </p:nvGrpSpPr>
              <p:grpSpPr bwMode="auto">
                <a:xfrm>
                  <a:off x="-1214439" y="741702"/>
                  <a:ext cx="428625" cy="228600"/>
                  <a:chOff x="-727592" y="3306446"/>
                  <a:chExt cx="429053" cy="228767"/>
                </a:xfrm>
              </p:grpSpPr>
              <p:pic>
                <p:nvPicPr>
                  <p:cNvPr id="27" name="Picture 14" descr="fke3b.jpg"/>
                  <p:cNvPicPr>
                    <a:picLocks noChangeAspect="1"/>
                  </p:cNvPicPr>
                  <p:nvPr/>
                </p:nvPicPr>
                <p:blipFill>
                  <a:blip r:embed="rId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-727293" y="3306446"/>
                    <a:ext cx="428754" cy="22876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=""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=""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28" name="Rectangle 27"/>
                  <p:cNvSpPr/>
                  <p:nvPr/>
                </p:nvSpPr>
                <p:spPr bwMode="auto">
                  <a:xfrm>
                    <a:off x="-727591" y="3332754"/>
                    <a:ext cx="214527" cy="215961"/>
                  </a:xfrm>
                  <a:prstGeom prst="rect">
                    <a:avLst/>
                  </a:prstGeom>
                  <a:solidFill>
                    <a:srgbClr val="FFFFFF">
                      <a:alpha val="60000"/>
                    </a:srgbClr>
                  </a:solidFill>
                  <a:ln>
                    <a:noFill/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 sz="135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26" name="Rounded Rectangle 25"/>
                <p:cNvSpPr/>
                <p:nvPr/>
              </p:nvSpPr>
              <p:spPr bwMode="auto">
                <a:xfrm>
                  <a:off x="-1014413" y="733082"/>
                  <a:ext cx="238125" cy="245953"/>
                </a:xfrm>
                <a:prstGeom prst="roundRect">
                  <a:avLst/>
                </a:prstGeom>
                <a:noFill/>
                <a:ln w="12700">
                  <a:solidFill>
                    <a:schemeClr val="accent2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grpSp>
            <p:nvGrpSpPr>
              <p:cNvPr id="21" name="Group 28"/>
              <p:cNvGrpSpPr>
                <a:grpSpLocks/>
              </p:cNvGrpSpPr>
              <p:nvPr/>
            </p:nvGrpSpPr>
            <p:grpSpPr bwMode="auto">
              <a:xfrm>
                <a:off x="-682626" y="770735"/>
                <a:ext cx="460375" cy="246173"/>
                <a:chOff x="-561836" y="3417665"/>
                <a:chExt cx="460236" cy="245883"/>
              </a:xfrm>
            </p:grpSpPr>
            <p:pic>
              <p:nvPicPr>
                <p:cNvPr id="22" name="Picture 2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549275" y="3434948"/>
                  <a:ext cx="447675" cy="2286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=""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=""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3" name="Rectangle 22"/>
                <p:cNvSpPr/>
                <p:nvPr/>
              </p:nvSpPr>
              <p:spPr>
                <a:xfrm>
                  <a:off x="-317434" y="3436803"/>
                  <a:ext cx="214247" cy="217231"/>
                </a:xfrm>
                <a:prstGeom prst="rect">
                  <a:avLst/>
                </a:prstGeom>
                <a:solidFill>
                  <a:srgbClr val="FFFFFF">
                    <a:alpha val="60000"/>
                  </a:srgbClr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  <p:sp>
              <p:nvSpPr>
                <p:cNvPr id="24" name="Rounded Rectangle 23"/>
                <p:cNvSpPr/>
                <p:nvPr/>
              </p:nvSpPr>
              <p:spPr>
                <a:xfrm>
                  <a:off x="-561835" y="3417776"/>
                  <a:ext cx="238053" cy="245772"/>
                </a:xfrm>
                <a:prstGeom prst="roundRect">
                  <a:avLst/>
                </a:prstGeom>
                <a:noFill/>
                <a:ln w="12700">
                  <a:solidFill>
                    <a:schemeClr val="accent2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</p:grpSp>
      </p:grpSp>
      <p:sp>
        <p:nvSpPr>
          <p:cNvPr id="4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D5B630E-43CE-844A-940E-F43487ACEA3D}" type="datetime1">
              <a:rPr lang="da-DK" smtClean="0"/>
              <a:t>26-09-2021</a:t>
            </a:fld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2B6656-7882-4CEF-9850-9EB873E823C4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Content Placeholder 6"/>
          <p:cNvSpPr>
            <a:spLocks noGrp="1"/>
          </p:cNvSpPr>
          <p:nvPr>
            <p:ph sz="quarter" idx="21" hasCustomPrompt="1"/>
          </p:nvPr>
        </p:nvSpPr>
        <p:spPr>
          <a:xfrm>
            <a:off x="407247" y="1162050"/>
            <a:ext cx="7040215" cy="3111104"/>
          </a:xfrm>
        </p:spPr>
        <p:txBody>
          <a:bodyPr/>
          <a:lstStyle/>
          <a:p>
            <a:pPr lvl="0"/>
            <a:r>
              <a:rPr lang="da-DK" noProof="0" dirty="0"/>
              <a:t>Klik for at tilføje indhold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</p:txBody>
      </p:sp>
      <p:pic>
        <p:nvPicPr>
          <p:cNvPr id="38" name="Picture 37" descr="LF_Logo_RGB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83" y="4491156"/>
            <a:ext cx="756097" cy="440692"/>
          </a:xfrm>
          <a:prstGeom prst="rect">
            <a:avLst/>
          </a:prstGeom>
        </p:spPr>
      </p:pic>
      <p:sp>
        <p:nvSpPr>
          <p:cNvPr id="29" name="TextBox 28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34" name="TextBox 17"/>
          <p:cNvSpPr txBox="1">
            <a:spLocks noChangeArrowheads="1"/>
          </p:cNvSpPr>
          <p:nvPr userDrawn="1"/>
        </p:nvSpPr>
        <p:spPr bwMode="auto">
          <a:xfrm>
            <a:off x="-2090329" y="1133828"/>
            <a:ext cx="19819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Skift</a:t>
            </a:r>
            <a:r>
              <a:rPr lang="da-DK" sz="750" b="1" baseline="0" dirty="0">
                <a:solidFill>
                  <a:schemeClr val="tx1"/>
                </a:solidFill>
              </a:rPr>
              <a:t> farve på LF bjælkerne</a:t>
            </a:r>
            <a:endParaRPr lang="da-DK" sz="750" b="1" dirty="0">
              <a:solidFill>
                <a:schemeClr val="tx1"/>
              </a:solidFill>
            </a:endParaRP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Klik på bjælken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værktøjslinjen vælg ”Farvespanden”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”drop ned” menuen vælg en af </a:t>
            </a:r>
            <a:r>
              <a:rPr lang="da-DK" sz="750" b="0" dirty="0" err="1">
                <a:solidFill>
                  <a:schemeClr val="tx1"/>
                </a:solidFill>
              </a:rPr>
              <a:t>temafarvene</a:t>
            </a:r>
            <a:r>
              <a:rPr lang="da-DK" sz="750" b="0" dirty="0">
                <a:solidFill>
                  <a:schemeClr val="tx1"/>
                </a:solidFill>
              </a:rPr>
              <a:t> for at farvelægge bjælken</a:t>
            </a:r>
          </a:p>
        </p:txBody>
      </p:sp>
      <p:pic>
        <p:nvPicPr>
          <p:cNvPr id="31" name="Picture 30" descr="Skærmbillede 2016-04-05 kl. 09.35.22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32" name="Text Placeholder 13"/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162021" cy="4293000"/>
          </a:xfrm>
          <a:solidFill>
            <a:schemeClr val="tx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4"/>
          </p:nvPr>
        </p:nvSpPr>
        <p:spPr>
          <a:xfrm>
            <a:off x="0" y="4279500"/>
            <a:ext cx="162021" cy="864000"/>
          </a:xfrm>
          <a:solidFill>
            <a:schemeClr val="accent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37" name="Billede 3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47" y="4601755"/>
            <a:ext cx="919518" cy="23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3001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- Fuldt billede og stor 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54717" cy="5143500"/>
          </a:xfrm>
        </p:spPr>
        <p:txBody>
          <a:bodyPr tIns="3672000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itchFamily="34" charset="0"/>
              <a:buNone/>
              <a:tabLst/>
              <a:defRPr sz="1050" b="0" baseline="0"/>
            </a:lvl1pPr>
          </a:lstStyle>
          <a:p>
            <a:r>
              <a:rPr lang="da-DK" noProof="0" dirty="0"/>
              <a:t>Indsæt et baggrundsbillede ved at klikke på det hvide felt og indsæt billede via ”indsæt billede” i menulinjen</a:t>
            </a:r>
          </a:p>
        </p:txBody>
      </p:sp>
      <p:sp>
        <p:nvSpPr>
          <p:cNvPr id="31" name="Text Placeholder 13"/>
          <p:cNvSpPr>
            <a:spLocks noGrp="1" noChangeAspect="1"/>
          </p:cNvSpPr>
          <p:nvPr>
            <p:ph type="body" sz="quarter" idx="23"/>
          </p:nvPr>
        </p:nvSpPr>
        <p:spPr>
          <a:xfrm>
            <a:off x="7337586" y="4279500"/>
            <a:ext cx="1821656" cy="864000"/>
          </a:xfrm>
          <a:solidFill>
            <a:schemeClr val="accent1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24"/>
          </p:nvPr>
        </p:nvSpPr>
        <p:spPr>
          <a:xfrm>
            <a:off x="0" y="4279500"/>
            <a:ext cx="7337586" cy="864000"/>
          </a:xfrm>
          <a:solidFill>
            <a:schemeClr val="tx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5"/>
          </p:nvPr>
        </p:nvSpPr>
        <p:spPr>
          <a:xfrm>
            <a:off x="0" y="0"/>
            <a:ext cx="7337586" cy="4279500"/>
          </a:xfrm>
          <a:solidFill>
            <a:schemeClr val="accent2">
              <a:alpha val="75000"/>
            </a:schemeClr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532" y="1156097"/>
            <a:ext cx="5546553" cy="1068293"/>
          </a:xfrm>
        </p:spPr>
        <p:txBody>
          <a:bodyPr>
            <a:spAutoFit/>
          </a:bodyPr>
          <a:lstStyle>
            <a:lvl1pPr>
              <a:lnSpc>
                <a:spcPct val="88000"/>
              </a:lnSpc>
              <a:defRPr sz="390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tel i op til 2 linjers længde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23" name="AutoShape 4"/>
          <p:cNvSpPr>
            <a:spLocks/>
          </p:cNvSpPr>
          <p:nvPr userDrawn="1"/>
        </p:nvSpPr>
        <p:spPr bwMode="gray">
          <a:xfrm>
            <a:off x="-2533980" y="0"/>
            <a:ext cx="24466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342900">
              <a:tabLst>
                <a:tab pos="133350" algn="l"/>
              </a:tabLst>
              <a:defRPr/>
            </a:pPr>
            <a:r>
              <a:rPr lang="da-DK" sz="750" b="1" dirty="0">
                <a:solidFill>
                  <a:schemeClr val="tx1"/>
                </a:solidFill>
                <a:cs typeface="Arial" charset="0"/>
              </a:rPr>
              <a:t>Vis hjælpelinjer</a:t>
            </a:r>
          </a:p>
          <a:p>
            <a:pPr algn="r" defTabSz="342900"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1.	Højreklik udenfor </a:t>
            </a:r>
            <a:r>
              <a:rPr lang="da-DK" sz="750" dirty="0" err="1">
                <a:solidFill>
                  <a:schemeClr val="tx1"/>
                </a:solidFill>
                <a:cs typeface="Arial" charset="0"/>
              </a:rPr>
              <a:t>slidet</a:t>
            </a:r>
            <a:r>
              <a:rPr lang="da-DK" sz="750" dirty="0">
                <a:solidFill>
                  <a:schemeClr val="tx1"/>
                </a:solidFill>
                <a:cs typeface="Arial" charset="0"/>
              </a:rPr>
              <a:t> og vælg ’Gitter og hjælpelinjer’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kryds ved ’Vis’ tegnehjælpelinjer på skærmen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hak ved ”Fastgør objekter til gitter”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Vælg OK </a:t>
            </a:r>
          </a:p>
        </p:txBody>
      </p:sp>
      <p:sp>
        <p:nvSpPr>
          <p:cNvPr id="20" name="TextBox 17"/>
          <p:cNvSpPr txBox="1">
            <a:spLocks noChangeArrowheads="1"/>
          </p:cNvSpPr>
          <p:nvPr userDrawn="1"/>
        </p:nvSpPr>
        <p:spPr bwMode="auto">
          <a:xfrm>
            <a:off x="-2090329" y="1133828"/>
            <a:ext cx="1981968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Indsæt et baggrundsbillede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1. Indsæt et billede ved at klikke på den </a:t>
            </a:r>
            <a:br>
              <a:rPr lang="da-DK" sz="750" b="0" dirty="0">
                <a:solidFill>
                  <a:schemeClr val="tx1"/>
                </a:solidFill>
              </a:rPr>
            </a:br>
            <a:r>
              <a:rPr lang="da-DK" sz="750" b="0" dirty="0">
                <a:solidFill>
                  <a:schemeClr val="tx1"/>
                </a:solidFill>
              </a:rPr>
              <a:t>hvide </a:t>
            </a:r>
            <a:r>
              <a:rPr lang="da-DK" sz="750" b="0" dirty="0" err="1">
                <a:solidFill>
                  <a:schemeClr val="tx1"/>
                </a:solidFill>
              </a:rPr>
              <a:t>billedepladsholder</a:t>
            </a:r>
            <a:endParaRPr lang="da-DK" sz="750" b="0" dirty="0">
              <a:solidFill>
                <a:schemeClr val="tx1"/>
              </a:solidFill>
            </a:endParaRP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2. Via</a:t>
            </a:r>
            <a:r>
              <a:rPr lang="da-DK" sz="750" b="0" baseline="0" dirty="0">
                <a:solidFill>
                  <a:schemeClr val="tx1"/>
                </a:solidFill>
              </a:rPr>
              <a:t> ”indsæt” – Vælg ”billede” og ”billede fra fil” – Herfra vælger du billedet, fra din computer, som skal indsættes </a:t>
            </a:r>
          </a:p>
          <a:p>
            <a:pPr marL="0" indent="0" algn="r" eaLnBrk="1" hangingPunct="1">
              <a:buNone/>
              <a:defRPr/>
            </a:pPr>
            <a:r>
              <a:rPr lang="da-DK" sz="750" b="0" baseline="0" dirty="0">
                <a:solidFill>
                  <a:schemeClr val="tx1"/>
                </a:solidFill>
              </a:rPr>
              <a:t>3. </a:t>
            </a:r>
            <a:r>
              <a:rPr lang="da-DK" sz="750" b="0" dirty="0">
                <a:solidFill>
                  <a:schemeClr val="tx1"/>
                </a:solidFill>
              </a:rPr>
              <a:t>Højreklik på billedet og send</a:t>
            </a:r>
            <a:r>
              <a:rPr lang="da-DK" sz="750" b="0" baseline="0" dirty="0">
                <a:solidFill>
                  <a:schemeClr val="tx1"/>
                </a:solidFill>
              </a:rPr>
              <a:t> det bagud</a:t>
            </a:r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15582" y="2492872"/>
            <a:ext cx="5514502" cy="1080000"/>
          </a:xfrm>
        </p:spPr>
        <p:txBody>
          <a:bodyPr/>
          <a:lstStyle>
            <a:lvl1pPr marL="0" indent="0">
              <a:buNone/>
              <a:defRPr sz="1800" b="0" baseline="0">
                <a:solidFill>
                  <a:schemeClr val="bg1"/>
                </a:solidFill>
              </a:defRPr>
            </a:lvl1pPr>
            <a:lvl2pPr marL="189000" indent="0">
              <a:buNone/>
              <a:defRPr/>
            </a:lvl2pPr>
          </a:lstStyle>
          <a:p>
            <a:pPr lvl="0"/>
            <a:r>
              <a:rPr lang="da-DK" dirty="0"/>
              <a:t>Klik for at tilføje manchet i en eller flere linjer</a:t>
            </a:r>
          </a:p>
        </p:txBody>
      </p:sp>
      <p:pic>
        <p:nvPicPr>
          <p:cNvPr id="17" name="Picture 16" descr="Skærmbillede 2016-04-05 kl. 09.35.2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15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8011784" y="4491156"/>
            <a:ext cx="756096" cy="440692"/>
          </a:xfrm>
          <a:blipFill rotWithShape="1">
            <a:blip r:embed="rId3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365149" y="4522574"/>
            <a:ext cx="994270" cy="393828"/>
          </a:xfrm>
          <a:blipFill rotWithShape="1">
            <a:blip r:embed="rId4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358925850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- Fuldt billede og små bok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54717" cy="5143500"/>
          </a:xfrm>
          <a:ln>
            <a:noFill/>
          </a:ln>
        </p:spPr>
        <p:txBody>
          <a:bodyPr tIns="720000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itchFamily="34" charset="0"/>
              <a:buNone/>
              <a:tabLst/>
              <a:defRPr sz="1050" b="0" baseline="0"/>
            </a:lvl1pPr>
          </a:lstStyle>
          <a:p>
            <a:r>
              <a:rPr lang="da-DK" noProof="0" dirty="0"/>
              <a:t>Indsæt et baggrundsbillede ved at klikke på det hvide felt og indsæt billede via ”indsæt billede” i menulinjen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5"/>
          </p:nvPr>
        </p:nvSpPr>
        <p:spPr>
          <a:xfrm flipH="1">
            <a:off x="7337586" y="0"/>
            <a:ext cx="1806414" cy="5143500"/>
          </a:xfrm>
          <a:solidFill>
            <a:schemeClr val="tx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24"/>
          </p:nvPr>
        </p:nvSpPr>
        <p:spPr>
          <a:xfrm>
            <a:off x="0" y="4279500"/>
            <a:ext cx="9144000" cy="864000"/>
          </a:xfrm>
          <a:solidFill>
            <a:schemeClr val="accent2">
              <a:alpha val="75000"/>
            </a:schemeClr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532" y="1156097"/>
            <a:ext cx="5546553" cy="1068293"/>
          </a:xfrm>
        </p:spPr>
        <p:txBody>
          <a:bodyPr>
            <a:spAutoFit/>
          </a:bodyPr>
          <a:lstStyle>
            <a:lvl1pPr>
              <a:lnSpc>
                <a:spcPct val="88000"/>
              </a:lnSpc>
              <a:defRPr sz="3900">
                <a:solidFill>
                  <a:schemeClr val="tx2"/>
                </a:solidFill>
              </a:defRPr>
            </a:lvl1pPr>
          </a:lstStyle>
          <a:p>
            <a:r>
              <a:rPr lang="da-DK" noProof="0" dirty="0"/>
              <a:t>Titel i op til 2 linjers længde</a:t>
            </a:r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15582" y="2492872"/>
            <a:ext cx="5514502" cy="1080000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  <a:lvl2pPr marL="189000" indent="0">
              <a:buNone/>
              <a:defRPr/>
            </a:lvl2pPr>
          </a:lstStyle>
          <a:p>
            <a:pPr lvl="0"/>
            <a:r>
              <a:rPr lang="da-DK" dirty="0"/>
              <a:t>Klik for at tilføje manchet i en eller flere linjer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-2533980" y="0"/>
            <a:ext cx="24466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342900">
              <a:tabLst>
                <a:tab pos="133350" algn="l"/>
              </a:tabLst>
              <a:defRPr/>
            </a:pPr>
            <a:r>
              <a:rPr lang="da-DK" sz="750" b="1" dirty="0">
                <a:solidFill>
                  <a:schemeClr val="tx1"/>
                </a:solidFill>
                <a:cs typeface="Arial" charset="0"/>
              </a:rPr>
              <a:t>Vis hjælpelinjer</a:t>
            </a:r>
          </a:p>
          <a:p>
            <a:pPr algn="r" defTabSz="342900"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1.	Højreklik udenfor </a:t>
            </a:r>
            <a:r>
              <a:rPr lang="da-DK" sz="750" dirty="0" err="1">
                <a:solidFill>
                  <a:schemeClr val="tx1"/>
                </a:solidFill>
                <a:cs typeface="Arial" charset="0"/>
              </a:rPr>
              <a:t>slidet</a:t>
            </a:r>
            <a:r>
              <a:rPr lang="da-DK" sz="750" dirty="0">
                <a:solidFill>
                  <a:schemeClr val="tx1"/>
                </a:solidFill>
                <a:cs typeface="Arial" charset="0"/>
              </a:rPr>
              <a:t> og vælg ’Gitter og hjælpelinjer’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kryds ved ’Vis’ tegnehjælpelinjer på skærmen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hak ved ”Fastgør objekter til gitter”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Vælg OK </a:t>
            </a:r>
          </a:p>
        </p:txBody>
      </p:sp>
      <p:sp>
        <p:nvSpPr>
          <p:cNvPr id="19" name="TextBox 17"/>
          <p:cNvSpPr txBox="1">
            <a:spLocks noChangeArrowheads="1"/>
          </p:cNvSpPr>
          <p:nvPr userDrawn="1"/>
        </p:nvSpPr>
        <p:spPr bwMode="auto">
          <a:xfrm>
            <a:off x="-2090329" y="1133828"/>
            <a:ext cx="1981968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Indsæt et baggrundsbillede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1. Indsæt et billede ved at klikke på den </a:t>
            </a:r>
            <a:br>
              <a:rPr lang="da-DK" sz="750" b="0" dirty="0">
                <a:solidFill>
                  <a:schemeClr val="tx1"/>
                </a:solidFill>
              </a:rPr>
            </a:br>
            <a:r>
              <a:rPr lang="da-DK" sz="750" b="0" dirty="0">
                <a:solidFill>
                  <a:schemeClr val="tx1"/>
                </a:solidFill>
              </a:rPr>
              <a:t>hvide </a:t>
            </a:r>
            <a:r>
              <a:rPr lang="da-DK" sz="750" b="0" dirty="0" err="1">
                <a:solidFill>
                  <a:schemeClr val="tx1"/>
                </a:solidFill>
              </a:rPr>
              <a:t>billedepladsholder</a:t>
            </a:r>
            <a:endParaRPr lang="da-DK" sz="750" b="0" dirty="0">
              <a:solidFill>
                <a:schemeClr val="tx1"/>
              </a:solidFill>
            </a:endParaRP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2. Via</a:t>
            </a:r>
            <a:r>
              <a:rPr lang="da-DK" sz="750" b="0" baseline="0" dirty="0">
                <a:solidFill>
                  <a:schemeClr val="tx1"/>
                </a:solidFill>
              </a:rPr>
              <a:t> ”indsæt” – Vælg ”billede” og ”billede fra fil” – Herfra vælger du billedet, fra din computer, som skal indsættes </a:t>
            </a:r>
          </a:p>
          <a:p>
            <a:pPr marL="0" indent="0" algn="r" eaLnBrk="1" hangingPunct="1">
              <a:buNone/>
              <a:defRPr/>
            </a:pPr>
            <a:r>
              <a:rPr lang="da-DK" sz="750" b="0" baseline="0" dirty="0">
                <a:solidFill>
                  <a:schemeClr val="tx1"/>
                </a:solidFill>
              </a:rPr>
              <a:t>3. </a:t>
            </a:r>
            <a:r>
              <a:rPr lang="da-DK" sz="750" b="0" dirty="0">
                <a:solidFill>
                  <a:schemeClr val="tx1"/>
                </a:solidFill>
              </a:rPr>
              <a:t>Højreklik på billedet og send</a:t>
            </a:r>
            <a:r>
              <a:rPr lang="da-DK" sz="750" b="0" baseline="0" dirty="0">
                <a:solidFill>
                  <a:schemeClr val="tx1"/>
                </a:solidFill>
              </a:rPr>
              <a:t> det bagud</a:t>
            </a:r>
          </a:p>
        </p:txBody>
      </p:sp>
      <p:pic>
        <p:nvPicPr>
          <p:cNvPr id="15" name="Picture 14" descr="Skærmbillede 2016-04-05 kl. 09.35.2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16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8011784" y="4491156"/>
            <a:ext cx="756096" cy="440692"/>
          </a:xfrm>
          <a:blipFill rotWithShape="1">
            <a:blip r:embed="rId3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365149" y="4522574"/>
            <a:ext cx="994270" cy="393828"/>
          </a:xfrm>
          <a:blipFill rotWithShape="1">
            <a:blip r:embed="rId4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0132799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- Fuldt billede og tekstbånd - Hvid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54717" cy="5143500"/>
          </a:xfrm>
        </p:spPr>
        <p:txBody>
          <a:bodyPr tIns="720000" anchor="t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itchFamily="34" charset="0"/>
              <a:buNone/>
              <a:tabLst/>
              <a:defRPr sz="1050" b="0" baseline="0"/>
            </a:lvl1pPr>
          </a:lstStyle>
          <a:p>
            <a:r>
              <a:rPr lang="da-DK" noProof="0" dirty="0"/>
              <a:t>Indsæt et baggrundsbillede ved at klikke på det hvide felt og indsæt billede via ”indsæt billede” i menulinje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8"/>
          </p:nvPr>
        </p:nvSpPr>
        <p:spPr>
          <a:xfrm>
            <a:off x="0" y="1684242"/>
            <a:ext cx="9144000" cy="2595258"/>
          </a:xfrm>
          <a:solidFill>
            <a:schemeClr val="accent2">
              <a:alpha val="75000"/>
            </a:schemeClr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532" y="2063706"/>
            <a:ext cx="5546553" cy="540148"/>
          </a:xfrm>
        </p:spPr>
        <p:txBody>
          <a:bodyPr anchor="t">
            <a:spAutoFit/>
          </a:bodyPr>
          <a:lstStyle>
            <a:lvl1pPr>
              <a:lnSpc>
                <a:spcPct val="88000"/>
              </a:lnSpc>
              <a:defRPr sz="3900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tel på en linje</a:t>
            </a:r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15582" y="2872336"/>
            <a:ext cx="5514502" cy="1080000"/>
          </a:xfrm>
        </p:spPr>
        <p:txBody>
          <a:bodyPr/>
          <a:lstStyle>
            <a:lvl1pPr marL="0" indent="0">
              <a:buNone/>
              <a:defRPr sz="1800" b="0">
                <a:solidFill>
                  <a:srgbClr val="FFFFFF"/>
                </a:solidFill>
              </a:defRPr>
            </a:lvl1pPr>
            <a:lvl2pPr marL="189000" indent="0">
              <a:buNone/>
              <a:defRPr/>
            </a:lvl2pPr>
          </a:lstStyle>
          <a:p>
            <a:pPr lvl="0"/>
            <a:r>
              <a:rPr lang="da-DK" dirty="0"/>
              <a:t>Klik for at tilføje manchet i en eller flere linjer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-2533980" y="0"/>
            <a:ext cx="24466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342900">
              <a:tabLst>
                <a:tab pos="133350" algn="l"/>
              </a:tabLst>
              <a:defRPr/>
            </a:pPr>
            <a:r>
              <a:rPr lang="da-DK" sz="750" b="1" dirty="0">
                <a:solidFill>
                  <a:schemeClr val="tx1"/>
                </a:solidFill>
                <a:cs typeface="Arial" charset="0"/>
              </a:rPr>
              <a:t>Vis hjælpelinjer</a:t>
            </a:r>
          </a:p>
          <a:p>
            <a:pPr algn="r" defTabSz="342900"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1.	Højreklik udenfor </a:t>
            </a:r>
            <a:r>
              <a:rPr lang="da-DK" sz="750" dirty="0" err="1">
                <a:solidFill>
                  <a:schemeClr val="tx1"/>
                </a:solidFill>
                <a:cs typeface="Arial" charset="0"/>
              </a:rPr>
              <a:t>slidet</a:t>
            </a:r>
            <a:r>
              <a:rPr lang="da-DK" sz="750" dirty="0">
                <a:solidFill>
                  <a:schemeClr val="tx1"/>
                </a:solidFill>
                <a:cs typeface="Arial" charset="0"/>
              </a:rPr>
              <a:t> og vælg ’Gitter og hjælpelinjer’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kryds ved ’Vis’ tegnehjælpelinjer på skærmen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hak ved ”Fastgør objekter til gitter”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Vælg OK </a:t>
            </a:r>
          </a:p>
        </p:txBody>
      </p:sp>
      <p:sp>
        <p:nvSpPr>
          <p:cNvPr id="19" name="TextBox 17"/>
          <p:cNvSpPr txBox="1">
            <a:spLocks noChangeArrowheads="1"/>
          </p:cNvSpPr>
          <p:nvPr userDrawn="1"/>
        </p:nvSpPr>
        <p:spPr bwMode="auto">
          <a:xfrm>
            <a:off x="-2090329" y="1133828"/>
            <a:ext cx="1981968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Indsæt et baggrundsbillede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1. Indsæt et billede ved at klikke på den </a:t>
            </a:r>
            <a:br>
              <a:rPr lang="da-DK" sz="750" b="0" dirty="0">
                <a:solidFill>
                  <a:schemeClr val="tx1"/>
                </a:solidFill>
              </a:rPr>
            </a:br>
            <a:r>
              <a:rPr lang="da-DK" sz="750" b="0" dirty="0">
                <a:solidFill>
                  <a:schemeClr val="tx1"/>
                </a:solidFill>
              </a:rPr>
              <a:t>hvide </a:t>
            </a:r>
            <a:r>
              <a:rPr lang="da-DK" sz="750" b="0" dirty="0" err="1">
                <a:solidFill>
                  <a:schemeClr val="tx1"/>
                </a:solidFill>
              </a:rPr>
              <a:t>billedepladsholder</a:t>
            </a:r>
            <a:endParaRPr lang="da-DK" sz="750" b="0" dirty="0">
              <a:solidFill>
                <a:schemeClr val="tx1"/>
              </a:solidFill>
            </a:endParaRP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2. Via</a:t>
            </a:r>
            <a:r>
              <a:rPr lang="da-DK" sz="750" b="0" baseline="0" dirty="0">
                <a:solidFill>
                  <a:schemeClr val="tx1"/>
                </a:solidFill>
              </a:rPr>
              <a:t> ”indsæt” – Vælg ”billede” og ”billede fra fil” – Herfra vælger du billedet, fra din computer, som skal indsættes </a:t>
            </a:r>
          </a:p>
          <a:p>
            <a:pPr marL="0" indent="0" algn="r" eaLnBrk="1" hangingPunct="1">
              <a:buNone/>
              <a:defRPr/>
            </a:pPr>
            <a:r>
              <a:rPr lang="da-DK" sz="750" b="0" baseline="0" dirty="0">
                <a:solidFill>
                  <a:schemeClr val="tx1"/>
                </a:solidFill>
              </a:rPr>
              <a:t>3. </a:t>
            </a:r>
            <a:r>
              <a:rPr lang="da-DK" sz="750" b="0" dirty="0">
                <a:solidFill>
                  <a:schemeClr val="tx1"/>
                </a:solidFill>
              </a:rPr>
              <a:t>Højreklik på billedet og send</a:t>
            </a:r>
            <a:r>
              <a:rPr lang="da-DK" sz="750" b="0" baseline="0" dirty="0">
                <a:solidFill>
                  <a:schemeClr val="tx1"/>
                </a:solidFill>
              </a:rPr>
              <a:t> det bagud</a:t>
            </a:r>
          </a:p>
        </p:txBody>
      </p:sp>
      <p:pic>
        <p:nvPicPr>
          <p:cNvPr id="13" name="Picture 12" descr="Skærmbillede 2016-04-05 kl. 09.35.2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15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8011784" y="4491156"/>
            <a:ext cx="756096" cy="440692"/>
          </a:xfrm>
          <a:blipFill rotWithShape="1">
            <a:blip r:embed="rId3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365149" y="4522574"/>
            <a:ext cx="994270" cy="393828"/>
          </a:xfrm>
          <a:blipFill rotWithShape="1">
            <a:blip r:embed="rId4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1443459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- Fuldt billede og tekstbånd - Grø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54717" cy="5143500"/>
          </a:xfrm>
        </p:spPr>
        <p:txBody>
          <a:bodyPr tIns="720000" anchor="t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itchFamily="34" charset="0"/>
              <a:buNone/>
              <a:tabLst/>
              <a:defRPr sz="1050" b="0" baseline="0"/>
            </a:lvl1pPr>
          </a:lstStyle>
          <a:p>
            <a:r>
              <a:rPr lang="da-DK" noProof="0" dirty="0"/>
              <a:t>Indsæt et baggrundsbillede ved at klikke på det hvide felt og indsæt billede via ”indsæt billede” i menulinje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8"/>
          </p:nvPr>
        </p:nvSpPr>
        <p:spPr>
          <a:xfrm>
            <a:off x="0" y="1684242"/>
            <a:ext cx="9144000" cy="2595258"/>
          </a:xfrm>
          <a:solidFill>
            <a:schemeClr val="accent2">
              <a:alpha val="75000"/>
            </a:schemeClr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532" y="2063706"/>
            <a:ext cx="5546553" cy="540148"/>
          </a:xfrm>
        </p:spPr>
        <p:txBody>
          <a:bodyPr anchor="t">
            <a:spAutoFit/>
          </a:bodyPr>
          <a:lstStyle>
            <a:lvl1pPr>
              <a:lnSpc>
                <a:spcPct val="88000"/>
              </a:lnSpc>
              <a:defRPr sz="3900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tel på en linje</a:t>
            </a:r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15582" y="2872336"/>
            <a:ext cx="5514502" cy="1080000"/>
          </a:xfrm>
        </p:spPr>
        <p:txBody>
          <a:bodyPr/>
          <a:lstStyle>
            <a:lvl1pPr marL="0" indent="0">
              <a:buNone/>
              <a:defRPr sz="1800" b="0">
                <a:solidFill>
                  <a:srgbClr val="FFFFFF"/>
                </a:solidFill>
              </a:defRPr>
            </a:lvl1pPr>
            <a:lvl2pPr marL="189000" indent="0">
              <a:buNone/>
              <a:defRPr/>
            </a:lvl2pPr>
          </a:lstStyle>
          <a:p>
            <a:pPr lvl="0"/>
            <a:r>
              <a:rPr lang="da-DK" dirty="0"/>
              <a:t>Klik for at tilføje manchet i en eller flere linjer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-2533980" y="0"/>
            <a:ext cx="24466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342900">
              <a:tabLst>
                <a:tab pos="133350" algn="l"/>
              </a:tabLst>
              <a:defRPr/>
            </a:pPr>
            <a:r>
              <a:rPr lang="da-DK" sz="750" b="1" dirty="0">
                <a:solidFill>
                  <a:schemeClr val="tx1"/>
                </a:solidFill>
                <a:cs typeface="Arial" charset="0"/>
              </a:rPr>
              <a:t>Vis hjælpelinjer</a:t>
            </a:r>
          </a:p>
          <a:p>
            <a:pPr algn="r" defTabSz="342900"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1.	Højreklik udenfor </a:t>
            </a:r>
            <a:r>
              <a:rPr lang="da-DK" sz="750" dirty="0" err="1">
                <a:solidFill>
                  <a:schemeClr val="tx1"/>
                </a:solidFill>
                <a:cs typeface="Arial" charset="0"/>
              </a:rPr>
              <a:t>slidet</a:t>
            </a:r>
            <a:r>
              <a:rPr lang="da-DK" sz="750" dirty="0">
                <a:solidFill>
                  <a:schemeClr val="tx1"/>
                </a:solidFill>
                <a:cs typeface="Arial" charset="0"/>
              </a:rPr>
              <a:t> og vælg ’Gitter og hjælpelinjer’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kryds ved ’Vis’ tegnehjælpelinjer på skærmen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hak ved ”Fastgør objekter til gitter”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Vælg OK </a:t>
            </a:r>
          </a:p>
        </p:txBody>
      </p:sp>
      <p:sp>
        <p:nvSpPr>
          <p:cNvPr id="19" name="TextBox 17"/>
          <p:cNvSpPr txBox="1">
            <a:spLocks noChangeArrowheads="1"/>
          </p:cNvSpPr>
          <p:nvPr userDrawn="1"/>
        </p:nvSpPr>
        <p:spPr bwMode="auto">
          <a:xfrm>
            <a:off x="-2090329" y="1133828"/>
            <a:ext cx="1981968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Indsæt et baggrundsbillede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1. Indsæt et billede ved at klikke på den </a:t>
            </a:r>
            <a:br>
              <a:rPr lang="da-DK" sz="750" b="0" dirty="0">
                <a:solidFill>
                  <a:schemeClr val="tx1"/>
                </a:solidFill>
              </a:rPr>
            </a:br>
            <a:r>
              <a:rPr lang="da-DK" sz="750" b="0" dirty="0">
                <a:solidFill>
                  <a:schemeClr val="tx1"/>
                </a:solidFill>
              </a:rPr>
              <a:t>hvide </a:t>
            </a:r>
            <a:r>
              <a:rPr lang="da-DK" sz="750" b="0" dirty="0" err="1">
                <a:solidFill>
                  <a:schemeClr val="tx1"/>
                </a:solidFill>
              </a:rPr>
              <a:t>billedepladsholder</a:t>
            </a:r>
            <a:endParaRPr lang="da-DK" sz="750" b="0" dirty="0">
              <a:solidFill>
                <a:schemeClr val="tx1"/>
              </a:solidFill>
            </a:endParaRP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2. Via</a:t>
            </a:r>
            <a:r>
              <a:rPr lang="da-DK" sz="750" b="0" baseline="0" dirty="0">
                <a:solidFill>
                  <a:schemeClr val="tx1"/>
                </a:solidFill>
              </a:rPr>
              <a:t> ”indsæt” – Vælg ”billede” og ”billede fra fil” – Herfra vælger du billedet, fra din computer, som skal indsættes </a:t>
            </a:r>
          </a:p>
          <a:p>
            <a:pPr marL="0" indent="0" algn="r" eaLnBrk="1" hangingPunct="1">
              <a:buNone/>
              <a:defRPr/>
            </a:pPr>
            <a:r>
              <a:rPr lang="da-DK" sz="750" b="0" baseline="0" dirty="0">
                <a:solidFill>
                  <a:schemeClr val="tx1"/>
                </a:solidFill>
              </a:rPr>
              <a:t>3. </a:t>
            </a:r>
            <a:r>
              <a:rPr lang="da-DK" sz="750" b="0" dirty="0">
                <a:solidFill>
                  <a:schemeClr val="tx1"/>
                </a:solidFill>
              </a:rPr>
              <a:t>Højreklik på billedet og send</a:t>
            </a:r>
            <a:r>
              <a:rPr lang="da-DK" sz="750" b="0" baseline="0" dirty="0">
                <a:solidFill>
                  <a:schemeClr val="tx1"/>
                </a:solidFill>
              </a:rPr>
              <a:t> det bagud</a:t>
            </a:r>
          </a:p>
        </p:txBody>
      </p:sp>
      <p:pic>
        <p:nvPicPr>
          <p:cNvPr id="13" name="Picture 12" descr="Skærmbillede 2016-04-05 kl. 09.35.2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8011784" y="4491156"/>
            <a:ext cx="756096" cy="440692"/>
          </a:xfrm>
          <a:blipFill rotWithShape="1">
            <a:blip r:embed="rId3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365149" y="4522574"/>
            <a:ext cx="994270" cy="393828"/>
          </a:xfrm>
          <a:blipFill rotWithShape="1">
            <a:blip r:embed="rId4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544098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– Snævert tekstbånd - Hvid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54717" cy="5143500"/>
          </a:xfrm>
        </p:spPr>
        <p:txBody>
          <a:bodyPr tIns="720000" anchor="t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itchFamily="34" charset="0"/>
              <a:buNone/>
              <a:tabLst/>
              <a:defRPr sz="1050" b="0" baseline="0"/>
            </a:lvl1pPr>
          </a:lstStyle>
          <a:p>
            <a:r>
              <a:rPr lang="da-DK" noProof="0" dirty="0"/>
              <a:t>Indsæt et baggrundsbillede ved at klikke på det hvide felt og indsæt billede via ”indsæt billede” i menulinje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8"/>
          </p:nvPr>
        </p:nvSpPr>
        <p:spPr>
          <a:xfrm>
            <a:off x="0" y="2057879"/>
            <a:ext cx="9144000" cy="1890000"/>
          </a:xfrm>
          <a:solidFill>
            <a:schemeClr val="accent2">
              <a:alpha val="75000"/>
            </a:schemeClr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532" y="2437344"/>
            <a:ext cx="5546553" cy="540148"/>
          </a:xfrm>
        </p:spPr>
        <p:txBody>
          <a:bodyPr anchor="t">
            <a:spAutoFit/>
          </a:bodyPr>
          <a:lstStyle>
            <a:lvl1pPr>
              <a:lnSpc>
                <a:spcPct val="88000"/>
              </a:lnSpc>
              <a:defRPr sz="3900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tel på en linje</a:t>
            </a:r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15582" y="3200400"/>
            <a:ext cx="5514502" cy="504826"/>
          </a:xfrm>
        </p:spPr>
        <p:txBody>
          <a:bodyPr/>
          <a:lstStyle>
            <a:lvl1pPr marL="0" indent="0">
              <a:buNone/>
              <a:defRPr sz="1800" b="0">
                <a:solidFill>
                  <a:srgbClr val="FFFFFF"/>
                </a:solidFill>
              </a:defRPr>
            </a:lvl1pPr>
            <a:lvl2pPr marL="189000" indent="0">
              <a:buNone/>
              <a:defRPr/>
            </a:lvl2pPr>
          </a:lstStyle>
          <a:p>
            <a:pPr lvl="0"/>
            <a:r>
              <a:rPr lang="da-DK" dirty="0"/>
              <a:t>Klik for at tilføje manchet i en eller to linjer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-2533980" y="0"/>
            <a:ext cx="24466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342900">
              <a:tabLst>
                <a:tab pos="133350" algn="l"/>
              </a:tabLst>
              <a:defRPr/>
            </a:pPr>
            <a:r>
              <a:rPr lang="da-DK" sz="750" b="1" dirty="0">
                <a:solidFill>
                  <a:schemeClr val="tx1"/>
                </a:solidFill>
                <a:cs typeface="Arial" charset="0"/>
              </a:rPr>
              <a:t>Vis hjælpelinjer</a:t>
            </a:r>
          </a:p>
          <a:p>
            <a:pPr algn="r" defTabSz="342900"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1.	Højreklik udenfor </a:t>
            </a:r>
            <a:r>
              <a:rPr lang="da-DK" sz="750" dirty="0" err="1">
                <a:solidFill>
                  <a:schemeClr val="tx1"/>
                </a:solidFill>
                <a:cs typeface="Arial" charset="0"/>
              </a:rPr>
              <a:t>slidet</a:t>
            </a:r>
            <a:r>
              <a:rPr lang="da-DK" sz="750" dirty="0">
                <a:solidFill>
                  <a:schemeClr val="tx1"/>
                </a:solidFill>
                <a:cs typeface="Arial" charset="0"/>
              </a:rPr>
              <a:t> og vælg ’Gitter og hjælpelinjer’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kryds ved ’Vis’ tegnehjælpelinjer på skærmen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hak ved ”Fastgør objekter til gitter”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Vælg OK </a:t>
            </a:r>
          </a:p>
        </p:txBody>
      </p:sp>
      <p:sp>
        <p:nvSpPr>
          <p:cNvPr id="19" name="TextBox 17"/>
          <p:cNvSpPr txBox="1">
            <a:spLocks noChangeArrowheads="1"/>
          </p:cNvSpPr>
          <p:nvPr userDrawn="1"/>
        </p:nvSpPr>
        <p:spPr bwMode="auto">
          <a:xfrm>
            <a:off x="-2090329" y="1133828"/>
            <a:ext cx="1981968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Indsæt et baggrundsbillede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1. Indsæt et billede ved at klikke på den </a:t>
            </a:r>
            <a:br>
              <a:rPr lang="da-DK" sz="750" b="0" dirty="0">
                <a:solidFill>
                  <a:schemeClr val="tx1"/>
                </a:solidFill>
              </a:rPr>
            </a:br>
            <a:r>
              <a:rPr lang="da-DK" sz="750" b="0" dirty="0">
                <a:solidFill>
                  <a:schemeClr val="tx1"/>
                </a:solidFill>
              </a:rPr>
              <a:t>hvide </a:t>
            </a:r>
            <a:r>
              <a:rPr lang="da-DK" sz="750" b="0" dirty="0" err="1">
                <a:solidFill>
                  <a:schemeClr val="tx1"/>
                </a:solidFill>
              </a:rPr>
              <a:t>billedepladsholder</a:t>
            </a:r>
            <a:endParaRPr lang="da-DK" sz="750" b="0" dirty="0">
              <a:solidFill>
                <a:schemeClr val="tx1"/>
              </a:solidFill>
            </a:endParaRP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2. Via</a:t>
            </a:r>
            <a:r>
              <a:rPr lang="da-DK" sz="750" b="0" baseline="0" dirty="0">
                <a:solidFill>
                  <a:schemeClr val="tx1"/>
                </a:solidFill>
              </a:rPr>
              <a:t> ”indsæt” – Vælg ”billede” og ”billede fra fil” – Herfra vælger du billedet, fra din computer, som skal indsættes </a:t>
            </a:r>
          </a:p>
          <a:p>
            <a:pPr marL="0" indent="0" algn="r" eaLnBrk="1" hangingPunct="1">
              <a:buNone/>
              <a:defRPr/>
            </a:pPr>
            <a:r>
              <a:rPr lang="da-DK" sz="750" b="0" baseline="0" dirty="0">
                <a:solidFill>
                  <a:schemeClr val="tx1"/>
                </a:solidFill>
              </a:rPr>
              <a:t>3. </a:t>
            </a:r>
            <a:r>
              <a:rPr lang="da-DK" sz="750" b="0" dirty="0">
                <a:solidFill>
                  <a:schemeClr val="tx1"/>
                </a:solidFill>
              </a:rPr>
              <a:t>Højreklik på billedet og send</a:t>
            </a:r>
            <a:r>
              <a:rPr lang="da-DK" sz="750" b="0" baseline="0" dirty="0">
                <a:solidFill>
                  <a:schemeClr val="tx1"/>
                </a:solidFill>
              </a:rPr>
              <a:t> det bagud</a:t>
            </a:r>
          </a:p>
        </p:txBody>
      </p:sp>
      <p:pic>
        <p:nvPicPr>
          <p:cNvPr id="27" name="Picture 26" descr="Skærmbillede 2016-04-05 kl. 09.35.2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14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8011784" y="4491156"/>
            <a:ext cx="756096" cy="440692"/>
          </a:xfrm>
          <a:blipFill rotWithShape="1">
            <a:blip r:embed="rId3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365149" y="4522574"/>
            <a:ext cx="994270" cy="393828"/>
          </a:xfrm>
          <a:blipFill rotWithShape="1">
            <a:blip r:embed="rId4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3688027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– Snævert tekstbånd - Grø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54717" cy="5143500"/>
          </a:xfrm>
        </p:spPr>
        <p:txBody>
          <a:bodyPr tIns="720000" anchor="t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itchFamily="34" charset="0"/>
              <a:buNone/>
              <a:tabLst/>
              <a:defRPr sz="1050" b="0" baseline="0"/>
            </a:lvl1pPr>
          </a:lstStyle>
          <a:p>
            <a:r>
              <a:rPr lang="da-DK" noProof="0" dirty="0"/>
              <a:t>Indsæt et baggrundsbillede ved at klikke på det hvide felt og indsæt billede via ”indsæt billede” i menulinje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8"/>
          </p:nvPr>
        </p:nvSpPr>
        <p:spPr>
          <a:xfrm>
            <a:off x="0" y="2057879"/>
            <a:ext cx="9144000" cy="1890000"/>
          </a:xfrm>
          <a:solidFill>
            <a:schemeClr val="accent2">
              <a:alpha val="75000"/>
            </a:schemeClr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532" y="2437344"/>
            <a:ext cx="5546553" cy="540148"/>
          </a:xfrm>
        </p:spPr>
        <p:txBody>
          <a:bodyPr anchor="t">
            <a:spAutoFit/>
          </a:bodyPr>
          <a:lstStyle>
            <a:lvl1pPr>
              <a:lnSpc>
                <a:spcPct val="88000"/>
              </a:lnSpc>
              <a:defRPr sz="3900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/>
              <a:t>Titel på en linje</a:t>
            </a:r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15582" y="3200400"/>
            <a:ext cx="5514502" cy="504826"/>
          </a:xfrm>
        </p:spPr>
        <p:txBody>
          <a:bodyPr/>
          <a:lstStyle>
            <a:lvl1pPr marL="0" indent="0">
              <a:buNone/>
              <a:defRPr sz="1800" b="0">
                <a:solidFill>
                  <a:srgbClr val="FFFFFF"/>
                </a:solidFill>
              </a:defRPr>
            </a:lvl1pPr>
            <a:lvl2pPr marL="189000" indent="0">
              <a:buNone/>
              <a:defRPr/>
            </a:lvl2pPr>
          </a:lstStyle>
          <a:p>
            <a:pPr lvl="0"/>
            <a:r>
              <a:rPr lang="da-DK" dirty="0"/>
              <a:t>Klik for at tilføje manchet i en eller to linjer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-2533980" y="0"/>
            <a:ext cx="24466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342900">
              <a:tabLst>
                <a:tab pos="133350" algn="l"/>
              </a:tabLst>
              <a:defRPr/>
            </a:pPr>
            <a:r>
              <a:rPr lang="da-DK" sz="750" b="1" dirty="0">
                <a:solidFill>
                  <a:schemeClr val="tx1"/>
                </a:solidFill>
                <a:cs typeface="Arial" charset="0"/>
              </a:rPr>
              <a:t>Vis hjælpelinjer</a:t>
            </a:r>
          </a:p>
          <a:p>
            <a:pPr algn="r" defTabSz="342900"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1.	Højreklik udenfor </a:t>
            </a:r>
            <a:r>
              <a:rPr lang="da-DK" sz="750" dirty="0" err="1">
                <a:solidFill>
                  <a:schemeClr val="tx1"/>
                </a:solidFill>
                <a:cs typeface="Arial" charset="0"/>
              </a:rPr>
              <a:t>slidet</a:t>
            </a:r>
            <a:r>
              <a:rPr lang="da-DK" sz="750" dirty="0">
                <a:solidFill>
                  <a:schemeClr val="tx1"/>
                </a:solidFill>
                <a:cs typeface="Arial" charset="0"/>
              </a:rPr>
              <a:t> og vælg ’Gitter og hjælpelinjer’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kryds ved ’Vis’ tegnehjælpelinjer på skærmen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hak ved ”Fastgør objekter til gitter”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Vælg OK </a:t>
            </a:r>
          </a:p>
        </p:txBody>
      </p:sp>
      <p:sp>
        <p:nvSpPr>
          <p:cNvPr id="19" name="TextBox 17"/>
          <p:cNvSpPr txBox="1">
            <a:spLocks noChangeArrowheads="1"/>
          </p:cNvSpPr>
          <p:nvPr userDrawn="1"/>
        </p:nvSpPr>
        <p:spPr bwMode="auto">
          <a:xfrm>
            <a:off x="-2090329" y="1133828"/>
            <a:ext cx="1981968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Indsæt et baggrundsbillede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1. Indsæt et billede ved at klikke på den </a:t>
            </a:r>
            <a:br>
              <a:rPr lang="da-DK" sz="750" b="0" dirty="0">
                <a:solidFill>
                  <a:schemeClr val="tx1"/>
                </a:solidFill>
              </a:rPr>
            </a:br>
            <a:r>
              <a:rPr lang="da-DK" sz="750" b="0" dirty="0">
                <a:solidFill>
                  <a:schemeClr val="tx1"/>
                </a:solidFill>
              </a:rPr>
              <a:t>hvide </a:t>
            </a:r>
            <a:r>
              <a:rPr lang="da-DK" sz="750" b="0" dirty="0" err="1">
                <a:solidFill>
                  <a:schemeClr val="tx1"/>
                </a:solidFill>
              </a:rPr>
              <a:t>billedepladsholder</a:t>
            </a:r>
            <a:endParaRPr lang="da-DK" sz="750" b="0" dirty="0">
              <a:solidFill>
                <a:schemeClr val="tx1"/>
              </a:solidFill>
            </a:endParaRP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2. Via</a:t>
            </a:r>
            <a:r>
              <a:rPr lang="da-DK" sz="750" b="0" baseline="0" dirty="0">
                <a:solidFill>
                  <a:schemeClr val="tx1"/>
                </a:solidFill>
              </a:rPr>
              <a:t> ”indsæt” – Vælg ”billede” og ”billede fra fil” – Herfra vælger du billedet, fra din computer, som skal indsættes </a:t>
            </a:r>
          </a:p>
          <a:p>
            <a:pPr marL="0" indent="0" algn="r" eaLnBrk="1" hangingPunct="1">
              <a:buNone/>
              <a:defRPr/>
            </a:pPr>
            <a:r>
              <a:rPr lang="da-DK" sz="750" b="0" baseline="0" dirty="0">
                <a:solidFill>
                  <a:schemeClr val="tx1"/>
                </a:solidFill>
              </a:rPr>
              <a:t>3. </a:t>
            </a:r>
            <a:r>
              <a:rPr lang="da-DK" sz="750" b="0" dirty="0">
                <a:solidFill>
                  <a:schemeClr val="tx1"/>
                </a:solidFill>
              </a:rPr>
              <a:t>Højreklik på billedet og send</a:t>
            </a:r>
            <a:r>
              <a:rPr lang="da-DK" sz="750" b="0" baseline="0" dirty="0">
                <a:solidFill>
                  <a:schemeClr val="tx1"/>
                </a:solidFill>
              </a:rPr>
              <a:t> det bagud</a:t>
            </a:r>
          </a:p>
        </p:txBody>
      </p:sp>
      <p:pic>
        <p:nvPicPr>
          <p:cNvPr id="27" name="Picture 26" descr="Skærmbillede 2016-04-05 kl. 09.35.2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15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8011784" y="4491156"/>
            <a:ext cx="756096" cy="440692"/>
          </a:xfrm>
          <a:blipFill rotWithShape="1">
            <a:blip r:embed="rId3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365149" y="4522574"/>
            <a:ext cx="994270" cy="393828"/>
          </a:xfrm>
          <a:blipFill rotWithShape="1">
            <a:blip r:embed="rId4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8057970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- Med partnerlogo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54717" cy="5143500"/>
          </a:xfrm>
          <a:ln>
            <a:noFill/>
          </a:ln>
        </p:spPr>
        <p:txBody>
          <a:bodyPr tIns="720000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itchFamily="34" charset="0"/>
              <a:buNone/>
              <a:tabLst/>
              <a:defRPr sz="1050" b="0" baseline="0"/>
            </a:lvl1pPr>
          </a:lstStyle>
          <a:p>
            <a:r>
              <a:rPr lang="da-DK" noProof="0" dirty="0"/>
              <a:t>Indsæt et baggrundsbillede ved at klikke på det hvide felt og indsæt billede via ”indsæt billede” i menulinjen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5"/>
          </p:nvPr>
        </p:nvSpPr>
        <p:spPr>
          <a:xfrm flipH="1">
            <a:off x="4844543" y="0"/>
            <a:ext cx="4299456" cy="5143500"/>
          </a:xfrm>
          <a:solidFill>
            <a:schemeClr val="bg1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3532" y="1426181"/>
            <a:ext cx="4187873" cy="528125"/>
          </a:xfrm>
        </p:spPr>
        <p:txBody>
          <a:bodyPr wrap="square">
            <a:spAutoFit/>
          </a:bodyPr>
          <a:lstStyle>
            <a:lvl1pPr>
              <a:lnSpc>
                <a:spcPct val="88000"/>
              </a:lnSpc>
              <a:defRPr sz="3900">
                <a:solidFill>
                  <a:schemeClr val="tx2"/>
                </a:solidFill>
              </a:defRPr>
            </a:lvl1pPr>
          </a:lstStyle>
          <a:p>
            <a:r>
              <a:rPr lang="da-DK" noProof="0" dirty="0"/>
              <a:t>Navn</a:t>
            </a:r>
          </a:p>
        </p:txBody>
      </p:sp>
      <p:sp>
        <p:nvSpPr>
          <p:cNvPr id="3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15583" y="2492872"/>
            <a:ext cx="4163673" cy="1080000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accent2"/>
                </a:solidFill>
              </a:defRPr>
            </a:lvl1pPr>
            <a:lvl2pPr marL="189000" indent="0">
              <a:buNone/>
              <a:defRPr/>
            </a:lvl2pPr>
          </a:lstStyle>
          <a:p>
            <a:pPr lvl="0"/>
            <a:r>
              <a:rPr lang="da-DK" dirty="0"/>
              <a:t>Sted og dato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-2533980" y="0"/>
            <a:ext cx="24466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342900">
              <a:tabLst>
                <a:tab pos="133350" algn="l"/>
              </a:tabLst>
              <a:defRPr/>
            </a:pPr>
            <a:r>
              <a:rPr lang="da-DK" sz="750" b="1" dirty="0">
                <a:solidFill>
                  <a:schemeClr val="tx1"/>
                </a:solidFill>
                <a:cs typeface="Arial" charset="0"/>
              </a:rPr>
              <a:t>Vis hjælpelinjer</a:t>
            </a:r>
          </a:p>
          <a:p>
            <a:pPr algn="r" defTabSz="342900"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1.	Højreklik udenfor </a:t>
            </a:r>
            <a:r>
              <a:rPr lang="da-DK" sz="750" dirty="0" err="1">
                <a:solidFill>
                  <a:schemeClr val="tx1"/>
                </a:solidFill>
                <a:cs typeface="Arial" charset="0"/>
              </a:rPr>
              <a:t>slidet</a:t>
            </a:r>
            <a:r>
              <a:rPr lang="da-DK" sz="750" dirty="0">
                <a:solidFill>
                  <a:schemeClr val="tx1"/>
                </a:solidFill>
                <a:cs typeface="Arial" charset="0"/>
              </a:rPr>
              <a:t> og vælg ’Gitter og hjælpelinjer’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kryds ved ’Vis’ tegnehjælpelinjer på skærmen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hak ved ”Fastgør objekter til gitter”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Vælg OK </a:t>
            </a:r>
          </a:p>
        </p:txBody>
      </p:sp>
      <p:sp>
        <p:nvSpPr>
          <p:cNvPr id="19" name="TextBox 17"/>
          <p:cNvSpPr txBox="1">
            <a:spLocks noChangeArrowheads="1"/>
          </p:cNvSpPr>
          <p:nvPr userDrawn="1"/>
        </p:nvSpPr>
        <p:spPr bwMode="auto">
          <a:xfrm>
            <a:off x="-2090329" y="1133828"/>
            <a:ext cx="1981968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Indsæt et baggrundsbillede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1. Indsæt et billede ved at klikke på den </a:t>
            </a:r>
            <a:br>
              <a:rPr lang="da-DK" sz="750" b="0" dirty="0">
                <a:solidFill>
                  <a:schemeClr val="tx1"/>
                </a:solidFill>
              </a:rPr>
            </a:br>
            <a:r>
              <a:rPr lang="da-DK" sz="750" b="0" dirty="0">
                <a:solidFill>
                  <a:schemeClr val="tx1"/>
                </a:solidFill>
              </a:rPr>
              <a:t>hvide </a:t>
            </a:r>
            <a:r>
              <a:rPr lang="da-DK" sz="750" b="0" dirty="0" err="1">
                <a:solidFill>
                  <a:schemeClr val="tx1"/>
                </a:solidFill>
              </a:rPr>
              <a:t>billedepladsholder</a:t>
            </a:r>
            <a:endParaRPr lang="da-DK" sz="750" b="0" dirty="0">
              <a:solidFill>
                <a:schemeClr val="tx1"/>
              </a:solidFill>
            </a:endParaRP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2. Via</a:t>
            </a:r>
            <a:r>
              <a:rPr lang="da-DK" sz="750" b="0" baseline="0" dirty="0">
                <a:solidFill>
                  <a:schemeClr val="tx1"/>
                </a:solidFill>
              </a:rPr>
              <a:t> ”indsæt” – Vælg ”billede” og ”billede fra fil” – Herfra vælger du billedet, fra din computer, som skal indsættes </a:t>
            </a:r>
          </a:p>
          <a:p>
            <a:pPr marL="0" indent="0" algn="r" eaLnBrk="1" hangingPunct="1">
              <a:buNone/>
              <a:defRPr/>
            </a:pPr>
            <a:r>
              <a:rPr lang="da-DK" sz="750" b="0" baseline="0" dirty="0">
                <a:solidFill>
                  <a:schemeClr val="tx1"/>
                </a:solidFill>
              </a:rPr>
              <a:t>3. </a:t>
            </a:r>
            <a:r>
              <a:rPr lang="da-DK" sz="750" b="0" dirty="0">
                <a:solidFill>
                  <a:schemeClr val="tx1"/>
                </a:solidFill>
              </a:rPr>
              <a:t>Højreklik på billedet og send</a:t>
            </a:r>
            <a:r>
              <a:rPr lang="da-DK" sz="750" b="0" baseline="0" dirty="0">
                <a:solidFill>
                  <a:schemeClr val="tx1"/>
                </a:solidFill>
              </a:rPr>
              <a:t> det bagud</a:t>
            </a:r>
          </a:p>
        </p:txBody>
      </p:sp>
      <p:pic>
        <p:nvPicPr>
          <p:cNvPr id="15" name="Picture 14" descr="Skærmbillede 2016-04-05 kl. 09.35.2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21" name="Text Placeholder 13"/>
          <p:cNvSpPr>
            <a:spLocks noGrp="1"/>
          </p:cNvSpPr>
          <p:nvPr>
            <p:ph type="body" sz="quarter" idx="24"/>
          </p:nvPr>
        </p:nvSpPr>
        <p:spPr>
          <a:xfrm>
            <a:off x="0" y="4279500"/>
            <a:ext cx="9144000" cy="864000"/>
          </a:xfrm>
          <a:solidFill>
            <a:schemeClr val="accent3">
              <a:alpha val="75000"/>
            </a:schemeClr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billede 4"/>
          <p:cNvSpPr>
            <a:spLocks noGrp="1"/>
          </p:cNvSpPr>
          <p:nvPr>
            <p:ph type="pic" sz="quarter" idx="30" hasCustomPrompt="1"/>
          </p:nvPr>
        </p:nvSpPr>
        <p:spPr>
          <a:xfrm>
            <a:off x="5248958" y="2898738"/>
            <a:ext cx="3518921" cy="1164797"/>
          </a:xfrm>
        </p:spPr>
        <p:txBody>
          <a:bodyPr wrap="none" anchor="ctr"/>
          <a:lstStyle>
            <a:lvl1pPr marL="214313" marR="0" indent="-214313" algn="l" defTabSz="6858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214313" marR="0" lvl="0" indent="-214313" algn="l" defTabSz="6858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1500"/>
              </a:spcAft>
              <a:buClrTx/>
              <a:buSzTx/>
              <a:tabLst/>
              <a:defRPr/>
            </a:pPr>
            <a:r>
              <a:rPr lang="da-DK" dirty="0"/>
              <a:t>Klik og indsæt LD-Logo her.</a:t>
            </a:r>
            <a:br>
              <a:rPr lang="da-DK" dirty="0"/>
            </a:br>
            <a:r>
              <a:rPr lang="da-DK" dirty="0"/>
              <a:t>Q:\</a:t>
            </a:r>
            <a:r>
              <a:rPr lang="da-DK" dirty="0" err="1"/>
              <a:t>SEGES_Visuel_identitet</a:t>
            </a:r>
            <a:r>
              <a:rPr lang="da-DK" dirty="0"/>
              <a:t>\PowerPoint\Skabeloner\Grafik til SEGES </a:t>
            </a:r>
            <a:r>
              <a:rPr lang="da-DK" dirty="0" err="1"/>
              <a:t>pptx</a:t>
            </a:r>
            <a:endParaRPr lang="da-DK" dirty="0"/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8011784" y="4491156"/>
            <a:ext cx="756096" cy="440692"/>
          </a:xfrm>
          <a:blipFill rotWithShape="1">
            <a:blip r:embed="rId3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2" name="Pladsholder til billede 4"/>
          <p:cNvSpPr>
            <a:spLocks noGrp="1"/>
          </p:cNvSpPr>
          <p:nvPr>
            <p:ph type="pic" sz="quarter" idx="31" hasCustomPrompt="1"/>
          </p:nvPr>
        </p:nvSpPr>
        <p:spPr>
          <a:xfrm>
            <a:off x="5248958" y="1618513"/>
            <a:ext cx="3518921" cy="1164797"/>
          </a:xfrm>
        </p:spPr>
        <p:txBody>
          <a:bodyPr wrap="none" anchor="ctr"/>
          <a:lstStyle>
            <a:lvl1pPr marL="214313" marR="0" indent="-214313" algn="l" defTabSz="6858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214313" marR="0" lvl="0" indent="-214313" algn="l" defTabSz="6858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1500"/>
              </a:spcAft>
              <a:buClrTx/>
              <a:buSzTx/>
              <a:tabLst/>
              <a:defRPr/>
            </a:pPr>
            <a:r>
              <a:rPr lang="da-DK" dirty="0"/>
              <a:t>Klik og indsæt LD-Logo her.</a:t>
            </a:r>
            <a:br>
              <a:rPr lang="da-DK" dirty="0"/>
            </a:br>
            <a:r>
              <a:rPr lang="da-DK" dirty="0"/>
              <a:t>Q:\</a:t>
            </a:r>
            <a:r>
              <a:rPr lang="da-DK" dirty="0" err="1"/>
              <a:t>SEGES_Visuel_identitet</a:t>
            </a:r>
            <a:r>
              <a:rPr lang="da-DK" dirty="0"/>
              <a:t>\PowerPoint\Skabeloner\Grafik til SEGES </a:t>
            </a:r>
            <a:r>
              <a:rPr lang="da-DK" dirty="0" err="1"/>
              <a:t>pptx</a:t>
            </a:r>
            <a:endParaRPr lang="da-DK" dirty="0"/>
          </a:p>
        </p:txBody>
      </p:sp>
      <p:sp>
        <p:nvSpPr>
          <p:cNvPr id="22" name="Pladsholder til billede 4"/>
          <p:cNvSpPr>
            <a:spLocks noGrp="1"/>
          </p:cNvSpPr>
          <p:nvPr>
            <p:ph type="pic" sz="quarter" idx="33" hasCustomPrompt="1"/>
          </p:nvPr>
        </p:nvSpPr>
        <p:spPr>
          <a:xfrm>
            <a:off x="5248958" y="342163"/>
            <a:ext cx="3518921" cy="1164797"/>
          </a:xfrm>
        </p:spPr>
        <p:txBody>
          <a:bodyPr wrap="none" anchor="ctr"/>
          <a:lstStyle>
            <a:lvl1pPr marL="214313" marR="0" indent="-214313" algn="l" defTabSz="6858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/>
              <a:buNone/>
              <a:tabLst/>
              <a:defRPr sz="750"/>
            </a:lvl1pPr>
          </a:lstStyle>
          <a:p>
            <a:pPr marL="214313" marR="0" lvl="0" indent="-214313" algn="l" defTabSz="6858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1500"/>
              </a:spcAft>
              <a:buClrTx/>
              <a:buSzTx/>
              <a:tabLst/>
              <a:defRPr/>
            </a:pPr>
            <a:r>
              <a:rPr lang="da-DK" dirty="0"/>
              <a:t>Klik og indsæt LD-Logo her.</a:t>
            </a:r>
            <a:br>
              <a:rPr lang="da-DK" dirty="0"/>
            </a:br>
            <a:r>
              <a:rPr lang="da-DK" dirty="0"/>
              <a:t>Q:\</a:t>
            </a:r>
            <a:r>
              <a:rPr lang="da-DK" dirty="0" err="1"/>
              <a:t>SEGES_Visuel_identitet</a:t>
            </a:r>
            <a:r>
              <a:rPr lang="da-DK" dirty="0"/>
              <a:t>\PowerPoint\Skabeloner\Grafik til SEGES </a:t>
            </a:r>
            <a:r>
              <a:rPr lang="da-DK" dirty="0" err="1"/>
              <a:t>pptx</a:t>
            </a:r>
            <a:endParaRPr lang="da-DK" dirty="0"/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365149" y="4522574"/>
            <a:ext cx="994270" cy="393828"/>
          </a:xfrm>
          <a:blipFill rotWithShape="1">
            <a:blip r:embed="rId4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65084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445514"/>
            <a:ext cx="9144000" cy="606572"/>
          </a:xfrm>
          <a:prstGeom prst="rect">
            <a:avLst/>
          </a:prstGeom>
        </p:spPr>
        <p:txBody>
          <a:bodyPr anchor="ctr"/>
          <a:lstStyle>
            <a:lvl1pPr>
              <a:defRPr sz="3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EC1568-49BF-594E-9B2C-38E80A379FCB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26-09-2021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6FB5BB-5704-FB48-BA77-7254DC263D9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297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97396" y="294664"/>
            <a:ext cx="7040215" cy="533729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 dirty="0"/>
              <a:t>Overskrift i op til 2 linjer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-1861700" y="-510"/>
            <a:ext cx="1809306" cy="738698"/>
            <a:chOff x="-2481943" y="-680"/>
            <a:chExt cx="2412094" cy="984930"/>
          </a:xfrm>
        </p:grpSpPr>
        <p:sp>
          <p:nvSpPr>
            <p:cNvPr id="17" name="TextBox 20"/>
            <p:cNvSpPr txBox="1">
              <a:spLocks noChangeArrowheads="1"/>
            </p:cNvSpPr>
            <p:nvPr/>
          </p:nvSpPr>
          <p:spPr bwMode="auto">
            <a:xfrm>
              <a:off x="-2481943" y="-680"/>
              <a:ext cx="2412094" cy="923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da-DK" sz="750" b="1" dirty="0">
                  <a:solidFill>
                    <a:schemeClr val="tx1"/>
                  </a:solidFill>
                  <a:latin typeface="+mn-lt"/>
                </a:rPr>
                <a:t>Tekstslide med punktopstilling</a:t>
              </a:r>
              <a:endParaRPr lang="da-DK" sz="750" dirty="0">
                <a:solidFill>
                  <a:schemeClr val="tx1"/>
                </a:solidFill>
                <a:latin typeface="+mn-lt"/>
              </a:endParaRPr>
            </a:p>
            <a:p>
              <a:pPr algn="r" eaLnBrk="1" hangingPunct="1">
                <a:spcBef>
                  <a:spcPct val="50000"/>
                </a:spcBef>
                <a:defRPr/>
              </a:pP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Brug knapperne ‘Forøge / Formindske </a:t>
              </a:r>
              <a:br>
                <a:rPr lang="da-DK" sz="750" dirty="0">
                  <a:solidFill>
                    <a:schemeClr val="tx1"/>
                  </a:solidFill>
                  <a:latin typeface="+mn-lt"/>
                </a:rPr>
              </a:b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indryk’ for at skifte mellem</a:t>
              </a:r>
              <a:br>
                <a:rPr lang="da-DK" sz="750" dirty="0">
                  <a:solidFill>
                    <a:schemeClr val="tx1"/>
                  </a:solidFill>
                  <a:latin typeface="+mn-lt"/>
                </a:rPr>
              </a:b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de forskellige tekst niveauer</a:t>
              </a:r>
            </a:p>
            <a:p>
              <a:pPr algn="r" eaLnBrk="1" hangingPunct="1">
                <a:spcBef>
                  <a:spcPct val="50000"/>
                </a:spcBef>
                <a:defRPr/>
              </a:pPr>
              <a:endParaRPr lang="da-DK" sz="7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-1072921" y="733313"/>
              <a:ext cx="992188" cy="250937"/>
              <a:chOff x="-1214439" y="765971"/>
              <a:chExt cx="992188" cy="250937"/>
            </a:xfrm>
          </p:grpSpPr>
          <p:grpSp>
            <p:nvGrpSpPr>
              <p:cNvPr id="20" name="Group 2"/>
              <p:cNvGrpSpPr>
                <a:grpSpLocks/>
              </p:cNvGrpSpPr>
              <p:nvPr/>
            </p:nvGrpSpPr>
            <p:grpSpPr bwMode="auto">
              <a:xfrm>
                <a:off x="-1214439" y="765971"/>
                <a:ext cx="437608" cy="246173"/>
                <a:chOff x="-1214439" y="732970"/>
                <a:chExt cx="437608" cy="246063"/>
              </a:xfrm>
            </p:grpSpPr>
            <p:grpSp>
              <p:nvGrpSpPr>
                <p:cNvPr id="25" name="Group 3"/>
                <p:cNvGrpSpPr>
                  <a:grpSpLocks/>
                </p:cNvGrpSpPr>
                <p:nvPr/>
              </p:nvGrpSpPr>
              <p:grpSpPr bwMode="auto">
                <a:xfrm>
                  <a:off x="-1214439" y="741702"/>
                  <a:ext cx="428625" cy="228600"/>
                  <a:chOff x="-727592" y="3306446"/>
                  <a:chExt cx="429053" cy="228767"/>
                </a:xfrm>
              </p:grpSpPr>
              <p:pic>
                <p:nvPicPr>
                  <p:cNvPr id="27" name="Picture 14" descr="fke3b.jpg"/>
                  <p:cNvPicPr>
                    <a:picLocks noChangeAspect="1"/>
                  </p:cNvPicPr>
                  <p:nvPr/>
                </p:nvPicPr>
                <p:blipFill>
                  <a:blip r:embed="rId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-727293" y="3306446"/>
                    <a:ext cx="428754" cy="22876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28" name="Rectangle 27"/>
                  <p:cNvSpPr/>
                  <p:nvPr/>
                </p:nvSpPr>
                <p:spPr bwMode="auto">
                  <a:xfrm>
                    <a:off x="-727591" y="3332754"/>
                    <a:ext cx="214527" cy="215961"/>
                  </a:xfrm>
                  <a:prstGeom prst="rect">
                    <a:avLst/>
                  </a:prstGeom>
                  <a:solidFill>
                    <a:srgbClr val="FFFFFF">
                      <a:alpha val="60000"/>
                    </a:srgbClr>
                  </a:solidFill>
                  <a:ln>
                    <a:noFill/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 sz="135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26" name="Rounded Rectangle 25"/>
                <p:cNvSpPr/>
                <p:nvPr/>
              </p:nvSpPr>
              <p:spPr bwMode="auto">
                <a:xfrm>
                  <a:off x="-1014413" y="733082"/>
                  <a:ext cx="238125" cy="245953"/>
                </a:xfrm>
                <a:prstGeom prst="roundRect">
                  <a:avLst/>
                </a:prstGeom>
                <a:noFill/>
                <a:ln w="12700">
                  <a:solidFill>
                    <a:schemeClr val="accent2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grpSp>
            <p:nvGrpSpPr>
              <p:cNvPr id="21" name="Group 28"/>
              <p:cNvGrpSpPr>
                <a:grpSpLocks/>
              </p:cNvGrpSpPr>
              <p:nvPr/>
            </p:nvGrpSpPr>
            <p:grpSpPr bwMode="auto">
              <a:xfrm>
                <a:off x="-682626" y="770735"/>
                <a:ext cx="460375" cy="246173"/>
                <a:chOff x="-561836" y="3417665"/>
                <a:chExt cx="460236" cy="245883"/>
              </a:xfrm>
            </p:grpSpPr>
            <p:pic>
              <p:nvPicPr>
                <p:cNvPr id="22" name="Picture 2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549275" y="3434948"/>
                  <a:ext cx="447675" cy="2286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23" name="Rectangle 22"/>
                <p:cNvSpPr/>
                <p:nvPr/>
              </p:nvSpPr>
              <p:spPr>
                <a:xfrm>
                  <a:off x="-317434" y="3436803"/>
                  <a:ext cx="214247" cy="217231"/>
                </a:xfrm>
                <a:prstGeom prst="rect">
                  <a:avLst/>
                </a:prstGeom>
                <a:solidFill>
                  <a:srgbClr val="FFFFFF">
                    <a:alpha val="60000"/>
                  </a:srgbClr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  <p:sp>
              <p:nvSpPr>
                <p:cNvPr id="24" name="Rounded Rectangle 23"/>
                <p:cNvSpPr/>
                <p:nvPr/>
              </p:nvSpPr>
              <p:spPr>
                <a:xfrm>
                  <a:off x="-561835" y="3417776"/>
                  <a:ext cx="238053" cy="245772"/>
                </a:xfrm>
                <a:prstGeom prst="roundRect">
                  <a:avLst/>
                </a:prstGeom>
                <a:noFill/>
                <a:ln w="12700">
                  <a:solidFill>
                    <a:schemeClr val="accent2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</p:grpSp>
      </p:grpSp>
      <p:sp>
        <p:nvSpPr>
          <p:cNvPr id="4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0D5B630E-43CE-844A-940E-F43487ACEA3D}" type="datetime1">
              <a:rPr lang="da-DK" smtClean="0"/>
              <a:t>26-09-2021</a:t>
            </a:fld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F2B6656-7882-4CEF-9850-9EB873E823C4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7" name="Content Placeholder 6"/>
          <p:cNvSpPr>
            <a:spLocks noGrp="1"/>
          </p:cNvSpPr>
          <p:nvPr>
            <p:ph sz="quarter" idx="21" hasCustomPrompt="1"/>
          </p:nvPr>
        </p:nvSpPr>
        <p:spPr>
          <a:xfrm>
            <a:off x="407247" y="1162050"/>
            <a:ext cx="7040215" cy="3111104"/>
          </a:xfrm>
        </p:spPr>
        <p:txBody>
          <a:bodyPr/>
          <a:lstStyle/>
          <a:p>
            <a:pPr lvl="0"/>
            <a:r>
              <a:rPr lang="da-DK" noProof="0" dirty="0"/>
              <a:t>Klik for at tilføje indhold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</p:txBody>
      </p:sp>
      <p:pic>
        <p:nvPicPr>
          <p:cNvPr id="38" name="Picture 37" descr="LF_Logo_RGB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83" y="4491156"/>
            <a:ext cx="756097" cy="440692"/>
          </a:xfrm>
          <a:prstGeom prst="rect">
            <a:avLst/>
          </a:prstGeom>
        </p:spPr>
      </p:pic>
      <p:sp>
        <p:nvSpPr>
          <p:cNvPr id="29" name="TextBox 28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34" name="TextBox 17"/>
          <p:cNvSpPr txBox="1">
            <a:spLocks noChangeArrowheads="1"/>
          </p:cNvSpPr>
          <p:nvPr userDrawn="1"/>
        </p:nvSpPr>
        <p:spPr bwMode="auto">
          <a:xfrm>
            <a:off x="-2090329" y="1133828"/>
            <a:ext cx="19819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Skift</a:t>
            </a:r>
            <a:r>
              <a:rPr lang="da-DK" sz="750" b="1" baseline="0" dirty="0">
                <a:solidFill>
                  <a:schemeClr val="tx1"/>
                </a:solidFill>
              </a:rPr>
              <a:t> farve på LF bjælkerne</a:t>
            </a:r>
            <a:endParaRPr lang="da-DK" sz="750" b="1" dirty="0">
              <a:solidFill>
                <a:schemeClr val="tx1"/>
              </a:solidFill>
            </a:endParaRP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Klik på bjælken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værktøjslinjen vælg ”Farvespanden”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”drop ned” menuen vælg en af </a:t>
            </a:r>
            <a:r>
              <a:rPr lang="da-DK" sz="750" b="0" dirty="0" err="1">
                <a:solidFill>
                  <a:schemeClr val="tx1"/>
                </a:solidFill>
              </a:rPr>
              <a:t>temafarvene</a:t>
            </a:r>
            <a:r>
              <a:rPr lang="da-DK" sz="750" b="0" dirty="0">
                <a:solidFill>
                  <a:schemeClr val="tx1"/>
                </a:solidFill>
              </a:rPr>
              <a:t> for at farvelægge bjælken</a:t>
            </a:r>
          </a:p>
        </p:txBody>
      </p:sp>
      <p:pic>
        <p:nvPicPr>
          <p:cNvPr id="31" name="Picture 30" descr="Skærmbillede 2016-04-05 kl. 09.35.22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32" name="Text Placeholder 13"/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162021" cy="4293000"/>
          </a:xfrm>
          <a:solidFill>
            <a:schemeClr val="tx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4"/>
          </p:nvPr>
        </p:nvSpPr>
        <p:spPr>
          <a:xfrm>
            <a:off x="0" y="4279500"/>
            <a:ext cx="162021" cy="864000"/>
          </a:xfrm>
          <a:solidFill>
            <a:schemeClr val="accent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37" name="Billede 3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47" y="4601755"/>
            <a:ext cx="919518" cy="23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47598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spalter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 dirty="0"/>
              <a:t>Overskrift i op til 2 linjer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2C6ECF-3192-DC4B-B1E4-B2022DC1CFC2}" type="datetime1">
              <a:rPr lang="da-DK" noProof="0" smtClean="0"/>
              <a:t>26-09-2021</a:t>
            </a:fld>
            <a:endParaRPr lang="da-DK" noProof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2B6656-7882-4CEF-9850-9EB873E823C4}" type="slidenum">
              <a:rPr lang="da-DK" noProof="0" smtClean="0"/>
              <a:pPr/>
              <a:t>‹nr.›</a:t>
            </a:fld>
            <a:endParaRPr lang="da-DK" noProof="0"/>
          </a:p>
        </p:txBody>
      </p:sp>
      <p:sp>
        <p:nvSpPr>
          <p:cNvPr id="37" name="Content Placeholder 6"/>
          <p:cNvSpPr>
            <a:spLocks noGrp="1"/>
          </p:cNvSpPr>
          <p:nvPr>
            <p:ph sz="quarter" idx="22" hasCustomPrompt="1"/>
          </p:nvPr>
        </p:nvSpPr>
        <p:spPr>
          <a:xfrm>
            <a:off x="4001021" y="1162050"/>
            <a:ext cx="3446441" cy="3111104"/>
          </a:xfrm>
        </p:spPr>
        <p:txBody>
          <a:bodyPr/>
          <a:lstStyle/>
          <a:p>
            <a:pPr lvl="0"/>
            <a:r>
              <a:rPr lang="da-DK" noProof="0" dirty="0"/>
              <a:t>Klik for at tilføje indhold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</p:txBody>
      </p:sp>
      <p:sp>
        <p:nvSpPr>
          <p:cNvPr id="39" name="Content Placeholder 6"/>
          <p:cNvSpPr>
            <a:spLocks noGrp="1"/>
          </p:cNvSpPr>
          <p:nvPr>
            <p:ph sz="quarter" idx="24" hasCustomPrompt="1"/>
          </p:nvPr>
        </p:nvSpPr>
        <p:spPr>
          <a:xfrm>
            <a:off x="407247" y="1162050"/>
            <a:ext cx="3450880" cy="3111104"/>
          </a:xfrm>
        </p:spPr>
        <p:txBody>
          <a:bodyPr/>
          <a:lstStyle/>
          <a:p>
            <a:pPr lvl="0"/>
            <a:r>
              <a:rPr lang="da-DK" noProof="0" dirty="0"/>
              <a:t>Klik for at tilføje indhold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</p:txBody>
      </p:sp>
      <p:pic>
        <p:nvPicPr>
          <p:cNvPr id="41" name="Picture 40" descr="LF_Logo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83" y="4491156"/>
            <a:ext cx="756097" cy="440692"/>
          </a:xfrm>
          <a:prstGeom prst="rect">
            <a:avLst/>
          </a:prstGeom>
        </p:spPr>
      </p:pic>
      <p:grpSp>
        <p:nvGrpSpPr>
          <p:cNvPr id="31" name="Group 30"/>
          <p:cNvGrpSpPr/>
          <p:nvPr userDrawn="1"/>
        </p:nvGrpSpPr>
        <p:grpSpPr>
          <a:xfrm>
            <a:off x="-1861700" y="-510"/>
            <a:ext cx="1809306" cy="738698"/>
            <a:chOff x="-2481943" y="-680"/>
            <a:chExt cx="2412094" cy="984930"/>
          </a:xfrm>
        </p:grpSpPr>
        <p:sp>
          <p:nvSpPr>
            <p:cNvPr id="32" name="TextBox 20"/>
            <p:cNvSpPr txBox="1">
              <a:spLocks noChangeArrowheads="1"/>
            </p:cNvSpPr>
            <p:nvPr/>
          </p:nvSpPr>
          <p:spPr bwMode="auto">
            <a:xfrm>
              <a:off x="-2481943" y="-680"/>
              <a:ext cx="2412094" cy="923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da-DK" sz="750" b="1" dirty="0">
                  <a:solidFill>
                    <a:schemeClr val="tx1"/>
                  </a:solidFill>
                  <a:latin typeface="+mn-lt"/>
                </a:rPr>
                <a:t>Tekstslide med punktopstilling</a:t>
              </a:r>
              <a:endParaRPr lang="da-DK" sz="750" dirty="0">
                <a:solidFill>
                  <a:schemeClr val="tx1"/>
                </a:solidFill>
                <a:latin typeface="+mn-lt"/>
              </a:endParaRPr>
            </a:p>
            <a:p>
              <a:pPr algn="r" eaLnBrk="1" hangingPunct="1">
                <a:spcBef>
                  <a:spcPct val="50000"/>
                </a:spcBef>
                <a:defRPr/>
              </a:pP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Brug knapperne ‘Forøge / Formindske </a:t>
              </a:r>
              <a:br>
                <a:rPr lang="da-DK" sz="750" dirty="0">
                  <a:solidFill>
                    <a:schemeClr val="tx1"/>
                  </a:solidFill>
                  <a:latin typeface="+mn-lt"/>
                </a:rPr>
              </a:b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indryk’ for at skifte mellem</a:t>
              </a:r>
              <a:br>
                <a:rPr lang="da-DK" sz="750" dirty="0">
                  <a:solidFill>
                    <a:schemeClr val="tx1"/>
                  </a:solidFill>
                  <a:latin typeface="+mn-lt"/>
                </a:rPr>
              </a:b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de forskellige tekst niveauer</a:t>
              </a:r>
            </a:p>
            <a:p>
              <a:pPr algn="r" eaLnBrk="1" hangingPunct="1">
                <a:spcBef>
                  <a:spcPct val="50000"/>
                </a:spcBef>
                <a:defRPr/>
              </a:pPr>
              <a:endParaRPr lang="da-DK" sz="7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35" name="Group 34"/>
            <p:cNvGrpSpPr/>
            <p:nvPr userDrawn="1"/>
          </p:nvGrpSpPr>
          <p:grpSpPr>
            <a:xfrm>
              <a:off x="-1072921" y="733313"/>
              <a:ext cx="992188" cy="250937"/>
              <a:chOff x="-1214439" y="765971"/>
              <a:chExt cx="992188" cy="250937"/>
            </a:xfrm>
          </p:grpSpPr>
          <p:grpSp>
            <p:nvGrpSpPr>
              <p:cNvPr id="36" name="Group 2"/>
              <p:cNvGrpSpPr>
                <a:grpSpLocks/>
              </p:cNvGrpSpPr>
              <p:nvPr/>
            </p:nvGrpSpPr>
            <p:grpSpPr bwMode="auto">
              <a:xfrm>
                <a:off x="-1214439" y="765971"/>
                <a:ext cx="437608" cy="246173"/>
                <a:chOff x="-1214439" y="732970"/>
                <a:chExt cx="437608" cy="246063"/>
              </a:xfrm>
            </p:grpSpPr>
            <p:grpSp>
              <p:nvGrpSpPr>
                <p:cNvPr id="47" name="Group 3"/>
                <p:cNvGrpSpPr>
                  <a:grpSpLocks/>
                </p:cNvGrpSpPr>
                <p:nvPr/>
              </p:nvGrpSpPr>
              <p:grpSpPr bwMode="auto">
                <a:xfrm>
                  <a:off x="-1214439" y="741702"/>
                  <a:ext cx="428625" cy="228600"/>
                  <a:chOff x="-727592" y="3306446"/>
                  <a:chExt cx="429053" cy="228767"/>
                </a:xfrm>
              </p:grpSpPr>
              <p:pic>
                <p:nvPicPr>
                  <p:cNvPr id="49" name="Picture 14" descr="fke3b.jpg"/>
                  <p:cNvPicPr>
                    <a:picLocks noChangeAspect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-727293" y="3306446"/>
                    <a:ext cx="428754" cy="22876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50" name="Rectangle 49"/>
                  <p:cNvSpPr/>
                  <p:nvPr/>
                </p:nvSpPr>
                <p:spPr bwMode="auto">
                  <a:xfrm>
                    <a:off x="-727591" y="3332754"/>
                    <a:ext cx="214527" cy="215961"/>
                  </a:xfrm>
                  <a:prstGeom prst="rect">
                    <a:avLst/>
                  </a:prstGeom>
                  <a:solidFill>
                    <a:srgbClr val="FFFFFF">
                      <a:alpha val="60000"/>
                    </a:srgbClr>
                  </a:solidFill>
                  <a:ln>
                    <a:noFill/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 sz="135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8" name="Rounded Rectangle 47"/>
                <p:cNvSpPr/>
                <p:nvPr/>
              </p:nvSpPr>
              <p:spPr bwMode="auto">
                <a:xfrm>
                  <a:off x="-1014413" y="733082"/>
                  <a:ext cx="238125" cy="245953"/>
                </a:xfrm>
                <a:prstGeom prst="roundRect">
                  <a:avLst/>
                </a:prstGeom>
                <a:noFill/>
                <a:ln w="12700">
                  <a:solidFill>
                    <a:schemeClr val="accent2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grpSp>
            <p:nvGrpSpPr>
              <p:cNvPr id="38" name="Group 28"/>
              <p:cNvGrpSpPr>
                <a:grpSpLocks/>
              </p:cNvGrpSpPr>
              <p:nvPr/>
            </p:nvGrpSpPr>
            <p:grpSpPr bwMode="auto">
              <a:xfrm>
                <a:off x="-682626" y="770735"/>
                <a:ext cx="460375" cy="246173"/>
                <a:chOff x="-561836" y="3417665"/>
                <a:chExt cx="460236" cy="245883"/>
              </a:xfrm>
            </p:grpSpPr>
            <p:pic>
              <p:nvPicPr>
                <p:cNvPr id="40" name="Picture 2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549275" y="3434948"/>
                  <a:ext cx="447675" cy="2286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5" name="Rectangle 44"/>
                <p:cNvSpPr/>
                <p:nvPr/>
              </p:nvSpPr>
              <p:spPr>
                <a:xfrm>
                  <a:off x="-317434" y="3436803"/>
                  <a:ext cx="214247" cy="217231"/>
                </a:xfrm>
                <a:prstGeom prst="rect">
                  <a:avLst/>
                </a:prstGeom>
                <a:solidFill>
                  <a:srgbClr val="FFFFFF">
                    <a:alpha val="60000"/>
                  </a:srgbClr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  <p:sp>
              <p:nvSpPr>
                <p:cNvPr id="46" name="Rounded Rectangle 45"/>
                <p:cNvSpPr/>
                <p:nvPr/>
              </p:nvSpPr>
              <p:spPr>
                <a:xfrm>
                  <a:off x="-561835" y="3417776"/>
                  <a:ext cx="238053" cy="245772"/>
                </a:xfrm>
                <a:prstGeom prst="roundRect">
                  <a:avLst/>
                </a:prstGeom>
                <a:noFill/>
                <a:ln w="12700">
                  <a:solidFill>
                    <a:schemeClr val="accent2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</p:grpSp>
      </p:grpSp>
      <p:sp>
        <p:nvSpPr>
          <p:cNvPr id="51" name="TextBox 50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-2090329" y="1133828"/>
            <a:ext cx="19819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Skift</a:t>
            </a:r>
            <a:r>
              <a:rPr lang="da-DK" sz="750" b="1" baseline="0" dirty="0">
                <a:solidFill>
                  <a:schemeClr val="tx1"/>
                </a:solidFill>
              </a:rPr>
              <a:t> farve på LF bjælkerne</a:t>
            </a:r>
            <a:endParaRPr lang="da-DK" sz="750" b="1" dirty="0">
              <a:solidFill>
                <a:schemeClr val="tx1"/>
              </a:solidFill>
            </a:endParaRP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Klik på bjælken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værktøjslinjen vælg ”Farvespanden”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”drop ned” menuen vælg en af </a:t>
            </a:r>
            <a:r>
              <a:rPr lang="da-DK" sz="750" b="0" dirty="0" err="1">
                <a:solidFill>
                  <a:schemeClr val="tx1"/>
                </a:solidFill>
              </a:rPr>
              <a:t>temafarvene</a:t>
            </a:r>
            <a:r>
              <a:rPr lang="da-DK" sz="750" b="0" dirty="0">
                <a:solidFill>
                  <a:schemeClr val="tx1"/>
                </a:solidFill>
              </a:rPr>
              <a:t> for at farvelægge bjælken</a:t>
            </a:r>
          </a:p>
        </p:txBody>
      </p:sp>
      <p:pic>
        <p:nvPicPr>
          <p:cNvPr id="27" name="Picture 26" descr="Skærmbillede 2016-04-05 kl. 09.35.22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30" name="Text Placeholder 13"/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162021" cy="4293000"/>
          </a:xfrm>
          <a:solidFill>
            <a:schemeClr val="tx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0" y="4279500"/>
            <a:ext cx="162021" cy="864000"/>
          </a:xfrm>
          <a:solidFill>
            <a:schemeClr val="accent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47" y="4601755"/>
            <a:ext cx="919518" cy="23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6486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(høj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6022836" y="1162050"/>
            <a:ext cx="2700351" cy="3111104"/>
          </a:xfrm>
        </p:spPr>
        <p:txBody>
          <a:bodyPr tIns="2376000"/>
          <a:lstStyle>
            <a:lvl1pPr marL="0" indent="0" algn="ctr">
              <a:buFont typeface="Arial" pitchFamily="34" charset="0"/>
              <a:buNone/>
              <a:defRPr sz="1050" b="0"/>
            </a:lvl1pPr>
          </a:lstStyle>
          <a:p>
            <a:r>
              <a:rPr lang="da-DK" noProof="0" dirty="0"/>
              <a:t>Indsæt billede</a:t>
            </a:r>
          </a:p>
        </p:txBody>
      </p:sp>
      <p:sp>
        <p:nvSpPr>
          <p:cNvPr id="33" name="Content Placeholder 6"/>
          <p:cNvSpPr>
            <a:spLocks noGrp="1"/>
          </p:cNvSpPr>
          <p:nvPr>
            <p:ph sz="quarter" idx="24" hasCustomPrompt="1"/>
          </p:nvPr>
        </p:nvSpPr>
        <p:spPr>
          <a:xfrm>
            <a:off x="407247" y="1162050"/>
            <a:ext cx="5451391" cy="3111104"/>
          </a:xfrm>
        </p:spPr>
        <p:txBody>
          <a:bodyPr/>
          <a:lstStyle/>
          <a:p>
            <a:pPr lvl="0"/>
            <a:r>
              <a:rPr lang="da-DK" noProof="0" dirty="0"/>
              <a:t>Klik for at tilføje indhold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</p:txBody>
      </p:sp>
      <p:sp>
        <p:nvSpPr>
          <p:cNvPr id="34" name="Title 1"/>
          <p:cNvSpPr>
            <a:spLocks noGrp="1"/>
          </p:cNvSpPr>
          <p:nvPr>
            <p:ph type="title" hasCustomPrompt="1"/>
          </p:nvPr>
        </p:nvSpPr>
        <p:spPr>
          <a:xfrm>
            <a:off x="397396" y="294664"/>
            <a:ext cx="7040215" cy="533729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 dirty="0"/>
              <a:t>Overskrift i op til 2 linjer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8C22AC67-55FF-1748-A744-68C60D57CAD9}" type="datetime1">
              <a:rPr lang="da-DK" smtClean="0"/>
              <a:t>26-09-2021</a:t>
            </a:fld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4F2B6656-7882-4CEF-9850-9EB873E823C4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5" name="Picture 34" descr="LF_Logo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83" y="4491156"/>
            <a:ext cx="756097" cy="440692"/>
          </a:xfrm>
          <a:prstGeom prst="rect">
            <a:avLst/>
          </a:prstGeom>
        </p:spPr>
      </p:pic>
      <p:grpSp>
        <p:nvGrpSpPr>
          <p:cNvPr id="51" name="Group 50"/>
          <p:cNvGrpSpPr/>
          <p:nvPr userDrawn="1"/>
        </p:nvGrpSpPr>
        <p:grpSpPr>
          <a:xfrm>
            <a:off x="-1861700" y="-510"/>
            <a:ext cx="1809306" cy="738698"/>
            <a:chOff x="-2481943" y="-680"/>
            <a:chExt cx="2412094" cy="984930"/>
          </a:xfrm>
        </p:grpSpPr>
        <p:sp>
          <p:nvSpPr>
            <p:cNvPr id="52" name="TextBox 20"/>
            <p:cNvSpPr txBox="1">
              <a:spLocks noChangeArrowheads="1"/>
            </p:cNvSpPr>
            <p:nvPr/>
          </p:nvSpPr>
          <p:spPr bwMode="auto">
            <a:xfrm>
              <a:off x="-2481943" y="-680"/>
              <a:ext cx="2412094" cy="923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da-DK" sz="750" b="1" dirty="0">
                  <a:solidFill>
                    <a:schemeClr val="tx1"/>
                  </a:solidFill>
                  <a:latin typeface="+mn-lt"/>
                </a:rPr>
                <a:t>Tekstslide med punktopstilling</a:t>
              </a:r>
              <a:endParaRPr lang="da-DK" sz="750" dirty="0">
                <a:solidFill>
                  <a:schemeClr val="tx1"/>
                </a:solidFill>
                <a:latin typeface="+mn-lt"/>
              </a:endParaRPr>
            </a:p>
            <a:p>
              <a:pPr algn="r" eaLnBrk="1" hangingPunct="1">
                <a:spcBef>
                  <a:spcPct val="50000"/>
                </a:spcBef>
                <a:defRPr/>
              </a:pP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Brug knapperne ‘Forøge / Formindske </a:t>
              </a:r>
              <a:br>
                <a:rPr lang="da-DK" sz="750" dirty="0">
                  <a:solidFill>
                    <a:schemeClr val="tx1"/>
                  </a:solidFill>
                  <a:latin typeface="+mn-lt"/>
                </a:rPr>
              </a:b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indryk’ for at skifte mellem</a:t>
              </a:r>
              <a:br>
                <a:rPr lang="da-DK" sz="750" dirty="0">
                  <a:solidFill>
                    <a:schemeClr val="tx1"/>
                  </a:solidFill>
                  <a:latin typeface="+mn-lt"/>
                </a:rPr>
              </a:b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de forskellige tekst niveauer</a:t>
              </a:r>
            </a:p>
            <a:p>
              <a:pPr algn="r" eaLnBrk="1" hangingPunct="1">
                <a:spcBef>
                  <a:spcPct val="50000"/>
                </a:spcBef>
                <a:defRPr/>
              </a:pPr>
              <a:endParaRPr lang="da-DK" sz="7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3" name="Group 52"/>
            <p:cNvGrpSpPr/>
            <p:nvPr userDrawn="1"/>
          </p:nvGrpSpPr>
          <p:grpSpPr>
            <a:xfrm>
              <a:off x="-1072921" y="733313"/>
              <a:ext cx="992188" cy="250937"/>
              <a:chOff x="-1214439" y="765971"/>
              <a:chExt cx="992188" cy="250937"/>
            </a:xfrm>
          </p:grpSpPr>
          <p:grpSp>
            <p:nvGrpSpPr>
              <p:cNvPr id="54" name="Group 2"/>
              <p:cNvGrpSpPr>
                <a:grpSpLocks/>
              </p:cNvGrpSpPr>
              <p:nvPr/>
            </p:nvGrpSpPr>
            <p:grpSpPr bwMode="auto">
              <a:xfrm>
                <a:off x="-1214439" y="765971"/>
                <a:ext cx="437608" cy="246173"/>
                <a:chOff x="-1214439" y="732970"/>
                <a:chExt cx="437608" cy="246063"/>
              </a:xfrm>
            </p:grpSpPr>
            <p:grpSp>
              <p:nvGrpSpPr>
                <p:cNvPr id="59" name="Group 3"/>
                <p:cNvGrpSpPr>
                  <a:grpSpLocks/>
                </p:cNvGrpSpPr>
                <p:nvPr/>
              </p:nvGrpSpPr>
              <p:grpSpPr bwMode="auto">
                <a:xfrm>
                  <a:off x="-1214439" y="741702"/>
                  <a:ext cx="428625" cy="228600"/>
                  <a:chOff x="-727592" y="3306446"/>
                  <a:chExt cx="429053" cy="228767"/>
                </a:xfrm>
              </p:grpSpPr>
              <p:pic>
                <p:nvPicPr>
                  <p:cNvPr id="61" name="Picture 14" descr="fke3b.jpg"/>
                  <p:cNvPicPr>
                    <a:picLocks noChangeAspect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-727293" y="3306446"/>
                    <a:ext cx="428754" cy="22876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62" name="Rectangle 61"/>
                  <p:cNvSpPr/>
                  <p:nvPr/>
                </p:nvSpPr>
                <p:spPr bwMode="auto">
                  <a:xfrm>
                    <a:off x="-727591" y="3332754"/>
                    <a:ext cx="214527" cy="215961"/>
                  </a:xfrm>
                  <a:prstGeom prst="rect">
                    <a:avLst/>
                  </a:prstGeom>
                  <a:solidFill>
                    <a:srgbClr val="FFFFFF">
                      <a:alpha val="60000"/>
                    </a:srgbClr>
                  </a:solidFill>
                  <a:ln>
                    <a:noFill/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 sz="135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60" name="Rounded Rectangle 59"/>
                <p:cNvSpPr/>
                <p:nvPr/>
              </p:nvSpPr>
              <p:spPr bwMode="auto">
                <a:xfrm>
                  <a:off x="-1014413" y="733082"/>
                  <a:ext cx="238125" cy="245953"/>
                </a:xfrm>
                <a:prstGeom prst="roundRect">
                  <a:avLst/>
                </a:prstGeom>
                <a:noFill/>
                <a:ln w="12700">
                  <a:solidFill>
                    <a:schemeClr val="accent2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grpSp>
            <p:nvGrpSpPr>
              <p:cNvPr id="55" name="Group 28"/>
              <p:cNvGrpSpPr>
                <a:grpSpLocks/>
              </p:cNvGrpSpPr>
              <p:nvPr/>
            </p:nvGrpSpPr>
            <p:grpSpPr bwMode="auto">
              <a:xfrm>
                <a:off x="-682626" y="770735"/>
                <a:ext cx="460375" cy="246173"/>
                <a:chOff x="-561836" y="3417665"/>
                <a:chExt cx="460236" cy="245883"/>
              </a:xfrm>
            </p:grpSpPr>
            <p:pic>
              <p:nvPicPr>
                <p:cNvPr id="56" name="Picture 2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549275" y="3434948"/>
                  <a:ext cx="447675" cy="2286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57" name="Rectangle 56"/>
                <p:cNvSpPr/>
                <p:nvPr/>
              </p:nvSpPr>
              <p:spPr>
                <a:xfrm>
                  <a:off x="-317434" y="3436803"/>
                  <a:ext cx="214247" cy="217231"/>
                </a:xfrm>
                <a:prstGeom prst="rect">
                  <a:avLst/>
                </a:prstGeom>
                <a:solidFill>
                  <a:srgbClr val="FFFFFF">
                    <a:alpha val="60000"/>
                  </a:srgbClr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  <p:sp>
              <p:nvSpPr>
                <p:cNvPr id="58" name="Rounded Rectangle 57"/>
                <p:cNvSpPr/>
                <p:nvPr/>
              </p:nvSpPr>
              <p:spPr>
                <a:xfrm>
                  <a:off x="-561835" y="3417776"/>
                  <a:ext cx="238053" cy="245772"/>
                </a:xfrm>
                <a:prstGeom prst="roundRect">
                  <a:avLst/>
                </a:prstGeom>
                <a:noFill/>
                <a:ln w="12700">
                  <a:solidFill>
                    <a:schemeClr val="accent2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</p:grpSp>
      </p:grpSp>
      <p:sp>
        <p:nvSpPr>
          <p:cNvPr id="63" name="TextBox 62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65" name="TextBox 17"/>
          <p:cNvSpPr txBox="1">
            <a:spLocks noChangeArrowheads="1"/>
          </p:cNvSpPr>
          <p:nvPr userDrawn="1"/>
        </p:nvSpPr>
        <p:spPr bwMode="auto">
          <a:xfrm>
            <a:off x="-2090329" y="1133828"/>
            <a:ext cx="19819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Skift</a:t>
            </a:r>
            <a:r>
              <a:rPr lang="da-DK" sz="750" b="1" baseline="0" dirty="0">
                <a:solidFill>
                  <a:schemeClr val="tx1"/>
                </a:solidFill>
              </a:rPr>
              <a:t> farve på LF bjælkerne</a:t>
            </a:r>
            <a:endParaRPr lang="da-DK" sz="750" b="1" dirty="0">
              <a:solidFill>
                <a:schemeClr val="tx1"/>
              </a:solidFill>
            </a:endParaRP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Klik på bjælken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værktøjslinjen vælg ”Farvespanden”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”drop ned” menuen vælg en af </a:t>
            </a:r>
            <a:r>
              <a:rPr lang="da-DK" sz="750" b="0" dirty="0" err="1">
                <a:solidFill>
                  <a:schemeClr val="tx1"/>
                </a:solidFill>
              </a:rPr>
              <a:t>temafarvene</a:t>
            </a:r>
            <a:r>
              <a:rPr lang="da-DK" sz="750" b="0" dirty="0">
                <a:solidFill>
                  <a:schemeClr val="tx1"/>
                </a:solidFill>
              </a:rPr>
              <a:t> for at farvelægge bjælken</a:t>
            </a:r>
          </a:p>
        </p:txBody>
      </p:sp>
      <p:pic>
        <p:nvPicPr>
          <p:cNvPr id="67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9834" y="2565119"/>
            <a:ext cx="171472" cy="177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8" name="TextBox 17"/>
          <p:cNvSpPr txBox="1">
            <a:spLocks noChangeArrowheads="1"/>
          </p:cNvSpPr>
          <p:nvPr userDrawn="1"/>
        </p:nvSpPr>
        <p:spPr bwMode="auto">
          <a:xfrm>
            <a:off x="-2010037" y="1955886"/>
            <a:ext cx="1901676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Indsæt</a:t>
            </a:r>
            <a:r>
              <a:rPr lang="da-DK" sz="750" b="1" baseline="0" dirty="0">
                <a:solidFill>
                  <a:schemeClr val="tx1"/>
                </a:solidFill>
              </a:rPr>
              <a:t> </a:t>
            </a:r>
            <a:r>
              <a:rPr lang="da-DK" sz="750" b="1" dirty="0">
                <a:solidFill>
                  <a:schemeClr val="tx1"/>
                </a:solidFill>
              </a:rPr>
              <a:t>billede i pladsholderne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1. Indsæt et billede ved at klikke på ikonet midt i pladsholderen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2. V</a:t>
            </a:r>
            <a:r>
              <a:rPr lang="da-DK" sz="750" b="0" baseline="0" dirty="0">
                <a:solidFill>
                  <a:schemeClr val="tx1"/>
                </a:solidFill>
              </a:rPr>
              <a:t>ælg et billedet, fra din computer, som skal indsættes</a:t>
            </a:r>
          </a:p>
        </p:txBody>
      </p:sp>
      <p:pic>
        <p:nvPicPr>
          <p:cNvPr id="29" name="Picture 28" descr="Skærmbillede 2016-04-05 kl. 09.35.2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32" name="Text Placeholder 13"/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62021" cy="4293000"/>
          </a:xfrm>
          <a:solidFill>
            <a:schemeClr val="tx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9" name="Text Placeholder 13"/>
          <p:cNvSpPr>
            <a:spLocks noGrp="1"/>
          </p:cNvSpPr>
          <p:nvPr>
            <p:ph type="body" sz="quarter" idx="28"/>
          </p:nvPr>
        </p:nvSpPr>
        <p:spPr>
          <a:xfrm>
            <a:off x="0" y="4279500"/>
            <a:ext cx="162021" cy="864000"/>
          </a:xfrm>
          <a:solidFill>
            <a:schemeClr val="accent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30" name="Billede 2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47" y="4601755"/>
            <a:ext cx="919518" cy="23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131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(venst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ontent Placeholder 6"/>
          <p:cNvSpPr>
            <a:spLocks noGrp="1"/>
          </p:cNvSpPr>
          <p:nvPr>
            <p:ph sz="quarter" idx="24" hasCustomPrompt="1"/>
          </p:nvPr>
        </p:nvSpPr>
        <p:spPr>
          <a:xfrm>
            <a:off x="3271797" y="1162050"/>
            <a:ext cx="5451391" cy="3111104"/>
          </a:xfrm>
        </p:spPr>
        <p:txBody>
          <a:bodyPr/>
          <a:lstStyle/>
          <a:p>
            <a:pPr lvl="0"/>
            <a:r>
              <a:rPr lang="da-DK" noProof="0" dirty="0"/>
              <a:t>Klik for at tilføje indhold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</p:txBody>
      </p:sp>
      <p:sp>
        <p:nvSpPr>
          <p:cNvPr id="34" name="Title 1"/>
          <p:cNvSpPr>
            <a:spLocks noGrp="1"/>
          </p:cNvSpPr>
          <p:nvPr>
            <p:ph type="title" hasCustomPrompt="1"/>
          </p:nvPr>
        </p:nvSpPr>
        <p:spPr>
          <a:xfrm>
            <a:off x="397396" y="294664"/>
            <a:ext cx="7040215" cy="533729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 dirty="0"/>
              <a:t>Overskrift i op til 2 linjer</a:t>
            </a:r>
          </a:p>
        </p:txBody>
      </p:sp>
      <p:sp>
        <p:nvSpPr>
          <p:cNvPr id="29" name="Picture Placeholder 7"/>
          <p:cNvSpPr>
            <a:spLocks noGrp="1"/>
          </p:cNvSpPr>
          <p:nvPr>
            <p:ph type="pic" sz="quarter" idx="25" hasCustomPrompt="1"/>
          </p:nvPr>
        </p:nvSpPr>
        <p:spPr>
          <a:xfrm>
            <a:off x="407247" y="1162050"/>
            <a:ext cx="2700351" cy="3111104"/>
          </a:xfrm>
        </p:spPr>
        <p:txBody>
          <a:bodyPr tIns="2376000"/>
          <a:lstStyle>
            <a:lvl1pPr marL="0" indent="0" algn="ctr">
              <a:buFont typeface="Arial" pitchFamily="34" charset="0"/>
              <a:buNone/>
              <a:defRPr sz="1050" b="0"/>
            </a:lvl1pPr>
          </a:lstStyle>
          <a:p>
            <a:r>
              <a:rPr lang="da-DK" noProof="0" dirty="0"/>
              <a:t>Indsæt billed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22BFC3C4-8975-AE4F-91B9-596060FB9B74}" type="datetime1">
              <a:rPr lang="da-DK" smtClean="0"/>
              <a:t>26-09-2021</a:t>
            </a:fld>
            <a:endParaRPr lang="da-DK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4F2B6656-7882-4CEF-9850-9EB873E823C4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5" name="Picture 34" descr="LF_Logo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83" y="4491156"/>
            <a:ext cx="756097" cy="440692"/>
          </a:xfrm>
          <a:prstGeom prst="rect">
            <a:avLst/>
          </a:prstGeom>
        </p:spPr>
      </p:pic>
      <p:grpSp>
        <p:nvGrpSpPr>
          <p:cNvPr id="39" name="Group 38"/>
          <p:cNvGrpSpPr/>
          <p:nvPr userDrawn="1"/>
        </p:nvGrpSpPr>
        <p:grpSpPr>
          <a:xfrm>
            <a:off x="-1861700" y="-510"/>
            <a:ext cx="1809306" cy="738698"/>
            <a:chOff x="-2481943" y="-680"/>
            <a:chExt cx="2412094" cy="984930"/>
          </a:xfrm>
        </p:grpSpPr>
        <p:sp>
          <p:nvSpPr>
            <p:cNvPr id="40" name="TextBox 20"/>
            <p:cNvSpPr txBox="1">
              <a:spLocks noChangeArrowheads="1"/>
            </p:cNvSpPr>
            <p:nvPr/>
          </p:nvSpPr>
          <p:spPr bwMode="auto">
            <a:xfrm>
              <a:off x="-2481943" y="-680"/>
              <a:ext cx="2412094" cy="923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da-DK" sz="750" b="1" dirty="0">
                  <a:solidFill>
                    <a:schemeClr val="tx1"/>
                  </a:solidFill>
                  <a:latin typeface="+mn-lt"/>
                </a:rPr>
                <a:t>Tekstslide med punktopstilling</a:t>
              </a:r>
              <a:endParaRPr lang="da-DK" sz="750" dirty="0">
                <a:solidFill>
                  <a:schemeClr val="tx1"/>
                </a:solidFill>
                <a:latin typeface="+mn-lt"/>
              </a:endParaRPr>
            </a:p>
            <a:p>
              <a:pPr algn="r" eaLnBrk="1" hangingPunct="1">
                <a:spcBef>
                  <a:spcPct val="50000"/>
                </a:spcBef>
                <a:defRPr/>
              </a:pP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Brug knapperne ‘Forøge / Formindske </a:t>
              </a:r>
              <a:br>
                <a:rPr lang="da-DK" sz="750" dirty="0">
                  <a:solidFill>
                    <a:schemeClr val="tx1"/>
                  </a:solidFill>
                  <a:latin typeface="+mn-lt"/>
                </a:rPr>
              </a:b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indryk’ for at skifte mellem</a:t>
              </a:r>
              <a:br>
                <a:rPr lang="da-DK" sz="750" dirty="0">
                  <a:solidFill>
                    <a:schemeClr val="tx1"/>
                  </a:solidFill>
                  <a:latin typeface="+mn-lt"/>
                </a:rPr>
              </a:b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de forskellige tekst niveauer</a:t>
              </a:r>
            </a:p>
            <a:p>
              <a:pPr algn="r" eaLnBrk="1" hangingPunct="1">
                <a:spcBef>
                  <a:spcPct val="50000"/>
                </a:spcBef>
                <a:defRPr/>
              </a:pPr>
              <a:endParaRPr lang="da-DK" sz="7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41" name="Group 40"/>
            <p:cNvGrpSpPr/>
            <p:nvPr userDrawn="1"/>
          </p:nvGrpSpPr>
          <p:grpSpPr>
            <a:xfrm>
              <a:off x="-1072921" y="733313"/>
              <a:ext cx="992188" cy="250937"/>
              <a:chOff x="-1214439" y="765971"/>
              <a:chExt cx="992188" cy="250937"/>
            </a:xfrm>
          </p:grpSpPr>
          <p:grpSp>
            <p:nvGrpSpPr>
              <p:cNvPr id="42" name="Group 2"/>
              <p:cNvGrpSpPr>
                <a:grpSpLocks/>
              </p:cNvGrpSpPr>
              <p:nvPr/>
            </p:nvGrpSpPr>
            <p:grpSpPr bwMode="auto">
              <a:xfrm>
                <a:off x="-1214439" y="765971"/>
                <a:ext cx="437608" cy="246173"/>
                <a:chOff x="-1214439" y="732970"/>
                <a:chExt cx="437608" cy="246063"/>
              </a:xfrm>
            </p:grpSpPr>
            <p:grpSp>
              <p:nvGrpSpPr>
                <p:cNvPr id="47" name="Group 3"/>
                <p:cNvGrpSpPr>
                  <a:grpSpLocks/>
                </p:cNvGrpSpPr>
                <p:nvPr/>
              </p:nvGrpSpPr>
              <p:grpSpPr bwMode="auto">
                <a:xfrm>
                  <a:off x="-1214439" y="741702"/>
                  <a:ext cx="428625" cy="228600"/>
                  <a:chOff x="-727592" y="3306446"/>
                  <a:chExt cx="429053" cy="228767"/>
                </a:xfrm>
              </p:grpSpPr>
              <p:pic>
                <p:nvPicPr>
                  <p:cNvPr id="49" name="Picture 14" descr="fke3b.jpg"/>
                  <p:cNvPicPr>
                    <a:picLocks noChangeAspect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-727293" y="3306446"/>
                    <a:ext cx="428754" cy="22876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50" name="Rectangle 49"/>
                  <p:cNvSpPr/>
                  <p:nvPr/>
                </p:nvSpPr>
                <p:spPr bwMode="auto">
                  <a:xfrm>
                    <a:off x="-727591" y="3332754"/>
                    <a:ext cx="214527" cy="215961"/>
                  </a:xfrm>
                  <a:prstGeom prst="rect">
                    <a:avLst/>
                  </a:prstGeom>
                  <a:solidFill>
                    <a:srgbClr val="FFFFFF">
                      <a:alpha val="60000"/>
                    </a:srgbClr>
                  </a:solidFill>
                  <a:ln>
                    <a:noFill/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 sz="135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48" name="Rounded Rectangle 47"/>
                <p:cNvSpPr/>
                <p:nvPr/>
              </p:nvSpPr>
              <p:spPr bwMode="auto">
                <a:xfrm>
                  <a:off x="-1014413" y="733082"/>
                  <a:ext cx="238125" cy="245953"/>
                </a:xfrm>
                <a:prstGeom prst="roundRect">
                  <a:avLst/>
                </a:prstGeom>
                <a:noFill/>
                <a:ln w="12700">
                  <a:solidFill>
                    <a:schemeClr val="accent2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grpSp>
            <p:nvGrpSpPr>
              <p:cNvPr id="43" name="Group 28"/>
              <p:cNvGrpSpPr>
                <a:grpSpLocks/>
              </p:cNvGrpSpPr>
              <p:nvPr/>
            </p:nvGrpSpPr>
            <p:grpSpPr bwMode="auto">
              <a:xfrm>
                <a:off x="-682626" y="770735"/>
                <a:ext cx="460375" cy="246173"/>
                <a:chOff x="-561836" y="3417665"/>
                <a:chExt cx="460236" cy="245883"/>
              </a:xfrm>
            </p:grpSpPr>
            <p:pic>
              <p:nvPicPr>
                <p:cNvPr id="44" name="Picture 2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549275" y="3434948"/>
                  <a:ext cx="447675" cy="2286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45" name="Rectangle 44"/>
                <p:cNvSpPr/>
                <p:nvPr/>
              </p:nvSpPr>
              <p:spPr>
                <a:xfrm>
                  <a:off x="-317434" y="3436803"/>
                  <a:ext cx="214247" cy="217231"/>
                </a:xfrm>
                <a:prstGeom prst="rect">
                  <a:avLst/>
                </a:prstGeom>
                <a:solidFill>
                  <a:srgbClr val="FFFFFF">
                    <a:alpha val="60000"/>
                  </a:srgbClr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  <p:sp>
              <p:nvSpPr>
                <p:cNvPr id="46" name="Rounded Rectangle 45"/>
                <p:cNvSpPr/>
                <p:nvPr/>
              </p:nvSpPr>
              <p:spPr>
                <a:xfrm>
                  <a:off x="-561835" y="3417776"/>
                  <a:ext cx="238053" cy="245772"/>
                </a:xfrm>
                <a:prstGeom prst="roundRect">
                  <a:avLst/>
                </a:prstGeom>
                <a:noFill/>
                <a:ln w="12700">
                  <a:solidFill>
                    <a:schemeClr val="accent2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</p:grpSp>
      </p:grpSp>
      <p:sp>
        <p:nvSpPr>
          <p:cNvPr id="51" name="TextBox 50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-2090329" y="1133828"/>
            <a:ext cx="19819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Skift</a:t>
            </a:r>
            <a:r>
              <a:rPr lang="da-DK" sz="750" b="1" baseline="0" dirty="0">
                <a:solidFill>
                  <a:schemeClr val="tx1"/>
                </a:solidFill>
              </a:rPr>
              <a:t> farve på LF bjælkerne</a:t>
            </a:r>
            <a:endParaRPr lang="da-DK" sz="750" b="1" dirty="0">
              <a:solidFill>
                <a:schemeClr val="tx1"/>
              </a:solidFill>
            </a:endParaRP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Klik på bjælken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værktøjslinjen vælg ”Farvespanden”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”drop ned” menuen vælg en af </a:t>
            </a:r>
            <a:r>
              <a:rPr lang="da-DK" sz="750" b="0" dirty="0" err="1">
                <a:solidFill>
                  <a:schemeClr val="tx1"/>
                </a:solidFill>
              </a:rPr>
              <a:t>temafarvene</a:t>
            </a:r>
            <a:r>
              <a:rPr lang="da-DK" sz="750" b="0" dirty="0">
                <a:solidFill>
                  <a:schemeClr val="tx1"/>
                </a:solidFill>
              </a:rPr>
              <a:t> for at farvelægge bjælken</a:t>
            </a:r>
          </a:p>
        </p:txBody>
      </p:sp>
      <p:pic>
        <p:nvPicPr>
          <p:cNvPr id="56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9834" y="2565119"/>
            <a:ext cx="171472" cy="177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" name="TextBox 17"/>
          <p:cNvSpPr txBox="1">
            <a:spLocks noChangeArrowheads="1"/>
          </p:cNvSpPr>
          <p:nvPr userDrawn="1"/>
        </p:nvSpPr>
        <p:spPr bwMode="auto">
          <a:xfrm>
            <a:off x="-2010037" y="1955886"/>
            <a:ext cx="1901676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Indsæt</a:t>
            </a:r>
            <a:r>
              <a:rPr lang="da-DK" sz="750" b="1" baseline="0" dirty="0">
                <a:solidFill>
                  <a:schemeClr val="tx1"/>
                </a:solidFill>
              </a:rPr>
              <a:t> </a:t>
            </a:r>
            <a:r>
              <a:rPr lang="da-DK" sz="750" b="1" dirty="0">
                <a:solidFill>
                  <a:schemeClr val="tx1"/>
                </a:solidFill>
              </a:rPr>
              <a:t>billede i pladsholderne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1. Indsæt et billede ved at klikke på ikonet midt i pladsholderen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2. V</a:t>
            </a:r>
            <a:r>
              <a:rPr lang="da-DK" sz="750" b="0" baseline="0" dirty="0">
                <a:solidFill>
                  <a:schemeClr val="tx1"/>
                </a:solidFill>
              </a:rPr>
              <a:t>ælg et billedet, fra din computer, som skal indsættes</a:t>
            </a:r>
          </a:p>
        </p:txBody>
      </p:sp>
      <p:pic>
        <p:nvPicPr>
          <p:cNvPr id="30" name="Picture 29" descr="Skærmbillede 2016-04-05 kl. 09.35.22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54" name="Text Placeholder 13"/>
          <p:cNvSpPr>
            <a:spLocks noGrp="1"/>
          </p:cNvSpPr>
          <p:nvPr>
            <p:ph type="body" sz="quarter" idx="28"/>
          </p:nvPr>
        </p:nvSpPr>
        <p:spPr>
          <a:xfrm flipH="1">
            <a:off x="0" y="0"/>
            <a:ext cx="162021" cy="4293000"/>
          </a:xfrm>
          <a:solidFill>
            <a:schemeClr val="tx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29"/>
          </p:nvPr>
        </p:nvSpPr>
        <p:spPr>
          <a:xfrm>
            <a:off x="0" y="4279500"/>
            <a:ext cx="162021" cy="864000"/>
          </a:xfrm>
          <a:solidFill>
            <a:schemeClr val="accent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31" name="Billede 3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47" y="4601755"/>
            <a:ext cx="919518" cy="23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8603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 noProof="0" dirty="0"/>
              <a:t>Overskrift i op til 2 linjer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EC878D-0872-7E4B-9B68-F89B08C94C40}" type="datetime1">
              <a:rPr lang="da-DK" noProof="0" smtClean="0"/>
              <a:t>26-09-2021</a:t>
            </a:fld>
            <a:endParaRPr lang="da-DK" noProof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2B6656-7882-4CEF-9850-9EB873E823C4}" type="slidenum">
              <a:rPr lang="da-DK" noProof="0" smtClean="0"/>
              <a:pPr/>
              <a:t>‹nr.›</a:t>
            </a:fld>
            <a:endParaRPr lang="da-DK" noProof="0"/>
          </a:p>
        </p:txBody>
      </p:sp>
      <p:pic>
        <p:nvPicPr>
          <p:cNvPr id="11" name="Picture 10" descr="LF_Logo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83" y="4491156"/>
            <a:ext cx="756097" cy="440692"/>
          </a:xfrm>
          <a:prstGeom prst="rect">
            <a:avLst/>
          </a:prstGeom>
        </p:spPr>
      </p:pic>
      <p:sp>
        <p:nvSpPr>
          <p:cNvPr id="30" name="TextBox 29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32" name="TextBox 17"/>
          <p:cNvSpPr txBox="1">
            <a:spLocks noChangeArrowheads="1"/>
          </p:cNvSpPr>
          <p:nvPr userDrawn="1"/>
        </p:nvSpPr>
        <p:spPr bwMode="auto">
          <a:xfrm>
            <a:off x="-2090329" y="1133828"/>
            <a:ext cx="19819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Skift</a:t>
            </a:r>
            <a:r>
              <a:rPr lang="da-DK" sz="750" b="1" baseline="0" dirty="0">
                <a:solidFill>
                  <a:schemeClr val="tx1"/>
                </a:solidFill>
              </a:rPr>
              <a:t> farve på LF bjælkerne</a:t>
            </a:r>
            <a:endParaRPr lang="da-DK" sz="750" b="1" dirty="0">
              <a:solidFill>
                <a:schemeClr val="tx1"/>
              </a:solidFill>
            </a:endParaRP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Klik på bjælken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værktøjslinjen vælg ”Farvespanden”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”drop ned” menuen vælg en af </a:t>
            </a:r>
            <a:r>
              <a:rPr lang="da-DK" sz="750" b="0" dirty="0" err="1">
                <a:solidFill>
                  <a:schemeClr val="tx1"/>
                </a:solidFill>
              </a:rPr>
              <a:t>temafarvene</a:t>
            </a:r>
            <a:r>
              <a:rPr lang="da-DK" sz="750" b="0" dirty="0">
                <a:solidFill>
                  <a:schemeClr val="tx1"/>
                </a:solidFill>
              </a:rPr>
              <a:t> for at farvelægge bjælken</a:t>
            </a:r>
          </a:p>
        </p:txBody>
      </p:sp>
      <p:sp>
        <p:nvSpPr>
          <p:cNvPr id="33" name="AutoShape 4"/>
          <p:cNvSpPr>
            <a:spLocks/>
          </p:cNvSpPr>
          <p:nvPr userDrawn="1"/>
        </p:nvSpPr>
        <p:spPr bwMode="gray">
          <a:xfrm>
            <a:off x="-2533980" y="0"/>
            <a:ext cx="24466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342900">
              <a:tabLst>
                <a:tab pos="133350" algn="l"/>
              </a:tabLst>
              <a:defRPr/>
            </a:pPr>
            <a:r>
              <a:rPr lang="da-DK" sz="750" b="1" dirty="0">
                <a:solidFill>
                  <a:schemeClr val="tx1"/>
                </a:solidFill>
                <a:cs typeface="Arial" charset="0"/>
              </a:rPr>
              <a:t>Vis hjælpelinjer</a:t>
            </a:r>
          </a:p>
          <a:p>
            <a:pPr algn="r" defTabSz="342900"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1.	Højreklik udenfor </a:t>
            </a:r>
            <a:r>
              <a:rPr lang="da-DK" sz="750" dirty="0" err="1">
                <a:solidFill>
                  <a:schemeClr val="tx1"/>
                </a:solidFill>
                <a:cs typeface="Arial" charset="0"/>
              </a:rPr>
              <a:t>slidet</a:t>
            </a:r>
            <a:r>
              <a:rPr lang="da-DK" sz="750" dirty="0">
                <a:solidFill>
                  <a:schemeClr val="tx1"/>
                </a:solidFill>
                <a:cs typeface="Arial" charset="0"/>
              </a:rPr>
              <a:t> og vælg ’Gitter og hjælpelinjer’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kryds ved ’Vis’ tegnehjælpelinjer på skærmen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hak ved ”Fastgør objekter til gitter”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Vælg OK </a:t>
            </a:r>
          </a:p>
        </p:txBody>
      </p:sp>
      <p:pic>
        <p:nvPicPr>
          <p:cNvPr id="15" name="Picture 14" descr="Skærmbillede 2016-04-05 kl. 09.35.2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19" name="Text Placeholder 13"/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162021" cy="4293000"/>
          </a:xfrm>
          <a:solidFill>
            <a:schemeClr val="tx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4"/>
          </p:nvPr>
        </p:nvSpPr>
        <p:spPr>
          <a:xfrm>
            <a:off x="0" y="4279500"/>
            <a:ext cx="162021" cy="864000"/>
          </a:xfrm>
          <a:solidFill>
            <a:schemeClr val="accent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47" y="4601755"/>
            <a:ext cx="919518" cy="23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2370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– Billede og 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Picture Placeholder 5"/>
          <p:cNvSpPr>
            <a:spLocks noGrp="1"/>
          </p:cNvSpPr>
          <p:nvPr>
            <p:ph type="pic" sz="quarter" idx="27" hasCustomPrompt="1"/>
          </p:nvPr>
        </p:nvSpPr>
        <p:spPr>
          <a:xfrm>
            <a:off x="0" y="2990851"/>
            <a:ext cx="9144000" cy="2152650"/>
          </a:xfrm>
        </p:spPr>
        <p:txBody>
          <a:bodyPr anchor="ctr"/>
          <a:lstStyle>
            <a:lvl1pPr marL="0" indent="0" algn="ctr">
              <a:buNone/>
              <a:defRPr sz="75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5"/>
          </p:nvPr>
        </p:nvSpPr>
        <p:spPr>
          <a:xfrm flipH="1">
            <a:off x="7337586" y="0"/>
            <a:ext cx="1806414" cy="5143500"/>
          </a:xfrm>
          <a:solidFill>
            <a:schemeClr val="accent2">
              <a:alpha val="75000"/>
            </a:schemeClr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97396" y="294664"/>
            <a:ext cx="6766012" cy="533729"/>
          </a:xfrm>
        </p:spPr>
        <p:txBody>
          <a:bodyPr/>
          <a:lstStyle/>
          <a:p>
            <a:r>
              <a:rPr lang="da-DK" noProof="0" dirty="0"/>
              <a:t>Overskrift i op til 2 linjer</a:t>
            </a:r>
            <a:endParaRPr lang="da-DK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21" hasCustomPrompt="1"/>
          </p:nvPr>
        </p:nvSpPr>
        <p:spPr>
          <a:xfrm>
            <a:off x="407247" y="1162050"/>
            <a:ext cx="6766012" cy="1600201"/>
          </a:xfrm>
        </p:spPr>
        <p:txBody>
          <a:bodyPr/>
          <a:lstStyle/>
          <a:p>
            <a:pPr lvl="0"/>
            <a:r>
              <a:rPr lang="da-DK" noProof="0" dirty="0"/>
              <a:t>Klik for at tilføje indhold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A3019D5A-061D-0947-A1C3-8CE23808E547}" type="datetime1">
              <a:rPr lang="da-DK" smtClean="0"/>
              <a:t>26-09-2021</a:t>
            </a:fld>
            <a:endParaRPr lang="da-DK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F2B6656-7882-4CEF-9850-9EB873E823C4}" type="slidenum">
              <a:rPr lang="da-DK" smtClean="0"/>
              <a:pPr/>
              <a:t>‹nr.›</a:t>
            </a:fld>
            <a:endParaRPr lang="da-DK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-1861700" y="-510"/>
            <a:ext cx="1809306" cy="738698"/>
            <a:chOff x="-2481943" y="-680"/>
            <a:chExt cx="2412094" cy="984930"/>
          </a:xfrm>
        </p:grpSpPr>
        <p:sp>
          <p:nvSpPr>
            <p:cNvPr id="27" name="TextBox 20"/>
            <p:cNvSpPr txBox="1">
              <a:spLocks noChangeArrowheads="1"/>
            </p:cNvSpPr>
            <p:nvPr/>
          </p:nvSpPr>
          <p:spPr bwMode="auto">
            <a:xfrm>
              <a:off x="-2481943" y="-680"/>
              <a:ext cx="2412094" cy="9233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da-DK" sz="750" b="1" dirty="0">
                  <a:solidFill>
                    <a:schemeClr val="tx1"/>
                  </a:solidFill>
                  <a:latin typeface="+mn-lt"/>
                </a:rPr>
                <a:t>Tekstslide med punktopstilling</a:t>
              </a:r>
              <a:endParaRPr lang="da-DK" sz="750" dirty="0">
                <a:solidFill>
                  <a:schemeClr val="tx1"/>
                </a:solidFill>
                <a:latin typeface="+mn-lt"/>
              </a:endParaRPr>
            </a:p>
            <a:p>
              <a:pPr algn="r" eaLnBrk="1" hangingPunct="1">
                <a:spcBef>
                  <a:spcPct val="50000"/>
                </a:spcBef>
                <a:defRPr/>
              </a:pP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Brug knapperne ‘Forøge / Formindske </a:t>
              </a:r>
              <a:br>
                <a:rPr lang="da-DK" sz="750" dirty="0">
                  <a:solidFill>
                    <a:schemeClr val="tx1"/>
                  </a:solidFill>
                  <a:latin typeface="+mn-lt"/>
                </a:rPr>
              </a:b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indryk’ for at skifte mellem</a:t>
              </a:r>
              <a:br>
                <a:rPr lang="da-DK" sz="750" dirty="0">
                  <a:solidFill>
                    <a:schemeClr val="tx1"/>
                  </a:solidFill>
                  <a:latin typeface="+mn-lt"/>
                </a:rPr>
              </a:br>
              <a:r>
                <a:rPr lang="da-DK" sz="750" dirty="0">
                  <a:solidFill>
                    <a:schemeClr val="tx1"/>
                  </a:solidFill>
                  <a:latin typeface="+mn-lt"/>
                </a:rPr>
                <a:t>de forskellige tekst niveauer</a:t>
              </a:r>
            </a:p>
            <a:p>
              <a:pPr algn="r" eaLnBrk="1" hangingPunct="1">
                <a:spcBef>
                  <a:spcPct val="50000"/>
                </a:spcBef>
                <a:defRPr/>
              </a:pPr>
              <a:endParaRPr lang="da-DK" sz="75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28" name="Group 27"/>
            <p:cNvGrpSpPr/>
            <p:nvPr userDrawn="1"/>
          </p:nvGrpSpPr>
          <p:grpSpPr>
            <a:xfrm>
              <a:off x="-1072921" y="733313"/>
              <a:ext cx="992188" cy="250937"/>
              <a:chOff x="-1214439" y="765971"/>
              <a:chExt cx="992188" cy="250937"/>
            </a:xfrm>
          </p:grpSpPr>
          <p:grpSp>
            <p:nvGrpSpPr>
              <p:cNvPr id="31" name="Group 2"/>
              <p:cNvGrpSpPr>
                <a:grpSpLocks/>
              </p:cNvGrpSpPr>
              <p:nvPr/>
            </p:nvGrpSpPr>
            <p:grpSpPr bwMode="auto">
              <a:xfrm>
                <a:off x="-1214439" y="765971"/>
                <a:ext cx="437608" cy="246173"/>
                <a:chOff x="-1214439" y="732970"/>
                <a:chExt cx="437608" cy="246063"/>
              </a:xfrm>
            </p:grpSpPr>
            <p:grpSp>
              <p:nvGrpSpPr>
                <p:cNvPr id="37" name="Group 3"/>
                <p:cNvGrpSpPr>
                  <a:grpSpLocks/>
                </p:cNvGrpSpPr>
                <p:nvPr/>
              </p:nvGrpSpPr>
              <p:grpSpPr bwMode="auto">
                <a:xfrm>
                  <a:off x="-1214439" y="741702"/>
                  <a:ext cx="428625" cy="228600"/>
                  <a:chOff x="-727592" y="3306446"/>
                  <a:chExt cx="429053" cy="228767"/>
                </a:xfrm>
              </p:grpSpPr>
              <p:pic>
                <p:nvPicPr>
                  <p:cNvPr id="39" name="Picture 14" descr="fke3b.jpg"/>
                  <p:cNvPicPr>
                    <a:picLocks noChangeAspect="1"/>
                  </p:cNvPicPr>
                  <p:nvPr/>
                </p:nvPicPr>
                <p:blipFill>
                  <a:blip r:embed="rId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-727293" y="3306446"/>
                    <a:ext cx="428754" cy="22876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 xmlns="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xmlns="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40" name="Rectangle 39"/>
                  <p:cNvSpPr/>
                  <p:nvPr/>
                </p:nvSpPr>
                <p:spPr bwMode="auto">
                  <a:xfrm>
                    <a:off x="-727591" y="3332754"/>
                    <a:ext cx="214527" cy="215961"/>
                  </a:xfrm>
                  <a:prstGeom prst="rect">
                    <a:avLst/>
                  </a:prstGeom>
                  <a:solidFill>
                    <a:srgbClr val="FFFFFF">
                      <a:alpha val="60000"/>
                    </a:srgbClr>
                  </a:solidFill>
                  <a:ln>
                    <a:noFill/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en-US" sz="135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</a:endParaRPr>
                  </a:p>
                </p:txBody>
              </p:sp>
            </p:grpSp>
            <p:sp>
              <p:nvSpPr>
                <p:cNvPr id="38" name="Rounded Rectangle 37"/>
                <p:cNvSpPr/>
                <p:nvPr/>
              </p:nvSpPr>
              <p:spPr bwMode="auto">
                <a:xfrm>
                  <a:off x="-1014413" y="733082"/>
                  <a:ext cx="238125" cy="245953"/>
                </a:xfrm>
                <a:prstGeom prst="roundRect">
                  <a:avLst/>
                </a:prstGeom>
                <a:noFill/>
                <a:ln w="12700">
                  <a:solidFill>
                    <a:schemeClr val="accent2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  <p:grpSp>
            <p:nvGrpSpPr>
              <p:cNvPr id="32" name="Group 28"/>
              <p:cNvGrpSpPr>
                <a:grpSpLocks/>
              </p:cNvGrpSpPr>
              <p:nvPr/>
            </p:nvGrpSpPr>
            <p:grpSpPr bwMode="auto">
              <a:xfrm>
                <a:off x="-682626" y="770735"/>
                <a:ext cx="460375" cy="246173"/>
                <a:chOff x="-561836" y="3417665"/>
                <a:chExt cx="460236" cy="245883"/>
              </a:xfrm>
            </p:grpSpPr>
            <p:pic>
              <p:nvPicPr>
                <p:cNvPr id="33" name="Picture 2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-549275" y="3434948"/>
                  <a:ext cx="447675" cy="22860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34" name="Rectangle 33"/>
                <p:cNvSpPr/>
                <p:nvPr/>
              </p:nvSpPr>
              <p:spPr>
                <a:xfrm>
                  <a:off x="-317434" y="3436803"/>
                  <a:ext cx="214247" cy="217231"/>
                </a:xfrm>
                <a:prstGeom prst="rect">
                  <a:avLst/>
                </a:prstGeom>
                <a:solidFill>
                  <a:srgbClr val="FFFFFF">
                    <a:alpha val="60000"/>
                  </a:srgbClr>
                </a:solid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  <p:sp>
              <p:nvSpPr>
                <p:cNvPr id="36" name="Rounded Rectangle 35"/>
                <p:cNvSpPr/>
                <p:nvPr/>
              </p:nvSpPr>
              <p:spPr>
                <a:xfrm>
                  <a:off x="-561835" y="3417776"/>
                  <a:ext cx="238053" cy="245772"/>
                </a:xfrm>
                <a:prstGeom prst="roundRect">
                  <a:avLst/>
                </a:prstGeom>
                <a:noFill/>
                <a:ln w="12700">
                  <a:solidFill>
                    <a:schemeClr val="accent2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>
                    <a:defRPr/>
                  </a:pPr>
                  <a:endParaRPr lang="en-US" sz="1350">
                    <a:solidFill>
                      <a:schemeClr val="tx1">
                        <a:lumMod val="65000"/>
                        <a:lumOff val="35000"/>
                      </a:schemeClr>
                    </a:solidFill>
                  </a:endParaRPr>
                </a:p>
              </p:txBody>
            </p:sp>
          </p:grpSp>
        </p:grpSp>
      </p:grpSp>
      <p:sp>
        <p:nvSpPr>
          <p:cNvPr id="41" name="TextBox 40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44" name="TextBox 17"/>
          <p:cNvSpPr txBox="1">
            <a:spLocks noChangeArrowheads="1"/>
          </p:cNvSpPr>
          <p:nvPr userDrawn="1"/>
        </p:nvSpPr>
        <p:spPr bwMode="auto">
          <a:xfrm>
            <a:off x="-2010037" y="1673963"/>
            <a:ext cx="1901676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Indsæt</a:t>
            </a:r>
            <a:r>
              <a:rPr lang="da-DK" sz="750" b="1" baseline="0" dirty="0">
                <a:solidFill>
                  <a:schemeClr val="tx1"/>
                </a:solidFill>
              </a:rPr>
              <a:t> </a:t>
            </a:r>
            <a:r>
              <a:rPr lang="da-DK" sz="750" b="1" dirty="0">
                <a:solidFill>
                  <a:schemeClr val="tx1"/>
                </a:solidFill>
              </a:rPr>
              <a:t>billede i pladsholderne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1. Indsæt et billede ved at klikke på ikonet midt i pladsholderen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2. V</a:t>
            </a:r>
            <a:r>
              <a:rPr lang="da-DK" sz="750" b="0" baseline="0" dirty="0">
                <a:solidFill>
                  <a:schemeClr val="tx1"/>
                </a:solidFill>
              </a:rPr>
              <a:t>ælg et billedet, fra din computer, som skal indsættes</a:t>
            </a:r>
          </a:p>
          <a:p>
            <a:pPr marL="0" indent="0" algn="r" eaLnBrk="1" hangingPunct="1">
              <a:buNone/>
              <a:defRPr/>
            </a:pPr>
            <a:endParaRPr lang="da-DK" sz="750" b="0" baseline="0" dirty="0">
              <a:solidFill>
                <a:schemeClr val="tx1"/>
              </a:solidFill>
            </a:endParaRPr>
          </a:p>
          <a:p>
            <a:pPr marL="0" indent="0" algn="r" eaLnBrk="1" hangingPunct="1">
              <a:buNone/>
              <a:defRPr/>
            </a:pPr>
            <a:endParaRPr lang="da-DK" sz="750" b="0" baseline="0" dirty="0">
              <a:solidFill>
                <a:schemeClr val="tx1"/>
              </a:solidFill>
            </a:endParaRPr>
          </a:p>
        </p:txBody>
      </p:sp>
      <p:pic>
        <p:nvPicPr>
          <p:cNvPr id="45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9834" y="2292721"/>
            <a:ext cx="171472" cy="177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" name="Picture 45" descr="Skærmbillede 2016-04-05 kl. 09.35.22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43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8011784" y="4491156"/>
            <a:ext cx="756096" cy="440692"/>
          </a:xfrm>
          <a:blipFill rotWithShape="1">
            <a:blip r:embed="rId6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365149" y="4522574"/>
            <a:ext cx="994270" cy="393828"/>
          </a:xfrm>
          <a:blipFill rotWithShape="1">
            <a:blip r:embed="rId7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30595202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collage - 4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27" hasCustomPrompt="1"/>
          </p:nvPr>
        </p:nvSpPr>
        <p:spPr>
          <a:xfrm>
            <a:off x="425973" y="1162050"/>
            <a:ext cx="3498838" cy="1552575"/>
          </a:xfrm>
          <a:noFill/>
          <a:ln w="38100" cmpd="sng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9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37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425975" y="2717404"/>
            <a:ext cx="3498836" cy="1552575"/>
          </a:xfrm>
          <a:noFill/>
          <a:ln w="38100" cmpd="sng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9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34" name="Title 1"/>
          <p:cNvSpPr>
            <a:spLocks noGrp="1"/>
          </p:cNvSpPr>
          <p:nvPr>
            <p:ph type="title" hasCustomPrompt="1"/>
          </p:nvPr>
        </p:nvSpPr>
        <p:spPr>
          <a:xfrm>
            <a:off x="397396" y="294664"/>
            <a:ext cx="7040215" cy="533729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 dirty="0"/>
              <a:t>Overskrift i op til 2 linjer</a:t>
            </a:r>
          </a:p>
        </p:txBody>
      </p:sp>
      <p:sp>
        <p:nvSpPr>
          <p:cNvPr id="48" name="Picture Placeholder 2"/>
          <p:cNvSpPr>
            <a:spLocks noGrp="1"/>
          </p:cNvSpPr>
          <p:nvPr>
            <p:ph type="pic" sz="quarter" idx="31" hasCustomPrompt="1"/>
          </p:nvPr>
        </p:nvSpPr>
        <p:spPr>
          <a:xfrm>
            <a:off x="3924811" y="1162050"/>
            <a:ext cx="3512800" cy="1552575"/>
          </a:xfrm>
          <a:noFill/>
          <a:ln w="38100" cmpd="sng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9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49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3924811" y="2717404"/>
            <a:ext cx="3512800" cy="1552575"/>
          </a:xfrm>
          <a:noFill/>
          <a:ln w="38100" cmpd="sng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900"/>
            </a:lvl1pPr>
          </a:lstStyle>
          <a:p>
            <a:r>
              <a:rPr lang="da-DK" dirty="0"/>
              <a:t>Indsæt billede</a:t>
            </a:r>
          </a:p>
        </p:txBody>
      </p:sp>
      <p:pic>
        <p:nvPicPr>
          <p:cNvPr id="50" name="Picture 49" descr="LF_Logo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83" y="4491156"/>
            <a:ext cx="756097" cy="440692"/>
          </a:xfrm>
          <a:prstGeom prst="rect">
            <a:avLst/>
          </a:prstGeom>
        </p:spPr>
      </p:pic>
      <p:sp>
        <p:nvSpPr>
          <p:cNvPr id="38" name="TextBox 37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40" name="TextBox 17"/>
          <p:cNvSpPr txBox="1">
            <a:spLocks noChangeArrowheads="1"/>
          </p:cNvSpPr>
          <p:nvPr userDrawn="1"/>
        </p:nvSpPr>
        <p:spPr bwMode="auto">
          <a:xfrm>
            <a:off x="-2090329" y="845288"/>
            <a:ext cx="19819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Skift</a:t>
            </a:r>
            <a:r>
              <a:rPr lang="da-DK" sz="750" b="1" baseline="0" dirty="0">
                <a:solidFill>
                  <a:schemeClr val="tx1"/>
                </a:solidFill>
              </a:rPr>
              <a:t> farve på LF bjælkerne</a:t>
            </a:r>
            <a:endParaRPr lang="da-DK" sz="750" b="1" dirty="0">
              <a:solidFill>
                <a:schemeClr val="tx1"/>
              </a:solidFill>
            </a:endParaRP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Klik på bjælken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værktøjslinjen vælg ”Farvespanden”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”drop ned” menuen vælg en af </a:t>
            </a:r>
            <a:r>
              <a:rPr lang="da-DK" sz="750" b="0" dirty="0" err="1">
                <a:solidFill>
                  <a:schemeClr val="tx1"/>
                </a:solidFill>
              </a:rPr>
              <a:t>temafarvene</a:t>
            </a:r>
            <a:r>
              <a:rPr lang="da-DK" sz="750" b="0" dirty="0">
                <a:solidFill>
                  <a:schemeClr val="tx1"/>
                </a:solidFill>
              </a:rPr>
              <a:t> for at farvelægge bjælken</a:t>
            </a:r>
          </a:p>
        </p:txBody>
      </p:sp>
      <p:sp>
        <p:nvSpPr>
          <p:cNvPr id="41" name="TextBox 17"/>
          <p:cNvSpPr txBox="1">
            <a:spLocks noChangeArrowheads="1"/>
          </p:cNvSpPr>
          <p:nvPr userDrawn="1"/>
        </p:nvSpPr>
        <p:spPr bwMode="auto">
          <a:xfrm>
            <a:off x="-2010037" y="1673962"/>
            <a:ext cx="1901676" cy="1269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Indsæt</a:t>
            </a:r>
            <a:r>
              <a:rPr lang="da-DK" sz="750" b="1" baseline="0" dirty="0">
                <a:solidFill>
                  <a:schemeClr val="tx1"/>
                </a:solidFill>
              </a:rPr>
              <a:t> </a:t>
            </a:r>
            <a:r>
              <a:rPr lang="da-DK" sz="750" b="1" dirty="0">
                <a:solidFill>
                  <a:schemeClr val="tx1"/>
                </a:solidFill>
              </a:rPr>
              <a:t>billede i pladsholderne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1. Indsæt et billede ved at klikke på ikonet midt i pladsholderen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2. V</a:t>
            </a:r>
            <a:r>
              <a:rPr lang="da-DK" sz="750" b="0" baseline="0" dirty="0">
                <a:solidFill>
                  <a:schemeClr val="tx1"/>
                </a:solidFill>
              </a:rPr>
              <a:t>ælg et billedet, fra din computer, som skal indsættes</a:t>
            </a:r>
          </a:p>
          <a:p>
            <a:pPr marL="0" indent="0" algn="r" eaLnBrk="1" hangingPunct="1">
              <a:buNone/>
              <a:defRPr/>
            </a:pPr>
            <a:endParaRPr lang="da-DK" sz="750" b="0" baseline="0" dirty="0">
              <a:solidFill>
                <a:schemeClr val="tx1"/>
              </a:solidFill>
            </a:endParaRPr>
          </a:p>
          <a:p>
            <a:pPr marL="0" indent="0" algn="r" eaLnBrk="1" hangingPunct="1">
              <a:buNone/>
              <a:defRPr/>
            </a:pPr>
            <a:endParaRPr lang="da-DK" sz="750" b="0" baseline="0" dirty="0">
              <a:solidFill>
                <a:schemeClr val="tx1"/>
              </a:solidFill>
            </a:endParaRPr>
          </a:p>
          <a:p>
            <a:pPr marL="0" indent="0" algn="r" eaLnBrk="1" hangingPunct="1">
              <a:buNone/>
              <a:defRPr/>
            </a:pPr>
            <a:r>
              <a:rPr lang="da-DK" sz="750" b="0" baseline="0" dirty="0">
                <a:solidFill>
                  <a:schemeClr val="tx1"/>
                </a:solidFill>
              </a:rPr>
              <a:t>Du beskærer billedet ved at klikke på ”Beskær” i værktøjslinjen – Når du beskærer kan du skalere billedet op og ned eller beskærer </a:t>
            </a:r>
            <a:r>
              <a:rPr lang="da-DK" sz="750" b="0" baseline="0" dirty="0" err="1">
                <a:solidFill>
                  <a:schemeClr val="tx1"/>
                </a:solidFill>
              </a:rPr>
              <a:t>vha</a:t>
            </a:r>
            <a:r>
              <a:rPr lang="da-DK" sz="750" b="0" baseline="0" dirty="0">
                <a:solidFill>
                  <a:schemeClr val="tx1"/>
                </a:solidFill>
              </a:rPr>
              <a:t> den sorte </a:t>
            </a:r>
            <a:r>
              <a:rPr lang="da-DK" sz="750" b="0" baseline="0" dirty="0" err="1">
                <a:solidFill>
                  <a:schemeClr val="tx1"/>
                </a:solidFill>
              </a:rPr>
              <a:t>beskæringsmakør</a:t>
            </a:r>
            <a:r>
              <a:rPr lang="da-DK" sz="750" b="0" baseline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42" name="AutoShape 4"/>
          <p:cNvSpPr>
            <a:spLocks/>
          </p:cNvSpPr>
          <p:nvPr userDrawn="1"/>
        </p:nvSpPr>
        <p:spPr bwMode="gray">
          <a:xfrm>
            <a:off x="-2533980" y="0"/>
            <a:ext cx="24466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342900">
              <a:tabLst>
                <a:tab pos="133350" algn="l"/>
              </a:tabLst>
              <a:defRPr/>
            </a:pPr>
            <a:r>
              <a:rPr lang="da-DK" sz="750" b="1" dirty="0">
                <a:solidFill>
                  <a:schemeClr val="tx1"/>
                </a:solidFill>
                <a:cs typeface="Arial" charset="0"/>
              </a:rPr>
              <a:t>Vis hjælpelinjer</a:t>
            </a:r>
          </a:p>
          <a:p>
            <a:pPr algn="r" defTabSz="342900"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1.	Højreklik udenfor </a:t>
            </a:r>
            <a:r>
              <a:rPr lang="da-DK" sz="750" dirty="0" err="1">
                <a:solidFill>
                  <a:schemeClr val="tx1"/>
                </a:solidFill>
                <a:cs typeface="Arial" charset="0"/>
              </a:rPr>
              <a:t>slidet</a:t>
            </a:r>
            <a:r>
              <a:rPr lang="da-DK" sz="750" dirty="0">
                <a:solidFill>
                  <a:schemeClr val="tx1"/>
                </a:solidFill>
                <a:cs typeface="Arial" charset="0"/>
              </a:rPr>
              <a:t> og vælg ’Gitter og hjælpelinjer’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kryds ved ’Vis’ tegnehjælpelinjer på skærmen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hak ved ”Fastgør objekter til gitter”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Vælg OK </a:t>
            </a:r>
          </a:p>
        </p:txBody>
      </p:sp>
      <p:pic>
        <p:nvPicPr>
          <p:cNvPr id="4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9834" y="2283196"/>
            <a:ext cx="171472" cy="177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" name="Picture 44" descr="Skærmbillede 2016-04-05 kl. 09.35.22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54" name="Text Placeholder 13"/>
          <p:cNvSpPr>
            <a:spLocks noGrp="1"/>
          </p:cNvSpPr>
          <p:nvPr>
            <p:ph type="body" sz="quarter" idx="33"/>
          </p:nvPr>
        </p:nvSpPr>
        <p:spPr>
          <a:xfrm flipH="1">
            <a:off x="0" y="0"/>
            <a:ext cx="162021" cy="4293000"/>
          </a:xfrm>
          <a:solidFill>
            <a:schemeClr val="tx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34"/>
          </p:nvPr>
        </p:nvSpPr>
        <p:spPr>
          <a:xfrm>
            <a:off x="0" y="4279500"/>
            <a:ext cx="162021" cy="864000"/>
          </a:xfrm>
          <a:solidFill>
            <a:schemeClr val="accent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17" name="Billede 1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47" y="4601755"/>
            <a:ext cx="919518" cy="23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681270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itle 1"/>
          <p:cNvSpPr>
            <a:spLocks noGrp="1"/>
          </p:cNvSpPr>
          <p:nvPr>
            <p:ph type="title" hasCustomPrompt="1"/>
          </p:nvPr>
        </p:nvSpPr>
        <p:spPr>
          <a:xfrm>
            <a:off x="397396" y="294664"/>
            <a:ext cx="7040215" cy="533729"/>
          </a:xfrm>
        </p:spPr>
        <p:txBody>
          <a:bodyPr/>
          <a:lstStyle>
            <a:lvl1pPr>
              <a:defRPr/>
            </a:lvl1pPr>
          </a:lstStyle>
          <a:p>
            <a:r>
              <a:rPr lang="da-DK" noProof="0" dirty="0"/>
              <a:t>Overskrift i op til 2 linjer</a:t>
            </a:r>
          </a:p>
        </p:txBody>
      </p:sp>
      <p:pic>
        <p:nvPicPr>
          <p:cNvPr id="50" name="Picture 49" descr="LF_Logo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83" y="4491156"/>
            <a:ext cx="756097" cy="440692"/>
          </a:xfrm>
          <a:prstGeom prst="rect">
            <a:avLst/>
          </a:prstGeom>
        </p:spPr>
      </p:pic>
      <p:sp>
        <p:nvSpPr>
          <p:cNvPr id="38" name="TextBox 37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40" name="TextBox 17"/>
          <p:cNvSpPr txBox="1">
            <a:spLocks noChangeArrowheads="1"/>
          </p:cNvSpPr>
          <p:nvPr userDrawn="1"/>
        </p:nvSpPr>
        <p:spPr bwMode="auto">
          <a:xfrm>
            <a:off x="-2090329" y="845288"/>
            <a:ext cx="19819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Skift</a:t>
            </a:r>
            <a:r>
              <a:rPr lang="da-DK" sz="750" b="1" baseline="0" dirty="0">
                <a:solidFill>
                  <a:schemeClr val="tx1"/>
                </a:solidFill>
              </a:rPr>
              <a:t> farve på LF bjælkerne</a:t>
            </a:r>
            <a:endParaRPr lang="da-DK" sz="750" b="1" dirty="0">
              <a:solidFill>
                <a:schemeClr val="tx1"/>
              </a:solidFill>
            </a:endParaRP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Klik på bjælken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værktøjslinjen vælg ”Farvespanden”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”drop ned” menuen vælg en af </a:t>
            </a:r>
            <a:r>
              <a:rPr lang="da-DK" sz="750" b="0" dirty="0" err="1">
                <a:solidFill>
                  <a:schemeClr val="tx1"/>
                </a:solidFill>
              </a:rPr>
              <a:t>temafarvene</a:t>
            </a:r>
            <a:r>
              <a:rPr lang="da-DK" sz="750" b="0" dirty="0">
                <a:solidFill>
                  <a:schemeClr val="tx1"/>
                </a:solidFill>
              </a:rPr>
              <a:t> for at farvelægge bjælken</a:t>
            </a:r>
          </a:p>
        </p:txBody>
      </p:sp>
      <p:sp>
        <p:nvSpPr>
          <p:cNvPr id="41" name="TextBox 17"/>
          <p:cNvSpPr txBox="1">
            <a:spLocks noChangeArrowheads="1"/>
          </p:cNvSpPr>
          <p:nvPr userDrawn="1"/>
        </p:nvSpPr>
        <p:spPr bwMode="auto">
          <a:xfrm>
            <a:off x="-2010037" y="1673962"/>
            <a:ext cx="1901676" cy="12695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Indsæt</a:t>
            </a:r>
            <a:r>
              <a:rPr lang="da-DK" sz="750" b="1" baseline="0" dirty="0">
                <a:solidFill>
                  <a:schemeClr val="tx1"/>
                </a:solidFill>
              </a:rPr>
              <a:t> </a:t>
            </a:r>
            <a:r>
              <a:rPr lang="da-DK" sz="750" b="1" dirty="0">
                <a:solidFill>
                  <a:schemeClr val="tx1"/>
                </a:solidFill>
              </a:rPr>
              <a:t>billede i pladsholderne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1. Indsæt et billede ved at klikke på ikonet midt i pladsholderen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2. V</a:t>
            </a:r>
            <a:r>
              <a:rPr lang="da-DK" sz="750" b="0" baseline="0" dirty="0">
                <a:solidFill>
                  <a:schemeClr val="tx1"/>
                </a:solidFill>
              </a:rPr>
              <a:t>ælg et billedet, fra din computer, som skal indsættes</a:t>
            </a:r>
          </a:p>
          <a:p>
            <a:pPr marL="0" indent="0" algn="r" eaLnBrk="1" hangingPunct="1">
              <a:buNone/>
              <a:defRPr/>
            </a:pPr>
            <a:endParaRPr lang="da-DK" sz="750" b="0" baseline="0" dirty="0">
              <a:solidFill>
                <a:schemeClr val="tx1"/>
              </a:solidFill>
            </a:endParaRPr>
          </a:p>
          <a:p>
            <a:pPr marL="0" indent="0" algn="r" eaLnBrk="1" hangingPunct="1">
              <a:buNone/>
              <a:defRPr/>
            </a:pPr>
            <a:endParaRPr lang="da-DK" sz="750" b="0" baseline="0" dirty="0">
              <a:solidFill>
                <a:schemeClr val="tx1"/>
              </a:solidFill>
            </a:endParaRPr>
          </a:p>
          <a:p>
            <a:pPr marL="0" indent="0" algn="r" eaLnBrk="1" hangingPunct="1">
              <a:buNone/>
              <a:defRPr/>
            </a:pPr>
            <a:r>
              <a:rPr lang="da-DK" sz="750" b="0" baseline="0" dirty="0">
                <a:solidFill>
                  <a:schemeClr val="tx1"/>
                </a:solidFill>
              </a:rPr>
              <a:t>Du beskærer billedet ved at klikke på ”Beskær” i værktøjslinjen – Når du beskærer kan du skalere billedet op og ned eller beskærer </a:t>
            </a:r>
            <a:r>
              <a:rPr lang="da-DK" sz="750" b="0" baseline="0" dirty="0" err="1">
                <a:solidFill>
                  <a:schemeClr val="tx1"/>
                </a:solidFill>
              </a:rPr>
              <a:t>vha</a:t>
            </a:r>
            <a:r>
              <a:rPr lang="da-DK" sz="750" b="0" baseline="0" dirty="0">
                <a:solidFill>
                  <a:schemeClr val="tx1"/>
                </a:solidFill>
              </a:rPr>
              <a:t> den sorte </a:t>
            </a:r>
            <a:r>
              <a:rPr lang="da-DK" sz="750" b="0" baseline="0" dirty="0" err="1">
                <a:solidFill>
                  <a:schemeClr val="tx1"/>
                </a:solidFill>
              </a:rPr>
              <a:t>beskæringsmakør</a:t>
            </a:r>
            <a:r>
              <a:rPr lang="da-DK" sz="750" b="0" baseline="0" dirty="0">
                <a:solidFill>
                  <a:schemeClr val="tx1"/>
                </a:solidFill>
              </a:rPr>
              <a:t>. </a:t>
            </a:r>
          </a:p>
        </p:txBody>
      </p:sp>
      <p:sp>
        <p:nvSpPr>
          <p:cNvPr id="42" name="AutoShape 4"/>
          <p:cNvSpPr>
            <a:spLocks/>
          </p:cNvSpPr>
          <p:nvPr userDrawn="1"/>
        </p:nvSpPr>
        <p:spPr bwMode="gray">
          <a:xfrm>
            <a:off x="-2533980" y="0"/>
            <a:ext cx="24466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342900">
              <a:tabLst>
                <a:tab pos="133350" algn="l"/>
              </a:tabLst>
              <a:defRPr/>
            </a:pPr>
            <a:r>
              <a:rPr lang="da-DK" sz="750" b="1" dirty="0">
                <a:solidFill>
                  <a:schemeClr val="tx1"/>
                </a:solidFill>
                <a:cs typeface="Arial" charset="0"/>
              </a:rPr>
              <a:t>Vis hjælpelinjer</a:t>
            </a:r>
          </a:p>
          <a:p>
            <a:pPr algn="r" defTabSz="342900"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1.	Højreklik udenfor </a:t>
            </a:r>
            <a:r>
              <a:rPr lang="da-DK" sz="750" dirty="0" err="1">
                <a:solidFill>
                  <a:schemeClr val="tx1"/>
                </a:solidFill>
                <a:cs typeface="Arial" charset="0"/>
              </a:rPr>
              <a:t>slidet</a:t>
            </a:r>
            <a:r>
              <a:rPr lang="da-DK" sz="750" dirty="0">
                <a:solidFill>
                  <a:schemeClr val="tx1"/>
                </a:solidFill>
                <a:cs typeface="Arial" charset="0"/>
              </a:rPr>
              <a:t> og vælg ’Gitter og hjælpelinjer’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kryds ved ’Vis’ tegnehjælpelinjer på skærmen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hak ved ”Fastgør objekter til gitter”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Vælg OK </a:t>
            </a:r>
          </a:p>
        </p:txBody>
      </p:sp>
      <p:pic>
        <p:nvPicPr>
          <p:cNvPr id="44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79834" y="2283196"/>
            <a:ext cx="171472" cy="1774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19" descr="Skærmbillede 2016-04-05 kl. 09.35.22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21" name="Picture Placeholder 2"/>
          <p:cNvSpPr>
            <a:spLocks noGrp="1"/>
          </p:cNvSpPr>
          <p:nvPr>
            <p:ph type="pic" sz="quarter" idx="27" hasCustomPrompt="1"/>
          </p:nvPr>
        </p:nvSpPr>
        <p:spPr>
          <a:xfrm>
            <a:off x="425974" y="1162050"/>
            <a:ext cx="2765316" cy="1552575"/>
          </a:xfrm>
          <a:ln w="38100" cmpd="sng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9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28" hasCustomPrompt="1"/>
          </p:nvPr>
        </p:nvSpPr>
        <p:spPr>
          <a:xfrm>
            <a:off x="425974" y="2717404"/>
            <a:ext cx="2765316" cy="1552575"/>
          </a:xfrm>
          <a:ln w="38100" cmpd="sng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9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9" hasCustomPrompt="1"/>
          </p:nvPr>
        </p:nvSpPr>
        <p:spPr>
          <a:xfrm>
            <a:off x="3194466" y="1162050"/>
            <a:ext cx="2765316" cy="1552575"/>
          </a:xfrm>
          <a:ln w="38100" cmpd="sng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9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30" hasCustomPrompt="1"/>
          </p:nvPr>
        </p:nvSpPr>
        <p:spPr>
          <a:xfrm>
            <a:off x="3194466" y="2717404"/>
            <a:ext cx="2765316" cy="1552575"/>
          </a:xfrm>
          <a:ln w="38100" cmpd="sng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9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31" hasCustomPrompt="1"/>
          </p:nvPr>
        </p:nvSpPr>
        <p:spPr>
          <a:xfrm>
            <a:off x="5962488" y="1162050"/>
            <a:ext cx="2765316" cy="1552575"/>
          </a:xfrm>
          <a:ln w="38100" cmpd="sng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9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32" hasCustomPrompt="1"/>
          </p:nvPr>
        </p:nvSpPr>
        <p:spPr>
          <a:xfrm>
            <a:off x="5962488" y="2717404"/>
            <a:ext cx="2765316" cy="1552575"/>
          </a:xfrm>
          <a:ln w="38100" cmpd="sng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900"/>
            </a:lvl1pPr>
          </a:lstStyle>
          <a:p>
            <a:r>
              <a:rPr lang="da-DK" dirty="0"/>
              <a:t>Indsæt billed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162021" cy="4293000"/>
          </a:xfrm>
          <a:solidFill>
            <a:schemeClr val="tx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4"/>
          </p:nvPr>
        </p:nvSpPr>
        <p:spPr>
          <a:xfrm>
            <a:off x="0" y="4279500"/>
            <a:ext cx="162021" cy="864000"/>
          </a:xfrm>
          <a:solidFill>
            <a:schemeClr val="accent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29" name="Billede 2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47" y="4601755"/>
            <a:ext cx="919518" cy="2340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54211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 - Fuldt billede og stor 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54717" cy="5143500"/>
          </a:xfrm>
        </p:spPr>
        <p:txBody>
          <a:bodyPr tIns="720000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itchFamily="34" charset="0"/>
              <a:buNone/>
              <a:tabLst/>
              <a:defRPr sz="1050" b="0" baseline="0"/>
            </a:lvl1pPr>
          </a:lstStyle>
          <a:p>
            <a:r>
              <a:rPr lang="da-DK" noProof="0" dirty="0"/>
              <a:t>Indsæt et baggrundsbillede ved at klikke på det hvide felt og indsæt billede via ”indsæt billede” i menulinjen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5"/>
          </p:nvPr>
        </p:nvSpPr>
        <p:spPr>
          <a:xfrm>
            <a:off x="0" y="0"/>
            <a:ext cx="7337586" cy="4279500"/>
          </a:xfrm>
          <a:solidFill>
            <a:schemeClr val="accent3">
              <a:alpha val="75000"/>
            </a:schemeClr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1" name="Text Placeholder 13"/>
          <p:cNvSpPr>
            <a:spLocks noGrp="1" noChangeAspect="1"/>
          </p:cNvSpPr>
          <p:nvPr>
            <p:ph type="body" sz="quarter" idx="23"/>
          </p:nvPr>
        </p:nvSpPr>
        <p:spPr>
          <a:xfrm>
            <a:off x="7337586" y="4279500"/>
            <a:ext cx="1821656" cy="864000"/>
          </a:xfrm>
          <a:solidFill>
            <a:schemeClr val="accent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24"/>
          </p:nvPr>
        </p:nvSpPr>
        <p:spPr>
          <a:xfrm>
            <a:off x="0" y="4279500"/>
            <a:ext cx="7337586" cy="864000"/>
          </a:xfrm>
          <a:solidFill>
            <a:schemeClr val="tx2"/>
          </a:solidFill>
        </p:spPr>
        <p:txBody>
          <a:bodyPr tIns="0"/>
          <a:lstStyle>
            <a:lvl1pPr marL="0" indent="0">
              <a:buFont typeface="Arial" pitchFamily="34" charset="0"/>
              <a:buNone/>
              <a:defRPr sz="100"/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54" y="988513"/>
            <a:ext cx="5518931" cy="2416775"/>
          </a:xfrm>
        </p:spPr>
        <p:txBody>
          <a:bodyPr anchor="t">
            <a:noAutofit/>
          </a:bodyPr>
          <a:lstStyle>
            <a:lvl1pPr>
              <a:lnSpc>
                <a:spcPct val="88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 err="1"/>
              <a:t>Breaker</a:t>
            </a:r>
            <a:r>
              <a:rPr lang="da-DK" noProof="0" dirty="0"/>
              <a:t> side med stor tekst </a:t>
            </a:r>
            <a:br>
              <a:rPr lang="da-DK" noProof="0" dirty="0"/>
            </a:br>
            <a:r>
              <a:rPr lang="da-DK" noProof="0" dirty="0"/>
              <a:t>i flere linjer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-2533980" y="0"/>
            <a:ext cx="2446668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342900">
              <a:tabLst>
                <a:tab pos="133350" algn="l"/>
              </a:tabLst>
              <a:defRPr/>
            </a:pPr>
            <a:r>
              <a:rPr lang="da-DK" sz="750" b="1" dirty="0">
                <a:solidFill>
                  <a:schemeClr val="tx1"/>
                </a:solidFill>
                <a:cs typeface="Arial" charset="0"/>
              </a:rPr>
              <a:t>Vis hjælpelinjer</a:t>
            </a:r>
          </a:p>
          <a:p>
            <a:pPr algn="r" defTabSz="342900"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1.	Højreklik udenfor </a:t>
            </a:r>
            <a:r>
              <a:rPr lang="da-DK" sz="750" dirty="0" err="1">
                <a:solidFill>
                  <a:schemeClr val="tx1"/>
                </a:solidFill>
                <a:cs typeface="Arial" charset="0"/>
              </a:rPr>
              <a:t>slidet</a:t>
            </a:r>
            <a:r>
              <a:rPr lang="da-DK" sz="750" dirty="0">
                <a:solidFill>
                  <a:schemeClr val="tx1"/>
                </a:solidFill>
                <a:cs typeface="Arial" charset="0"/>
              </a:rPr>
              <a:t> og vælg ’Gitter og hjælpelinjer’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kryds ved ’Vis’ tegnehjælpelinjer på skærmen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hak ved ”Fastgør objekter til gitter”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Vælg OK </a:t>
            </a:r>
          </a:p>
        </p:txBody>
      </p:sp>
      <p:sp>
        <p:nvSpPr>
          <p:cNvPr id="19" name="TextBox 17"/>
          <p:cNvSpPr txBox="1">
            <a:spLocks noChangeArrowheads="1"/>
          </p:cNvSpPr>
          <p:nvPr userDrawn="1"/>
        </p:nvSpPr>
        <p:spPr bwMode="auto">
          <a:xfrm>
            <a:off x="-2090329" y="1133828"/>
            <a:ext cx="1981968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Indsæt et baggrundsbillede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1. Indsæt et billede ved at klikke på den </a:t>
            </a:r>
            <a:br>
              <a:rPr lang="da-DK" sz="750" b="0" dirty="0">
                <a:solidFill>
                  <a:schemeClr val="tx1"/>
                </a:solidFill>
              </a:rPr>
            </a:br>
            <a:r>
              <a:rPr lang="da-DK" sz="750" b="0" dirty="0">
                <a:solidFill>
                  <a:schemeClr val="tx1"/>
                </a:solidFill>
              </a:rPr>
              <a:t>hvide </a:t>
            </a:r>
            <a:r>
              <a:rPr lang="da-DK" sz="750" b="0" dirty="0" err="1">
                <a:solidFill>
                  <a:schemeClr val="tx1"/>
                </a:solidFill>
              </a:rPr>
              <a:t>billedepladsholder</a:t>
            </a:r>
            <a:endParaRPr lang="da-DK" sz="750" b="0" dirty="0">
              <a:solidFill>
                <a:schemeClr val="tx1"/>
              </a:solidFill>
            </a:endParaRP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2. Via</a:t>
            </a:r>
            <a:r>
              <a:rPr lang="da-DK" sz="750" b="0" baseline="0" dirty="0">
                <a:solidFill>
                  <a:schemeClr val="tx1"/>
                </a:solidFill>
              </a:rPr>
              <a:t> ”indsæt” – Vælg ”billede” og ”billede fra fil” – Herfra vælger du billedet, fra din computer, som skal indsættes </a:t>
            </a:r>
          </a:p>
          <a:p>
            <a:pPr marL="0" indent="0" algn="r" eaLnBrk="1" hangingPunct="1">
              <a:buNone/>
              <a:defRPr/>
            </a:pPr>
            <a:r>
              <a:rPr lang="da-DK" sz="750" b="0" baseline="0" dirty="0">
                <a:solidFill>
                  <a:schemeClr val="tx1"/>
                </a:solidFill>
              </a:rPr>
              <a:t>3. </a:t>
            </a:r>
            <a:r>
              <a:rPr lang="da-DK" sz="750" b="0" dirty="0">
                <a:solidFill>
                  <a:schemeClr val="tx1"/>
                </a:solidFill>
              </a:rPr>
              <a:t>Højreklik på billedet og send</a:t>
            </a:r>
            <a:r>
              <a:rPr lang="da-DK" sz="750" b="0" baseline="0" dirty="0">
                <a:solidFill>
                  <a:schemeClr val="tx1"/>
                </a:solidFill>
              </a:rPr>
              <a:t> det bagud</a:t>
            </a:r>
          </a:p>
        </p:txBody>
      </p:sp>
      <p:pic>
        <p:nvPicPr>
          <p:cNvPr id="15" name="Picture 14" descr="Skærmbillede 2016-04-05 kl. 09.35.2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16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8011784" y="4491156"/>
            <a:ext cx="756096" cy="440692"/>
          </a:xfrm>
          <a:blipFill rotWithShape="1">
            <a:blip r:embed="rId3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365149" y="4522574"/>
            <a:ext cx="994270" cy="393828"/>
          </a:xfrm>
          <a:blipFill rotWithShape="1">
            <a:blip r:embed="rId4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354954825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 - Fuldt billede eller far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54717" cy="5143500"/>
          </a:xfrm>
          <a:solidFill>
            <a:srgbClr val="4B3E31"/>
          </a:solidFill>
        </p:spPr>
        <p:txBody>
          <a:bodyPr tIns="720000">
            <a:normAutofit/>
          </a:bodyPr>
          <a:lstStyle>
            <a:lvl1pPr marL="0" marR="0" indent="0" algn="ctr" defTabSz="685800" rtl="0" eaLnBrk="1" fontAlgn="auto" latinLnBrk="0" hangingPunct="1">
              <a:lnSpc>
                <a:spcPct val="94000"/>
              </a:lnSpc>
              <a:spcBef>
                <a:spcPts val="0"/>
              </a:spcBef>
              <a:spcAft>
                <a:spcPts val="1500"/>
              </a:spcAft>
              <a:buClrTx/>
              <a:buSzTx/>
              <a:buFont typeface="Arial" pitchFamily="34" charset="0"/>
              <a:buNone/>
              <a:tabLst/>
              <a:defRPr sz="1050" b="0" baseline="0"/>
            </a:lvl1pPr>
          </a:lstStyle>
          <a:p>
            <a:r>
              <a:rPr lang="da-DK" noProof="0" dirty="0"/>
              <a:t>Indsæt et baggrundsbillede ved at klikke på det brune felt og indsæt billede via ”indsæt billede” i menulinj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11154" y="988513"/>
            <a:ext cx="5518931" cy="2416775"/>
          </a:xfrm>
        </p:spPr>
        <p:txBody>
          <a:bodyPr anchor="t">
            <a:noAutofit/>
          </a:bodyPr>
          <a:lstStyle>
            <a:lvl1pPr>
              <a:lnSpc>
                <a:spcPct val="88000"/>
              </a:lnSpc>
              <a:defRPr sz="5400" baseline="0">
                <a:solidFill>
                  <a:schemeClr val="bg1"/>
                </a:solidFill>
              </a:defRPr>
            </a:lvl1pPr>
          </a:lstStyle>
          <a:p>
            <a:r>
              <a:rPr lang="da-DK" noProof="0" dirty="0" err="1"/>
              <a:t>Breaker</a:t>
            </a:r>
            <a:r>
              <a:rPr lang="da-DK" noProof="0" dirty="0"/>
              <a:t> side med stor tekst </a:t>
            </a:r>
            <a:br>
              <a:rPr lang="da-DK" noProof="0" dirty="0"/>
            </a:br>
            <a:r>
              <a:rPr lang="da-DK" noProof="0" dirty="0"/>
              <a:t>i flere linjer</a:t>
            </a:r>
          </a:p>
        </p:txBody>
      </p:sp>
      <p:sp>
        <p:nvSpPr>
          <p:cNvPr id="23" name="AutoShape 4"/>
          <p:cNvSpPr>
            <a:spLocks/>
          </p:cNvSpPr>
          <p:nvPr userDrawn="1"/>
        </p:nvSpPr>
        <p:spPr bwMode="gray">
          <a:xfrm>
            <a:off x="-2556791" y="0"/>
            <a:ext cx="2469479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342900">
              <a:tabLst>
                <a:tab pos="133350" algn="l"/>
              </a:tabLst>
              <a:defRPr/>
            </a:pPr>
            <a:r>
              <a:rPr lang="da-DK" sz="750" b="1" dirty="0">
                <a:solidFill>
                  <a:schemeClr val="tx1"/>
                </a:solidFill>
                <a:cs typeface="Arial" charset="0"/>
              </a:rPr>
              <a:t>Vis hjælpelinjer som hjælper ved placering af objekter</a:t>
            </a:r>
          </a:p>
          <a:p>
            <a:pPr algn="r" defTabSz="342900"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1.	Højreklik udenfor slidet og vælg ’Gitter og hjælpelinjer’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kryds ved ’Vis’ tegnehjælpelinjer på skærmen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hak ved ”Fastgør objekter til gitter”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Vælg OK 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8011784" y="4491156"/>
            <a:ext cx="756096" cy="440692"/>
          </a:xfrm>
          <a:blipFill rotWithShape="1">
            <a:blip r:embed="rId2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26" name="TextBox 17"/>
          <p:cNvSpPr txBox="1">
            <a:spLocks noChangeArrowheads="1"/>
          </p:cNvSpPr>
          <p:nvPr userDrawn="1"/>
        </p:nvSpPr>
        <p:spPr bwMode="auto">
          <a:xfrm>
            <a:off x="-2090329" y="1133828"/>
            <a:ext cx="1981968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Indsæt et baggrundsbillede</a:t>
            </a: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1. Indsæt et billede ved at klikke på </a:t>
            </a:r>
            <a:r>
              <a:rPr lang="da-DK" sz="750" b="0" dirty="0" err="1">
                <a:solidFill>
                  <a:schemeClr val="tx1"/>
                </a:solidFill>
              </a:rPr>
              <a:t>billedepladsholderen</a:t>
            </a:r>
            <a:endParaRPr lang="da-DK" sz="750" b="0" dirty="0">
              <a:solidFill>
                <a:schemeClr val="tx1"/>
              </a:solidFill>
            </a:endParaRPr>
          </a:p>
          <a:p>
            <a:pPr marL="0" indent="0" algn="r" eaLnBrk="1" hangingPunct="1">
              <a:buNone/>
              <a:defRPr/>
            </a:pPr>
            <a:r>
              <a:rPr lang="da-DK" sz="750" b="0" dirty="0">
                <a:solidFill>
                  <a:schemeClr val="tx1"/>
                </a:solidFill>
              </a:rPr>
              <a:t>2. Via</a:t>
            </a:r>
            <a:r>
              <a:rPr lang="da-DK" sz="750" b="0" baseline="0" dirty="0">
                <a:solidFill>
                  <a:schemeClr val="tx1"/>
                </a:solidFill>
              </a:rPr>
              <a:t> ”indsæt” – Vælg ”billede” og ”billede fra fil” – Herfra vælger du billedet, fra din computer, som skal indsættes </a:t>
            </a:r>
          </a:p>
          <a:p>
            <a:pPr marL="0" indent="0" algn="r" eaLnBrk="1" hangingPunct="1">
              <a:buNone/>
              <a:defRPr/>
            </a:pPr>
            <a:r>
              <a:rPr lang="da-DK" sz="750" b="0" baseline="0" dirty="0">
                <a:solidFill>
                  <a:schemeClr val="tx1"/>
                </a:solidFill>
              </a:rPr>
              <a:t>3. </a:t>
            </a:r>
            <a:r>
              <a:rPr lang="da-DK" sz="750" b="0" dirty="0">
                <a:solidFill>
                  <a:schemeClr val="tx1"/>
                </a:solidFill>
              </a:rPr>
              <a:t>Højreklik på billedet og send</a:t>
            </a:r>
            <a:r>
              <a:rPr lang="da-DK" sz="750" b="0" baseline="0" dirty="0">
                <a:solidFill>
                  <a:schemeClr val="tx1"/>
                </a:solidFill>
              </a:rPr>
              <a:t> det bagud</a:t>
            </a:r>
          </a:p>
        </p:txBody>
      </p:sp>
      <p:pic>
        <p:nvPicPr>
          <p:cNvPr id="11" name="Picture 10" descr="Skærmbillede 2016-04-05 kl. 09.35.2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sp>
        <p:nvSpPr>
          <p:cNvPr id="10" name="Text Placeholder 13"/>
          <p:cNvSpPr>
            <a:spLocks noGrp="1"/>
          </p:cNvSpPr>
          <p:nvPr>
            <p:ph type="body" sz="quarter" idx="26"/>
          </p:nvPr>
        </p:nvSpPr>
        <p:spPr>
          <a:xfrm>
            <a:off x="365149" y="4522574"/>
            <a:ext cx="994270" cy="393828"/>
          </a:xfrm>
          <a:blipFill rotWithShape="1">
            <a:blip r:embed="rId4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34490180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447553"/>
            <a:ext cx="9144000" cy="608333"/>
          </a:xfrm>
          <a:prstGeom prst="rect">
            <a:avLst/>
          </a:prstGeom>
        </p:spPr>
        <p:txBody>
          <a:bodyPr anchor="ctr"/>
          <a:lstStyle>
            <a:lvl1pPr algn="ctr">
              <a:defRPr sz="3600" b="1" cap="all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EC1568-49BF-594E-9B2C-38E80A379FCB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26-09-2021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6FB5BB-5704-FB48-BA77-7254DC263D9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3135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 - SEGES Logo hvid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AutoShape 4"/>
          <p:cNvSpPr>
            <a:spLocks/>
          </p:cNvSpPr>
          <p:nvPr userDrawn="1"/>
        </p:nvSpPr>
        <p:spPr bwMode="gray">
          <a:xfrm>
            <a:off x="-2556791" y="0"/>
            <a:ext cx="2469479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342900">
              <a:tabLst>
                <a:tab pos="133350" algn="l"/>
              </a:tabLst>
              <a:defRPr/>
            </a:pPr>
            <a:r>
              <a:rPr lang="da-DK" sz="750" b="1" dirty="0">
                <a:solidFill>
                  <a:schemeClr val="tx1"/>
                </a:solidFill>
                <a:cs typeface="Arial" charset="0"/>
              </a:rPr>
              <a:t>Vis hjælpelinjer som hjælper ved placering af objekter</a:t>
            </a:r>
          </a:p>
          <a:p>
            <a:pPr algn="r" defTabSz="342900"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1.	Højreklik udenfor slidet og vælg ’Gitter og hjælpelinjer’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kryds ved ’Vis’ tegnehjælpelinjer på skærmen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hak ved ”Fastgør objekter til gitter”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Vælg OK 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8011784" y="4491156"/>
            <a:ext cx="756096" cy="440692"/>
          </a:xfrm>
          <a:blipFill rotWithShape="1">
            <a:blip r:embed="rId2"/>
            <a:stretch>
              <a:fillRect/>
            </a:stretch>
          </a:blipFill>
        </p:spPr>
        <p:txBody>
          <a:bodyPr tIns="1800000"/>
          <a:lstStyle>
            <a:lvl1pPr marL="0" indent="0">
              <a:buFont typeface="Arial" pitchFamily="34" charset="0"/>
              <a:buNone/>
              <a:defRPr sz="100">
                <a:solidFill>
                  <a:srgbClr val="88919F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pic>
        <p:nvPicPr>
          <p:cNvPr id="11" name="Picture 10" descr="Skærmbillede 2016-04-05 kl. 09.35.22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pic>
        <p:nvPicPr>
          <p:cNvPr id="10" name="Billed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2484" y="1547659"/>
            <a:ext cx="6479033" cy="1782341"/>
          </a:xfrm>
          <a:prstGeom prst="rect">
            <a:avLst/>
          </a:prstGeom>
        </p:spPr>
      </p:pic>
      <p:sp>
        <p:nvSpPr>
          <p:cNvPr id="9" name="TextBox 17"/>
          <p:cNvSpPr txBox="1">
            <a:spLocks noChangeArrowheads="1"/>
          </p:cNvSpPr>
          <p:nvPr userDrawn="1"/>
        </p:nvSpPr>
        <p:spPr bwMode="auto">
          <a:xfrm>
            <a:off x="-2219614" y="1133828"/>
            <a:ext cx="2111253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Skift</a:t>
            </a:r>
            <a:r>
              <a:rPr lang="da-DK" sz="750" b="1" baseline="0" dirty="0">
                <a:solidFill>
                  <a:schemeClr val="tx1"/>
                </a:solidFill>
              </a:rPr>
              <a:t> farve på baggrund</a:t>
            </a:r>
            <a:endParaRPr lang="da-DK" sz="750" b="1" dirty="0">
              <a:solidFill>
                <a:schemeClr val="tx1"/>
              </a:solidFill>
            </a:endParaRP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 err="1">
                <a:solidFill>
                  <a:schemeClr val="tx1"/>
                </a:solidFill>
              </a:rPr>
              <a:t>Højreklik</a:t>
            </a:r>
            <a:r>
              <a:rPr lang="da-DK" sz="750" b="0" dirty="0">
                <a:solidFill>
                  <a:schemeClr val="tx1"/>
                </a:solidFill>
              </a:rPr>
              <a:t> på baggrunden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drop ned menuen vælg ”</a:t>
            </a:r>
            <a:r>
              <a:rPr lang="da-DK" sz="750" b="0" dirty="0" err="1">
                <a:solidFill>
                  <a:schemeClr val="tx1"/>
                </a:solidFill>
              </a:rPr>
              <a:t>Fomater</a:t>
            </a:r>
            <a:r>
              <a:rPr lang="da-DK" sz="750" b="0" baseline="0" dirty="0">
                <a:solidFill>
                  <a:schemeClr val="tx1"/>
                </a:solidFill>
              </a:rPr>
              <a:t> baggrund”</a:t>
            </a:r>
            <a:r>
              <a:rPr lang="da-DK" sz="750" b="0" dirty="0">
                <a:solidFill>
                  <a:schemeClr val="tx1"/>
                </a:solidFill>
              </a:rPr>
              <a:t>”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”farvespandend” i</a:t>
            </a:r>
            <a:r>
              <a:rPr lang="da-DK" sz="750" b="0" baseline="0" dirty="0">
                <a:solidFill>
                  <a:schemeClr val="tx1"/>
                </a:solidFill>
              </a:rPr>
              <a:t> </a:t>
            </a:r>
            <a:r>
              <a:rPr lang="da-DK" sz="750" b="0" baseline="0" dirty="0" err="1">
                <a:solidFill>
                  <a:schemeClr val="tx1"/>
                </a:solidFill>
              </a:rPr>
              <a:t>fomater</a:t>
            </a:r>
            <a:r>
              <a:rPr lang="da-DK" sz="750" b="0" baseline="0" dirty="0">
                <a:solidFill>
                  <a:schemeClr val="tx1"/>
                </a:solidFill>
              </a:rPr>
              <a:t> baggrund</a:t>
            </a:r>
            <a:r>
              <a:rPr lang="da-DK" sz="750" b="0" dirty="0">
                <a:solidFill>
                  <a:schemeClr val="tx1"/>
                </a:solidFill>
              </a:rPr>
              <a:t> vælg en af </a:t>
            </a:r>
            <a:r>
              <a:rPr lang="da-DK" sz="750" b="0" dirty="0" err="1">
                <a:solidFill>
                  <a:schemeClr val="tx1"/>
                </a:solidFill>
              </a:rPr>
              <a:t>temafarvene</a:t>
            </a:r>
            <a:r>
              <a:rPr lang="da-DK" sz="750" b="0" dirty="0">
                <a:solidFill>
                  <a:schemeClr val="tx1"/>
                </a:solidFill>
              </a:rPr>
              <a:t> for at farvelægge baggrunden</a:t>
            </a:r>
          </a:p>
        </p:txBody>
      </p:sp>
    </p:spTree>
    <p:extLst>
      <p:ext uri="{BB962C8B-B14F-4D97-AF65-F5344CB8AC3E}">
        <p14:creationId xmlns:p14="http://schemas.microsoft.com/office/powerpoint/2010/main" val="23372180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reaker slide - SEGES Logo grøn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AutoShape 4"/>
          <p:cNvSpPr>
            <a:spLocks/>
          </p:cNvSpPr>
          <p:nvPr userDrawn="1"/>
        </p:nvSpPr>
        <p:spPr bwMode="gray">
          <a:xfrm>
            <a:off x="-2556791" y="0"/>
            <a:ext cx="2469479" cy="577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342900">
              <a:tabLst>
                <a:tab pos="133350" algn="l"/>
              </a:tabLst>
              <a:defRPr/>
            </a:pPr>
            <a:r>
              <a:rPr lang="da-DK" sz="750" b="1" dirty="0">
                <a:solidFill>
                  <a:schemeClr val="tx1"/>
                </a:solidFill>
                <a:cs typeface="Arial" charset="0"/>
              </a:rPr>
              <a:t>Vis hjælpelinjer som hjælper ved placering af objekter</a:t>
            </a:r>
          </a:p>
          <a:p>
            <a:pPr algn="r" defTabSz="342900"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1.	Højreklik udenfor slidet og vælg ’Gitter og hjælpelinjer’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kryds ved ’Vis’ tegnehjælpelinjer på skærmen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Sæt hak ved ”Fastgør objekter til gitter”</a:t>
            </a:r>
          </a:p>
          <a:p>
            <a:pPr marL="171450" indent="-171450" algn="r" defTabSz="342900">
              <a:buFontTx/>
              <a:buAutoNum type="arabicPeriod" startAt="2"/>
              <a:tabLst>
                <a:tab pos="133350" algn="l"/>
              </a:tabLst>
              <a:defRPr/>
            </a:pPr>
            <a:r>
              <a:rPr lang="da-DK" sz="750" dirty="0">
                <a:solidFill>
                  <a:schemeClr val="tx1"/>
                </a:solidFill>
                <a:cs typeface="Arial" charset="0"/>
              </a:rPr>
              <a:t>Vælg OK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-1857617" y="3104672"/>
            <a:ext cx="1749257" cy="52578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Vælg layout</a:t>
            </a:r>
            <a:br>
              <a:rPr lang="en-GB" sz="750" b="1" noProof="1">
                <a:solidFill>
                  <a:schemeClr val="tx1"/>
                </a:solidFill>
                <a:latin typeface="+mn-lt"/>
              </a:rPr>
            </a:br>
            <a:r>
              <a:rPr lang="en-GB" sz="750" b="1" noProof="1">
                <a:solidFill>
                  <a:schemeClr val="tx1"/>
                </a:solidFill>
                <a:latin typeface="+mn-lt"/>
              </a:rPr>
              <a:t>1. </a:t>
            </a:r>
            <a:r>
              <a:rPr lang="en-GB" sz="750" b="0" noProof="1">
                <a:solidFill>
                  <a:schemeClr val="tx1"/>
                </a:solidFill>
                <a:latin typeface="+mn-lt"/>
              </a:rPr>
              <a:t>Fra værktøjslinjen klik</a:t>
            </a:r>
            <a:r>
              <a:rPr lang="en-GB" sz="750" b="0" baseline="0" noProof="1">
                <a:solidFill>
                  <a:schemeClr val="tx1"/>
                </a:solidFill>
                <a:latin typeface="+mn-lt"/>
              </a:rPr>
              <a:t> på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 “nyt dias”</a:t>
            </a:r>
          </a:p>
          <a:p>
            <a:pPr algn="r">
              <a:spcBef>
                <a:spcPts val="450"/>
              </a:spcBef>
              <a:defRPr/>
            </a:pPr>
            <a:r>
              <a:rPr lang="en-GB" sz="750" b="1" noProof="1">
                <a:solidFill>
                  <a:schemeClr val="tx1"/>
                </a:solidFill>
                <a:latin typeface="+mn-lt"/>
              </a:rPr>
              <a:t>2. </a:t>
            </a:r>
            <a:r>
              <a:rPr lang="en-GB" sz="750" noProof="1">
                <a:solidFill>
                  <a:schemeClr val="tx1"/>
                </a:solidFill>
                <a:latin typeface="+mn-lt"/>
              </a:rPr>
              <a:t>Vælg et passende layout fra “drop ned” menuen</a:t>
            </a:r>
          </a:p>
        </p:txBody>
      </p:sp>
      <p:sp>
        <p:nvSpPr>
          <p:cNvPr id="26" name="TextBox 17"/>
          <p:cNvSpPr txBox="1">
            <a:spLocks noChangeArrowheads="1"/>
          </p:cNvSpPr>
          <p:nvPr userDrawn="1"/>
        </p:nvSpPr>
        <p:spPr bwMode="auto">
          <a:xfrm>
            <a:off x="-2219614" y="1133828"/>
            <a:ext cx="2111253" cy="80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a-DK" sz="750" b="1" dirty="0">
                <a:solidFill>
                  <a:schemeClr val="tx1"/>
                </a:solidFill>
              </a:rPr>
              <a:t>Skift</a:t>
            </a:r>
            <a:r>
              <a:rPr lang="da-DK" sz="750" b="1" baseline="0" dirty="0">
                <a:solidFill>
                  <a:schemeClr val="tx1"/>
                </a:solidFill>
              </a:rPr>
              <a:t> farve på baggrund</a:t>
            </a:r>
            <a:endParaRPr lang="da-DK" sz="750" b="1" dirty="0">
              <a:solidFill>
                <a:schemeClr val="tx1"/>
              </a:solidFill>
            </a:endParaRP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 err="1">
                <a:solidFill>
                  <a:schemeClr val="tx1"/>
                </a:solidFill>
              </a:rPr>
              <a:t>Højreklik</a:t>
            </a:r>
            <a:r>
              <a:rPr lang="da-DK" sz="750" b="0" dirty="0">
                <a:solidFill>
                  <a:schemeClr val="tx1"/>
                </a:solidFill>
              </a:rPr>
              <a:t> på baggrunden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drop ned menuen vælg ”</a:t>
            </a:r>
            <a:r>
              <a:rPr lang="da-DK" sz="750" b="0" dirty="0" err="1">
                <a:solidFill>
                  <a:schemeClr val="tx1"/>
                </a:solidFill>
              </a:rPr>
              <a:t>Fomater</a:t>
            </a:r>
            <a:r>
              <a:rPr lang="da-DK" sz="750" b="0" baseline="0" dirty="0">
                <a:solidFill>
                  <a:schemeClr val="tx1"/>
                </a:solidFill>
              </a:rPr>
              <a:t> baggrund”</a:t>
            </a:r>
            <a:r>
              <a:rPr lang="da-DK" sz="750" b="0" dirty="0">
                <a:solidFill>
                  <a:schemeClr val="tx1"/>
                </a:solidFill>
              </a:rPr>
              <a:t>”</a:t>
            </a:r>
          </a:p>
          <a:p>
            <a:pPr marL="171450" indent="-171450" algn="r" eaLnBrk="1" hangingPunct="1">
              <a:buAutoNum type="arabicPeriod"/>
              <a:defRPr/>
            </a:pPr>
            <a:r>
              <a:rPr lang="da-DK" sz="750" b="0" dirty="0">
                <a:solidFill>
                  <a:schemeClr val="tx1"/>
                </a:solidFill>
              </a:rPr>
              <a:t>Fra ”farvespandend” i</a:t>
            </a:r>
            <a:r>
              <a:rPr lang="da-DK" sz="750" b="0" baseline="0" dirty="0">
                <a:solidFill>
                  <a:schemeClr val="tx1"/>
                </a:solidFill>
              </a:rPr>
              <a:t> </a:t>
            </a:r>
            <a:r>
              <a:rPr lang="da-DK" sz="750" b="0" baseline="0" dirty="0" err="1">
                <a:solidFill>
                  <a:schemeClr val="tx1"/>
                </a:solidFill>
              </a:rPr>
              <a:t>fomater</a:t>
            </a:r>
            <a:r>
              <a:rPr lang="da-DK" sz="750" b="0" baseline="0" dirty="0">
                <a:solidFill>
                  <a:schemeClr val="tx1"/>
                </a:solidFill>
              </a:rPr>
              <a:t> baggrund</a:t>
            </a:r>
            <a:r>
              <a:rPr lang="da-DK" sz="750" b="0" dirty="0">
                <a:solidFill>
                  <a:schemeClr val="tx1"/>
                </a:solidFill>
              </a:rPr>
              <a:t> vælg en af </a:t>
            </a:r>
            <a:r>
              <a:rPr lang="da-DK" sz="750" b="0" dirty="0" err="1">
                <a:solidFill>
                  <a:schemeClr val="tx1"/>
                </a:solidFill>
              </a:rPr>
              <a:t>temafarvene</a:t>
            </a:r>
            <a:r>
              <a:rPr lang="da-DK" sz="750" b="0" dirty="0">
                <a:solidFill>
                  <a:schemeClr val="tx1"/>
                </a:solidFill>
              </a:rPr>
              <a:t> for at farvelægge baggrunden</a:t>
            </a:r>
          </a:p>
        </p:txBody>
      </p:sp>
      <p:pic>
        <p:nvPicPr>
          <p:cNvPr id="11" name="Picture 10" descr="Skærmbillede 2016-04-05 kl. 09.35.22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762356" y="3790734"/>
            <a:ext cx="1653993" cy="1343695"/>
          </a:xfrm>
          <a:prstGeom prst="rect">
            <a:avLst/>
          </a:prstGeom>
        </p:spPr>
      </p:pic>
      <p:pic>
        <p:nvPicPr>
          <p:cNvPr id="10" name="Picture 49" descr="LF_Logo_RGB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783" y="4491156"/>
            <a:ext cx="756097" cy="440692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2484" y="1547658"/>
            <a:ext cx="6479033" cy="1782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9802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5A380-C0FC-CB4F-B98A-C67851DDAF72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6B89A-C18B-8D4B-AB5B-6896B47A758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1277683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5A380-C0FC-CB4F-B98A-C67851DDAF72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6B89A-C18B-8D4B-AB5B-6896B47A758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870354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5A380-C0FC-CB4F-B98A-C67851DDAF72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6B89A-C18B-8D4B-AB5B-6896B47A758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920571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5A380-C0FC-CB4F-B98A-C67851DDAF72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6B89A-C18B-8D4B-AB5B-6896B47A758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524843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5A380-C0FC-CB4F-B98A-C67851DDAF72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6B89A-C18B-8D4B-AB5B-6896B47A758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7314248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5A380-C0FC-CB4F-B98A-C67851DDAF72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6B89A-C18B-8D4B-AB5B-6896B47A758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40961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5A380-C0FC-CB4F-B98A-C67851DDAF72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6B89A-C18B-8D4B-AB5B-6896B47A758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792089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5A380-C0FC-CB4F-B98A-C67851DDAF72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6B89A-C18B-8D4B-AB5B-6896B47A758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184245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459297"/>
            <a:ext cx="9144000" cy="610066"/>
          </a:xfrm>
          <a:prstGeom prst="rect">
            <a:avLst/>
          </a:prstGeom>
        </p:spPr>
        <p:txBody>
          <a:bodyPr anchor="ctr"/>
          <a:lstStyle>
            <a:lvl1pPr>
              <a:defRPr sz="3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EC1568-49BF-594E-9B2C-38E80A379FCB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26-09-2021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6FB5BB-5704-FB48-BA77-7254DC263D9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6896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5A380-C0FC-CB4F-B98A-C67851DDAF72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6B89A-C18B-8D4B-AB5B-6896B47A758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7816119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5A380-C0FC-CB4F-B98A-C67851DDAF72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6B89A-C18B-8D4B-AB5B-6896B47A758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7915360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15A380-C0FC-CB4F-B98A-C67851DDAF72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66B89A-C18B-8D4B-AB5B-6896B47A758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450752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BFBB7E87-42F4-4AA7-8D48-9BC675E9F980}"/>
              </a:ext>
            </a:extLst>
          </p:cNvPr>
          <p:cNvSpPr/>
          <p:nvPr/>
        </p:nvSpPr>
        <p:spPr>
          <a:xfrm>
            <a:off x="-10524" y="0"/>
            <a:ext cx="9154522" cy="5143500"/>
          </a:xfrm>
          <a:custGeom>
            <a:avLst/>
            <a:gdLst>
              <a:gd name="f0" fmla="val w"/>
              <a:gd name="f1" fmla="val h"/>
              <a:gd name="f2" fmla="val 0"/>
              <a:gd name="f3" fmla="val 20104100"/>
              <a:gd name="f4" fmla="val 11308715"/>
              <a:gd name="f5" fmla="val 11308556"/>
              <a:gd name="f6" fmla="val 20104099"/>
              <a:gd name="f7" fmla="*/ f0 1 20104100"/>
              <a:gd name="f8" fmla="*/ f1 1 11308715"/>
              <a:gd name="f9" fmla="+- f4 0 f2"/>
              <a:gd name="f10" fmla="+- f3 0 f2"/>
              <a:gd name="f11" fmla="*/ f10 1 20104100"/>
              <a:gd name="f12" fmla="*/ f9 1 11308715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20104100" h="11308715">
                <a:moveTo>
                  <a:pt x="f2" y="f5"/>
                </a:moveTo>
                <a:lnTo>
                  <a:pt x="f6" y="f5"/>
                </a:lnTo>
                <a:lnTo>
                  <a:pt x="f6" y="f2"/>
                </a:lnTo>
                <a:lnTo>
                  <a:pt x="f2" y="f2"/>
                </a:lnTo>
                <a:lnTo>
                  <a:pt x="f2" y="f5"/>
                </a:lnTo>
                <a:close/>
              </a:path>
            </a:pathLst>
          </a:custGeom>
          <a:solidFill>
            <a:srgbClr val="9A6E3A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3" name="Rectangle 23">
            <a:extLst>
              <a:ext uri="{FF2B5EF4-FFF2-40B4-BE49-F238E27FC236}">
                <a16:creationId xmlns:a16="http://schemas.microsoft.com/office/drawing/2014/main" id="{200B38CA-A8F0-47D1-B068-C6F62B87ADC4}"/>
              </a:ext>
            </a:extLst>
          </p:cNvPr>
          <p:cNvSpPr/>
          <p:nvPr/>
        </p:nvSpPr>
        <p:spPr>
          <a:xfrm>
            <a:off x="-10525" y="0"/>
            <a:ext cx="6630399" cy="5143500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marL="0" marR="0" lvl="0" indent="0" algn="ctr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FFFFFF"/>
              </a:solidFill>
              <a:uFillTx/>
              <a:latin typeface="Arial"/>
            </a:endParaRPr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8888C3DD-3F5D-4538-AE4F-5AEEA0840A99}"/>
              </a:ext>
            </a:extLst>
          </p:cNvPr>
          <p:cNvSpPr/>
          <p:nvPr/>
        </p:nvSpPr>
        <p:spPr>
          <a:xfrm>
            <a:off x="-10524" y="894536"/>
            <a:ext cx="7907362" cy="4248963"/>
          </a:xfrm>
          <a:custGeom>
            <a:avLst/>
            <a:gdLst>
              <a:gd name="f0" fmla="val w"/>
              <a:gd name="f1" fmla="val h"/>
              <a:gd name="f2" fmla="val 0"/>
              <a:gd name="f3" fmla="val 16670019"/>
              <a:gd name="f4" fmla="val 10303510"/>
              <a:gd name="f5" fmla="val 10303351"/>
              <a:gd name="f6" fmla="val 16669649"/>
              <a:gd name="f7" fmla="*/ f0 1 16670019"/>
              <a:gd name="f8" fmla="*/ f1 1 10303510"/>
              <a:gd name="f9" fmla="+- f4 0 f2"/>
              <a:gd name="f10" fmla="+- f3 0 f2"/>
              <a:gd name="f11" fmla="*/ f10 1 16670019"/>
              <a:gd name="f12" fmla="*/ f9 1 10303510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16670019" h="10303510">
                <a:moveTo>
                  <a:pt x="f2" y="f5"/>
                </a:moveTo>
                <a:lnTo>
                  <a:pt x="f6" y="f5"/>
                </a:lnTo>
                <a:lnTo>
                  <a:pt x="f6" y="f2"/>
                </a:lnTo>
                <a:lnTo>
                  <a:pt x="f2" y="f2"/>
                </a:lnTo>
                <a:lnTo>
                  <a:pt x="f2" y="f5"/>
                </a:lnTo>
                <a:close/>
              </a:path>
            </a:pathLst>
          </a:custGeom>
          <a:solidFill>
            <a:srgbClr val="30373B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FFFFFF"/>
              </a:solidFill>
              <a:uFillTx/>
              <a:latin typeface="Arial"/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1084CA2D-4B3B-4BFB-8B56-B8427DC01408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249235" y="4097346"/>
            <a:ext cx="5393350" cy="647656"/>
          </a:xfrm>
        </p:spPr>
        <p:txBody>
          <a:bodyPr anchor="b"/>
          <a:lstStyle>
            <a:lvl1pPr>
              <a:defRPr lang="en-GB" sz="675">
                <a:solidFill>
                  <a:srgbClr val="F8F5E7"/>
                </a:solidFill>
              </a:defRPr>
            </a:lvl1pPr>
          </a:lstStyle>
          <a:p>
            <a:pPr lvl="0"/>
            <a:r>
              <a:rPr lang="en-GB"/>
              <a:t>Click to edit Master subtitle sty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3287883-45B0-4BED-8B63-6AB031F8084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1604223"/>
            <a:ext cx="5393350" cy="1668661"/>
          </a:xfrm>
        </p:spPr>
        <p:txBody>
          <a:bodyPr/>
          <a:lstStyle>
            <a:lvl1pPr>
              <a:lnSpc>
                <a:spcPct val="83000"/>
              </a:lnSpc>
              <a:defRPr lang="en-US" sz="4875" cap="all">
                <a:solidFill>
                  <a:srgbClr val="F8F5E7"/>
                </a:solidFill>
                <a:latin typeface="Impact" pitchFamily="34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C182E23-60A7-480C-AE24-45100EE558A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235" y="4790264"/>
            <a:ext cx="5393350" cy="157974"/>
          </a:xfrm>
        </p:spPr>
        <p:txBody>
          <a:bodyPr rIns="0" anchor="b"/>
          <a:lstStyle>
            <a:lvl1pPr>
              <a:defRPr lang="en-GB" sz="675">
                <a:solidFill>
                  <a:srgbClr val="F8F5E7"/>
                </a:solidFill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Freeform: Shape 15">
            <a:extLst>
              <a:ext uri="{FF2B5EF4-FFF2-40B4-BE49-F238E27FC236}">
                <a16:creationId xmlns:a16="http://schemas.microsoft.com/office/drawing/2014/main" id="{8B3B94F5-F7A5-48D5-AB32-BFD60A17C535}"/>
              </a:ext>
            </a:extLst>
          </p:cNvPr>
          <p:cNvSpPr/>
          <p:nvPr/>
        </p:nvSpPr>
        <p:spPr>
          <a:xfrm rot="5400013">
            <a:off x="8288464" y="566493"/>
            <a:ext cx="944168" cy="265744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9905999"/>
              <a:gd name="f7" fmla="val 2265361"/>
              <a:gd name="f8" fmla="val 6778122"/>
              <a:gd name="f9" fmla="val 2222531"/>
              <a:gd name="f10" fmla="val 7135812"/>
              <a:gd name="f11" fmla="val 6449676"/>
              <a:gd name="f12" fmla="val 1769427"/>
              <a:gd name="f13" fmla="val 1965546"/>
              <a:gd name="f14" fmla="val 6575655"/>
              <a:gd name="f15" fmla="val 6643144"/>
              <a:gd name="f16" fmla="val 6679138"/>
              <a:gd name="f17" fmla="val 1933987"/>
              <a:gd name="f18" fmla="val 1864105"/>
              <a:gd name="f19" fmla="val 1800986"/>
              <a:gd name="f20" fmla="val 6638645"/>
              <a:gd name="f21" fmla="val 5021164"/>
              <a:gd name="f22" fmla="val 1949767"/>
              <a:gd name="f23" fmla="val 5158391"/>
              <a:gd name="f24" fmla="val 5219131"/>
              <a:gd name="f25" fmla="val 5261874"/>
              <a:gd name="f26" fmla="val 1924970"/>
              <a:gd name="f27" fmla="val 1859597"/>
              <a:gd name="f28" fmla="val 1794223"/>
              <a:gd name="f29" fmla="val 5597068"/>
              <a:gd name="f30" fmla="val 1762664"/>
              <a:gd name="f31" fmla="val 5563324"/>
              <a:gd name="f32" fmla="val 5529579"/>
              <a:gd name="f33" fmla="val 1776189"/>
              <a:gd name="f34" fmla="val 5504834"/>
              <a:gd name="f35" fmla="val 5462091"/>
              <a:gd name="f36" fmla="val 1843817"/>
              <a:gd name="f37" fmla="val 5459841"/>
              <a:gd name="f38" fmla="val 1913699"/>
              <a:gd name="f39" fmla="val 1967800"/>
              <a:gd name="f40" fmla="val 2019648"/>
              <a:gd name="f41" fmla="val 2089530"/>
              <a:gd name="f42" fmla="val 2132361"/>
              <a:gd name="f43" fmla="val 2159412"/>
              <a:gd name="f44" fmla="val 2170683"/>
              <a:gd name="f45" fmla="val 5633062"/>
              <a:gd name="f46" fmla="val 5666807"/>
              <a:gd name="f47" fmla="val 5691552"/>
              <a:gd name="f48" fmla="val 5732046"/>
              <a:gd name="f49" fmla="val 5734295"/>
              <a:gd name="f50" fmla="val 654642"/>
              <a:gd name="f51" fmla="val 618647"/>
              <a:gd name="f52" fmla="val 584903"/>
              <a:gd name="f53" fmla="val 560157"/>
              <a:gd name="f54" fmla="val 519664"/>
              <a:gd name="f55" fmla="val 517414"/>
              <a:gd name="f56" fmla="val 688386"/>
              <a:gd name="f57" fmla="val 722130"/>
              <a:gd name="f58" fmla="val 746876"/>
              <a:gd name="f59" fmla="val 789619"/>
              <a:gd name="f60" fmla="val 791868"/>
              <a:gd name="f61" fmla="val 6386687"/>
              <a:gd name="f62" fmla="val 1710816"/>
              <a:gd name="f63" fmla="val 6636395"/>
              <a:gd name="f64" fmla="val 1726596"/>
              <a:gd name="f65" fmla="val 6706134"/>
              <a:gd name="f66" fmla="val 1755901"/>
              <a:gd name="f67" fmla="val 6730880"/>
              <a:gd name="f68" fmla="val 1782952"/>
              <a:gd name="f69" fmla="val 6744377"/>
              <a:gd name="f70" fmla="val 1821274"/>
              <a:gd name="f71" fmla="val 1915953"/>
              <a:gd name="f72" fmla="val 1954275"/>
              <a:gd name="f73" fmla="val 6701634"/>
              <a:gd name="f74" fmla="val 1981326"/>
              <a:gd name="f75" fmla="val 6674639"/>
              <a:gd name="f76" fmla="val 2008377"/>
              <a:gd name="f77" fmla="val 6634146"/>
              <a:gd name="f78" fmla="val 2024157"/>
              <a:gd name="f79" fmla="val 6577905"/>
              <a:gd name="f80" fmla="val 5889520"/>
              <a:gd name="f81" fmla="val 5954759"/>
              <a:gd name="f82" fmla="val 2035428"/>
              <a:gd name="f83" fmla="val 2118835"/>
              <a:gd name="f84" fmla="val 5988503"/>
              <a:gd name="f85" fmla="val 2172937"/>
              <a:gd name="f86" fmla="val 6076239"/>
              <a:gd name="f87" fmla="val 6166224"/>
              <a:gd name="f88" fmla="val 6199968"/>
              <a:gd name="f89" fmla="val 6262957"/>
              <a:gd name="f90" fmla="val 2163920"/>
              <a:gd name="f91" fmla="val 6190969"/>
              <a:gd name="f92" fmla="val 2231547"/>
              <a:gd name="f93" fmla="val 5961508"/>
              <a:gd name="f94" fmla="val 4958174"/>
              <a:gd name="f95" fmla="val 5259624"/>
              <a:gd name="f96" fmla="val 5288869"/>
              <a:gd name="f97" fmla="val 5313615"/>
              <a:gd name="f98" fmla="val 5329363"/>
              <a:gd name="f99" fmla="val 1814512"/>
              <a:gd name="f100" fmla="val 1904682"/>
              <a:gd name="f101" fmla="val 1936241"/>
              <a:gd name="f102" fmla="val 1961038"/>
              <a:gd name="f103" fmla="val 5275372"/>
              <a:gd name="f104" fmla="val 1976817"/>
              <a:gd name="f105" fmla="val 5252875"/>
              <a:gd name="f106" fmla="val 1990343"/>
              <a:gd name="f107" fmla="val 5228130"/>
              <a:gd name="f108" fmla="val 1997106"/>
              <a:gd name="f109" fmla="val 5331612"/>
              <a:gd name="f110" fmla="val 5162890"/>
              <a:gd name="f111" fmla="val 2010631"/>
              <a:gd name="f112" fmla="val 3309199"/>
              <a:gd name="f113" fmla="val 3381187"/>
              <a:gd name="f114" fmla="val 3633145"/>
              <a:gd name="f115" fmla="val 2123344"/>
              <a:gd name="f116" fmla="val 3693885"/>
              <a:gd name="f117" fmla="val 3621897"/>
              <a:gd name="f118" fmla="val 3372188"/>
              <a:gd name="f119" fmla="val 1810003"/>
              <a:gd name="f120" fmla="val 3106732"/>
              <a:gd name="f121" fmla="val 3171971"/>
              <a:gd name="f122" fmla="val 2663557"/>
              <a:gd name="f123" fmla="val 3032495"/>
              <a:gd name="f124" fmla="val 2879521"/>
              <a:gd name="f125" fmla="val 2814282"/>
              <a:gd name="f126" fmla="val 2416099"/>
              <a:gd name="f127" fmla="val 2481338"/>
              <a:gd name="f128" fmla="val 2726547"/>
              <a:gd name="f129" fmla="val 1918931"/>
              <a:gd name="f130" fmla="val 1984171"/>
              <a:gd name="f131" fmla="val 2017916"/>
              <a:gd name="f132" fmla="val 2105651"/>
              <a:gd name="f133" fmla="val 2195636"/>
              <a:gd name="f134" fmla="val 2229380"/>
              <a:gd name="f135" fmla="val 2292369"/>
              <a:gd name="f136" fmla="val 2220382"/>
              <a:gd name="f137" fmla="val 1990920"/>
              <a:gd name="f138" fmla="val 960591"/>
              <a:gd name="f139" fmla="val 1032578"/>
              <a:gd name="f140" fmla="val 1284537"/>
              <a:gd name="f141" fmla="val 1345276"/>
              <a:gd name="f142" fmla="val 1273289"/>
              <a:gd name="f143" fmla="val 1023580"/>
              <a:gd name="f144" fmla="val 1701799"/>
              <a:gd name="f145" fmla="val 5648810"/>
              <a:gd name="f146" fmla="val 5698301"/>
              <a:gd name="f147" fmla="val 1719833"/>
              <a:gd name="f148" fmla="val 5736545"/>
              <a:gd name="f149" fmla="val 5790536"/>
              <a:gd name="f150" fmla="val 5801784"/>
              <a:gd name="f151" fmla="val 1884393"/>
              <a:gd name="f152" fmla="val 2048953"/>
              <a:gd name="f153" fmla="val 2177446"/>
              <a:gd name="f154" fmla="val 2213514"/>
              <a:gd name="f155" fmla="val 2233802"/>
              <a:gd name="f156" fmla="val 5547576"/>
              <a:gd name="f157" fmla="val 5495835"/>
              <a:gd name="f158" fmla="val 5403600"/>
              <a:gd name="f159" fmla="val 5394602"/>
              <a:gd name="f160" fmla="val 4645477"/>
              <a:gd name="f161" fmla="val 4701717"/>
              <a:gd name="f162" fmla="val 4755708"/>
              <a:gd name="f163" fmla="val 1722087"/>
              <a:gd name="f164" fmla="val 4791702"/>
              <a:gd name="f165" fmla="val 1758155"/>
              <a:gd name="f166" fmla="val 4816448"/>
              <a:gd name="f167" fmla="val 1785206"/>
              <a:gd name="f168" fmla="val 4832195"/>
              <a:gd name="f169" fmla="val 1816766"/>
              <a:gd name="f170" fmla="val 4834445"/>
              <a:gd name="f171" fmla="val 4766956"/>
              <a:gd name="f172" fmla="val 4764707"/>
              <a:gd name="f173" fmla="val 1834800"/>
              <a:gd name="f174" fmla="val 4757958"/>
              <a:gd name="f175" fmla="val 1819020"/>
              <a:gd name="f176" fmla="val 4744460"/>
              <a:gd name="f177" fmla="val 1803240"/>
              <a:gd name="f178" fmla="val 4721964"/>
              <a:gd name="f179" fmla="val 1773935"/>
              <a:gd name="f180" fmla="val 4685970"/>
              <a:gd name="f181" fmla="val 4609482"/>
              <a:gd name="f182" fmla="val 4575738"/>
              <a:gd name="f183" fmla="val 4550992"/>
              <a:gd name="f184" fmla="val 4510499"/>
              <a:gd name="f185" fmla="val 4506000"/>
              <a:gd name="f186" fmla="val 2017394"/>
              <a:gd name="f187" fmla="val 2091784"/>
              <a:gd name="f188" fmla="val 4553242"/>
              <a:gd name="f189" fmla="val 2134615"/>
              <a:gd name="f190" fmla="val 4577988"/>
              <a:gd name="f191" fmla="val 2161666"/>
              <a:gd name="f192" fmla="val 4681471"/>
              <a:gd name="f193" fmla="val 4715215"/>
              <a:gd name="f194" fmla="val 4737711"/>
              <a:gd name="f195" fmla="val 2136869"/>
              <a:gd name="f196" fmla="val 4771456"/>
              <a:gd name="f197" fmla="val 2103055"/>
              <a:gd name="f198" fmla="val 4780454"/>
              <a:gd name="f199" fmla="val 2053462"/>
              <a:gd name="f200" fmla="val 2006123"/>
              <a:gd name="f201" fmla="val 1947512"/>
              <a:gd name="f202" fmla="val 4838944"/>
              <a:gd name="f203" fmla="val 4793952"/>
              <a:gd name="f204" fmla="val 4782704"/>
              <a:gd name="f205" fmla="val 2204497"/>
              <a:gd name="f206" fmla="val 4593735"/>
              <a:gd name="f207" fmla="val 4544243"/>
              <a:gd name="f208" fmla="val 2215768"/>
              <a:gd name="f209" fmla="val 2179700"/>
              <a:gd name="f210" fmla="val 4454258"/>
              <a:gd name="f211" fmla="val 2130106"/>
              <a:gd name="f212" fmla="val 4440761"/>
              <a:gd name="f213" fmla="val 2057970"/>
              <a:gd name="f214" fmla="val 4452009"/>
              <a:gd name="f215" fmla="val 4002083"/>
              <a:gd name="f216" fmla="val 4060574"/>
              <a:gd name="f217" fmla="val 4112315"/>
              <a:gd name="f218" fmla="val 4148309"/>
              <a:gd name="f219" fmla="val 4173055"/>
              <a:gd name="f220" fmla="val 4191052"/>
              <a:gd name="f221" fmla="val 4193302"/>
              <a:gd name="f222" fmla="val 4125813"/>
              <a:gd name="f223" fmla="val 4123563"/>
              <a:gd name="f224" fmla="val 4114565"/>
              <a:gd name="f225" fmla="val 4103317"/>
              <a:gd name="f226" fmla="val 4078571"/>
              <a:gd name="f227" fmla="val 4044826"/>
              <a:gd name="f228" fmla="val 3968339"/>
              <a:gd name="f229" fmla="val 3934595"/>
              <a:gd name="f230" fmla="val 3909849"/>
              <a:gd name="f231" fmla="val 3867106"/>
              <a:gd name="f232" fmla="val 3864856"/>
              <a:gd name="f233" fmla="val 4038077"/>
              <a:gd name="f234" fmla="val 4071822"/>
              <a:gd name="f235" fmla="val 4094318"/>
              <a:gd name="f236" fmla="val 4130312"/>
              <a:gd name="f237" fmla="val 4139311"/>
              <a:gd name="f238" fmla="val 4197801"/>
              <a:gd name="f239" fmla="val 4152808"/>
              <a:gd name="f240" fmla="val 4141560"/>
              <a:gd name="f241" fmla="val 4116814"/>
              <a:gd name="f242" fmla="val 3950342"/>
              <a:gd name="f243" fmla="val 3900850"/>
              <a:gd name="f244" fmla="val 3813115"/>
              <a:gd name="f245" fmla="val 3797367"/>
              <a:gd name="f246" fmla="val 3808616"/>
              <a:gd name="f247" fmla="val 1642228"/>
              <a:gd name="f248" fmla="val 1691719"/>
              <a:gd name="f249" fmla="val 1741211"/>
              <a:gd name="f250" fmla="val 1717579"/>
              <a:gd name="f251" fmla="val 1774955"/>
              <a:gd name="f252" fmla="val 1749138"/>
              <a:gd name="f253" fmla="val 1806450"/>
              <a:gd name="f254" fmla="val 1780698"/>
              <a:gd name="f255" fmla="val 1822198"/>
              <a:gd name="f256" fmla="val 1824447"/>
              <a:gd name="f257" fmla="val 1756958"/>
              <a:gd name="f258" fmla="val 1754708"/>
              <a:gd name="f259" fmla="val 1745710"/>
              <a:gd name="f260" fmla="val 1812257"/>
              <a:gd name="f261" fmla="val 1732212"/>
              <a:gd name="f262" fmla="val 1796478"/>
              <a:gd name="f263" fmla="val 1711966"/>
              <a:gd name="f264" fmla="val 1680471"/>
              <a:gd name="f265" fmla="val 1760410"/>
              <a:gd name="f266" fmla="val 1639978"/>
              <a:gd name="f267" fmla="val 1603983"/>
              <a:gd name="f268" fmla="val 1572489"/>
              <a:gd name="f269" fmla="val 1549993"/>
              <a:gd name="f270" fmla="val 1536494"/>
              <a:gd name="f271" fmla="val 1529746"/>
              <a:gd name="f272" fmla="val 1828037"/>
              <a:gd name="f273" fmla="val 1850580"/>
              <a:gd name="f274" fmla="val 1897919"/>
              <a:gd name="f275" fmla="val 1567989"/>
              <a:gd name="f276" fmla="val 1918207"/>
              <a:gd name="f277" fmla="val 1606234"/>
              <a:gd name="f278" fmla="val 1922716"/>
              <a:gd name="f279" fmla="val 1635478"/>
              <a:gd name="f280" fmla="val 1927224"/>
              <a:gd name="f281" fmla="val 1662474"/>
              <a:gd name="f282" fmla="val 1931733"/>
              <a:gd name="f283" fmla="val 1833445"/>
              <a:gd name="f284" fmla="val 2001614"/>
              <a:gd name="f285" fmla="val 2082767"/>
              <a:gd name="f286" fmla="val 2125598"/>
              <a:gd name="f287" fmla="val 1815448"/>
              <a:gd name="f288" fmla="val 2157157"/>
              <a:gd name="f289" fmla="val 1790703"/>
              <a:gd name="f290" fmla="val 2181954"/>
              <a:gd name="f291" fmla="val 1698468"/>
              <a:gd name="f292" fmla="val 1644477"/>
              <a:gd name="f293" fmla="val 1581488"/>
              <a:gd name="f294" fmla="val 1531996"/>
              <a:gd name="f295" fmla="val 1498251"/>
              <a:gd name="f296" fmla="val 2184208"/>
              <a:gd name="f297" fmla="val 1466757"/>
              <a:gd name="f298" fmla="val 2152649"/>
              <a:gd name="f299" fmla="val 1444260"/>
              <a:gd name="f300" fmla="val 2109818"/>
              <a:gd name="f301" fmla="val 2060225"/>
              <a:gd name="f302" fmla="val 1509499"/>
              <a:gd name="f303" fmla="val 1525247"/>
              <a:gd name="f304" fmla="val 2121089"/>
              <a:gd name="f305" fmla="val 1545494"/>
              <a:gd name="f306" fmla="val 2141378"/>
              <a:gd name="f307" fmla="val 1570239"/>
              <a:gd name="f308" fmla="val 1608483"/>
              <a:gd name="f309" fmla="val 1682720"/>
              <a:gd name="f310" fmla="val 1716465"/>
              <a:gd name="f311" fmla="val 2166174"/>
              <a:gd name="f312" fmla="val 1738962"/>
              <a:gd name="f313" fmla="val 2143632"/>
              <a:gd name="f314" fmla="val 1765956"/>
              <a:gd name="f315" fmla="val 2044445"/>
              <a:gd name="f316" fmla="val 1599484"/>
              <a:gd name="f317" fmla="val 1988089"/>
              <a:gd name="f318" fmla="val 1522997"/>
              <a:gd name="f319" fmla="val 1462257"/>
              <a:gd name="f320" fmla="val 1852834"/>
              <a:gd name="f321" fmla="val 1480254"/>
              <a:gd name="f322" fmla="val 1778444"/>
              <a:gd name="f323" fmla="val 1507249"/>
              <a:gd name="f324" fmla="val 1751393"/>
              <a:gd name="f325" fmla="val 1543244"/>
              <a:gd name="f326" fmla="val 1588236"/>
              <a:gd name="f327" fmla="val 704133"/>
              <a:gd name="f328" fmla="val 755874"/>
              <a:gd name="f329" fmla="val 848110"/>
              <a:gd name="f330" fmla="val 857108"/>
              <a:gd name="f331" fmla="val 602900"/>
              <a:gd name="f332" fmla="val 553408"/>
              <a:gd name="f333" fmla="val 515164"/>
              <a:gd name="f334" fmla="val 461173"/>
              <a:gd name="f335" fmla="val 449925"/>
              <a:gd name="f336" fmla="val 202466"/>
              <a:gd name="f337" fmla="val 258707"/>
              <a:gd name="f338" fmla="val 308199"/>
              <a:gd name="f339" fmla="val 339693"/>
              <a:gd name="f340" fmla="val 1753647"/>
              <a:gd name="f341" fmla="val 368939"/>
              <a:gd name="f342" fmla="val 386936"/>
              <a:gd name="f343" fmla="val 1823529"/>
              <a:gd name="f344" fmla="val 389185"/>
              <a:gd name="f345" fmla="val 1870868"/>
              <a:gd name="f346" fmla="val 323946"/>
              <a:gd name="f347" fmla="val 321697"/>
              <a:gd name="f348" fmla="val 1841563"/>
              <a:gd name="f349" fmla="val 312698"/>
              <a:gd name="f350" fmla="val 294701"/>
              <a:gd name="f351" fmla="val 1798732"/>
              <a:gd name="f352" fmla="val 274454"/>
              <a:gd name="f353" fmla="val 240710"/>
              <a:gd name="f354" fmla="val 168722"/>
              <a:gd name="f355" fmla="val 134978"/>
              <a:gd name="f356" fmla="val 110232"/>
              <a:gd name="f357" fmla="val 67489"/>
              <a:gd name="f358" fmla="val 276704"/>
              <a:gd name="f359" fmla="val 2154903"/>
              <a:gd name="f360" fmla="val 296951"/>
              <a:gd name="f361" fmla="val 2114327"/>
              <a:gd name="f362" fmla="val 2087276"/>
              <a:gd name="f363" fmla="val 391435"/>
              <a:gd name="f364" fmla="val 2107564"/>
              <a:gd name="f365" fmla="val 2148140"/>
              <a:gd name="f366" fmla="val 2209005"/>
              <a:gd name="f367" fmla="val 150725"/>
              <a:gd name="f368" fmla="val 101233"/>
              <a:gd name="f369" fmla="val 65239"/>
              <a:gd name="f370" fmla="val 8999"/>
              <a:gd name="f371" fmla="val 2227389"/>
              <a:gd name="f372" fmla="val 214047"/>
              <a:gd name="f373" fmla="val 574548"/>
              <a:gd name="f374" fmla="val 2456649"/>
              <a:gd name="f375" fmla="val 2584765"/>
              <a:gd name="f376" fmla="val 2654442"/>
              <a:gd name="f377" fmla="val 509207"/>
              <a:gd name="f378" fmla="val 394298"/>
              <a:gd name="f379" fmla="val 277135"/>
              <a:gd name="f380" fmla="val 8961436"/>
              <a:gd name="f381" fmla="val 225425"/>
              <a:gd name="f382" fmla="val 9555161"/>
              <a:gd name="f383" fmla="val 1214437"/>
              <a:gd name="f384" fmla="val 9315449"/>
              <a:gd name="f385" fmla="val 7785099"/>
              <a:gd name="f386" fmla="val 8035924"/>
              <a:gd name="f387" fmla="val 8037512"/>
              <a:gd name="f388" fmla="val 3175"/>
              <a:gd name="f389" fmla="val 8523286"/>
              <a:gd name="f390" fmla="val 774700"/>
              <a:gd name="f391" fmla="val 8759824"/>
              <a:gd name="f392" fmla="val 8518524"/>
              <a:gd name="f393" fmla="val 8024812"/>
              <a:gd name="f394" fmla="val 425450"/>
              <a:gd name="f395" fmla="val 6665911"/>
              <a:gd name="f396" fmla="val 7535861"/>
              <a:gd name="f397" fmla="val 220663"/>
              <a:gd name="f398" fmla="val 6905624"/>
              <a:gd name="f399" fmla="val 473075"/>
              <a:gd name="f400" fmla="val 7459661"/>
              <a:gd name="f401" fmla="val 690562"/>
              <a:gd name="f402" fmla="val 993775"/>
              <a:gd name="f403" fmla="val 5221286"/>
              <a:gd name="f404" fmla="val 5534024"/>
              <a:gd name="f405" fmla="val 5835649"/>
              <a:gd name="f406" fmla="val 823912"/>
              <a:gd name="f407" fmla="val 6142037"/>
              <a:gd name="f408" fmla="val 6438899"/>
              <a:gd name="f409" fmla="val 6203949"/>
              <a:gd name="f410" fmla="val 419100"/>
              <a:gd name="f411" fmla="val 5916612"/>
              <a:gd name="f412" fmla="val 1196975"/>
              <a:gd name="f413" fmla="val 5740399"/>
              <a:gd name="f414" fmla="val 5454649"/>
              <a:gd name="f415" fmla="val 409575"/>
              <a:gd name="f416" fmla="val 4098924"/>
              <a:gd name="f417" fmla="val 4968874"/>
              <a:gd name="f418" fmla="val 4340224"/>
              <a:gd name="f419" fmla="val 4895849"/>
              <a:gd name="f420" fmla="val 3079749"/>
              <a:gd name="f421" fmla="val 3321049"/>
              <a:gd name="f422" fmla="val 984250"/>
              <a:gd name="f423" fmla="val 3871912"/>
              <a:gd name="f424" fmla="val 1989138"/>
              <a:gd name="f425" fmla="val 2465639"/>
              <a:gd name="f426" fmla="val 2735357"/>
              <a:gd name="f427" fmla="val 2897188"/>
              <a:gd name="f428" fmla="val 146454"/>
              <a:gd name="f429" fmla="val 392045"/>
              <a:gd name="f430" fmla="val 639889"/>
              <a:gd name="f431" fmla="val 786342"/>
              <a:gd name="f432" fmla="val 520699"/>
              <a:gd name="f433" fmla="val 833436"/>
              <a:gd name="f434" fmla="val 1135061"/>
              <a:gd name="f435" fmla="val 1439862"/>
              <a:gd name="f436" fmla="val 1736724"/>
              <a:gd name="f437" fmla="val 1503362"/>
              <a:gd name="f438" fmla="val 1216024"/>
              <a:gd name="f439" fmla="val 1039812"/>
              <a:gd name="f440" fmla="val 754062"/>
              <a:gd name="f441" fmla="val 25400"/>
              <a:gd name="f442" fmla="val 268288"/>
              <a:gd name="f443" fmla="+- 0 0 -90"/>
              <a:gd name="f444" fmla="*/ f3 1 9905999"/>
              <a:gd name="f445" fmla="*/ f4 1 2265361"/>
              <a:gd name="f446" fmla="+- f7 0 f5"/>
              <a:gd name="f447" fmla="+- f6 0 f5"/>
              <a:gd name="f448" fmla="*/ f443 f0 1"/>
              <a:gd name="f449" fmla="*/ f447 1 9905999"/>
              <a:gd name="f450" fmla="*/ f446 1 2265361"/>
              <a:gd name="f451" fmla="*/ 6778122 f447 1"/>
              <a:gd name="f452" fmla="*/ 2222531 f446 1"/>
              <a:gd name="f453" fmla="*/ 7135812 f447 1"/>
              <a:gd name="f454" fmla="*/ 2265361 f446 1"/>
              <a:gd name="f455" fmla="*/ 6449676 f447 1"/>
              <a:gd name="f456" fmla="*/ 1769427 f446 1"/>
              <a:gd name="f457" fmla="*/ 1965546 f446 1"/>
              <a:gd name="f458" fmla="*/ 6575655 f447 1"/>
              <a:gd name="f459" fmla="*/ 6679138 f447 1"/>
              <a:gd name="f460" fmla="*/ 1864105 f446 1"/>
              <a:gd name="f461" fmla="*/ 5021164 f447 1"/>
              <a:gd name="f462" fmla="*/ 1949767 f446 1"/>
              <a:gd name="f463" fmla="*/ 5158391 f447 1"/>
              <a:gd name="f464" fmla="*/ 5261874 f447 1"/>
              <a:gd name="f465" fmla="*/ 1859597 f446 1"/>
              <a:gd name="f466" fmla="*/ 5597068 f447 1"/>
              <a:gd name="f467" fmla="*/ 1762664 f446 1"/>
              <a:gd name="f468" fmla="*/ 5504834 f447 1"/>
              <a:gd name="f469" fmla="*/ 1800986 f446 1"/>
              <a:gd name="f470" fmla="*/ 5459841 f447 1"/>
              <a:gd name="f471" fmla="*/ 1967800 f446 1"/>
              <a:gd name="f472" fmla="*/ 2132361 f446 1"/>
              <a:gd name="f473" fmla="*/ 2170683 f446 1"/>
              <a:gd name="f474" fmla="*/ 5691552 f447 1"/>
              <a:gd name="f475" fmla="*/ 5734295 f447 1"/>
              <a:gd name="f476" fmla="*/ 654642 f447 1"/>
              <a:gd name="f477" fmla="*/ 560157 f447 1"/>
              <a:gd name="f478" fmla="*/ 517414 f447 1"/>
              <a:gd name="f479" fmla="*/ 746876 f447 1"/>
              <a:gd name="f480" fmla="*/ 791868 f447 1"/>
              <a:gd name="f481" fmla="*/ 6386687 f447 1"/>
              <a:gd name="f482" fmla="*/ 1710816 f446 1"/>
              <a:gd name="f483" fmla="*/ 6706134 f447 1"/>
              <a:gd name="f484" fmla="*/ 1755901 f446 1"/>
              <a:gd name="f485" fmla="*/ 6744377 f447 1"/>
              <a:gd name="f486" fmla="*/ 6701634 f447 1"/>
              <a:gd name="f487" fmla="*/ 1981326 f446 1"/>
              <a:gd name="f488" fmla="*/ 6577905 f447 1"/>
              <a:gd name="f489" fmla="*/ 2024157 f446 1"/>
              <a:gd name="f490" fmla="*/ 5889520 f447 1"/>
              <a:gd name="f491" fmla="*/ 5954759 f447 1"/>
              <a:gd name="f492" fmla="*/ 2035428 f446 1"/>
              <a:gd name="f493" fmla="*/ 6076239 f447 1"/>
              <a:gd name="f494" fmla="*/ 2172937 f446 1"/>
              <a:gd name="f495" fmla="*/ 6199968 f447 1"/>
              <a:gd name="f496" fmla="*/ 6262957 f447 1"/>
              <a:gd name="f497" fmla="*/ 2231547 f446 1"/>
              <a:gd name="f498" fmla="*/ 4958174 f447 1"/>
              <a:gd name="f499" fmla="*/ 5288869 f447 1"/>
              <a:gd name="f500" fmla="*/ 5329363 f447 1"/>
              <a:gd name="f501" fmla="*/ 1961038 f446 1"/>
              <a:gd name="f502" fmla="*/ 5228130 f447 1"/>
              <a:gd name="f503" fmla="*/ 1997106 f446 1"/>
              <a:gd name="f504" fmla="*/ 5331612 f447 1"/>
              <a:gd name="f505" fmla="*/ 5259624 f447 1"/>
              <a:gd name="f506" fmla="*/ 5162890 f447 1"/>
              <a:gd name="f507" fmla="*/ 2010631 f446 1"/>
              <a:gd name="f508" fmla="*/ 3309199 f447 1"/>
              <a:gd name="f509" fmla="*/ 3381187 f447 1"/>
              <a:gd name="f510" fmla="*/ 3633145 f447 1"/>
              <a:gd name="f511" fmla="*/ 2123344 f446 1"/>
              <a:gd name="f512" fmla="*/ 3693885 f447 1"/>
              <a:gd name="f513" fmla="*/ 3621897 f447 1"/>
              <a:gd name="f514" fmla="*/ 3372188 f447 1"/>
              <a:gd name="f515" fmla="*/ 1810003 f446 1"/>
              <a:gd name="f516" fmla="*/ 3106732 f447 1"/>
              <a:gd name="f517" fmla="*/ 3171971 f447 1"/>
              <a:gd name="f518" fmla="*/ 2663557 f447 1"/>
              <a:gd name="f519" fmla="*/ 3032495 f447 1"/>
              <a:gd name="f520" fmla="*/ 2879521 f447 1"/>
              <a:gd name="f521" fmla="*/ 2814282 f447 1"/>
              <a:gd name="f522" fmla="*/ 2416099 f447 1"/>
              <a:gd name="f523" fmla="*/ 2481338 f447 1"/>
              <a:gd name="f524" fmla="*/ 2163920 f446 1"/>
              <a:gd name="f525" fmla="*/ 2726547 f447 1"/>
              <a:gd name="f526" fmla="*/ 1918931 f447 1"/>
              <a:gd name="f527" fmla="*/ 1984171 f447 1"/>
              <a:gd name="f528" fmla="*/ 2105651 f447 1"/>
              <a:gd name="f529" fmla="*/ 2229380 f447 1"/>
              <a:gd name="f530" fmla="*/ 2292369 f447 1"/>
              <a:gd name="f531" fmla="*/ 960591 f447 1"/>
              <a:gd name="f532" fmla="*/ 1032578 f447 1"/>
              <a:gd name="f533" fmla="*/ 1284537 f447 1"/>
              <a:gd name="f534" fmla="*/ 1345276 f447 1"/>
              <a:gd name="f535" fmla="*/ 1273289 f447 1"/>
              <a:gd name="f536" fmla="*/ 1023580 f447 1"/>
              <a:gd name="f537" fmla="*/ 1701799 f446 1"/>
              <a:gd name="f538" fmla="*/ 5736545 f447 1"/>
              <a:gd name="f539" fmla="*/ 5801784 f447 1"/>
              <a:gd name="f540" fmla="*/ 2177446 f446 1"/>
              <a:gd name="f541" fmla="*/ 2233802 f446 1"/>
              <a:gd name="f542" fmla="*/ 5394602 f447 1"/>
              <a:gd name="f543" fmla="*/ 4645477 f447 1"/>
              <a:gd name="f544" fmla="*/ 4791702 f447 1"/>
              <a:gd name="f545" fmla="*/ 1758155 f446 1"/>
              <a:gd name="f546" fmla="*/ 4834445 f447 1"/>
              <a:gd name="f547" fmla="*/ 4766956 f447 1"/>
              <a:gd name="f548" fmla="*/ 4744460 f447 1"/>
              <a:gd name="f549" fmla="*/ 1803240 f446 1"/>
              <a:gd name="f550" fmla="*/ 4550992 f447 1"/>
              <a:gd name="f551" fmla="*/ 4506000 f447 1"/>
              <a:gd name="f552" fmla="*/ 4553242 f447 1"/>
              <a:gd name="f553" fmla="*/ 2134615 f446 1"/>
              <a:gd name="f554" fmla="*/ 4737711 f447 1"/>
              <a:gd name="f555" fmla="*/ 2136869 f446 1"/>
              <a:gd name="f556" fmla="*/ 4780454 f447 1"/>
              <a:gd name="f557" fmla="*/ 2006123 f446 1"/>
              <a:gd name="f558" fmla="*/ 1947512 f446 1"/>
              <a:gd name="f559" fmla="*/ 4838944 f447 1"/>
              <a:gd name="f560" fmla="*/ 4793952 f447 1"/>
              <a:gd name="f561" fmla="*/ 4782704 f447 1"/>
              <a:gd name="f562" fmla="*/ 2161666 f446 1"/>
              <a:gd name="f563" fmla="*/ 2179700 f446 1"/>
              <a:gd name="f564" fmla="*/ 4440761 f447 1"/>
              <a:gd name="f565" fmla="*/ 4002083 f447 1"/>
              <a:gd name="f566" fmla="*/ 4148309 f447 1"/>
              <a:gd name="f567" fmla="*/ 4193302 f447 1"/>
              <a:gd name="f568" fmla="*/ 4125813 f447 1"/>
              <a:gd name="f569" fmla="*/ 4103317 f447 1"/>
              <a:gd name="f570" fmla="*/ 3909849 f447 1"/>
              <a:gd name="f571" fmla="*/ 3864856 f447 1"/>
              <a:gd name="f572" fmla="*/ 4094318 f447 1"/>
              <a:gd name="f573" fmla="*/ 4139311 f447 1"/>
              <a:gd name="f574" fmla="*/ 4197801 f447 1"/>
              <a:gd name="f575" fmla="*/ 4152808 f447 1"/>
              <a:gd name="f576" fmla="*/ 4141560 f447 1"/>
              <a:gd name="f577" fmla="*/ 3797367 f447 1"/>
              <a:gd name="f578" fmla="*/ 1642228 f447 1"/>
              <a:gd name="f579" fmla="*/ 1774955 f447 1"/>
              <a:gd name="f580" fmla="*/ 1749138 f446 1"/>
              <a:gd name="f581" fmla="*/ 1824447 f447 1"/>
              <a:gd name="f582" fmla="*/ 1756958 f447 1"/>
              <a:gd name="f583" fmla="*/ 1732212 f447 1"/>
              <a:gd name="f584" fmla="*/ 1796478 f446 1"/>
              <a:gd name="f585" fmla="*/ 1639978 f447 1"/>
              <a:gd name="f586" fmla="*/ 1760410 f446 1"/>
              <a:gd name="f587" fmla="*/ 1549993 f447 1"/>
              <a:gd name="f588" fmla="*/ 1529746 f447 1"/>
              <a:gd name="f589" fmla="*/ 1850580 f446 1"/>
              <a:gd name="f590" fmla="*/ 1606234 f447 1"/>
              <a:gd name="f591" fmla="*/ 1922716 f446 1"/>
              <a:gd name="f592" fmla="*/ 1691719 f447 1"/>
              <a:gd name="f593" fmla="*/ 1936241 f446 1"/>
              <a:gd name="f594" fmla="*/ 1833445 f447 1"/>
              <a:gd name="f595" fmla="*/ 2082767 f446 1"/>
              <a:gd name="f596" fmla="*/ 1790703 f447 1"/>
              <a:gd name="f597" fmla="*/ 2181954 f446 1"/>
              <a:gd name="f598" fmla="*/ 1644477 f447 1"/>
              <a:gd name="f599" fmla="*/ 1498251 f447 1"/>
              <a:gd name="f600" fmla="*/ 2184208 f446 1"/>
              <a:gd name="f601" fmla="*/ 1444260 f447 1"/>
              <a:gd name="f602" fmla="*/ 2060225 f446 1"/>
              <a:gd name="f603" fmla="*/ 1509499 f447 1"/>
              <a:gd name="f604" fmla="*/ 1545494 f447 1"/>
              <a:gd name="f605" fmla="*/ 2141378 f446 1"/>
              <a:gd name="f606" fmla="*/ 1738962 f447 1"/>
              <a:gd name="f607" fmla="*/ 2143632 f446 1"/>
              <a:gd name="f608" fmla="*/ 1765956 f447 1"/>
              <a:gd name="f609" fmla="*/ 1680471 f447 1"/>
              <a:gd name="f610" fmla="*/ 2001614 f446 1"/>
              <a:gd name="f611" fmla="*/ 1599484 f447 1"/>
              <a:gd name="f612" fmla="*/ 1988089 f446 1"/>
              <a:gd name="f613" fmla="*/ 1462257 f447 1"/>
              <a:gd name="f614" fmla="*/ 1852834 f446 1"/>
              <a:gd name="f615" fmla="*/ 1507249 f447 1"/>
              <a:gd name="f616" fmla="*/ 1751393 f446 1"/>
              <a:gd name="f617" fmla="*/ 857108 f447 1"/>
              <a:gd name="f618" fmla="*/ 515164 f447 1"/>
              <a:gd name="f619" fmla="*/ 449925 f447 1"/>
              <a:gd name="f620" fmla="*/ 202466 f447 1"/>
              <a:gd name="f621" fmla="*/ 339693 f447 1"/>
              <a:gd name="f622" fmla="*/ 1753647 f446 1"/>
              <a:gd name="f623" fmla="*/ 389185 f447 1"/>
              <a:gd name="f624" fmla="*/ 1870868 f446 1"/>
              <a:gd name="f625" fmla="*/ 323946 f447 1"/>
              <a:gd name="f626" fmla="*/ 294701 f447 1"/>
              <a:gd name="f627" fmla="*/ 1798732 f446 1"/>
              <a:gd name="f628" fmla="*/ 110232 f447 1"/>
              <a:gd name="f629" fmla="*/ 67489 f447 1"/>
              <a:gd name="f630" fmla="*/ 296951 f447 1"/>
              <a:gd name="f631" fmla="*/ 391435 f447 1"/>
              <a:gd name="f632" fmla="*/ 65239 f447 1"/>
              <a:gd name="f633" fmla="*/ 0 f447 1"/>
              <a:gd name="f634" fmla="*/ 2227389 f447 1"/>
              <a:gd name="f635" fmla="*/ 214047 f446 1"/>
              <a:gd name="f636" fmla="*/ 574548 f446 1"/>
              <a:gd name="f637" fmla="*/ 2456649 f447 1"/>
              <a:gd name="f638" fmla="*/ 2654442 f447 1"/>
              <a:gd name="f639" fmla="*/ 394298 f446 1"/>
              <a:gd name="f640" fmla="*/ 8961436 f447 1"/>
              <a:gd name="f641" fmla="*/ 0 f446 1"/>
              <a:gd name="f642" fmla="*/ 9905999 f447 1"/>
              <a:gd name="f643" fmla="*/ 225425 f446 1"/>
              <a:gd name="f644" fmla="*/ 9555161 f447 1"/>
              <a:gd name="f645" fmla="*/ 1214437 f446 1"/>
              <a:gd name="f646" fmla="*/ 9315449 f447 1"/>
              <a:gd name="f647" fmla="*/ 7785099 f447 1"/>
              <a:gd name="f648" fmla="*/ 8035924 f447 1"/>
              <a:gd name="f649" fmla="*/ 8037512 f447 1"/>
              <a:gd name="f650" fmla="*/ 3175 f446 1"/>
              <a:gd name="f651" fmla="*/ 8523286 f447 1"/>
              <a:gd name="f652" fmla="*/ 774700 f446 1"/>
              <a:gd name="f653" fmla="*/ 8759824 f447 1"/>
              <a:gd name="f654" fmla="*/ 8518524 f447 1"/>
              <a:gd name="f655" fmla="*/ 8024812 f447 1"/>
              <a:gd name="f656" fmla="*/ 425450 f446 1"/>
              <a:gd name="f657" fmla="*/ 6665911 f447 1"/>
              <a:gd name="f658" fmla="*/ 7535861 f447 1"/>
              <a:gd name="f659" fmla="*/ 220663 f446 1"/>
              <a:gd name="f660" fmla="*/ 6905624 f447 1"/>
              <a:gd name="f661" fmla="*/ 473075 f446 1"/>
              <a:gd name="f662" fmla="*/ 7459661 f447 1"/>
              <a:gd name="f663" fmla="*/ 690562 f446 1"/>
              <a:gd name="f664" fmla="*/ 993775 f446 1"/>
              <a:gd name="f665" fmla="*/ 5221286 f447 1"/>
              <a:gd name="f666" fmla="*/ 5534024 f447 1"/>
              <a:gd name="f667" fmla="*/ 5835649 f447 1"/>
              <a:gd name="f668" fmla="*/ 823912 f446 1"/>
              <a:gd name="f669" fmla="*/ 6142037 f447 1"/>
              <a:gd name="f670" fmla="*/ 6438899 f447 1"/>
              <a:gd name="f671" fmla="*/ 6203949 f447 1"/>
              <a:gd name="f672" fmla="*/ 419100 f446 1"/>
              <a:gd name="f673" fmla="*/ 5916612 f447 1"/>
              <a:gd name="f674" fmla="*/ 1196975 f446 1"/>
              <a:gd name="f675" fmla="*/ 5740399 f447 1"/>
              <a:gd name="f676" fmla="*/ 5454649 f447 1"/>
              <a:gd name="f677" fmla="*/ 409575 f446 1"/>
              <a:gd name="f678" fmla="*/ 4098924 f447 1"/>
              <a:gd name="f679" fmla="*/ 4968874 f447 1"/>
              <a:gd name="f680" fmla="*/ 4340224 f447 1"/>
              <a:gd name="f681" fmla="*/ 4895849 f447 1"/>
              <a:gd name="f682" fmla="*/ 3079749 f447 1"/>
              <a:gd name="f683" fmla="*/ 3321049 f447 1"/>
              <a:gd name="f684" fmla="*/ 984250 f446 1"/>
              <a:gd name="f685" fmla="*/ 3871912 f447 1"/>
              <a:gd name="f686" fmla="*/ 1989138 f447 1"/>
              <a:gd name="f687" fmla="*/ 2465639 f447 1"/>
              <a:gd name="f688" fmla="*/ 2897188 f447 1"/>
              <a:gd name="f689" fmla="*/ 392045 f446 1"/>
              <a:gd name="f690" fmla="*/ 786342 f446 1"/>
              <a:gd name="f691" fmla="*/ 520699 f447 1"/>
              <a:gd name="f692" fmla="*/ 833436 f447 1"/>
              <a:gd name="f693" fmla="*/ 1135061 f447 1"/>
              <a:gd name="f694" fmla="*/ 1439862 f447 1"/>
              <a:gd name="f695" fmla="*/ 1736724 f447 1"/>
              <a:gd name="f696" fmla="*/ 1503362 f447 1"/>
              <a:gd name="f697" fmla="*/ 1216024 f447 1"/>
              <a:gd name="f698" fmla="*/ 1039812 f447 1"/>
              <a:gd name="f699" fmla="*/ 754062 f447 1"/>
              <a:gd name="f700" fmla="*/ 25400 f447 1"/>
              <a:gd name="f701" fmla="*/ 268288 f447 1"/>
              <a:gd name="f702" fmla="*/ f448 1 f2"/>
              <a:gd name="f703" fmla="*/ f451 1 9905999"/>
              <a:gd name="f704" fmla="*/ f452 1 2265361"/>
              <a:gd name="f705" fmla="*/ f453 1 9905999"/>
              <a:gd name="f706" fmla="*/ f454 1 2265361"/>
              <a:gd name="f707" fmla="*/ f455 1 9905999"/>
              <a:gd name="f708" fmla="*/ f456 1 2265361"/>
              <a:gd name="f709" fmla="*/ f457 1 2265361"/>
              <a:gd name="f710" fmla="*/ f458 1 9905999"/>
              <a:gd name="f711" fmla="*/ f459 1 9905999"/>
              <a:gd name="f712" fmla="*/ f460 1 2265361"/>
              <a:gd name="f713" fmla="*/ f461 1 9905999"/>
              <a:gd name="f714" fmla="*/ f462 1 2265361"/>
              <a:gd name="f715" fmla="*/ f463 1 9905999"/>
              <a:gd name="f716" fmla="*/ f464 1 9905999"/>
              <a:gd name="f717" fmla="*/ f465 1 2265361"/>
              <a:gd name="f718" fmla="*/ f466 1 9905999"/>
              <a:gd name="f719" fmla="*/ f467 1 2265361"/>
              <a:gd name="f720" fmla="*/ f468 1 9905999"/>
              <a:gd name="f721" fmla="*/ f469 1 2265361"/>
              <a:gd name="f722" fmla="*/ f470 1 9905999"/>
              <a:gd name="f723" fmla="*/ f471 1 2265361"/>
              <a:gd name="f724" fmla="*/ f472 1 2265361"/>
              <a:gd name="f725" fmla="*/ f473 1 2265361"/>
              <a:gd name="f726" fmla="*/ f474 1 9905999"/>
              <a:gd name="f727" fmla="*/ f475 1 9905999"/>
              <a:gd name="f728" fmla="*/ f476 1 9905999"/>
              <a:gd name="f729" fmla="*/ f477 1 9905999"/>
              <a:gd name="f730" fmla="*/ f478 1 9905999"/>
              <a:gd name="f731" fmla="*/ f479 1 9905999"/>
              <a:gd name="f732" fmla="*/ f480 1 9905999"/>
              <a:gd name="f733" fmla="*/ f481 1 9905999"/>
              <a:gd name="f734" fmla="*/ f482 1 2265361"/>
              <a:gd name="f735" fmla="*/ f483 1 9905999"/>
              <a:gd name="f736" fmla="*/ f484 1 2265361"/>
              <a:gd name="f737" fmla="*/ f485 1 9905999"/>
              <a:gd name="f738" fmla="*/ f486 1 9905999"/>
              <a:gd name="f739" fmla="*/ f487 1 2265361"/>
              <a:gd name="f740" fmla="*/ f488 1 9905999"/>
              <a:gd name="f741" fmla="*/ f489 1 2265361"/>
              <a:gd name="f742" fmla="*/ f490 1 9905999"/>
              <a:gd name="f743" fmla="*/ f491 1 9905999"/>
              <a:gd name="f744" fmla="*/ f492 1 2265361"/>
              <a:gd name="f745" fmla="*/ f493 1 9905999"/>
              <a:gd name="f746" fmla="*/ f494 1 2265361"/>
              <a:gd name="f747" fmla="*/ f495 1 9905999"/>
              <a:gd name="f748" fmla="*/ f496 1 9905999"/>
              <a:gd name="f749" fmla="*/ f497 1 2265361"/>
              <a:gd name="f750" fmla="*/ f498 1 9905999"/>
              <a:gd name="f751" fmla="*/ f499 1 9905999"/>
              <a:gd name="f752" fmla="*/ f500 1 9905999"/>
              <a:gd name="f753" fmla="*/ f501 1 2265361"/>
              <a:gd name="f754" fmla="*/ f502 1 9905999"/>
              <a:gd name="f755" fmla="*/ f503 1 2265361"/>
              <a:gd name="f756" fmla="*/ f504 1 9905999"/>
              <a:gd name="f757" fmla="*/ f505 1 9905999"/>
              <a:gd name="f758" fmla="*/ f506 1 9905999"/>
              <a:gd name="f759" fmla="*/ f507 1 2265361"/>
              <a:gd name="f760" fmla="*/ f508 1 9905999"/>
              <a:gd name="f761" fmla="*/ f509 1 9905999"/>
              <a:gd name="f762" fmla="*/ f510 1 9905999"/>
              <a:gd name="f763" fmla="*/ f511 1 2265361"/>
              <a:gd name="f764" fmla="*/ f512 1 9905999"/>
              <a:gd name="f765" fmla="*/ f513 1 9905999"/>
              <a:gd name="f766" fmla="*/ f514 1 9905999"/>
              <a:gd name="f767" fmla="*/ f515 1 2265361"/>
              <a:gd name="f768" fmla="*/ f516 1 9905999"/>
              <a:gd name="f769" fmla="*/ f517 1 9905999"/>
              <a:gd name="f770" fmla="*/ f518 1 9905999"/>
              <a:gd name="f771" fmla="*/ f519 1 9905999"/>
              <a:gd name="f772" fmla="*/ f520 1 9905999"/>
              <a:gd name="f773" fmla="*/ f521 1 9905999"/>
              <a:gd name="f774" fmla="*/ f522 1 9905999"/>
              <a:gd name="f775" fmla="*/ f523 1 9905999"/>
              <a:gd name="f776" fmla="*/ f524 1 2265361"/>
              <a:gd name="f777" fmla="*/ f525 1 9905999"/>
              <a:gd name="f778" fmla="*/ f526 1 9905999"/>
              <a:gd name="f779" fmla="*/ f527 1 9905999"/>
              <a:gd name="f780" fmla="*/ f528 1 9905999"/>
              <a:gd name="f781" fmla="*/ f529 1 9905999"/>
              <a:gd name="f782" fmla="*/ f530 1 9905999"/>
              <a:gd name="f783" fmla="*/ f531 1 9905999"/>
              <a:gd name="f784" fmla="*/ f532 1 9905999"/>
              <a:gd name="f785" fmla="*/ f533 1 9905999"/>
              <a:gd name="f786" fmla="*/ f534 1 9905999"/>
              <a:gd name="f787" fmla="*/ f535 1 9905999"/>
              <a:gd name="f788" fmla="*/ f536 1 9905999"/>
              <a:gd name="f789" fmla="*/ f537 1 2265361"/>
              <a:gd name="f790" fmla="*/ f538 1 9905999"/>
              <a:gd name="f791" fmla="*/ f539 1 9905999"/>
              <a:gd name="f792" fmla="*/ f540 1 2265361"/>
              <a:gd name="f793" fmla="*/ f541 1 2265361"/>
              <a:gd name="f794" fmla="*/ f542 1 9905999"/>
              <a:gd name="f795" fmla="*/ f543 1 9905999"/>
              <a:gd name="f796" fmla="*/ f544 1 9905999"/>
              <a:gd name="f797" fmla="*/ f545 1 2265361"/>
              <a:gd name="f798" fmla="*/ f546 1 9905999"/>
              <a:gd name="f799" fmla="*/ f547 1 9905999"/>
              <a:gd name="f800" fmla="*/ f548 1 9905999"/>
              <a:gd name="f801" fmla="*/ f549 1 2265361"/>
              <a:gd name="f802" fmla="*/ f550 1 9905999"/>
              <a:gd name="f803" fmla="*/ f551 1 9905999"/>
              <a:gd name="f804" fmla="*/ f552 1 9905999"/>
              <a:gd name="f805" fmla="*/ f553 1 2265361"/>
              <a:gd name="f806" fmla="*/ f554 1 9905999"/>
              <a:gd name="f807" fmla="*/ f555 1 2265361"/>
              <a:gd name="f808" fmla="*/ f556 1 9905999"/>
              <a:gd name="f809" fmla="*/ f557 1 2265361"/>
              <a:gd name="f810" fmla="*/ f558 1 2265361"/>
              <a:gd name="f811" fmla="*/ f559 1 9905999"/>
              <a:gd name="f812" fmla="*/ f560 1 9905999"/>
              <a:gd name="f813" fmla="*/ f561 1 9905999"/>
              <a:gd name="f814" fmla="*/ f562 1 2265361"/>
              <a:gd name="f815" fmla="*/ f563 1 2265361"/>
              <a:gd name="f816" fmla="*/ f564 1 9905999"/>
              <a:gd name="f817" fmla="*/ f565 1 9905999"/>
              <a:gd name="f818" fmla="*/ f566 1 9905999"/>
              <a:gd name="f819" fmla="*/ f567 1 9905999"/>
              <a:gd name="f820" fmla="*/ f568 1 9905999"/>
              <a:gd name="f821" fmla="*/ f569 1 9905999"/>
              <a:gd name="f822" fmla="*/ f570 1 9905999"/>
              <a:gd name="f823" fmla="*/ f571 1 9905999"/>
              <a:gd name="f824" fmla="*/ f572 1 9905999"/>
              <a:gd name="f825" fmla="*/ f573 1 9905999"/>
              <a:gd name="f826" fmla="*/ f574 1 9905999"/>
              <a:gd name="f827" fmla="*/ f575 1 9905999"/>
              <a:gd name="f828" fmla="*/ f576 1 9905999"/>
              <a:gd name="f829" fmla="*/ f577 1 9905999"/>
              <a:gd name="f830" fmla="*/ f578 1 9905999"/>
              <a:gd name="f831" fmla="*/ f579 1 9905999"/>
              <a:gd name="f832" fmla="*/ f580 1 2265361"/>
              <a:gd name="f833" fmla="*/ f581 1 9905999"/>
              <a:gd name="f834" fmla="*/ f582 1 9905999"/>
              <a:gd name="f835" fmla="*/ f583 1 9905999"/>
              <a:gd name="f836" fmla="*/ f584 1 2265361"/>
              <a:gd name="f837" fmla="*/ f585 1 9905999"/>
              <a:gd name="f838" fmla="*/ f586 1 2265361"/>
              <a:gd name="f839" fmla="*/ f587 1 9905999"/>
              <a:gd name="f840" fmla="*/ f588 1 9905999"/>
              <a:gd name="f841" fmla="*/ f589 1 2265361"/>
              <a:gd name="f842" fmla="*/ f590 1 9905999"/>
              <a:gd name="f843" fmla="*/ f591 1 2265361"/>
              <a:gd name="f844" fmla="*/ f592 1 9905999"/>
              <a:gd name="f845" fmla="*/ f593 1 2265361"/>
              <a:gd name="f846" fmla="*/ f594 1 9905999"/>
              <a:gd name="f847" fmla="*/ f595 1 2265361"/>
              <a:gd name="f848" fmla="*/ f596 1 9905999"/>
              <a:gd name="f849" fmla="*/ f597 1 2265361"/>
              <a:gd name="f850" fmla="*/ f598 1 9905999"/>
              <a:gd name="f851" fmla="*/ f599 1 9905999"/>
              <a:gd name="f852" fmla="*/ f600 1 2265361"/>
              <a:gd name="f853" fmla="*/ f601 1 9905999"/>
              <a:gd name="f854" fmla="*/ f602 1 2265361"/>
              <a:gd name="f855" fmla="*/ f603 1 9905999"/>
              <a:gd name="f856" fmla="*/ f604 1 9905999"/>
              <a:gd name="f857" fmla="*/ f605 1 2265361"/>
              <a:gd name="f858" fmla="*/ f606 1 9905999"/>
              <a:gd name="f859" fmla="*/ f607 1 2265361"/>
              <a:gd name="f860" fmla="*/ f608 1 9905999"/>
              <a:gd name="f861" fmla="*/ f609 1 9905999"/>
              <a:gd name="f862" fmla="*/ f610 1 2265361"/>
              <a:gd name="f863" fmla="*/ f611 1 9905999"/>
              <a:gd name="f864" fmla="*/ f612 1 2265361"/>
              <a:gd name="f865" fmla="*/ f613 1 9905999"/>
              <a:gd name="f866" fmla="*/ f614 1 2265361"/>
              <a:gd name="f867" fmla="*/ f615 1 9905999"/>
              <a:gd name="f868" fmla="*/ f616 1 2265361"/>
              <a:gd name="f869" fmla="*/ f617 1 9905999"/>
              <a:gd name="f870" fmla="*/ f618 1 9905999"/>
              <a:gd name="f871" fmla="*/ f619 1 9905999"/>
              <a:gd name="f872" fmla="*/ f620 1 9905999"/>
              <a:gd name="f873" fmla="*/ f621 1 9905999"/>
              <a:gd name="f874" fmla="*/ f622 1 2265361"/>
              <a:gd name="f875" fmla="*/ f623 1 9905999"/>
              <a:gd name="f876" fmla="*/ f624 1 2265361"/>
              <a:gd name="f877" fmla="*/ f625 1 9905999"/>
              <a:gd name="f878" fmla="*/ f626 1 9905999"/>
              <a:gd name="f879" fmla="*/ f627 1 2265361"/>
              <a:gd name="f880" fmla="*/ f628 1 9905999"/>
              <a:gd name="f881" fmla="*/ f629 1 9905999"/>
              <a:gd name="f882" fmla="*/ f630 1 9905999"/>
              <a:gd name="f883" fmla="*/ f631 1 9905999"/>
              <a:gd name="f884" fmla="*/ f632 1 9905999"/>
              <a:gd name="f885" fmla="*/ f633 1 9905999"/>
              <a:gd name="f886" fmla="*/ f634 1 9905999"/>
              <a:gd name="f887" fmla="*/ f635 1 2265361"/>
              <a:gd name="f888" fmla="*/ f636 1 2265361"/>
              <a:gd name="f889" fmla="*/ f637 1 9905999"/>
              <a:gd name="f890" fmla="*/ f638 1 9905999"/>
              <a:gd name="f891" fmla="*/ f639 1 2265361"/>
              <a:gd name="f892" fmla="*/ f640 1 9905999"/>
              <a:gd name="f893" fmla="*/ f641 1 2265361"/>
              <a:gd name="f894" fmla="*/ f642 1 9905999"/>
              <a:gd name="f895" fmla="*/ f643 1 2265361"/>
              <a:gd name="f896" fmla="*/ f644 1 9905999"/>
              <a:gd name="f897" fmla="*/ f645 1 2265361"/>
              <a:gd name="f898" fmla="*/ f646 1 9905999"/>
              <a:gd name="f899" fmla="*/ f647 1 9905999"/>
              <a:gd name="f900" fmla="*/ f648 1 9905999"/>
              <a:gd name="f901" fmla="*/ f649 1 9905999"/>
              <a:gd name="f902" fmla="*/ f650 1 2265361"/>
              <a:gd name="f903" fmla="*/ f651 1 9905999"/>
              <a:gd name="f904" fmla="*/ f652 1 2265361"/>
              <a:gd name="f905" fmla="*/ f653 1 9905999"/>
              <a:gd name="f906" fmla="*/ f654 1 9905999"/>
              <a:gd name="f907" fmla="*/ f655 1 9905999"/>
              <a:gd name="f908" fmla="*/ f656 1 2265361"/>
              <a:gd name="f909" fmla="*/ f657 1 9905999"/>
              <a:gd name="f910" fmla="*/ f658 1 9905999"/>
              <a:gd name="f911" fmla="*/ f659 1 2265361"/>
              <a:gd name="f912" fmla="*/ f660 1 9905999"/>
              <a:gd name="f913" fmla="*/ f661 1 2265361"/>
              <a:gd name="f914" fmla="*/ f662 1 9905999"/>
              <a:gd name="f915" fmla="*/ f663 1 2265361"/>
              <a:gd name="f916" fmla="*/ f664 1 2265361"/>
              <a:gd name="f917" fmla="*/ f665 1 9905999"/>
              <a:gd name="f918" fmla="*/ f666 1 9905999"/>
              <a:gd name="f919" fmla="*/ f667 1 9905999"/>
              <a:gd name="f920" fmla="*/ f668 1 2265361"/>
              <a:gd name="f921" fmla="*/ f669 1 9905999"/>
              <a:gd name="f922" fmla="*/ f670 1 9905999"/>
              <a:gd name="f923" fmla="*/ f671 1 9905999"/>
              <a:gd name="f924" fmla="*/ f672 1 2265361"/>
              <a:gd name="f925" fmla="*/ f673 1 9905999"/>
              <a:gd name="f926" fmla="*/ f674 1 2265361"/>
              <a:gd name="f927" fmla="*/ f675 1 9905999"/>
              <a:gd name="f928" fmla="*/ f676 1 9905999"/>
              <a:gd name="f929" fmla="*/ f677 1 2265361"/>
              <a:gd name="f930" fmla="*/ f678 1 9905999"/>
              <a:gd name="f931" fmla="*/ f679 1 9905999"/>
              <a:gd name="f932" fmla="*/ f680 1 9905999"/>
              <a:gd name="f933" fmla="*/ f681 1 9905999"/>
              <a:gd name="f934" fmla="*/ f682 1 9905999"/>
              <a:gd name="f935" fmla="*/ f683 1 9905999"/>
              <a:gd name="f936" fmla="*/ f684 1 2265361"/>
              <a:gd name="f937" fmla="*/ f685 1 9905999"/>
              <a:gd name="f938" fmla="*/ f686 1 9905999"/>
              <a:gd name="f939" fmla="*/ f687 1 9905999"/>
              <a:gd name="f940" fmla="*/ f688 1 9905999"/>
              <a:gd name="f941" fmla="*/ f689 1 2265361"/>
              <a:gd name="f942" fmla="*/ f690 1 2265361"/>
              <a:gd name="f943" fmla="*/ f691 1 9905999"/>
              <a:gd name="f944" fmla="*/ f692 1 9905999"/>
              <a:gd name="f945" fmla="*/ f693 1 9905999"/>
              <a:gd name="f946" fmla="*/ f694 1 9905999"/>
              <a:gd name="f947" fmla="*/ f695 1 9905999"/>
              <a:gd name="f948" fmla="*/ f696 1 9905999"/>
              <a:gd name="f949" fmla="*/ f697 1 9905999"/>
              <a:gd name="f950" fmla="*/ f698 1 9905999"/>
              <a:gd name="f951" fmla="*/ f699 1 9905999"/>
              <a:gd name="f952" fmla="*/ f700 1 9905999"/>
              <a:gd name="f953" fmla="*/ f701 1 9905999"/>
              <a:gd name="f954" fmla="*/ f5 1 f449"/>
              <a:gd name="f955" fmla="*/ f6 1 f449"/>
              <a:gd name="f956" fmla="*/ f5 1 f450"/>
              <a:gd name="f957" fmla="*/ f7 1 f450"/>
              <a:gd name="f958" fmla="+- f702 0 f1"/>
              <a:gd name="f959" fmla="*/ f703 1 f449"/>
              <a:gd name="f960" fmla="*/ f704 1 f450"/>
              <a:gd name="f961" fmla="*/ f705 1 f449"/>
              <a:gd name="f962" fmla="*/ f706 1 f450"/>
              <a:gd name="f963" fmla="*/ f707 1 f449"/>
              <a:gd name="f964" fmla="*/ f708 1 f450"/>
              <a:gd name="f965" fmla="*/ f709 1 f450"/>
              <a:gd name="f966" fmla="*/ f710 1 f449"/>
              <a:gd name="f967" fmla="*/ f711 1 f449"/>
              <a:gd name="f968" fmla="*/ f712 1 f450"/>
              <a:gd name="f969" fmla="*/ f713 1 f449"/>
              <a:gd name="f970" fmla="*/ f714 1 f450"/>
              <a:gd name="f971" fmla="*/ f715 1 f449"/>
              <a:gd name="f972" fmla="*/ f716 1 f449"/>
              <a:gd name="f973" fmla="*/ f717 1 f450"/>
              <a:gd name="f974" fmla="*/ f718 1 f449"/>
              <a:gd name="f975" fmla="*/ f719 1 f450"/>
              <a:gd name="f976" fmla="*/ f720 1 f449"/>
              <a:gd name="f977" fmla="*/ f721 1 f450"/>
              <a:gd name="f978" fmla="*/ f722 1 f449"/>
              <a:gd name="f979" fmla="*/ f723 1 f450"/>
              <a:gd name="f980" fmla="*/ f724 1 f450"/>
              <a:gd name="f981" fmla="*/ f725 1 f450"/>
              <a:gd name="f982" fmla="*/ f726 1 f449"/>
              <a:gd name="f983" fmla="*/ f727 1 f449"/>
              <a:gd name="f984" fmla="*/ f728 1 f449"/>
              <a:gd name="f985" fmla="*/ f729 1 f449"/>
              <a:gd name="f986" fmla="*/ f730 1 f449"/>
              <a:gd name="f987" fmla="*/ f731 1 f449"/>
              <a:gd name="f988" fmla="*/ f732 1 f449"/>
              <a:gd name="f989" fmla="*/ f733 1 f449"/>
              <a:gd name="f990" fmla="*/ f734 1 f450"/>
              <a:gd name="f991" fmla="*/ f735 1 f449"/>
              <a:gd name="f992" fmla="*/ f736 1 f450"/>
              <a:gd name="f993" fmla="*/ f737 1 f449"/>
              <a:gd name="f994" fmla="*/ f738 1 f449"/>
              <a:gd name="f995" fmla="*/ f739 1 f450"/>
              <a:gd name="f996" fmla="*/ f740 1 f449"/>
              <a:gd name="f997" fmla="*/ f741 1 f450"/>
              <a:gd name="f998" fmla="*/ f742 1 f449"/>
              <a:gd name="f999" fmla="*/ f743 1 f449"/>
              <a:gd name="f1000" fmla="*/ f744 1 f450"/>
              <a:gd name="f1001" fmla="*/ f745 1 f449"/>
              <a:gd name="f1002" fmla="*/ f746 1 f450"/>
              <a:gd name="f1003" fmla="*/ f747 1 f449"/>
              <a:gd name="f1004" fmla="*/ f748 1 f449"/>
              <a:gd name="f1005" fmla="*/ f749 1 f450"/>
              <a:gd name="f1006" fmla="*/ f750 1 f449"/>
              <a:gd name="f1007" fmla="*/ f751 1 f449"/>
              <a:gd name="f1008" fmla="*/ f752 1 f449"/>
              <a:gd name="f1009" fmla="*/ f753 1 f450"/>
              <a:gd name="f1010" fmla="*/ f754 1 f449"/>
              <a:gd name="f1011" fmla="*/ f755 1 f450"/>
              <a:gd name="f1012" fmla="*/ f756 1 f449"/>
              <a:gd name="f1013" fmla="*/ f757 1 f449"/>
              <a:gd name="f1014" fmla="*/ f758 1 f449"/>
              <a:gd name="f1015" fmla="*/ f759 1 f450"/>
              <a:gd name="f1016" fmla="*/ f760 1 f449"/>
              <a:gd name="f1017" fmla="*/ f761 1 f449"/>
              <a:gd name="f1018" fmla="*/ f762 1 f449"/>
              <a:gd name="f1019" fmla="*/ f763 1 f450"/>
              <a:gd name="f1020" fmla="*/ f764 1 f449"/>
              <a:gd name="f1021" fmla="*/ f765 1 f449"/>
              <a:gd name="f1022" fmla="*/ f766 1 f449"/>
              <a:gd name="f1023" fmla="*/ f767 1 f450"/>
              <a:gd name="f1024" fmla="*/ f768 1 f449"/>
              <a:gd name="f1025" fmla="*/ f769 1 f449"/>
              <a:gd name="f1026" fmla="*/ f770 1 f449"/>
              <a:gd name="f1027" fmla="*/ f771 1 f449"/>
              <a:gd name="f1028" fmla="*/ f772 1 f449"/>
              <a:gd name="f1029" fmla="*/ f773 1 f449"/>
              <a:gd name="f1030" fmla="*/ f774 1 f449"/>
              <a:gd name="f1031" fmla="*/ f775 1 f449"/>
              <a:gd name="f1032" fmla="*/ f776 1 f450"/>
              <a:gd name="f1033" fmla="*/ f777 1 f449"/>
              <a:gd name="f1034" fmla="*/ f778 1 f449"/>
              <a:gd name="f1035" fmla="*/ f779 1 f449"/>
              <a:gd name="f1036" fmla="*/ f780 1 f449"/>
              <a:gd name="f1037" fmla="*/ f781 1 f449"/>
              <a:gd name="f1038" fmla="*/ f782 1 f449"/>
              <a:gd name="f1039" fmla="*/ f783 1 f449"/>
              <a:gd name="f1040" fmla="*/ f784 1 f449"/>
              <a:gd name="f1041" fmla="*/ f785 1 f449"/>
              <a:gd name="f1042" fmla="*/ f786 1 f449"/>
              <a:gd name="f1043" fmla="*/ f787 1 f449"/>
              <a:gd name="f1044" fmla="*/ f788 1 f449"/>
              <a:gd name="f1045" fmla="*/ f789 1 f450"/>
              <a:gd name="f1046" fmla="*/ f790 1 f449"/>
              <a:gd name="f1047" fmla="*/ f791 1 f449"/>
              <a:gd name="f1048" fmla="*/ f792 1 f450"/>
              <a:gd name="f1049" fmla="*/ f793 1 f450"/>
              <a:gd name="f1050" fmla="*/ f794 1 f449"/>
              <a:gd name="f1051" fmla="*/ f795 1 f449"/>
              <a:gd name="f1052" fmla="*/ f796 1 f449"/>
              <a:gd name="f1053" fmla="*/ f797 1 f450"/>
              <a:gd name="f1054" fmla="*/ f798 1 f449"/>
              <a:gd name="f1055" fmla="*/ f799 1 f449"/>
              <a:gd name="f1056" fmla="*/ f800 1 f449"/>
              <a:gd name="f1057" fmla="*/ f801 1 f450"/>
              <a:gd name="f1058" fmla="*/ f802 1 f449"/>
              <a:gd name="f1059" fmla="*/ f803 1 f449"/>
              <a:gd name="f1060" fmla="*/ f804 1 f449"/>
              <a:gd name="f1061" fmla="*/ f805 1 f450"/>
              <a:gd name="f1062" fmla="*/ f806 1 f449"/>
              <a:gd name="f1063" fmla="*/ f807 1 f450"/>
              <a:gd name="f1064" fmla="*/ f808 1 f449"/>
              <a:gd name="f1065" fmla="*/ f809 1 f450"/>
              <a:gd name="f1066" fmla="*/ f810 1 f450"/>
              <a:gd name="f1067" fmla="*/ f811 1 f449"/>
              <a:gd name="f1068" fmla="*/ f812 1 f449"/>
              <a:gd name="f1069" fmla="*/ f813 1 f449"/>
              <a:gd name="f1070" fmla="*/ f814 1 f450"/>
              <a:gd name="f1071" fmla="*/ f815 1 f450"/>
              <a:gd name="f1072" fmla="*/ f816 1 f449"/>
              <a:gd name="f1073" fmla="*/ f817 1 f449"/>
              <a:gd name="f1074" fmla="*/ f818 1 f449"/>
              <a:gd name="f1075" fmla="*/ f819 1 f449"/>
              <a:gd name="f1076" fmla="*/ f820 1 f449"/>
              <a:gd name="f1077" fmla="*/ f821 1 f449"/>
              <a:gd name="f1078" fmla="*/ f822 1 f449"/>
              <a:gd name="f1079" fmla="*/ f823 1 f449"/>
              <a:gd name="f1080" fmla="*/ f824 1 f449"/>
              <a:gd name="f1081" fmla="*/ f825 1 f449"/>
              <a:gd name="f1082" fmla="*/ f826 1 f449"/>
              <a:gd name="f1083" fmla="*/ f827 1 f449"/>
              <a:gd name="f1084" fmla="*/ f828 1 f449"/>
              <a:gd name="f1085" fmla="*/ f829 1 f449"/>
              <a:gd name="f1086" fmla="*/ f830 1 f449"/>
              <a:gd name="f1087" fmla="*/ f831 1 f449"/>
              <a:gd name="f1088" fmla="*/ f832 1 f450"/>
              <a:gd name="f1089" fmla="*/ f833 1 f449"/>
              <a:gd name="f1090" fmla="*/ f834 1 f449"/>
              <a:gd name="f1091" fmla="*/ f835 1 f449"/>
              <a:gd name="f1092" fmla="*/ f836 1 f450"/>
              <a:gd name="f1093" fmla="*/ f837 1 f449"/>
              <a:gd name="f1094" fmla="*/ f838 1 f450"/>
              <a:gd name="f1095" fmla="*/ f839 1 f449"/>
              <a:gd name="f1096" fmla="*/ f840 1 f449"/>
              <a:gd name="f1097" fmla="*/ f841 1 f450"/>
              <a:gd name="f1098" fmla="*/ f842 1 f449"/>
              <a:gd name="f1099" fmla="*/ f843 1 f450"/>
              <a:gd name="f1100" fmla="*/ f844 1 f449"/>
              <a:gd name="f1101" fmla="*/ f845 1 f450"/>
              <a:gd name="f1102" fmla="*/ f846 1 f449"/>
              <a:gd name="f1103" fmla="*/ f847 1 f450"/>
              <a:gd name="f1104" fmla="*/ f848 1 f449"/>
              <a:gd name="f1105" fmla="*/ f849 1 f450"/>
              <a:gd name="f1106" fmla="*/ f850 1 f449"/>
              <a:gd name="f1107" fmla="*/ f851 1 f449"/>
              <a:gd name="f1108" fmla="*/ f852 1 f450"/>
              <a:gd name="f1109" fmla="*/ f853 1 f449"/>
              <a:gd name="f1110" fmla="*/ f854 1 f450"/>
              <a:gd name="f1111" fmla="*/ f855 1 f449"/>
              <a:gd name="f1112" fmla="*/ f856 1 f449"/>
              <a:gd name="f1113" fmla="*/ f857 1 f450"/>
              <a:gd name="f1114" fmla="*/ f858 1 f449"/>
              <a:gd name="f1115" fmla="*/ f859 1 f450"/>
              <a:gd name="f1116" fmla="*/ f860 1 f449"/>
              <a:gd name="f1117" fmla="*/ f861 1 f449"/>
              <a:gd name="f1118" fmla="*/ f862 1 f450"/>
              <a:gd name="f1119" fmla="*/ f863 1 f449"/>
              <a:gd name="f1120" fmla="*/ f864 1 f450"/>
              <a:gd name="f1121" fmla="*/ f865 1 f449"/>
              <a:gd name="f1122" fmla="*/ f866 1 f450"/>
              <a:gd name="f1123" fmla="*/ f867 1 f449"/>
              <a:gd name="f1124" fmla="*/ f868 1 f450"/>
              <a:gd name="f1125" fmla="*/ f869 1 f449"/>
              <a:gd name="f1126" fmla="*/ f870 1 f449"/>
              <a:gd name="f1127" fmla="*/ f871 1 f449"/>
              <a:gd name="f1128" fmla="*/ f872 1 f449"/>
              <a:gd name="f1129" fmla="*/ f873 1 f449"/>
              <a:gd name="f1130" fmla="*/ f874 1 f450"/>
              <a:gd name="f1131" fmla="*/ f875 1 f449"/>
              <a:gd name="f1132" fmla="*/ f876 1 f450"/>
              <a:gd name="f1133" fmla="*/ f877 1 f449"/>
              <a:gd name="f1134" fmla="*/ f878 1 f449"/>
              <a:gd name="f1135" fmla="*/ f879 1 f450"/>
              <a:gd name="f1136" fmla="*/ f880 1 f449"/>
              <a:gd name="f1137" fmla="*/ f881 1 f449"/>
              <a:gd name="f1138" fmla="*/ f882 1 f449"/>
              <a:gd name="f1139" fmla="*/ f883 1 f449"/>
              <a:gd name="f1140" fmla="*/ f884 1 f449"/>
              <a:gd name="f1141" fmla="*/ f885 1 f449"/>
              <a:gd name="f1142" fmla="*/ f886 1 f449"/>
              <a:gd name="f1143" fmla="*/ f887 1 f450"/>
              <a:gd name="f1144" fmla="*/ f888 1 f450"/>
              <a:gd name="f1145" fmla="*/ f889 1 f449"/>
              <a:gd name="f1146" fmla="*/ f890 1 f449"/>
              <a:gd name="f1147" fmla="*/ f891 1 f450"/>
              <a:gd name="f1148" fmla="*/ f892 1 f449"/>
              <a:gd name="f1149" fmla="*/ f893 1 f450"/>
              <a:gd name="f1150" fmla="*/ f894 1 f449"/>
              <a:gd name="f1151" fmla="*/ f895 1 f450"/>
              <a:gd name="f1152" fmla="*/ f896 1 f449"/>
              <a:gd name="f1153" fmla="*/ f897 1 f450"/>
              <a:gd name="f1154" fmla="*/ f898 1 f449"/>
              <a:gd name="f1155" fmla="*/ f899 1 f449"/>
              <a:gd name="f1156" fmla="*/ f900 1 f449"/>
              <a:gd name="f1157" fmla="*/ f901 1 f449"/>
              <a:gd name="f1158" fmla="*/ f902 1 f450"/>
              <a:gd name="f1159" fmla="*/ f903 1 f449"/>
              <a:gd name="f1160" fmla="*/ f904 1 f450"/>
              <a:gd name="f1161" fmla="*/ f905 1 f449"/>
              <a:gd name="f1162" fmla="*/ f906 1 f449"/>
              <a:gd name="f1163" fmla="*/ f907 1 f449"/>
              <a:gd name="f1164" fmla="*/ f908 1 f450"/>
              <a:gd name="f1165" fmla="*/ f909 1 f449"/>
              <a:gd name="f1166" fmla="*/ f910 1 f449"/>
              <a:gd name="f1167" fmla="*/ f911 1 f450"/>
              <a:gd name="f1168" fmla="*/ f912 1 f449"/>
              <a:gd name="f1169" fmla="*/ f913 1 f450"/>
              <a:gd name="f1170" fmla="*/ f914 1 f449"/>
              <a:gd name="f1171" fmla="*/ f915 1 f450"/>
              <a:gd name="f1172" fmla="*/ f916 1 f450"/>
              <a:gd name="f1173" fmla="*/ f917 1 f449"/>
              <a:gd name="f1174" fmla="*/ f918 1 f449"/>
              <a:gd name="f1175" fmla="*/ f919 1 f449"/>
              <a:gd name="f1176" fmla="*/ f920 1 f450"/>
              <a:gd name="f1177" fmla="*/ f921 1 f449"/>
              <a:gd name="f1178" fmla="*/ f922 1 f449"/>
              <a:gd name="f1179" fmla="*/ f923 1 f449"/>
              <a:gd name="f1180" fmla="*/ f924 1 f450"/>
              <a:gd name="f1181" fmla="*/ f925 1 f449"/>
              <a:gd name="f1182" fmla="*/ f926 1 f450"/>
              <a:gd name="f1183" fmla="*/ f927 1 f449"/>
              <a:gd name="f1184" fmla="*/ f928 1 f449"/>
              <a:gd name="f1185" fmla="*/ f929 1 f450"/>
              <a:gd name="f1186" fmla="*/ f930 1 f449"/>
              <a:gd name="f1187" fmla="*/ f931 1 f449"/>
              <a:gd name="f1188" fmla="*/ f932 1 f449"/>
              <a:gd name="f1189" fmla="*/ f933 1 f449"/>
              <a:gd name="f1190" fmla="*/ f934 1 f449"/>
              <a:gd name="f1191" fmla="*/ f935 1 f449"/>
              <a:gd name="f1192" fmla="*/ f936 1 f450"/>
              <a:gd name="f1193" fmla="*/ f937 1 f449"/>
              <a:gd name="f1194" fmla="*/ f938 1 f449"/>
              <a:gd name="f1195" fmla="*/ f939 1 f449"/>
              <a:gd name="f1196" fmla="*/ f940 1 f449"/>
              <a:gd name="f1197" fmla="*/ f941 1 f450"/>
              <a:gd name="f1198" fmla="*/ f942 1 f450"/>
              <a:gd name="f1199" fmla="*/ f943 1 f449"/>
              <a:gd name="f1200" fmla="*/ f944 1 f449"/>
              <a:gd name="f1201" fmla="*/ f945 1 f449"/>
              <a:gd name="f1202" fmla="*/ f946 1 f449"/>
              <a:gd name="f1203" fmla="*/ f947 1 f449"/>
              <a:gd name="f1204" fmla="*/ f948 1 f449"/>
              <a:gd name="f1205" fmla="*/ f949 1 f449"/>
              <a:gd name="f1206" fmla="*/ f950 1 f449"/>
              <a:gd name="f1207" fmla="*/ f951 1 f449"/>
              <a:gd name="f1208" fmla="*/ f952 1 f449"/>
              <a:gd name="f1209" fmla="*/ f953 1 f449"/>
              <a:gd name="f1210" fmla="*/ f954 f444 1"/>
              <a:gd name="f1211" fmla="*/ f955 f444 1"/>
              <a:gd name="f1212" fmla="*/ f957 f445 1"/>
              <a:gd name="f1213" fmla="*/ f956 f445 1"/>
              <a:gd name="f1214" fmla="*/ f959 f444 1"/>
              <a:gd name="f1215" fmla="*/ f960 f445 1"/>
              <a:gd name="f1216" fmla="*/ f961 f444 1"/>
              <a:gd name="f1217" fmla="*/ f962 f445 1"/>
              <a:gd name="f1218" fmla="*/ f963 f444 1"/>
              <a:gd name="f1219" fmla="*/ f964 f445 1"/>
              <a:gd name="f1220" fmla="*/ f965 f445 1"/>
              <a:gd name="f1221" fmla="*/ f966 f444 1"/>
              <a:gd name="f1222" fmla="*/ f967 f444 1"/>
              <a:gd name="f1223" fmla="*/ f968 f445 1"/>
              <a:gd name="f1224" fmla="*/ f969 f444 1"/>
              <a:gd name="f1225" fmla="*/ f970 f445 1"/>
              <a:gd name="f1226" fmla="*/ f971 f444 1"/>
              <a:gd name="f1227" fmla="*/ f972 f444 1"/>
              <a:gd name="f1228" fmla="*/ f973 f445 1"/>
              <a:gd name="f1229" fmla="*/ f974 f444 1"/>
              <a:gd name="f1230" fmla="*/ f975 f445 1"/>
              <a:gd name="f1231" fmla="*/ f976 f444 1"/>
              <a:gd name="f1232" fmla="*/ f977 f445 1"/>
              <a:gd name="f1233" fmla="*/ f978 f444 1"/>
              <a:gd name="f1234" fmla="*/ f979 f445 1"/>
              <a:gd name="f1235" fmla="*/ f980 f445 1"/>
              <a:gd name="f1236" fmla="*/ f981 f445 1"/>
              <a:gd name="f1237" fmla="*/ f982 f444 1"/>
              <a:gd name="f1238" fmla="*/ f983 f444 1"/>
              <a:gd name="f1239" fmla="*/ f984 f444 1"/>
              <a:gd name="f1240" fmla="*/ f985 f444 1"/>
              <a:gd name="f1241" fmla="*/ f986 f444 1"/>
              <a:gd name="f1242" fmla="*/ f987 f444 1"/>
              <a:gd name="f1243" fmla="*/ f988 f444 1"/>
              <a:gd name="f1244" fmla="*/ f989 f444 1"/>
              <a:gd name="f1245" fmla="*/ f990 f445 1"/>
              <a:gd name="f1246" fmla="*/ f991 f444 1"/>
              <a:gd name="f1247" fmla="*/ f992 f445 1"/>
              <a:gd name="f1248" fmla="*/ f993 f444 1"/>
              <a:gd name="f1249" fmla="*/ f994 f444 1"/>
              <a:gd name="f1250" fmla="*/ f995 f445 1"/>
              <a:gd name="f1251" fmla="*/ f996 f444 1"/>
              <a:gd name="f1252" fmla="*/ f997 f445 1"/>
              <a:gd name="f1253" fmla="*/ f998 f444 1"/>
              <a:gd name="f1254" fmla="*/ f999 f444 1"/>
              <a:gd name="f1255" fmla="*/ f1000 f445 1"/>
              <a:gd name="f1256" fmla="*/ f1001 f444 1"/>
              <a:gd name="f1257" fmla="*/ f1002 f445 1"/>
              <a:gd name="f1258" fmla="*/ f1003 f444 1"/>
              <a:gd name="f1259" fmla="*/ f1004 f444 1"/>
              <a:gd name="f1260" fmla="*/ f1005 f445 1"/>
              <a:gd name="f1261" fmla="*/ f1006 f444 1"/>
              <a:gd name="f1262" fmla="*/ f1007 f444 1"/>
              <a:gd name="f1263" fmla="*/ f1008 f444 1"/>
              <a:gd name="f1264" fmla="*/ f1009 f445 1"/>
              <a:gd name="f1265" fmla="*/ f1010 f444 1"/>
              <a:gd name="f1266" fmla="*/ f1011 f445 1"/>
              <a:gd name="f1267" fmla="*/ f1012 f444 1"/>
              <a:gd name="f1268" fmla="*/ f1013 f444 1"/>
              <a:gd name="f1269" fmla="*/ f1014 f444 1"/>
              <a:gd name="f1270" fmla="*/ f1015 f445 1"/>
              <a:gd name="f1271" fmla="*/ f1016 f444 1"/>
              <a:gd name="f1272" fmla="*/ f1017 f444 1"/>
              <a:gd name="f1273" fmla="*/ f1018 f444 1"/>
              <a:gd name="f1274" fmla="*/ f1019 f445 1"/>
              <a:gd name="f1275" fmla="*/ f1020 f444 1"/>
              <a:gd name="f1276" fmla="*/ f1021 f444 1"/>
              <a:gd name="f1277" fmla="*/ f1022 f444 1"/>
              <a:gd name="f1278" fmla="*/ f1023 f445 1"/>
              <a:gd name="f1279" fmla="*/ f1024 f444 1"/>
              <a:gd name="f1280" fmla="*/ f1025 f444 1"/>
              <a:gd name="f1281" fmla="*/ f1026 f444 1"/>
              <a:gd name="f1282" fmla="*/ f1027 f444 1"/>
              <a:gd name="f1283" fmla="*/ f1028 f444 1"/>
              <a:gd name="f1284" fmla="*/ f1029 f444 1"/>
              <a:gd name="f1285" fmla="*/ f1030 f444 1"/>
              <a:gd name="f1286" fmla="*/ f1031 f444 1"/>
              <a:gd name="f1287" fmla="*/ f1032 f445 1"/>
              <a:gd name="f1288" fmla="*/ f1033 f444 1"/>
              <a:gd name="f1289" fmla="*/ f1034 f444 1"/>
              <a:gd name="f1290" fmla="*/ f1035 f444 1"/>
              <a:gd name="f1291" fmla="*/ f1036 f444 1"/>
              <a:gd name="f1292" fmla="*/ f1037 f444 1"/>
              <a:gd name="f1293" fmla="*/ f1038 f444 1"/>
              <a:gd name="f1294" fmla="*/ f1039 f444 1"/>
              <a:gd name="f1295" fmla="*/ f1040 f444 1"/>
              <a:gd name="f1296" fmla="*/ f1041 f444 1"/>
              <a:gd name="f1297" fmla="*/ f1042 f444 1"/>
              <a:gd name="f1298" fmla="*/ f1043 f444 1"/>
              <a:gd name="f1299" fmla="*/ f1044 f444 1"/>
              <a:gd name="f1300" fmla="*/ f1045 f445 1"/>
              <a:gd name="f1301" fmla="*/ f1046 f444 1"/>
              <a:gd name="f1302" fmla="*/ f1047 f444 1"/>
              <a:gd name="f1303" fmla="*/ f1048 f445 1"/>
              <a:gd name="f1304" fmla="*/ f1049 f445 1"/>
              <a:gd name="f1305" fmla="*/ f1050 f444 1"/>
              <a:gd name="f1306" fmla="*/ f1051 f444 1"/>
              <a:gd name="f1307" fmla="*/ f1052 f444 1"/>
              <a:gd name="f1308" fmla="*/ f1053 f445 1"/>
              <a:gd name="f1309" fmla="*/ f1054 f444 1"/>
              <a:gd name="f1310" fmla="*/ f1055 f444 1"/>
              <a:gd name="f1311" fmla="*/ f1056 f444 1"/>
              <a:gd name="f1312" fmla="*/ f1057 f445 1"/>
              <a:gd name="f1313" fmla="*/ f1058 f444 1"/>
              <a:gd name="f1314" fmla="*/ f1059 f444 1"/>
              <a:gd name="f1315" fmla="*/ f1060 f444 1"/>
              <a:gd name="f1316" fmla="*/ f1061 f445 1"/>
              <a:gd name="f1317" fmla="*/ f1062 f444 1"/>
              <a:gd name="f1318" fmla="*/ f1063 f445 1"/>
              <a:gd name="f1319" fmla="*/ f1064 f444 1"/>
              <a:gd name="f1320" fmla="*/ f1065 f445 1"/>
              <a:gd name="f1321" fmla="*/ f1066 f445 1"/>
              <a:gd name="f1322" fmla="*/ f1067 f444 1"/>
              <a:gd name="f1323" fmla="*/ f1068 f444 1"/>
              <a:gd name="f1324" fmla="*/ f1069 f444 1"/>
              <a:gd name="f1325" fmla="*/ f1070 f445 1"/>
              <a:gd name="f1326" fmla="*/ f1071 f445 1"/>
              <a:gd name="f1327" fmla="*/ f1072 f444 1"/>
              <a:gd name="f1328" fmla="*/ f1073 f444 1"/>
              <a:gd name="f1329" fmla="*/ f1074 f444 1"/>
              <a:gd name="f1330" fmla="*/ f1075 f444 1"/>
              <a:gd name="f1331" fmla="*/ f1076 f444 1"/>
              <a:gd name="f1332" fmla="*/ f1077 f444 1"/>
              <a:gd name="f1333" fmla="*/ f1078 f444 1"/>
              <a:gd name="f1334" fmla="*/ f1079 f444 1"/>
              <a:gd name="f1335" fmla="*/ f1080 f444 1"/>
              <a:gd name="f1336" fmla="*/ f1081 f444 1"/>
              <a:gd name="f1337" fmla="*/ f1082 f444 1"/>
              <a:gd name="f1338" fmla="*/ f1083 f444 1"/>
              <a:gd name="f1339" fmla="*/ f1084 f444 1"/>
              <a:gd name="f1340" fmla="*/ f1085 f444 1"/>
              <a:gd name="f1341" fmla="*/ f1086 f444 1"/>
              <a:gd name="f1342" fmla="*/ f1087 f444 1"/>
              <a:gd name="f1343" fmla="*/ f1088 f445 1"/>
              <a:gd name="f1344" fmla="*/ f1089 f444 1"/>
              <a:gd name="f1345" fmla="*/ f1090 f444 1"/>
              <a:gd name="f1346" fmla="*/ f1091 f444 1"/>
              <a:gd name="f1347" fmla="*/ f1092 f445 1"/>
              <a:gd name="f1348" fmla="*/ f1093 f444 1"/>
              <a:gd name="f1349" fmla="*/ f1094 f445 1"/>
              <a:gd name="f1350" fmla="*/ f1095 f444 1"/>
              <a:gd name="f1351" fmla="*/ f1096 f444 1"/>
              <a:gd name="f1352" fmla="*/ f1097 f445 1"/>
              <a:gd name="f1353" fmla="*/ f1098 f444 1"/>
              <a:gd name="f1354" fmla="*/ f1099 f445 1"/>
              <a:gd name="f1355" fmla="*/ f1100 f444 1"/>
              <a:gd name="f1356" fmla="*/ f1101 f445 1"/>
              <a:gd name="f1357" fmla="*/ f1102 f444 1"/>
              <a:gd name="f1358" fmla="*/ f1103 f445 1"/>
              <a:gd name="f1359" fmla="*/ f1104 f444 1"/>
              <a:gd name="f1360" fmla="*/ f1105 f445 1"/>
              <a:gd name="f1361" fmla="*/ f1106 f444 1"/>
              <a:gd name="f1362" fmla="*/ f1107 f444 1"/>
              <a:gd name="f1363" fmla="*/ f1108 f445 1"/>
              <a:gd name="f1364" fmla="*/ f1109 f444 1"/>
              <a:gd name="f1365" fmla="*/ f1110 f445 1"/>
              <a:gd name="f1366" fmla="*/ f1111 f444 1"/>
              <a:gd name="f1367" fmla="*/ f1112 f444 1"/>
              <a:gd name="f1368" fmla="*/ f1113 f445 1"/>
              <a:gd name="f1369" fmla="*/ f1114 f444 1"/>
              <a:gd name="f1370" fmla="*/ f1115 f445 1"/>
              <a:gd name="f1371" fmla="*/ f1116 f444 1"/>
              <a:gd name="f1372" fmla="*/ f1117 f444 1"/>
              <a:gd name="f1373" fmla="*/ f1118 f445 1"/>
              <a:gd name="f1374" fmla="*/ f1119 f444 1"/>
              <a:gd name="f1375" fmla="*/ f1120 f445 1"/>
              <a:gd name="f1376" fmla="*/ f1121 f444 1"/>
              <a:gd name="f1377" fmla="*/ f1122 f445 1"/>
              <a:gd name="f1378" fmla="*/ f1123 f444 1"/>
              <a:gd name="f1379" fmla="*/ f1124 f445 1"/>
              <a:gd name="f1380" fmla="*/ f1125 f444 1"/>
              <a:gd name="f1381" fmla="*/ f1126 f444 1"/>
              <a:gd name="f1382" fmla="*/ f1127 f444 1"/>
              <a:gd name="f1383" fmla="*/ f1128 f444 1"/>
              <a:gd name="f1384" fmla="*/ f1129 f444 1"/>
              <a:gd name="f1385" fmla="*/ f1130 f445 1"/>
              <a:gd name="f1386" fmla="*/ f1131 f444 1"/>
              <a:gd name="f1387" fmla="*/ f1132 f445 1"/>
              <a:gd name="f1388" fmla="*/ f1133 f444 1"/>
              <a:gd name="f1389" fmla="*/ f1134 f444 1"/>
              <a:gd name="f1390" fmla="*/ f1135 f445 1"/>
              <a:gd name="f1391" fmla="*/ f1136 f444 1"/>
              <a:gd name="f1392" fmla="*/ f1137 f444 1"/>
              <a:gd name="f1393" fmla="*/ f1138 f444 1"/>
              <a:gd name="f1394" fmla="*/ f1139 f444 1"/>
              <a:gd name="f1395" fmla="*/ f1140 f444 1"/>
              <a:gd name="f1396" fmla="*/ f1141 f444 1"/>
              <a:gd name="f1397" fmla="*/ f1142 f444 1"/>
              <a:gd name="f1398" fmla="*/ f1143 f445 1"/>
              <a:gd name="f1399" fmla="*/ f1144 f445 1"/>
              <a:gd name="f1400" fmla="*/ f1145 f444 1"/>
              <a:gd name="f1401" fmla="*/ f1146 f444 1"/>
              <a:gd name="f1402" fmla="*/ f1147 f445 1"/>
              <a:gd name="f1403" fmla="*/ f1148 f444 1"/>
              <a:gd name="f1404" fmla="*/ f1149 f445 1"/>
              <a:gd name="f1405" fmla="*/ f1150 f444 1"/>
              <a:gd name="f1406" fmla="*/ f1151 f445 1"/>
              <a:gd name="f1407" fmla="*/ f1152 f444 1"/>
              <a:gd name="f1408" fmla="*/ f1153 f445 1"/>
              <a:gd name="f1409" fmla="*/ f1154 f444 1"/>
              <a:gd name="f1410" fmla="*/ f1155 f444 1"/>
              <a:gd name="f1411" fmla="*/ f1156 f444 1"/>
              <a:gd name="f1412" fmla="*/ f1157 f444 1"/>
              <a:gd name="f1413" fmla="*/ f1158 f445 1"/>
              <a:gd name="f1414" fmla="*/ f1159 f444 1"/>
              <a:gd name="f1415" fmla="*/ f1160 f445 1"/>
              <a:gd name="f1416" fmla="*/ f1161 f444 1"/>
              <a:gd name="f1417" fmla="*/ f1162 f444 1"/>
              <a:gd name="f1418" fmla="*/ f1163 f444 1"/>
              <a:gd name="f1419" fmla="*/ f1164 f445 1"/>
              <a:gd name="f1420" fmla="*/ f1165 f444 1"/>
              <a:gd name="f1421" fmla="*/ f1166 f444 1"/>
              <a:gd name="f1422" fmla="*/ f1167 f445 1"/>
              <a:gd name="f1423" fmla="*/ f1168 f444 1"/>
              <a:gd name="f1424" fmla="*/ f1169 f445 1"/>
              <a:gd name="f1425" fmla="*/ f1170 f444 1"/>
              <a:gd name="f1426" fmla="*/ f1171 f445 1"/>
              <a:gd name="f1427" fmla="*/ f1172 f445 1"/>
              <a:gd name="f1428" fmla="*/ f1173 f444 1"/>
              <a:gd name="f1429" fmla="*/ f1174 f444 1"/>
              <a:gd name="f1430" fmla="*/ f1175 f444 1"/>
              <a:gd name="f1431" fmla="*/ f1176 f445 1"/>
              <a:gd name="f1432" fmla="*/ f1177 f444 1"/>
              <a:gd name="f1433" fmla="*/ f1178 f444 1"/>
              <a:gd name="f1434" fmla="*/ f1179 f444 1"/>
              <a:gd name="f1435" fmla="*/ f1180 f445 1"/>
              <a:gd name="f1436" fmla="*/ f1181 f444 1"/>
              <a:gd name="f1437" fmla="*/ f1182 f445 1"/>
              <a:gd name="f1438" fmla="*/ f1183 f444 1"/>
              <a:gd name="f1439" fmla="*/ f1184 f444 1"/>
              <a:gd name="f1440" fmla="*/ f1185 f445 1"/>
              <a:gd name="f1441" fmla="*/ f1186 f444 1"/>
              <a:gd name="f1442" fmla="*/ f1187 f444 1"/>
              <a:gd name="f1443" fmla="*/ f1188 f444 1"/>
              <a:gd name="f1444" fmla="*/ f1189 f444 1"/>
              <a:gd name="f1445" fmla="*/ f1190 f444 1"/>
              <a:gd name="f1446" fmla="*/ f1191 f444 1"/>
              <a:gd name="f1447" fmla="*/ f1192 f445 1"/>
              <a:gd name="f1448" fmla="*/ f1193 f444 1"/>
              <a:gd name="f1449" fmla="*/ f1194 f444 1"/>
              <a:gd name="f1450" fmla="*/ f1195 f444 1"/>
              <a:gd name="f1451" fmla="*/ f1196 f444 1"/>
              <a:gd name="f1452" fmla="*/ f1197 f445 1"/>
              <a:gd name="f1453" fmla="*/ f1198 f445 1"/>
              <a:gd name="f1454" fmla="*/ f1199 f444 1"/>
              <a:gd name="f1455" fmla="*/ f1200 f444 1"/>
              <a:gd name="f1456" fmla="*/ f1201 f444 1"/>
              <a:gd name="f1457" fmla="*/ f1202 f444 1"/>
              <a:gd name="f1458" fmla="*/ f1203 f444 1"/>
              <a:gd name="f1459" fmla="*/ f1204 f444 1"/>
              <a:gd name="f1460" fmla="*/ f1205 f444 1"/>
              <a:gd name="f1461" fmla="*/ f1206 f444 1"/>
              <a:gd name="f1462" fmla="*/ f1207 f444 1"/>
              <a:gd name="f1463" fmla="*/ f1208 f444 1"/>
              <a:gd name="f1464" fmla="*/ f1209 f44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958">
                <a:pos x="f1214" y="f1215"/>
              </a:cxn>
              <a:cxn ang="f958">
                <a:pos x="f1216" y="f1215"/>
              </a:cxn>
              <a:cxn ang="f958">
                <a:pos x="f1216" y="f1217"/>
              </a:cxn>
              <a:cxn ang="f958">
                <a:pos x="f1214" y="f1217"/>
              </a:cxn>
              <a:cxn ang="f958">
                <a:pos x="f1214" y="f1215"/>
              </a:cxn>
              <a:cxn ang="f958">
                <a:pos x="f1218" y="f1219"/>
              </a:cxn>
              <a:cxn ang="f958">
                <a:pos x="f1218" y="f1220"/>
              </a:cxn>
              <a:cxn ang="f958">
                <a:pos x="f1221" y="f1220"/>
              </a:cxn>
              <a:cxn ang="f958">
                <a:pos x="f1222" y="f1223"/>
              </a:cxn>
              <a:cxn ang="f958">
                <a:pos x="f1221" y="f1219"/>
              </a:cxn>
              <a:cxn ang="f958">
                <a:pos x="f1218" y="f1219"/>
              </a:cxn>
              <a:cxn ang="f958">
                <a:pos x="f1224" y="f1219"/>
              </a:cxn>
              <a:cxn ang="f958">
                <a:pos x="f1224" y="f1225"/>
              </a:cxn>
              <a:cxn ang="f958">
                <a:pos x="f1226" y="f1225"/>
              </a:cxn>
              <a:cxn ang="f958">
                <a:pos x="f1227" y="f1228"/>
              </a:cxn>
              <a:cxn ang="f958">
                <a:pos x="f1226" y="f1219"/>
              </a:cxn>
              <a:cxn ang="f958">
                <a:pos x="f1224" y="f1219"/>
              </a:cxn>
              <a:cxn ang="f958">
                <a:pos x="f1229" y="f1230"/>
              </a:cxn>
              <a:cxn ang="f958">
                <a:pos x="f1231" y="f1232"/>
              </a:cxn>
              <a:cxn ang="f958">
                <a:pos x="f1233" y="f1234"/>
              </a:cxn>
              <a:cxn ang="f958">
                <a:pos x="f1231" y="f1235"/>
              </a:cxn>
              <a:cxn ang="f958">
                <a:pos x="f1229" y="f1236"/>
              </a:cxn>
              <a:cxn ang="f958">
                <a:pos x="f1237" y="f1235"/>
              </a:cxn>
              <a:cxn ang="f958">
                <a:pos x="f1238" y="f1234"/>
              </a:cxn>
              <a:cxn ang="f958">
                <a:pos x="f1237" y="f1232"/>
              </a:cxn>
              <a:cxn ang="f958">
                <a:pos x="f1229" y="f1230"/>
              </a:cxn>
              <a:cxn ang="f958">
                <a:pos x="f1239" y="f1230"/>
              </a:cxn>
              <a:cxn ang="f958">
                <a:pos x="f1240" y="f1232"/>
              </a:cxn>
              <a:cxn ang="f958">
                <a:pos x="f1241" y="f1234"/>
              </a:cxn>
              <a:cxn ang="f958">
                <a:pos x="f1240" y="f1235"/>
              </a:cxn>
              <a:cxn ang="f958">
                <a:pos x="f1239" y="f1236"/>
              </a:cxn>
              <a:cxn ang="f958">
                <a:pos x="f1242" y="f1235"/>
              </a:cxn>
              <a:cxn ang="f958">
                <a:pos x="f1243" y="f1234"/>
              </a:cxn>
              <a:cxn ang="f958">
                <a:pos x="f1242" y="f1232"/>
              </a:cxn>
              <a:cxn ang="f958">
                <a:pos x="f1239" y="f1230"/>
              </a:cxn>
              <a:cxn ang="f958">
                <a:pos x="f1244" y="f1245"/>
              </a:cxn>
              <a:cxn ang="f958">
                <a:pos x="f1221" y="f1245"/>
              </a:cxn>
              <a:cxn ang="f958">
                <a:pos x="f1246" y="f1247"/>
              </a:cxn>
              <a:cxn ang="f958">
                <a:pos x="f1248" y="f1223"/>
              </a:cxn>
              <a:cxn ang="f958">
                <a:pos x="f1249" y="f1250"/>
              </a:cxn>
              <a:cxn ang="f958">
                <a:pos x="f1251" y="f1252"/>
              </a:cxn>
              <a:cxn ang="f958">
                <a:pos x="f1218" y="f1252"/>
              </a:cxn>
              <a:cxn ang="f958">
                <a:pos x="f1218" y="f1215"/>
              </a:cxn>
              <a:cxn ang="f958">
                <a:pos x="f1244" y="f1215"/>
              </a:cxn>
              <a:cxn ang="f958">
                <a:pos x="f1244" y="f1245"/>
              </a:cxn>
              <a:cxn ang="f958">
                <a:pos x="f1253" y="f1245"/>
              </a:cxn>
              <a:cxn ang="f958">
                <a:pos x="f1254" y="f1245"/>
              </a:cxn>
              <a:cxn ang="f958">
                <a:pos x="f1254" y="f1255"/>
              </a:cxn>
              <a:cxn ang="f958">
                <a:pos x="f1256" y="f1257"/>
              </a:cxn>
              <a:cxn ang="f958">
                <a:pos x="f1258" y="f1255"/>
              </a:cxn>
              <a:cxn ang="f958">
                <a:pos x="f1258" y="f1245"/>
              </a:cxn>
              <a:cxn ang="f958">
                <a:pos x="f1259" y="f1245"/>
              </a:cxn>
              <a:cxn ang="f958">
                <a:pos x="f1259" y="f1255"/>
              </a:cxn>
              <a:cxn ang="f958">
                <a:pos x="f1256" y="f1260"/>
              </a:cxn>
              <a:cxn ang="f958">
                <a:pos x="f1253" y="f1255"/>
              </a:cxn>
              <a:cxn ang="f958">
                <a:pos x="f1253" y="f1245"/>
              </a:cxn>
              <a:cxn ang="f958">
                <a:pos x="f1261" y="f1245"/>
              </a:cxn>
              <a:cxn ang="f958">
                <a:pos x="f1226" y="f1245"/>
              </a:cxn>
              <a:cxn ang="f958">
                <a:pos x="f1262" y="f1247"/>
              </a:cxn>
              <a:cxn ang="f958">
                <a:pos x="f1263" y="f1228"/>
              </a:cxn>
              <a:cxn ang="f958">
                <a:pos x="f1262" y="f1264"/>
              </a:cxn>
              <a:cxn ang="f958">
                <a:pos x="f1265" y="f1266"/>
              </a:cxn>
              <a:cxn ang="f958">
                <a:pos x="f1267" y="f1215"/>
              </a:cxn>
              <a:cxn ang="f958">
                <a:pos x="f1268" y="f1215"/>
              </a:cxn>
              <a:cxn ang="f958">
                <a:pos x="f1269" y="f1270"/>
              </a:cxn>
              <a:cxn ang="f958">
                <a:pos x="f1224" y="f1270"/>
              </a:cxn>
              <a:cxn ang="f958">
                <a:pos x="f1224" y="f1215"/>
              </a:cxn>
              <a:cxn ang="f958">
                <a:pos x="f1261" y="f1215"/>
              </a:cxn>
              <a:cxn ang="f958">
                <a:pos x="f1261" y="f1245"/>
              </a:cxn>
              <a:cxn ang="f958">
                <a:pos x="f1271" y="f1245"/>
              </a:cxn>
              <a:cxn ang="f958">
                <a:pos x="f1272" y="f1245"/>
              </a:cxn>
              <a:cxn ang="f958">
                <a:pos x="f1273" y="f1274"/>
              </a:cxn>
              <a:cxn ang="f958">
                <a:pos x="f1273" y="f1245"/>
              </a:cxn>
              <a:cxn ang="f958">
                <a:pos x="f1275" y="f1245"/>
              </a:cxn>
              <a:cxn ang="f958">
                <a:pos x="f1275" y="f1215"/>
              </a:cxn>
              <a:cxn ang="f958">
                <a:pos x="f1276" y="f1215"/>
              </a:cxn>
              <a:cxn ang="f958">
                <a:pos x="f1277" y="f1278"/>
              </a:cxn>
              <a:cxn ang="f958">
                <a:pos x="f1277" y="f1215"/>
              </a:cxn>
              <a:cxn ang="f958">
                <a:pos x="f1271" y="f1215"/>
              </a:cxn>
              <a:cxn ang="f958">
                <a:pos x="f1271" y="f1245"/>
              </a:cxn>
              <a:cxn ang="f958">
                <a:pos x="f1279" y="f1245"/>
              </a:cxn>
              <a:cxn ang="f958">
                <a:pos x="f1280" y="f1245"/>
              </a:cxn>
              <a:cxn ang="f958">
                <a:pos x="f1280" y="f1215"/>
              </a:cxn>
              <a:cxn ang="f958">
                <a:pos x="f1279" y="f1215"/>
              </a:cxn>
              <a:cxn ang="f958">
                <a:pos x="f1279" y="f1245"/>
              </a:cxn>
              <a:cxn ang="f958">
                <a:pos x="f1281" y="f1245"/>
              </a:cxn>
              <a:cxn ang="f958">
                <a:pos x="f1282" y="f1245"/>
              </a:cxn>
              <a:cxn ang="f958">
                <a:pos x="f1282" y="f1219"/>
              </a:cxn>
              <a:cxn ang="f958">
                <a:pos x="f1283" y="f1219"/>
              </a:cxn>
              <a:cxn ang="f958">
                <a:pos x="f1283" y="f1215"/>
              </a:cxn>
              <a:cxn ang="f958">
                <a:pos x="f1284" y="f1215"/>
              </a:cxn>
              <a:cxn ang="f958">
                <a:pos x="f1284" y="f1219"/>
              </a:cxn>
              <a:cxn ang="f958">
                <a:pos x="f1281" y="f1219"/>
              </a:cxn>
              <a:cxn ang="f958">
                <a:pos x="f1281" y="f1245"/>
              </a:cxn>
              <a:cxn ang="f958">
                <a:pos x="f1285" y="f1245"/>
              </a:cxn>
              <a:cxn ang="f958">
                <a:pos x="f1286" y="f1245"/>
              </a:cxn>
              <a:cxn ang="f958">
                <a:pos x="f1286" y="f1287"/>
              </a:cxn>
              <a:cxn ang="f958">
                <a:pos x="f1288" y="f1287"/>
              </a:cxn>
              <a:cxn ang="f958">
                <a:pos x="f1288" y="f1215"/>
              </a:cxn>
              <a:cxn ang="f958">
                <a:pos x="f1285" y="f1215"/>
              </a:cxn>
              <a:cxn ang="f958">
                <a:pos x="f1285" y="f1245"/>
              </a:cxn>
              <a:cxn ang="f958">
                <a:pos x="f1289" y="f1245"/>
              </a:cxn>
              <a:cxn ang="f958">
                <a:pos x="f1290" y="f1245"/>
              </a:cxn>
              <a:cxn ang="f958">
                <a:pos x="f1290" y="f1255"/>
              </a:cxn>
              <a:cxn ang="f958">
                <a:pos x="f1291" y="f1257"/>
              </a:cxn>
              <a:cxn ang="f958">
                <a:pos x="f1292" y="f1255"/>
              </a:cxn>
              <a:cxn ang="f958">
                <a:pos x="f1292" y="f1245"/>
              </a:cxn>
              <a:cxn ang="f958">
                <a:pos x="f1293" y="f1245"/>
              </a:cxn>
              <a:cxn ang="f958">
                <a:pos x="f1293" y="f1255"/>
              </a:cxn>
              <a:cxn ang="f958">
                <a:pos x="f1291" y="f1260"/>
              </a:cxn>
              <a:cxn ang="f958">
                <a:pos x="f1289" y="f1255"/>
              </a:cxn>
              <a:cxn ang="f958">
                <a:pos x="f1289" y="f1245"/>
              </a:cxn>
              <a:cxn ang="f958">
                <a:pos x="f1294" y="f1245"/>
              </a:cxn>
              <a:cxn ang="f958">
                <a:pos x="f1295" y="f1245"/>
              </a:cxn>
              <a:cxn ang="f958">
                <a:pos x="f1296" y="f1274"/>
              </a:cxn>
              <a:cxn ang="f958">
                <a:pos x="f1296" y="f1245"/>
              </a:cxn>
              <a:cxn ang="f958">
                <a:pos x="f1297" y="f1245"/>
              </a:cxn>
              <a:cxn ang="f958">
                <a:pos x="f1297" y="f1215"/>
              </a:cxn>
              <a:cxn ang="f958">
                <a:pos x="f1298" y="f1215"/>
              </a:cxn>
              <a:cxn ang="f958">
                <a:pos x="f1299" y="f1278"/>
              </a:cxn>
              <a:cxn ang="f958">
                <a:pos x="f1299" y="f1215"/>
              </a:cxn>
              <a:cxn ang="f958">
                <a:pos x="f1294" y="f1215"/>
              </a:cxn>
              <a:cxn ang="f958">
                <a:pos x="f1294" y="f1245"/>
              </a:cxn>
              <a:cxn ang="f958">
                <a:pos x="f1229" y="f1300"/>
              </a:cxn>
              <a:cxn ang="f958">
                <a:pos x="f1301" y="f1247"/>
              </a:cxn>
              <a:cxn ang="f958">
                <a:pos x="f1302" y="f1234"/>
              </a:cxn>
              <a:cxn ang="f958">
                <a:pos x="f1301" y="f1303"/>
              </a:cxn>
              <a:cxn ang="f958">
                <a:pos x="f1229" y="f1304"/>
              </a:cxn>
              <a:cxn ang="f958">
                <a:pos x="f1233" y="f1303"/>
              </a:cxn>
              <a:cxn ang="f958">
                <a:pos x="f1305" y="f1234"/>
              </a:cxn>
              <a:cxn ang="f958">
                <a:pos x="f1233" y="f1247"/>
              </a:cxn>
              <a:cxn ang="f958">
                <a:pos x="f1229" y="f1300"/>
              </a:cxn>
              <a:cxn ang="f958">
                <a:pos x="f1306" y="f1300"/>
              </a:cxn>
              <a:cxn ang="f958">
                <a:pos x="f1307" y="f1308"/>
              </a:cxn>
              <a:cxn ang="f958">
                <a:pos x="f1309" y="f1228"/>
              </a:cxn>
              <a:cxn ang="f958">
                <a:pos x="f1310" y="f1228"/>
              </a:cxn>
              <a:cxn ang="f958">
                <a:pos x="f1311" y="f1312"/>
              </a:cxn>
              <a:cxn ang="f958">
                <a:pos x="f1306" y="f1230"/>
              </a:cxn>
              <a:cxn ang="f958">
                <a:pos x="f1313" y="f1232"/>
              </a:cxn>
              <a:cxn ang="f958">
                <a:pos x="f1314" y="f1234"/>
              </a:cxn>
              <a:cxn ang="f958">
                <a:pos x="f1315" y="f1316"/>
              </a:cxn>
              <a:cxn ang="f958">
                <a:pos x="f1306" y="f1257"/>
              </a:cxn>
              <a:cxn ang="f958">
                <a:pos x="f1317" y="f1318"/>
              </a:cxn>
              <a:cxn ang="f958">
                <a:pos x="f1319" y="f1320"/>
              </a:cxn>
              <a:cxn ang="f958">
                <a:pos x="f1306" y="f1320"/>
              </a:cxn>
              <a:cxn ang="f958">
                <a:pos x="f1306" y="f1321"/>
              </a:cxn>
              <a:cxn ang="f958">
                <a:pos x="f1322" y="f1321"/>
              </a:cxn>
              <a:cxn ang="f958">
                <a:pos x="f1322" y="f1215"/>
              </a:cxn>
              <a:cxn ang="f958">
                <a:pos x="f1323" y="f1215"/>
              </a:cxn>
              <a:cxn ang="f958">
                <a:pos x="f1324" y="f1325"/>
              </a:cxn>
              <a:cxn ang="f958">
                <a:pos x="f1306" y="f1304"/>
              </a:cxn>
              <a:cxn ang="f958">
                <a:pos x="f1314" y="f1326"/>
              </a:cxn>
              <a:cxn ang="f958">
                <a:pos x="f1327" y="f1234"/>
              </a:cxn>
              <a:cxn ang="f958">
                <a:pos x="f1314" y="f1247"/>
              </a:cxn>
              <a:cxn ang="f958">
                <a:pos x="f1306" y="f1300"/>
              </a:cxn>
              <a:cxn ang="f958">
                <a:pos x="f1328" y="f1300"/>
              </a:cxn>
              <a:cxn ang="f958">
                <a:pos x="f1329" y="f1308"/>
              </a:cxn>
              <a:cxn ang="f958">
                <a:pos x="f1330" y="f1228"/>
              </a:cxn>
              <a:cxn ang="f958">
                <a:pos x="f1331" y="f1228"/>
              </a:cxn>
              <a:cxn ang="f958">
                <a:pos x="f1332" y="f1312"/>
              </a:cxn>
              <a:cxn ang="f958">
                <a:pos x="f1328" y="f1230"/>
              </a:cxn>
              <a:cxn ang="f958">
                <a:pos x="f1333" y="f1232"/>
              </a:cxn>
              <a:cxn ang="f958">
                <a:pos x="f1334" y="f1234"/>
              </a:cxn>
              <a:cxn ang="f958">
                <a:pos x="f1333" y="f1316"/>
              </a:cxn>
              <a:cxn ang="f958">
                <a:pos x="f1328" y="f1257"/>
              </a:cxn>
              <a:cxn ang="f958">
                <a:pos x="f1335" y="f1318"/>
              </a:cxn>
              <a:cxn ang="f958">
                <a:pos x="f1336" y="f1320"/>
              </a:cxn>
              <a:cxn ang="f958">
                <a:pos x="f1328" y="f1320"/>
              </a:cxn>
              <a:cxn ang="f958">
                <a:pos x="f1328" y="f1321"/>
              </a:cxn>
              <a:cxn ang="f958">
                <a:pos x="f1337" y="f1321"/>
              </a:cxn>
              <a:cxn ang="f958">
                <a:pos x="f1337" y="f1215"/>
              </a:cxn>
              <a:cxn ang="f958">
                <a:pos x="f1338" y="f1215"/>
              </a:cxn>
              <a:cxn ang="f958">
                <a:pos x="f1339" y="f1325"/>
              </a:cxn>
              <a:cxn ang="f958">
                <a:pos x="f1328" y="f1304"/>
              </a:cxn>
              <a:cxn ang="f958">
                <a:pos x="f1334" y="f1326"/>
              </a:cxn>
              <a:cxn ang="f958">
                <a:pos x="f1340" y="f1234"/>
              </a:cxn>
              <a:cxn ang="f958">
                <a:pos x="f1334" y="f1247"/>
              </a:cxn>
              <a:cxn ang="f958">
                <a:pos x="f1328" y="f1300"/>
              </a:cxn>
              <a:cxn ang="f958">
                <a:pos x="f1341" y="f1300"/>
              </a:cxn>
              <a:cxn ang="f958">
                <a:pos x="f1342" y="f1343"/>
              </a:cxn>
              <a:cxn ang="f958">
                <a:pos x="f1344" y="f1228"/>
              </a:cxn>
              <a:cxn ang="f958">
                <a:pos x="f1345" y="f1228"/>
              </a:cxn>
              <a:cxn ang="f958">
                <a:pos x="f1346" y="f1347"/>
              </a:cxn>
              <a:cxn ang="f958">
                <a:pos x="f1348" y="f1349"/>
              </a:cxn>
              <a:cxn ang="f958">
                <a:pos x="f1350" y="f1347"/>
              </a:cxn>
              <a:cxn ang="f958">
                <a:pos x="f1351" y="f1352"/>
              </a:cxn>
              <a:cxn ang="f958">
                <a:pos x="f1353" y="f1354"/>
              </a:cxn>
              <a:cxn ang="f958">
                <a:pos x="f1355" y="f1356"/>
              </a:cxn>
              <a:cxn ang="f958">
                <a:pos x="f1357" y="f1358"/>
              </a:cxn>
              <a:cxn ang="f958">
                <a:pos x="f1359" y="f1360"/>
              </a:cxn>
              <a:cxn ang="f958">
                <a:pos x="f1361" y="f1260"/>
              </a:cxn>
              <a:cxn ang="f958">
                <a:pos x="f1362" y="f1363"/>
              </a:cxn>
              <a:cxn ang="f958">
                <a:pos x="f1364" y="f1365"/>
              </a:cxn>
              <a:cxn ang="f958">
                <a:pos x="f1366" y="f1365"/>
              </a:cxn>
              <a:cxn ang="f958">
                <a:pos x="f1367" y="f1368"/>
              </a:cxn>
              <a:cxn ang="f958">
                <a:pos x="f1361" y="f1257"/>
              </a:cxn>
              <a:cxn ang="f958">
                <a:pos x="f1369" y="f1370"/>
              </a:cxn>
              <a:cxn ang="f958">
                <a:pos x="f1371" y="f1358"/>
              </a:cxn>
              <a:cxn ang="f958">
                <a:pos x="f1372" y="f1373"/>
              </a:cxn>
              <a:cxn ang="f958">
                <a:pos x="f1374" y="f1375"/>
              </a:cxn>
              <a:cxn ang="f958">
                <a:pos x="f1376" y="f1377"/>
              </a:cxn>
              <a:cxn ang="f958">
                <a:pos x="f1378" y="f1379"/>
              </a:cxn>
              <a:cxn ang="f958">
                <a:pos x="f1341" y="f1300"/>
              </a:cxn>
              <a:cxn ang="f958">
                <a:pos x="f1239" y="f1300"/>
              </a:cxn>
              <a:cxn ang="f958">
                <a:pos x="f1243" y="f1247"/>
              </a:cxn>
              <a:cxn ang="f958">
                <a:pos x="f1380" y="f1234"/>
              </a:cxn>
              <a:cxn ang="f958">
                <a:pos x="f1243" y="f1303"/>
              </a:cxn>
              <a:cxn ang="f958">
                <a:pos x="f1239" y="f1304"/>
              </a:cxn>
              <a:cxn ang="f958">
                <a:pos x="f1381" y="f1303"/>
              </a:cxn>
              <a:cxn ang="f958">
                <a:pos x="f1382" y="f1234"/>
              </a:cxn>
              <a:cxn ang="f958">
                <a:pos x="f1381" y="f1247"/>
              </a:cxn>
              <a:cxn ang="f958">
                <a:pos x="f1239" y="f1300"/>
              </a:cxn>
              <a:cxn ang="f958">
                <a:pos x="f1383" y="f1300"/>
              </a:cxn>
              <a:cxn ang="f958">
                <a:pos x="f1384" y="f1385"/>
              </a:cxn>
              <a:cxn ang="f958">
                <a:pos x="f1386" y="f1387"/>
              </a:cxn>
              <a:cxn ang="f958">
                <a:pos x="f1388" y="f1387"/>
              </a:cxn>
              <a:cxn ang="f958">
                <a:pos x="f1389" y="f1390"/>
              </a:cxn>
              <a:cxn ang="f958">
                <a:pos x="f1383" y="f1230"/>
              </a:cxn>
              <a:cxn ang="f958">
                <a:pos x="f1391" y="f1232"/>
              </a:cxn>
              <a:cxn ang="f958">
                <a:pos x="f1392" y="f1234"/>
              </a:cxn>
              <a:cxn ang="f958">
                <a:pos x="f1391" y="f1235"/>
              </a:cxn>
              <a:cxn ang="f958">
                <a:pos x="f1383" y="f1257"/>
              </a:cxn>
              <a:cxn ang="f958">
                <a:pos x="f1393" y="f1235"/>
              </a:cxn>
              <a:cxn ang="f958">
                <a:pos x="f1388" y="f1365"/>
              </a:cxn>
              <a:cxn ang="f958">
                <a:pos x="f1394" y="f1365"/>
              </a:cxn>
              <a:cxn ang="f958">
                <a:pos x="f1384" y="f1303"/>
              </a:cxn>
              <a:cxn ang="f958">
                <a:pos x="f1383" y="f1304"/>
              </a:cxn>
              <a:cxn ang="f958">
                <a:pos x="f1395" y="f1303"/>
              </a:cxn>
              <a:cxn ang="f958">
                <a:pos x="f1396" y="f1234"/>
              </a:cxn>
              <a:cxn ang="f958">
                <a:pos x="f1395" y="f1247"/>
              </a:cxn>
              <a:cxn ang="f958">
                <a:pos x="f1383" y="f1300"/>
              </a:cxn>
              <a:cxn ang="f958">
                <a:pos x="f1397" y="f1398"/>
              </a:cxn>
              <a:cxn ang="f958">
                <a:pos x="f1397" y="f1399"/>
              </a:cxn>
              <a:cxn ang="f958">
                <a:pos x="f1400" y="f1399"/>
              </a:cxn>
              <a:cxn ang="f958">
                <a:pos x="f1401" y="f1402"/>
              </a:cxn>
              <a:cxn ang="f958">
                <a:pos x="f1400" y="f1398"/>
              </a:cxn>
              <a:cxn ang="f958">
                <a:pos x="f1397" y="f1398"/>
              </a:cxn>
              <a:cxn ang="f958">
                <a:pos x="f1403" y="f1404"/>
              </a:cxn>
              <a:cxn ang="f958">
                <a:pos x="f1405" y="f1404"/>
              </a:cxn>
              <a:cxn ang="f958">
                <a:pos x="f1405" y="f1406"/>
              </a:cxn>
              <a:cxn ang="f958">
                <a:pos x="f1407" y="f1406"/>
              </a:cxn>
              <a:cxn ang="f958">
                <a:pos x="f1407" y="f1408"/>
              </a:cxn>
              <a:cxn ang="f958">
                <a:pos x="f1409" y="f1408"/>
              </a:cxn>
              <a:cxn ang="f958">
                <a:pos x="f1409" y="f1406"/>
              </a:cxn>
              <a:cxn ang="f958">
                <a:pos x="f1403" y="f1406"/>
              </a:cxn>
              <a:cxn ang="f958">
                <a:pos x="f1410" y="f1404"/>
              </a:cxn>
              <a:cxn ang="f958">
                <a:pos x="f1411" y="f1404"/>
              </a:cxn>
              <a:cxn ang="f958">
                <a:pos x="f1412" y="f1413"/>
              </a:cxn>
              <a:cxn ang="f958">
                <a:pos x="f1414" y="f1415"/>
              </a:cxn>
              <a:cxn ang="f958">
                <a:pos x="f1414" y="f1404"/>
              </a:cxn>
              <a:cxn ang="f958">
                <a:pos x="f1416" y="f1404"/>
              </a:cxn>
              <a:cxn ang="f958">
                <a:pos x="f1416" y="f1408"/>
              </a:cxn>
              <a:cxn ang="f958">
                <a:pos x="f1417" y="f1408"/>
              </a:cxn>
              <a:cxn ang="f958">
                <a:pos x="f1418" y="f1419"/>
              </a:cxn>
              <a:cxn ang="f958">
                <a:pos x="f1418" y="f1408"/>
              </a:cxn>
              <a:cxn ang="f958">
                <a:pos x="f1410" y="f1408"/>
              </a:cxn>
              <a:cxn ang="f958">
                <a:pos x="f1420" y="f1404"/>
              </a:cxn>
              <a:cxn ang="f958">
                <a:pos x="f1421" y="f1404"/>
              </a:cxn>
              <a:cxn ang="f958">
                <a:pos x="f1421" y="f1422"/>
              </a:cxn>
              <a:cxn ang="f958">
                <a:pos x="f1423" y="f1422"/>
              </a:cxn>
              <a:cxn ang="f958">
                <a:pos x="f1423" y="f1424"/>
              </a:cxn>
              <a:cxn ang="f958">
                <a:pos x="f1425" y="f1424"/>
              </a:cxn>
              <a:cxn ang="f958">
                <a:pos x="f1425" y="f1426"/>
              </a:cxn>
              <a:cxn ang="f958">
                <a:pos x="f1423" y="f1426"/>
              </a:cxn>
              <a:cxn ang="f958">
                <a:pos x="f1423" y="f1427"/>
              </a:cxn>
              <a:cxn ang="f958">
                <a:pos x="f1421" y="f1427"/>
              </a:cxn>
              <a:cxn ang="f958">
                <a:pos x="f1421" y="f1408"/>
              </a:cxn>
              <a:cxn ang="f958">
                <a:pos x="f1420" y="f1408"/>
              </a:cxn>
              <a:cxn ang="f958">
                <a:pos x="f1428" y="f1404"/>
              </a:cxn>
              <a:cxn ang="f958">
                <a:pos x="f1429" y="f1404"/>
              </a:cxn>
              <a:cxn ang="f958">
                <a:pos x="f1430" y="f1431"/>
              </a:cxn>
              <a:cxn ang="f958">
                <a:pos x="f1432" y="f1404"/>
              </a:cxn>
              <a:cxn ang="f958">
                <a:pos x="f1433" y="f1404"/>
              </a:cxn>
              <a:cxn ang="f958">
                <a:pos x="f1433" y="f1408"/>
              </a:cxn>
              <a:cxn ang="f958">
                <a:pos x="f1434" y="f1408"/>
              </a:cxn>
              <a:cxn ang="f958">
                <a:pos x="f1434" y="f1435"/>
              </a:cxn>
              <a:cxn ang="f958">
                <a:pos x="f1436" y="f1437"/>
              </a:cxn>
              <a:cxn ang="f958">
                <a:pos x="f1438" y="f1437"/>
              </a:cxn>
              <a:cxn ang="f958">
                <a:pos x="f1439" y="f1440"/>
              </a:cxn>
              <a:cxn ang="f958">
                <a:pos x="f1439" y="f1408"/>
              </a:cxn>
              <a:cxn ang="f958">
                <a:pos x="f1428" y="f1408"/>
              </a:cxn>
              <a:cxn ang="f958">
                <a:pos x="f1441" y="f1404"/>
              </a:cxn>
              <a:cxn ang="f958">
                <a:pos x="f1442" y="f1404"/>
              </a:cxn>
              <a:cxn ang="f958">
                <a:pos x="f1442" y="f1422"/>
              </a:cxn>
              <a:cxn ang="f958">
                <a:pos x="f1443" y="f1422"/>
              </a:cxn>
              <a:cxn ang="f958">
                <a:pos x="f1443" y="f1424"/>
              </a:cxn>
              <a:cxn ang="f958">
                <a:pos x="f1444" y="f1424"/>
              </a:cxn>
              <a:cxn ang="f958">
                <a:pos x="f1444" y="f1426"/>
              </a:cxn>
              <a:cxn ang="f958">
                <a:pos x="f1443" y="f1426"/>
              </a:cxn>
              <a:cxn ang="f958">
                <a:pos x="f1443" y="f1427"/>
              </a:cxn>
              <a:cxn ang="f958">
                <a:pos x="f1442" y="f1427"/>
              </a:cxn>
              <a:cxn ang="f958">
                <a:pos x="f1442" y="f1408"/>
              </a:cxn>
              <a:cxn ang="f958">
                <a:pos x="f1441" y="f1408"/>
              </a:cxn>
              <a:cxn ang="f958">
                <a:pos x="f1445" y="f1404"/>
              </a:cxn>
              <a:cxn ang="f958">
                <a:pos x="f1446" y="f1404"/>
              </a:cxn>
              <a:cxn ang="f958">
                <a:pos x="f1446" y="f1447"/>
              </a:cxn>
              <a:cxn ang="f958">
                <a:pos x="f1448" y="f1447"/>
              </a:cxn>
              <a:cxn ang="f958">
                <a:pos x="f1448" y="f1408"/>
              </a:cxn>
              <a:cxn ang="f958">
                <a:pos x="f1445" y="f1408"/>
              </a:cxn>
              <a:cxn ang="f958">
                <a:pos x="f1449" y="f1404"/>
              </a:cxn>
              <a:cxn ang="f958">
                <a:pos x="f1450" y="f1404"/>
              </a:cxn>
              <a:cxn ang="f958">
                <a:pos x="f1451" y="f1452"/>
              </a:cxn>
              <a:cxn ang="f958">
                <a:pos x="f1450" y="f1453"/>
              </a:cxn>
              <a:cxn ang="f958">
                <a:pos x="f1397" y="f1453"/>
              </a:cxn>
              <a:cxn ang="f958">
                <a:pos x="f1397" y="f1408"/>
              </a:cxn>
              <a:cxn ang="f958">
                <a:pos x="f1449" y="f1408"/>
              </a:cxn>
              <a:cxn ang="f958">
                <a:pos x="f1449" y="f1404"/>
              </a:cxn>
              <a:cxn ang="f958">
                <a:pos x="f1454" y="f1404"/>
              </a:cxn>
              <a:cxn ang="f958">
                <a:pos x="f1455" y="f1404"/>
              </a:cxn>
              <a:cxn ang="f958">
                <a:pos x="f1456" y="f1431"/>
              </a:cxn>
              <a:cxn ang="f958">
                <a:pos x="f1457" y="f1404"/>
              </a:cxn>
              <a:cxn ang="f958">
                <a:pos x="f1458" y="f1404"/>
              </a:cxn>
              <a:cxn ang="f958">
                <a:pos x="f1458" y="f1408"/>
              </a:cxn>
              <a:cxn ang="f958">
                <a:pos x="f1459" y="f1408"/>
              </a:cxn>
              <a:cxn ang="f958">
                <a:pos x="f1459" y="f1435"/>
              </a:cxn>
              <a:cxn ang="f958">
                <a:pos x="f1460" y="f1437"/>
              </a:cxn>
              <a:cxn ang="f958">
                <a:pos x="f1461" y="f1437"/>
              </a:cxn>
              <a:cxn ang="f958">
                <a:pos x="f1462" y="f1440"/>
              </a:cxn>
              <a:cxn ang="f958">
                <a:pos x="f1462" y="f1408"/>
              </a:cxn>
              <a:cxn ang="f958">
                <a:pos x="f1454" y="f1408"/>
              </a:cxn>
              <a:cxn ang="f958">
                <a:pos x="f1463" y="f1404"/>
              </a:cxn>
              <a:cxn ang="f958">
                <a:pos x="f1464" y="f1404"/>
              </a:cxn>
              <a:cxn ang="f958">
                <a:pos x="f1464" y="f1408"/>
              </a:cxn>
              <a:cxn ang="f958">
                <a:pos x="f1463" y="f1408"/>
              </a:cxn>
            </a:cxnLst>
            <a:rect l="f1210" t="f1213" r="f1211" b="f1212"/>
            <a:pathLst>
              <a:path w="9905999" h="2265361">
                <a:moveTo>
                  <a:pt x="f8" y="f9"/>
                </a:moveTo>
                <a:cubicBezTo>
                  <a:pt x="f8" y="f9"/>
                  <a:pt x="f8" y="f9"/>
                  <a:pt x="f10" y="f9"/>
                </a:cubicBezTo>
                <a:lnTo>
                  <a:pt x="f10" y="f7"/>
                </a:lnTo>
                <a:cubicBezTo>
                  <a:pt x="f10" y="f7"/>
                  <a:pt x="f10" y="f7"/>
                  <a:pt x="f8" y="f7"/>
                </a:cubicBezTo>
                <a:cubicBezTo>
                  <a:pt x="f8" y="f7"/>
                  <a:pt x="f8" y="f7"/>
                  <a:pt x="f8" y="f9"/>
                </a:cubicBezTo>
                <a:close/>
                <a:moveTo>
                  <a:pt x="f11" y="f12"/>
                </a:moveTo>
                <a:cubicBezTo>
                  <a:pt x="f11" y="f12"/>
                  <a:pt x="f11" y="f12"/>
                  <a:pt x="f11" y="f13"/>
                </a:cubicBezTo>
                <a:cubicBezTo>
                  <a:pt x="f11" y="f13"/>
                  <a:pt x="f11" y="f13"/>
                  <a:pt x="f14" y="f13"/>
                </a:cubicBezTo>
                <a:cubicBezTo>
                  <a:pt x="f15" y="f13"/>
                  <a:pt x="f16" y="f17"/>
                  <a:pt x="f16" y="f18"/>
                </a:cubicBezTo>
                <a:cubicBezTo>
                  <a:pt x="f16" y="f19"/>
                  <a:pt x="f20" y="f12"/>
                  <a:pt x="f14" y="f12"/>
                </a:cubicBezTo>
                <a:cubicBezTo>
                  <a:pt x="f14" y="f12"/>
                  <a:pt x="f14" y="f12"/>
                  <a:pt x="f11" y="f12"/>
                </a:cubicBezTo>
                <a:close/>
                <a:moveTo>
                  <a:pt x="f21" y="f12"/>
                </a:moveTo>
                <a:cubicBezTo>
                  <a:pt x="f21" y="f12"/>
                  <a:pt x="f21" y="f12"/>
                  <a:pt x="f21" y="f22"/>
                </a:cubicBezTo>
                <a:cubicBezTo>
                  <a:pt x="f21" y="f22"/>
                  <a:pt x="f21" y="f22"/>
                  <a:pt x="f23" y="f22"/>
                </a:cubicBezTo>
                <a:cubicBezTo>
                  <a:pt x="f24" y="f22"/>
                  <a:pt x="f25" y="f26"/>
                  <a:pt x="f25" y="f27"/>
                </a:cubicBezTo>
                <a:cubicBezTo>
                  <a:pt x="f25" y="f28"/>
                  <a:pt x="f24" y="f12"/>
                  <a:pt x="f23" y="f12"/>
                </a:cubicBezTo>
                <a:cubicBezTo>
                  <a:pt x="f23" y="f12"/>
                  <a:pt x="f23" y="f12"/>
                  <a:pt x="f21" y="f12"/>
                </a:cubicBezTo>
                <a:close/>
                <a:moveTo>
                  <a:pt x="f29" y="f30"/>
                </a:moveTo>
                <a:cubicBezTo>
                  <a:pt x="f31" y="f30"/>
                  <a:pt x="f32" y="f33"/>
                  <a:pt x="f34" y="f19"/>
                </a:cubicBezTo>
                <a:cubicBezTo>
                  <a:pt x="f35" y="f36"/>
                  <a:pt x="f37" y="f38"/>
                  <a:pt x="f37" y="f39"/>
                </a:cubicBezTo>
                <a:cubicBezTo>
                  <a:pt x="f37" y="f40"/>
                  <a:pt x="f35" y="f41"/>
                  <a:pt x="f34" y="f42"/>
                </a:cubicBezTo>
                <a:cubicBezTo>
                  <a:pt x="f32" y="f43"/>
                  <a:pt x="f31" y="f44"/>
                  <a:pt x="f29" y="f44"/>
                </a:cubicBezTo>
                <a:cubicBezTo>
                  <a:pt x="f45" y="f44"/>
                  <a:pt x="f46" y="f43"/>
                  <a:pt x="f47" y="f42"/>
                </a:cubicBezTo>
                <a:cubicBezTo>
                  <a:pt x="f48" y="f41"/>
                  <a:pt x="f49" y="f40"/>
                  <a:pt x="f49" y="f39"/>
                </a:cubicBezTo>
                <a:cubicBezTo>
                  <a:pt x="f49" y="f38"/>
                  <a:pt x="f48" y="f36"/>
                  <a:pt x="f47" y="f19"/>
                </a:cubicBezTo>
                <a:cubicBezTo>
                  <a:pt x="f46" y="f33"/>
                  <a:pt x="f45" y="f30"/>
                  <a:pt x="f29" y="f30"/>
                </a:cubicBezTo>
                <a:close/>
                <a:moveTo>
                  <a:pt x="f50" y="f30"/>
                </a:moveTo>
                <a:cubicBezTo>
                  <a:pt x="f51" y="f30"/>
                  <a:pt x="f52" y="f33"/>
                  <a:pt x="f53" y="f19"/>
                </a:cubicBezTo>
                <a:cubicBezTo>
                  <a:pt x="f54" y="f36"/>
                  <a:pt x="f55" y="f38"/>
                  <a:pt x="f55" y="f39"/>
                </a:cubicBezTo>
                <a:cubicBezTo>
                  <a:pt x="f55" y="f40"/>
                  <a:pt x="f54" y="f41"/>
                  <a:pt x="f53" y="f42"/>
                </a:cubicBezTo>
                <a:cubicBezTo>
                  <a:pt x="f52" y="f43"/>
                  <a:pt x="f51" y="f44"/>
                  <a:pt x="f50" y="f44"/>
                </a:cubicBezTo>
                <a:cubicBezTo>
                  <a:pt x="f56" y="f44"/>
                  <a:pt x="f57" y="f43"/>
                  <a:pt x="f58" y="f42"/>
                </a:cubicBezTo>
                <a:cubicBezTo>
                  <a:pt x="f59" y="f41"/>
                  <a:pt x="f60" y="f40"/>
                  <a:pt x="f60" y="f39"/>
                </a:cubicBezTo>
                <a:cubicBezTo>
                  <a:pt x="f60" y="f38"/>
                  <a:pt x="f59" y="f36"/>
                  <a:pt x="f58" y="f19"/>
                </a:cubicBezTo>
                <a:cubicBezTo>
                  <a:pt x="f57" y="f33"/>
                  <a:pt x="f56" y="f30"/>
                  <a:pt x="f50" y="f30"/>
                </a:cubicBezTo>
                <a:close/>
                <a:moveTo>
                  <a:pt x="f61" y="f62"/>
                </a:moveTo>
                <a:cubicBezTo>
                  <a:pt x="f61" y="f62"/>
                  <a:pt x="f61" y="f62"/>
                  <a:pt x="f14" y="f62"/>
                </a:cubicBezTo>
                <a:cubicBezTo>
                  <a:pt x="f63" y="f62"/>
                  <a:pt x="f16" y="f64"/>
                  <a:pt x="f65" y="f66"/>
                </a:cubicBezTo>
                <a:cubicBezTo>
                  <a:pt x="f67" y="f68"/>
                  <a:pt x="f69" y="f70"/>
                  <a:pt x="f69" y="f18"/>
                </a:cubicBezTo>
                <a:cubicBezTo>
                  <a:pt x="f69" y="f71"/>
                  <a:pt x="f67" y="f72"/>
                  <a:pt x="f73" y="f74"/>
                </a:cubicBezTo>
                <a:cubicBezTo>
                  <a:pt x="f75" y="f76"/>
                  <a:pt x="f77" y="f78"/>
                  <a:pt x="f79" y="f78"/>
                </a:cubicBezTo>
                <a:cubicBezTo>
                  <a:pt x="f79" y="f78"/>
                  <a:pt x="f79" y="f78"/>
                  <a:pt x="f11" y="f78"/>
                </a:cubicBezTo>
                <a:cubicBezTo>
                  <a:pt x="f11" y="f78"/>
                  <a:pt x="f11" y="f78"/>
                  <a:pt x="f11" y="f9"/>
                </a:cubicBezTo>
                <a:cubicBezTo>
                  <a:pt x="f11" y="f9"/>
                  <a:pt x="f11" y="f9"/>
                  <a:pt x="f61" y="f9"/>
                </a:cubicBezTo>
                <a:cubicBezTo>
                  <a:pt x="f61" y="f9"/>
                  <a:pt x="f61" y="f9"/>
                  <a:pt x="f61" y="f62"/>
                </a:cubicBezTo>
                <a:close/>
                <a:moveTo>
                  <a:pt x="f80" y="f62"/>
                </a:moveTo>
                <a:cubicBezTo>
                  <a:pt x="f80" y="f62"/>
                  <a:pt x="f80" y="f62"/>
                  <a:pt x="f81" y="f62"/>
                </a:cubicBezTo>
                <a:cubicBezTo>
                  <a:pt x="f81" y="f62"/>
                  <a:pt x="f81" y="f62"/>
                  <a:pt x="f81" y="f82"/>
                </a:cubicBezTo>
                <a:cubicBezTo>
                  <a:pt x="f81" y="f83"/>
                  <a:pt x="f84" y="f85"/>
                  <a:pt x="f86" y="f85"/>
                </a:cubicBezTo>
                <a:cubicBezTo>
                  <a:pt x="f87" y="f85"/>
                  <a:pt x="f88" y="f83"/>
                  <a:pt x="f88" y="f82"/>
                </a:cubicBezTo>
                <a:cubicBezTo>
                  <a:pt x="f88" y="f82"/>
                  <a:pt x="f88" y="f82"/>
                  <a:pt x="f88" y="f62"/>
                </a:cubicBezTo>
                <a:cubicBezTo>
                  <a:pt x="f88" y="f62"/>
                  <a:pt x="f88" y="f62"/>
                  <a:pt x="f89" y="f62"/>
                </a:cubicBezTo>
                <a:cubicBezTo>
                  <a:pt x="f89" y="f62"/>
                  <a:pt x="f89" y="f62"/>
                  <a:pt x="f89" y="f82"/>
                </a:cubicBezTo>
                <a:cubicBezTo>
                  <a:pt x="f89" y="f90"/>
                  <a:pt x="f91" y="f92"/>
                  <a:pt x="f86" y="f92"/>
                </a:cubicBezTo>
                <a:cubicBezTo>
                  <a:pt x="f93" y="f92"/>
                  <a:pt x="f80" y="f90"/>
                  <a:pt x="f80" y="f82"/>
                </a:cubicBezTo>
                <a:cubicBezTo>
                  <a:pt x="f80" y="f82"/>
                  <a:pt x="f80" y="f82"/>
                  <a:pt x="f80" y="f62"/>
                </a:cubicBezTo>
                <a:close/>
                <a:moveTo>
                  <a:pt x="f94" y="f62"/>
                </a:moveTo>
                <a:cubicBezTo>
                  <a:pt x="f94" y="f62"/>
                  <a:pt x="f94" y="f62"/>
                  <a:pt x="f23" y="f62"/>
                </a:cubicBezTo>
                <a:cubicBezTo>
                  <a:pt x="f24" y="f62"/>
                  <a:pt x="f95" y="f64"/>
                  <a:pt x="f96" y="f66"/>
                </a:cubicBezTo>
                <a:cubicBezTo>
                  <a:pt x="f97" y="f68"/>
                  <a:pt x="f98" y="f99"/>
                  <a:pt x="f98" y="f27"/>
                </a:cubicBezTo>
                <a:cubicBezTo>
                  <a:pt x="f98" y="f100"/>
                  <a:pt x="f97" y="f101"/>
                  <a:pt x="f96" y="f102"/>
                </a:cubicBezTo>
                <a:cubicBezTo>
                  <a:pt x="f103" y="f104"/>
                  <a:pt x="f105" y="f106"/>
                  <a:pt x="f107" y="f108"/>
                </a:cubicBezTo>
                <a:cubicBezTo>
                  <a:pt x="f107" y="f108"/>
                  <a:pt x="f107" y="f108"/>
                  <a:pt x="f109" y="f9"/>
                </a:cubicBezTo>
                <a:lnTo>
                  <a:pt x="f95" y="f9"/>
                </a:lnTo>
                <a:cubicBezTo>
                  <a:pt x="f95" y="f9"/>
                  <a:pt x="f95" y="f9"/>
                  <a:pt x="f110" y="f111"/>
                </a:cubicBezTo>
                <a:cubicBezTo>
                  <a:pt x="f110" y="f111"/>
                  <a:pt x="f110" y="f111"/>
                  <a:pt x="f21" y="f111"/>
                </a:cubicBezTo>
                <a:cubicBezTo>
                  <a:pt x="f21" y="f111"/>
                  <a:pt x="f21" y="f111"/>
                  <a:pt x="f21" y="f9"/>
                </a:cubicBezTo>
                <a:cubicBezTo>
                  <a:pt x="f21" y="f9"/>
                  <a:pt x="f21" y="f9"/>
                  <a:pt x="f94" y="f9"/>
                </a:cubicBezTo>
                <a:cubicBezTo>
                  <a:pt x="f94" y="f9"/>
                  <a:pt x="f94" y="f9"/>
                  <a:pt x="f94" y="f62"/>
                </a:cubicBezTo>
                <a:close/>
                <a:moveTo>
                  <a:pt x="f112" y="f62"/>
                </a:moveTo>
                <a:cubicBezTo>
                  <a:pt x="f112" y="f62"/>
                  <a:pt x="f112" y="f62"/>
                  <a:pt x="f113" y="f62"/>
                </a:cubicBezTo>
                <a:cubicBezTo>
                  <a:pt x="f113" y="f62"/>
                  <a:pt x="f113" y="f62"/>
                  <a:pt x="f114" y="f115"/>
                </a:cubicBezTo>
                <a:cubicBezTo>
                  <a:pt x="f114" y="f115"/>
                  <a:pt x="f114" y="f115"/>
                  <a:pt x="f114" y="f62"/>
                </a:cubicBezTo>
                <a:cubicBezTo>
                  <a:pt x="f114" y="f62"/>
                  <a:pt x="f114" y="f62"/>
                  <a:pt x="f116" y="f62"/>
                </a:cubicBezTo>
                <a:cubicBezTo>
                  <a:pt x="f116" y="f62"/>
                  <a:pt x="f116" y="f62"/>
                  <a:pt x="f116" y="f9"/>
                </a:cubicBezTo>
                <a:lnTo>
                  <a:pt x="f117" y="f9"/>
                </a:lnTo>
                <a:cubicBezTo>
                  <a:pt x="f117" y="f9"/>
                  <a:pt x="f117" y="f9"/>
                  <a:pt x="f118" y="f119"/>
                </a:cubicBezTo>
                <a:cubicBezTo>
                  <a:pt x="f118" y="f119"/>
                  <a:pt x="f118" y="f119"/>
                  <a:pt x="f118" y="f9"/>
                </a:cubicBezTo>
                <a:cubicBezTo>
                  <a:pt x="f118" y="f9"/>
                  <a:pt x="f118" y="f9"/>
                  <a:pt x="f112" y="f9"/>
                </a:cubicBezTo>
                <a:cubicBezTo>
                  <a:pt x="f112" y="f9"/>
                  <a:pt x="f112" y="f9"/>
                  <a:pt x="f112" y="f62"/>
                </a:cubicBezTo>
                <a:close/>
                <a:moveTo>
                  <a:pt x="f120" y="f62"/>
                </a:moveTo>
                <a:cubicBezTo>
                  <a:pt x="f120" y="f62"/>
                  <a:pt x="f120" y="f62"/>
                  <a:pt x="f121" y="f62"/>
                </a:cubicBezTo>
                <a:lnTo>
                  <a:pt x="f121" y="f9"/>
                </a:lnTo>
                <a:cubicBezTo>
                  <a:pt x="f121" y="f9"/>
                  <a:pt x="f121" y="f9"/>
                  <a:pt x="f120" y="f9"/>
                </a:cubicBezTo>
                <a:cubicBezTo>
                  <a:pt x="f120" y="f9"/>
                  <a:pt x="f120" y="f9"/>
                  <a:pt x="f120" y="f62"/>
                </a:cubicBezTo>
                <a:close/>
                <a:moveTo>
                  <a:pt x="f122" y="f62"/>
                </a:moveTo>
                <a:cubicBezTo>
                  <a:pt x="f122" y="f62"/>
                  <a:pt x="f122" y="f62"/>
                  <a:pt x="f123" y="f62"/>
                </a:cubicBezTo>
                <a:cubicBezTo>
                  <a:pt x="f123" y="f62"/>
                  <a:pt x="f123" y="f62"/>
                  <a:pt x="f123" y="f12"/>
                </a:cubicBezTo>
                <a:lnTo>
                  <a:pt x="f124" y="f12"/>
                </a:lnTo>
                <a:cubicBezTo>
                  <a:pt x="f124" y="f12"/>
                  <a:pt x="f124" y="f12"/>
                  <a:pt x="f124" y="f9"/>
                </a:cubicBezTo>
                <a:cubicBezTo>
                  <a:pt x="f124" y="f9"/>
                  <a:pt x="f124" y="f9"/>
                  <a:pt x="f125" y="f9"/>
                </a:cubicBezTo>
                <a:cubicBezTo>
                  <a:pt x="f125" y="f9"/>
                  <a:pt x="f125" y="f9"/>
                  <a:pt x="f125" y="f12"/>
                </a:cubicBezTo>
                <a:cubicBezTo>
                  <a:pt x="f125" y="f12"/>
                  <a:pt x="f125" y="f12"/>
                  <a:pt x="f122" y="f12"/>
                </a:cubicBezTo>
                <a:cubicBezTo>
                  <a:pt x="f122" y="f12"/>
                  <a:pt x="f122" y="f12"/>
                  <a:pt x="f122" y="f62"/>
                </a:cubicBezTo>
                <a:close/>
                <a:moveTo>
                  <a:pt x="f126" y="f62"/>
                </a:moveTo>
                <a:cubicBezTo>
                  <a:pt x="f126" y="f62"/>
                  <a:pt x="f126" y="f62"/>
                  <a:pt x="f127" y="f62"/>
                </a:cubicBezTo>
                <a:cubicBezTo>
                  <a:pt x="f127" y="f62"/>
                  <a:pt x="f127" y="f62"/>
                  <a:pt x="f127" y="f90"/>
                </a:cubicBezTo>
                <a:cubicBezTo>
                  <a:pt x="f127" y="f90"/>
                  <a:pt x="f127" y="f90"/>
                  <a:pt x="f128" y="f90"/>
                </a:cubicBezTo>
                <a:cubicBezTo>
                  <a:pt x="f128" y="f90"/>
                  <a:pt x="f128" y="f90"/>
                  <a:pt x="f128" y="f9"/>
                </a:cubicBezTo>
                <a:lnTo>
                  <a:pt x="f126" y="f9"/>
                </a:lnTo>
                <a:cubicBezTo>
                  <a:pt x="f126" y="f9"/>
                  <a:pt x="f126" y="f9"/>
                  <a:pt x="f126" y="f62"/>
                </a:cubicBezTo>
                <a:close/>
                <a:moveTo>
                  <a:pt x="f129" y="f62"/>
                </a:moveTo>
                <a:cubicBezTo>
                  <a:pt x="f129" y="f62"/>
                  <a:pt x="f129" y="f62"/>
                  <a:pt x="f130" y="f62"/>
                </a:cubicBezTo>
                <a:cubicBezTo>
                  <a:pt x="f130" y="f62"/>
                  <a:pt x="f130" y="f62"/>
                  <a:pt x="f130" y="f82"/>
                </a:cubicBezTo>
                <a:cubicBezTo>
                  <a:pt x="f130" y="f83"/>
                  <a:pt x="f131" y="f85"/>
                  <a:pt x="f132" y="f85"/>
                </a:cubicBezTo>
                <a:cubicBezTo>
                  <a:pt x="f133" y="f85"/>
                  <a:pt x="f134" y="f83"/>
                  <a:pt x="f134" y="f82"/>
                </a:cubicBezTo>
                <a:cubicBezTo>
                  <a:pt x="f134" y="f82"/>
                  <a:pt x="f134" y="f82"/>
                  <a:pt x="f134" y="f62"/>
                </a:cubicBezTo>
                <a:cubicBezTo>
                  <a:pt x="f134" y="f62"/>
                  <a:pt x="f134" y="f62"/>
                  <a:pt x="f135" y="f62"/>
                </a:cubicBezTo>
                <a:cubicBezTo>
                  <a:pt x="f135" y="f62"/>
                  <a:pt x="f135" y="f62"/>
                  <a:pt x="f135" y="f82"/>
                </a:cubicBezTo>
                <a:cubicBezTo>
                  <a:pt x="f135" y="f90"/>
                  <a:pt x="f136" y="f92"/>
                  <a:pt x="f132" y="f92"/>
                </a:cubicBezTo>
                <a:cubicBezTo>
                  <a:pt x="f137" y="f92"/>
                  <a:pt x="f129" y="f90"/>
                  <a:pt x="f129" y="f82"/>
                </a:cubicBezTo>
                <a:cubicBezTo>
                  <a:pt x="f129" y="f82"/>
                  <a:pt x="f129" y="f82"/>
                  <a:pt x="f129" y="f62"/>
                </a:cubicBezTo>
                <a:close/>
                <a:moveTo>
                  <a:pt x="f138" y="f62"/>
                </a:moveTo>
                <a:cubicBezTo>
                  <a:pt x="f138" y="f62"/>
                  <a:pt x="f138" y="f62"/>
                  <a:pt x="f139" y="f62"/>
                </a:cubicBezTo>
                <a:cubicBezTo>
                  <a:pt x="f139" y="f62"/>
                  <a:pt x="f139" y="f62"/>
                  <a:pt x="f140" y="f115"/>
                </a:cubicBezTo>
                <a:cubicBezTo>
                  <a:pt x="f140" y="f115"/>
                  <a:pt x="f140" y="f115"/>
                  <a:pt x="f140" y="f62"/>
                </a:cubicBezTo>
                <a:cubicBezTo>
                  <a:pt x="f140" y="f62"/>
                  <a:pt x="f140" y="f62"/>
                  <a:pt x="f141" y="f62"/>
                </a:cubicBezTo>
                <a:cubicBezTo>
                  <a:pt x="f141" y="f62"/>
                  <a:pt x="f141" y="f62"/>
                  <a:pt x="f141" y="f9"/>
                </a:cubicBezTo>
                <a:lnTo>
                  <a:pt x="f142" y="f9"/>
                </a:lnTo>
                <a:cubicBezTo>
                  <a:pt x="f142" y="f9"/>
                  <a:pt x="f142" y="f9"/>
                  <a:pt x="f143" y="f119"/>
                </a:cubicBezTo>
                <a:cubicBezTo>
                  <a:pt x="f143" y="f119"/>
                  <a:pt x="f143" y="f119"/>
                  <a:pt x="f143" y="f9"/>
                </a:cubicBezTo>
                <a:cubicBezTo>
                  <a:pt x="f143" y="f9"/>
                  <a:pt x="f143" y="f9"/>
                  <a:pt x="f138" y="f9"/>
                </a:cubicBezTo>
                <a:cubicBezTo>
                  <a:pt x="f138" y="f9"/>
                  <a:pt x="f138" y="f9"/>
                  <a:pt x="f138" y="f62"/>
                </a:cubicBezTo>
                <a:close/>
                <a:moveTo>
                  <a:pt x="f29" y="f144"/>
                </a:moveTo>
                <a:cubicBezTo>
                  <a:pt x="f145" y="f144"/>
                  <a:pt x="f146" y="f147"/>
                  <a:pt x="f148" y="f66"/>
                </a:cubicBezTo>
                <a:cubicBezTo>
                  <a:pt x="f149" y="f119"/>
                  <a:pt x="f150" y="f151"/>
                  <a:pt x="f150" y="f39"/>
                </a:cubicBezTo>
                <a:cubicBezTo>
                  <a:pt x="f150" y="f152"/>
                  <a:pt x="f149" y="f115"/>
                  <a:pt x="f148" y="f153"/>
                </a:cubicBezTo>
                <a:cubicBezTo>
                  <a:pt x="f146" y="f154"/>
                  <a:pt x="f145" y="f155"/>
                  <a:pt x="f29" y="f155"/>
                </a:cubicBezTo>
                <a:cubicBezTo>
                  <a:pt x="f156" y="f155"/>
                  <a:pt x="f157" y="f154"/>
                  <a:pt x="f37" y="f153"/>
                </a:cubicBezTo>
                <a:cubicBezTo>
                  <a:pt x="f158" y="f115"/>
                  <a:pt x="f159" y="f152"/>
                  <a:pt x="f159" y="f39"/>
                </a:cubicBezTo>
                <a:cubicBezTo>
                  <a:pt x="f159" y="f151"/>
                  <a:pt x="f158" y="f119"/>
                  <a:pt x="f37" y="f66"/>
                </a:cubicBezTo>
                <a:cubicBezTo>
                  <a:pt x="f157" y="f147"/>
                  <a:pt x="f156" y="f144"/>
                  <a:pt x="f29" y="f144"/>
                </a:cubicBezTo>
                <a:close/>
                <a:moveTo>
                  <a:pt x="f160" y="f144"/>
                </a:moveTo>
                <a:cubicBezTo>
                  <a:pt x="f161" y="f144"/>
                  <a:pt x="f162" y="f163"/>
                  <a:pt x="f164" y="f165"/>
                </a:cubicBezTo>
                <a:cubicBezTo>
                  <a:pt x="f166" y="f167"/>
                  <a:pt x="f168" y="f169"/>
                  <a:pt x="f170" y="f27"/>
                </a:cubicBezTo>
                <a:cubicBezTo>
                  <a:pt x="f170" y="f27"/>
                  <a:pt x="f170" y="f27"/>
                  <a:pt x="f171" y="f27"/>
                </a:cubicBezTo>
                <a:cubicBezTo>
                  <a:pt x="f172" y="f173"/>
                  <a:pt x="f174" y="f175"/>
                  <a:pt x="f176" y="f177"/>
                </a:cubicBezTo>
                <a:cubicBezTo>
                  <a:pt x="f178" y="f179"/>
                  <a:pt x="f180" y="f30"/>
                  <a:pt x="f160" y="f30"/>
                </a:cubicBezTo>
                <a:cubicBezTo>
                  <a:pt x="f181" y="f30"/>
                  <a:pt x="f182" y="f33"/>
                  <a:pt x="f183" y="f19"/>
                </a:cubicBezTo>
                <a:cubicBezTo>
                  <a:pt x="f184" y="f36"/>
                  <a:pt x="f185" y="f38"/>
                  <a:pt x="f185" y="f39"/>
                </a:cubicBezTo>
                <a:cubicBezTo>
                  <a:pt x="f185" y="f186"/>
                  <a:pt x="f184" y="f187"/>
                  <a:pt x="f188" y="f189"/>
                </a:cubicBezTo>
                <a:cubicBezTo>
                  <a:pt x="f190" y="f191"/>
                  <a:pt x="f181" y="f85"/>
                  <a:pt x="f160" y="f85"/>
                </a:cubicBezTo>
                <a:cubicBezTo>
                  <a:pt x="f192" y="f85"/>
                  <a:pt x="f193" y="f43"/>
                  <a:pt x="f194" y="f195"/>
                </a:cubicBezTo>
                <a:cubicBezTo>
                  <a:pt x="f196" y="f197"/>
                  <a:pt x="f198" y="f199"/>
                  <a:pt x="f198" y="f200"/>
                </a:cubicBezTo>
                <a:cubicBezTo>
                  <a:pt x="f198" y="f200"/>
                  <a:pt x="f198" y="f200"/>
                  <a:pt x="f160" y="f200"/>
                </a:cubicBezTo>
                <a:cubicBezTo>
                  <a:pt x="f160" y="f200"/>
                  <a:pt x="f160" y="f200"/>
                  <a:pt x="f160" y="f201"/>
                </a:cubicBezTo>
                <a:cubicBezTo>
                  <a:pt x="f160" y="f201"/>
                  <a:pt x="f160" y="f201"/>
                  <a:pt x="f202" y="f201"/>
                </a:cubicBezTo>
                <a:cubicBezTo>
                  <a:pt x="f202" y="f201"/>
                  <a:pt x="f202" y="f201"/>
                  <a:pt x="f202" y="f9"/>
                </a:cubicBezTo>
                <a:lnTo>
                  <a:pt x="f203" y="f9"/>
                </a:lnTo>
                <a:cubicBezTo>
                  <a:pt x="f203" y="f9"/>
                  <a:pt x="f203" y="f9"/>
                  <a:pt x="f204" y="f191"/>
                </a:cubicBezTo>
                <a:cubicBezTo>
                  <a:pt x="f174" y="f205"/>
                  <a:pt x="f161" y="f155"/>
                  <a:pt x="f160" y="f155"/>
                </a:cubicBezTo>
                <a:cubicBezTo>
                  <a:pt x="f206" y="f155"/>
                  <a:pt x="f207" y="f208"/>
                  <a:pt x="f185" y="f209"/>
                </a:cubicBezTo>
                <a:cubicBezTo>
                  <a:pt x="f210" y="f211"/>
                  <a:pt x="f212" y="f213"/>
                  <a:pt x="f212" y="f39"/>
                </a:cubicBezTo>
                <a:cubicBezTo>
                  <a:pt x="f212" y="f151"/>
                  <a:pt x="f214" y="f119"/>
                  <a:pt x="f185" y="f66"/>
                </a:cubicBezTo>
                <a:cubicBezTo>
                  <a:pt x="f207" y="f147"/>
                  <a:pt x="f206" y="f144"/>
                  <a:pt x="f160" y="f144"/>
                </a:cubicBezTo>
                <a:close/>
                <a:moveTo>
                  <a:pt x="f215" y="f144"/>
                </a:moveTo>
                <a:cubicBezTo>
                  <a:pt x="f216" y="f144"/>
                  <a:pt x="f217" y="f163"/>
                  <a:pt x="f218" y="f165"/>
                </a:cubicBezTo>
                <a:cubicBezTo>
                  <a:pt x="f219" y="f167"/>
                  <a:pt x="f220" y="f169"/>
                  <a:pt x="f221" y="f27"/>
                </a:cubicBezTo>
                <a:cubicBezTo>
                  <a:pt x="f221" y="f27"/>
                  <a:pt x="f221" y="f27"/>
                  <a:pt x="f222" y="f27"/>
                </a:cubicBezTo>
                <a:cubicBezTo>
                  <a:pt x="f223" y="f173"/>
                  <a:pt x="f224" y="f175"/>
                  <a:pt x="f225" y="f177"/>
                </a:cubicBezTo>
                <a:cubicBezTo>
                  <a:pt x="f226" y="f179"/>
                  <a:pt x="f227" y="f30"/>
                  <a:pt x="f215" y="f30"/>
                </a:cubicBezTo>
                <a:cubicBezTo>
                  <a:pt x="f228" y="f30"/>
                  <a:pt x="f229" y="f33"/>
                  <a:pt x="f230" y="f19"/>
                </a:cubicBezTo>
                <a:cubicBezTo>
                  <a:pt x="f231" y="f36"/>
                  <a:pt x="f232" y="f38"/>
                  <a:pt x="f232" y="f39"/>
                </a:cubicBezTo>
                <a:cubicBezTo>
                  <a:pt x="f232" y="f186"/>
                  <a:pt x="f231" y="f187"/>
                  <a:pt x="f230" y="f189"/>
                </a:cubicBezTo>
                <a:cubicBezTo>
                  <a:pt x="f229" y="f191"/>
                  <a:pt x="f228" y="f85"/>
                  <a:pt x="f215" y="f85"/>
                </a:cubicBezTo>
                <a:cubicBezTo>
                  <a:pt x="f233" y="f85"/>
                  <a:pt x="f234" y="f43"/>
                  <a:pt x="f235" y="f195"/>
                </a:cubicBezTo>
                <a:cubicBezTo>
                  <a:pt x="f236" y="f197"/>
                  <a:pt x="f237" y="f199"/>
                  <a:pt x="f237" y="f200"/>
                </a:cubicBezTo>
                <a:cubicBezTo>
                  <a:pt x="f237" y="f200"/>
                  <a:pt x="f237" y="f200"/>
                  <a:pt x="f215" y="f200"/>
                </a:cubicBezTo>
                <a:cubicBezTo>
                  <a:pt x="f215" y="f200"/>
                  <a:pt x="f215" y="f200"/>
                  <a:pt x="f215" y="f201"/>
                </a:cubicBezTo>
                <a:cubicBezTo>
                  <a:pt x="f215" y="f201"/>
                  <a:pt x="f215" y="f201"/>
                  <a:pt x="f238" y="f201"/>
                </a:cubicBezTo>
                <a:cubicBezTo>
                  <a:pt x="f238" y="f201"/>
                  <a:pt x="f238" y="f201"/>
                  <a:pt x="f238" y="f9"/>
                </a:cubicBezTo>
                <a:lnTo>
                  <a:pt x="f239" y="f9"/>
                </a:lnTo>
                <a:cubicBezTo>
                  <a:pt x="f239" y="f9"/>
                  <a:pt x="f239" y="f9"/>
                  <a:pt x="f240" y="f191"/>
                </a:cubicBezTo>
                <a:cubicBezTo>
                  <a:pt x="f241" y="f205"/>
                  <a:pt x="f216" y="f155"/>
                  <a:pt x="f215" y="f155"/>
                </a:cubicBezTo>
                <a:cubicBezTo>
                  <a:pt x="f242" y="f155"/>
                  <a:pt x="f243" y="f208"/>
                  <a:pt x="f232" y="f209"/>
                </a:cubicBezTo>
                <a:cubicBezTo>
                  <a:pt x="f244" y="f211"/>
                  <a:pt x="f245" y="f213"/>
                  <a:pt x="f245" y="f39"/>
                </a:cubicBezTo>
                <a:cubicBezTo>
                  <a:pt x="f245" y="f151"/>
                  <a:pt x="f246" y="f119"/>
                  <a:pt x="f232" y="f66"/>
                </a:cubicBezTo>
                <a:cubicBezTo>
                  <a:pt x="f243" y="f147"/>
                  <a:pt x="f242" y="f144"/>
                  <a:pt x="f215" y="f144"/>
                </a:cubicBezTo>
                <a:close/>
                <a:moveTo>
                  <a:pt x="f247" y="f144"/>
                </a:moveTo>
                <a:cubicBezTo>
                  <a:pt x="f248" y="f144"/>
                  <a:pt x="f249" y="f250"/>
                  <a:pt x="f251" y="f252"/>
                </a:cubicBezTo>
                <a:cubicBezTo>
                  <a:pt x="f253" y="f254"/>
                  <a:pt x="f255" y="f169"/>
                  <a:pt x="f256" y="f27"/>
                </a:cubicBezTo>
                <a:cubicBezTo>
                  <a:pt x="f256" y="f27"/>
                  <a:pt x="f256" y="f27"/>
                  <a:pt x="f257" y="f27"/>
                </a:cubicBezTo>
                <a:cubicBezTo>
                  <a:pt x="f258" y="f173"/>
                  <a:pt x="f259" y="f260"/>
                  <a:pt x="f261" y="f262"/>
                </a:cubicBezTo>
                <a:cubicBezTo>
                  <a:pt x="f263" y="f179"/>
                  <a:pt x="f264" y="f265"/>
                  <a:pt x="f266" y="f265"/>
                </a:cubicBezTo>
                <a:cubicBezTo>
                  <a:pt x="f267" y="f265"/>
                  <a:pt x="f268" y="f12"/>
                  <a:pt x="f269" y="f262"/>
                </a:cubicBezTo>
                <a:cubicBezTo>
                  <a:pt x="f270" y="f119"/>
                  <a:pt x="f271" y="f272"/>
                  <a:pt x="f271" y="f273"/>
                </a:cubicBezTo>
                <a:cubicBezTo>
                  <a:pt x="f271" y="f274"/>
                  <a:pt x="f275" y="f276"/>
                  <a:pt x="f277" y="f278"/>
                </a:cubicBezTo>
                <a:cubicBezTo>
                  <a:pt x="f279" y="f280"/>
                  <a:pt x="f281" y="f282"/>
                  <a:pt x="f248" y="f101"/>
                </a:cubicBezTo>
                <a:cubicBezTo>
                  <a:pt x="f251" y="f22"/>
                  <a:pt x="f283" y="f284"/>
                  <a:pt x="f283" y="f285"/>
                </a:cubicBezTo>
                <a:cubicBezTo>
                  <a:pt x="f283" y="f286"/>
                  <a:pt x="f287" y="f288"/>
                  <a:pt x="f289" y="f290"/>
                </a:cubicBezTo>
                <a:cubicBezTo>
                  <a:pt x="f258" y="f208"/>
                  <a:pt x="f291" y="f92"/>
                  <a:pt x="f292" y="f92"/>
                </a:cubicBezTo>
                <a:cubicBezTo>
                  <a:pt x="f293" y="f92"/>
                  <a:pt x="f294" y="f208"/>
                  <a:pt x="f295" y="f296"/>
                </a:cubicBezTo>
                <a:cubicBezTo>
                  <a:pt x="f297" y="f298"/>
                  <a:pt x="f299" y="f300"/>
                  <a:pt x="f299" y="f301"/>
                </a:cubicBezTo>
                <a:cubicBezTo>
                  <a:pt x="f299" y="f301"/>
                  <a:pt x="f299" y="f301"/>
                  <a:pt x="f302" y="f301"/>
                </a:cubicBezTo>
                <a:cubicBezTo>
                  <a:pt x="f302" y="f187"/>
                  <a:pt x="f303" y="f304"/>
                  <a:pt x="f305" y="f306"/>
                </a:cubicBezTo>
                <a:cubicBezTo>
                  <a:pt x="f307" y="f90"/>
                  <a:pt x="f308" y="f85"/>
                  <a:pt x="f292" y="f85"/>
                </a:cubicBezTo>
                <a:cubicBezTo>
                  <a:pt x="f309" y="f85"/>
                  <a:pt x="f310" y="f311"/>
                  <a:pt x="f312" y="f313"/>
                </a:cubicBezTo>
                <a:cubicBezTo>
                  <a:pt x="f258" y="f211"/>
                  <a:pt x="f314" y="f300"/>
                  <a:pt x="f314" y="f285"/>
                </a:cubicBezTo>
                <a:cubicBezTo>
                  <a:pt x="f314" y="f315"/>
                  <a:pt x="f249" y="f111"/>
                  <a:pt x="f264" y="f284"/>
                </a:cubicBezTo>
                <a:cubicBezTo>
                  <a:pt x="f264" y="f284"/>
                  <a:pt x="f264" y="f284"/>
                  <a:pt x="f316" y="f317"/>
                </a:cubicBezTo>
                <a:cubicBezTo>
                  <a:pt x="f318" y="f104"/>
                  <a:pt x="f319" y="f17"/>
                  <a:pt x="f319" y="f320"/>
                </a:cubicBezTo>
                <a:cubicBezTo>
                  <a:pt x="f319" y="f99"/>
                  <a:pt x="f321" y="f322"/>
                  <a:pt x="f323" y="f324"/>
                </a:cubicBezTo>
                <a:cubicBezTo>
                  <a:pt x="f325" y="f250"/>
                  <a:pt x="f326" y="f144"/>
                  <a:pt x="f247" y="f144"/>
                </a:cubicBezTo>
                <a:close/>
                <a:moveTo>
                  <a:pt x="f50" y="f144"/>
                </a:moveTo>
                <a:cubicBezTo>
                  <a:pt x="f327" y="f144"/>
                  <a:pt x="f328" y="f147"/>
                  <a:pt x="f60" y="f66"/>
                </a:cubicBezTo>
                <a:cubicBezTo>
                  <a:pt x="f329" y="f119"/>
                  <a:pt x="f330" y="f151"/>
                  <a:pt x="f330" y="f39"/>
                </a:cubicBezTo>
                <a:cubicBezTo>
                  <a:pt x="f330" y="f152"/>
                  <a:pt x="f329" y="f115"/>
                  <a:pt x="f60" y="f153"/>
                </a:cubicBezTo>
                <a:cubicBezTo>
                  <a:pt x="f328" y="f154"/>
                  <a:pt x="f327" y="f155"/>
                  <a:pt x="f50" y="f155"/>
                </a:cubicBezTo>
                <a:cubicBezTo>
                  <a:pt x="f331" y="f155"/>
                  <a:pt x="f332" y="f154"/>
                  <a:pt x="f333" y="f153"/>
                </a:cubicBezTo>
                <a:cubicBezTo>
                  <a:pt x="f334" y="f115"/>
                  <a:pt x="f335" y="f152"/>
                  <a:pt x="f335" y="f39"/>
                </a:cubicBezTo>
                <a:cubicBezTo>
                  <a:pt x="f335" y="f151"/>
                  <a:pt x="f334" y="f119"/>
                  <a:pt x="f333" y="f66"/>
                </a:cubicBezTo>
                <a:cubicBezTo>
                  <a:pt x="f332" y="f147"/>
                  <a:pt x="f331" y="f144"/>
                  <a:pt x="f50" y="f144"/>
                </a:cubicBezTo>
                <a:close/>
                <a:moveTo>
                  <a:pt x="f336" y="f144"/>
                </a:moveTo>
                <a:cubicBezTo>
                  <a:pt x="f337" y="f144"/>
                  <a:pt x="f338" y="f163"/>
                  <a:pt x="f339" y="f340"/>
                </a:cubicBezTo>
                <a:cubicBezTo>
                  <a:pt x="f341" y="f68"/>
                  <a:pt x="f342" y="f343"/>
                  <a:pt x="f344" y="f345"/>
                </a:cubicBezTo>
                <a:cubicBezTo>
                  <a:pt x="f344" y="f345"/>
                  <a:pt x="f344" y="f345"/>
                  <a:pt x="f346" y="f345"/>
                </a:cubicBezTo>
                <a:cubicBezTo>
                  <a:pt x="f347" y="f348"/>
                  <a:pt x="f349" y="f175"/>
                  <a:pt x="f350" y="f351"/>
                </a:cubicBezTo>
                <a:cubicBezTo>
                  <a:pt x="f352" y="f33"/>
                  <a:pt x="f353" y="f30"/>
                  <a:pt x="f336" y="f30"/>
                </a:cubicBezTo>
                <a:cubicBezTo>
                  <a:pt x="f354" y="f30"/>
                  <a:pt x="f355" y="f33"/>
                  <a:pt x="f356" y="f19"/>
                </a:cubicBezTo>
                <a:cubicBezTo>
                  <a:pt x="f357" y="f36"/>
                  <a:pt x="f357" y="f38"/>
                  <a:pt x="f357" y="f39"/>
                </a:cubicBezTo>
                <a:cubicBezTo>
                  <a:pt x="f357" y="f40"/>
                  <a:pt x="f357" y="f41"/>
                  <a:pt x="f356" y="f42"/>
                </a:cubicBezTo>
                <a:cubicBezTo>
                  <a:pt x="f355" y="f43"/>
                  <a:pt x="f354" y="f85"/>
                  <a:pt x="f336" y="f85"/>
                </a:cubicBezTo>
                <a:cubicBezTo>
                  <a:pt x="f353" y="f85"/>
                  <a:pt x="f358" y="f359"/>
                  <a:pt x="f360" y="f42"/>
                </a:cubicBezTo>
                <a:cubicBezTo>
                  <a:pt x="f349" y="f361"/>
                  <a:pt x="f346" y="f362"/>
                  <a:pt x="f346" y="f301"/>
                </a:cubicBezTo>
                <a:cubicBezTo>
                  <a:pt x="f346" y="f301"/>
                  <a:pt x="f346" y="f301"/>
                  <a:pt x="f363" y="f301"/>
                </a:cubicBezTo>
                <a:cubicBezTo>
                  <a:pt x="f344" y="f364"/>
                  <a:pt x="f341" y="f365"/>
                  <a:pt x="f339" y="f153"/>
                </a:cubicBezTo>
                <a:cubicBezTo>
                  <a:pt x="f338" y="f366"/>
                  <a:pt x="f337" y="f155"/>
                  <a:pt x="f336" y="f155"/>
                </a:cubicBezTo>
                <a:cubicBezTo>
                  <a:pt x="f367" y="f155"/>
                  <a:pt x="f368" y="f154"/>
                  <a:pt x="f369" y="f153"/>
                </a:cubicBezTo>
                <a:cubicBezTo>
                  <a:pt x="f370" y="f115"/>
                  <a:pt x="f5" y="f152"/>
                  <a:pt x="f5" y="f39"/>
                </a:cubicBezTo>
                <a:cubicBezTo>
                  <a:pt x="f5" y="f151"/>
                  <a:pt x="f370" y="f119"/>
                  <a:pt x="f369" y="f66"/>
                </a:cubicBezTo>
                <a:cubicBezTo>
                  <a:pt x="f368" y="f147"/>
                  <a:pt x="f367" y="f144"/>
                  <a:pt x="f336" y="f144"/>
                </a:cubicBezTo>
                <a:close/>
                <a:moveTo>
                  <a:pt x="f371" y="f372"/>
                </a:moveTo>
                <a:cubicBezTo>
                  <a:pt x="f371" y="f372"/>
                  <a:pt x="f371" y="f372"/>
                  <a:pt x="f371" y="f373"/>
                </a:cubicBezTo>
                <a:cubicBezTo>
                  <a:pt x="f371" y="f373"/>
                  <a:pt x="f371" y="f373"/>
                  <a:pt x="f374" y="f373"/>
                </a:cubicBezTo>
                <a:cubicBezTo>
                  <a:pt x="f375" y="f373"/>
                  <a:pt x="f376" y="f377"/>
                  <a:pt x="f376" y="f378"/>
                </a:cubicBezTo>
                <a:cubicBezTo>
                  <a:pt x="f376" y="f379"/>
                  <a:pt x="f375" y="f372"/>
                  <a:pt x="f374" y="f372"/>
                </a:cubicBezTo>
                <a:cubicBezTo>
                  <a:pt x="f374" y="f372"/>
                  <a:pt x="f374" y="f372"/>
                  <a:pt x="f371" y="f372"/>
                </a:cubicBezTo>
                <a:close/>
                <a:moveTo>
                  <a:pt x="f380" y="f5"/>
                </a:moveTo>
                <a:lnTo>
                  <a:pt x="f6" y="f5"/>
                </a:lnTo>
                <a:lnTo>
                  <a:pt x="f6" y="f381"/>
                </a:lnTo>
                <a:lnTo>
                  <a:pt x="f382" y="f381"/>
                </a:lnTo>
                <a:lnTo>
                  <a:pt x="f382" y="f383"/>
                </a:lnTo>
                <a:lnTo>
                  <a:pt x="f384" y="f383"/>
                </a:lnTo>
                <a:lnTo>
                  <a:pt x="f384" y="f381"/>
                </a:lnTo>
                <a:lnTo>
                  <a:pt x="f380" y="f381"/>
                </a:lnTo>
                <a:close/>
                <a:moveTo>
                  <a:pt x="f385" y="f5"/>
                </a:moveTo>
                <a:lnTo>
                  <a:pt x="f386" y="f5"/>
                </a:lnTo>
                <a:lnTo>
                  <a:pt x="f387" y="f388"/>
                </a:lnTo>
                <a:lnTo>
                  <a:pt x="f389" y="f390"/>
                </a:lnTo>
                <a:lnTo>
                  <a:pt x="f389" y="f5"/>
                </a:lnTo>
                <a:lnTo>
                  <a:pt x="f391" y="f5"/>
                </a:lnTo>
                <a:lnTo>
                  <a:pt x="f391" y="f383"/>
                </a:lnTo>
                <a:lnTo>
                  <a:pt x="f392" y="f383"/>
                </a:lnTo>
                <a:lnTo>
                  <a:pt x="f393" y="f394"/>
                </a:lnTo>
                <a:lnTo>
                  <a:pt x="f393" y="f383"/>
                </a:lnTo>
                <a:lnTo>
                  <a:pt x="f385" y="f383"/>
                </a:lnTo>
                <a:close/>
                <a:moveTo>
                  <a:pt x="f395" y="f5"/>
                </a:moveTo>
                <a:lnTo>
                  <a:pt x="f396" y="f5"/>
                </a:lnTo>
                <a:lnTo>
                  <a:pt x="f396" y="f397"/>
                </a:lnTo>
                <a:lnTo>
                  <a:pt x="f398" y="f397"/>
                </a:lnTo>
                <a:lnTo>
                  <a:pt x="f398" y="f399"/>
                </a:lnTo>
                <a:lnTo>
                  <a:pt x="f400" y="f399"/>
                </a:lnTo>
                <a:lnTo>
                  <a:pt x="f400" y="f401"/>
                </a:lnTo>
                <a:lnTo>
                  <a:pt x="f398" y="f401"/>
                </a:lnTo>
                <a:lnTo>
                  <a:pt x="f398" y="f402"/>
                </a:lnTo>
                <a:lnTo>
                  <a:pt x="f396" y="f402"/>
                </a:lnTo>
                <a:lnTo>
                  <a:pt x="f396" y="f383"/>
                </a:lnTo>
                <a:lnTo>
                  <a:pt x="f395" y="f383"/>
                </a:lnTo>
                <a:close/>
                <a:moveTo>
                  <a:pt x="f403" y="f5"/>
                </a:moveTo>
                <a:lnTo>
                  <a:pt x="f404" y="f5"/>
                </a:lnTo>
                <a:lnTo>
                  <a:pt x="f405" y="f406"/>
                </a:lnTo>
                <a:lnTo>
                  <a:pt x="f407" y="f5"/>
                </a:lnTo>
                <a:lnTo>
                  <a:pt x="f408" y="f5"/>
                </a:lnTo>
                <a:lnTo>
                  <a:pt x="f408" y="f383"/>
                </a:lnTo>
                <a:lnTo>
                  <a:pt x="f409" y="f383"/>
                </a:lnTo>
                <a:lnTo>
                  <a:pt x="f409" y="f410"/>
                </a:lnTo>
                <a:lnTo>
                  <a:pt x="f411" y="f412"/>
                </a:lnTo>
                <a:lnTo>
                  <a:pt x="f413" y="f412"/>
                </a:lnTo>
                <a:lnTo>
                  <a:pt x="f414" y="f415"/>
                </a:lnTo>
                <a:lnTo>
                  <a:pt x="f414" y="f383"/>
                </a:lnTo>
                <a:lnTo>
                  <a:pt x="f403" y="f383"/>
                </a:lnTo>
                <a:close/>
                <a:moveTo>
                  <a:pt x="f416" y="f5"/>
                </a:moveTo>
                <a:lnTo>
                  <a:pt x="f417" y="f5"/>
                </a:lnTo>
                <a:lnTo>
                  <a:pt x="f417" y="f397"/>
                </a:lnTo>
                <a:lnTo>
                  <a:pt x="f418" y="f397"/>
                </a:lnTo>
                <a:lnTo>
                  <a:pt x="f418" y="f399"/>
                </a:lnTo>
                <a:lnTo>
                  <a:pt x="f419" y="f399"/>
                </a:lnTo>
                <a:lnTo>
                  <a:pt x="f419" y="f401"/>
                </a:lnTo>
                <a:lnTo>
                  <a:pt x="f418" y="f401"/>
                </a:lnTo>
                <a:lnTo>
                  <a:pt x="f418" y="f402"/>
                </a:lnTo>
                <a:lnTo>
                  <a:pt x="f417" y="f402"/>
                </a:lnTo>
                <a:lnTo>
                  <a:pt x="f417" y="f383"/>
                </a:lnTo>
                <a:lnTo>
                  <a:pt x="f416" y="f383"/>
                </a:lnTo>
                <a:close/>
                <a:moveTo>
                  <a:pt x="f420" y="f5"/>
                </a:moveTo>
                <a:lnTo>
                  <a:pt x="f421" y="f5"/>
                </a:lnTo>
                <a:lnTo>
                  <a:pt x="f421" y="f422"/>
                </a:lnTo>
                <a:lnTo>
                  <a:pt x="f423" y="f422"/>
                </a:lnTo>
                <a:lnTo>
                  <a:pt x="f423" y="f383"/>
                </a:lnTo>
                <a:lnTo>
                  <a:pt x="f420" y="f383"/>
                </a:lnTo>
                <a:close/>
                <a:moveTo>
                  <a:pt x="f424" y="f5"/>
                </a:moveTo>
                <a:cubicBezTo>
                  <a:pt x="f424" y="f5"/>
                  <a:pt x="f424" y="f5"/>
                  <a:pt x="f425" y="f5"/>
                </a:cubicBezTo>
                <a:cubicBezTo>
                  <a:pt x="f426" y="f5"/>
                  <a:pt x="f427" y="f428"/>
                  <a:pt x="f427" y="f429"/>
                </a:cubicBezTo>
                <a:cubicBezTo>
                  <a:pt x="f427" y="f430"/>
                  <a:pt x="f426" y="f431"/>
                  <a:pt x="f425" y="f431"/>
                </a:cubicBezTo>
                <a:cubicBezTo>
                  <a:pt x="f425" y="f431"/>
                  <a:pt x="f425" y="f431"/>
                  <a:pt x="f371" y="f431"/>
                </a:cubicBezTo>
                <a:cubicBezTo>
                  <a:pt x="f371" y="f431"/>
                  <a:pt x="f371" y="f431"/>
                  <a:pt x="f371" y="f383"/>
                </a:cubicBezTo>
                <a:cubicBezTo>
                  <a:pt x="f371" y="f383"/>
                  <a:pt x="f371" y="f383"/>
                  <a:pt x="f424" y="f383"/>
                </a:cubicBezTo>
                <a:cubicBezTo>
                  <a:pt x="f424" y="f383"/>
                  <a:pt x="f424" y="f383"/>
                  <a:pt x="f424" y="f5"/>
                </a:cubicBezTo>
                <a:close/>
                <a:moveTo>
                  <a:pt x="f432" y="f5"/>
                </a:moveTo>
                <a:lnTo>
                  <a:pt x="f433" y="f5"/>
                </a:lnTo>
                <a:lnTo>
                  <a:pt x="f434" y="f406"/>
                </a:lnTo>
                <a:lnTo>
                  <a:pt x="f435" y="f5"/>
                </a:lnTo>
                <a:lnTo>
                  <a:pt x="f436" y="f5"/>
                </a:lnTo>
                <a:lnTo>
                  <a:pt x="f436" y="f383"/>
                </a:lnTo>
                <a:lnTo>
                  <a:pt x="f437" y="f383"/>
                </a:lnTo>
                <a:lnTo>
                  <a:pt x="f437" y="f410"/>
                </a:lnTo>
                <a:lnTo>
                  <a:pt x="f438" y="f412"/>
                </a:lnTo>
                <a:lnTo>
                  <a:pt x="f439" y="f412"/>
                </a:lnTo>
                <a:lnTo>
                  <a:pt x="f440" y="f415"/>
                </a:lnTo>
                <a:lnTo>
                  <a:pt x="f440" y="f383"/>
                </a:lnTo>
                <a:lnTo>
                  <a:pt x="f432" y="f383"/>
                </a:lnTo>
                <a:close/>
                <a:moveTo>
                  <a:pt x="f441" y="f5"/>
                </a:moveTo>
                <a:lnTo>
                  <a:pt x="f442" y="f5"/>
                </a:lnTo>
                <a:lnTo>
                  <a:pt x="f442" y="f383"/>
                </a:lnTo>
                <a:lnTo>
                  <a:pt x="f441" y="f383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1F2023"/>
                </a:solidFill>
                <a:uFillTx/>
                <a:latin typeface="Arial"/>
              </a:rPr>
              <a:t> </a:t>
            </a:r>
          </a:p>
        </p:txBody>
      </p:sp>
      <p:sp>
        <p:nvSpPr>
          <p:cNvPr id="9" name="Date_GeneralDate" hidden="1">
            <a:extLst>
              <a:ext uri="{FF2B5EF4-FFF2-40B4-BE49-F238E27FC236}">
                <a16:creationId xmlns:a16="http://schemas.microsoft.com/office/drawing/2014/main" id="{C1E5CC2C-E884-472C-9E61-D9E1A45169CD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35731494-7F41-4705-8F2B-01B4C60FBF7F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10" name="FLD_PresentationTitle" hidden="1">
            <a:extLst>
              <a:ext uri="{FF2B5EF4-FFF2-40B4-BE49-F238E27FC236}">
                <a16:creationId xmlns:a16="http://schemas.microsoft.com/office/drawing/2014/main" id="{47BA3C8D-B9F8-47FB-B6E6-F605FAAAD139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5184003"/>
            <a:ext cx="0" cy="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GB"/>
              <a:t>Footer</a:t>
            </a:r>
          </a:p>
        </p:txBody>
      </p:sp>
      <p:sp>
        <p:nvSpPr>
          <p:cNvPr id="11" name="Slide Number Placeholder 5" hidden="1">
            <a:extLst>
              <a:ext uri="{FF2B5EF4-FFF2-40B4-BE49-F238E27FC236}">
                <a16:creationId xmlns:a16="http://schemas.microsoft.com/office/drawing/2014/main" id="{A4312AAB-66F0-4A23-9821-EA8258F6B72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5184003"/>
            <a:ext cx="0" cy="0"/>
          </a:xfrm>
        </p:spPr>
        <p:txBody>
          <a:bodyPr anchor="t"/>
          <a:lstStyle>
            <a:lvl1pPr>
              <a:defRPr sz="108">
                <a:solidFill>
                  <a:srgbClr val="000000"/>
                </a:solidFill>
              </a:defRPr>
            </a:lvl1pPr>
          </a:lstStyle>
          <a:p>
            <a:pPr lvl="0"/>
            <a:fld id="{617DFE76-128C-4982-ACDF-11454CE48BE8}" type="slidenum">
              <a:t>‹nr.›</a:t>
            </a:fld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FD885C1-1A20-4663-B5AE-1158E4EDFCE9}"/>
              </a:ext>
            </a:extLst>
          </p:cNvPr>
          <p:cNvSpPr txBox="1"/>
          <p:nvPr/>
        </p:nvSpPr>
        <p:spPr>
          <a:xfrm>
            <a:off x="8256332" y="4869475"/>
            <a:ext cx="562279" cy="9348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675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739389836"/>
      </p:ext>
    </p:extLst>
  </p:cSld>
  <p:clrMapOvr>
    <a:masterClrMapping/>
  </p:clrMapOvr>
  <p:transition spd="med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40FE3075-4290-45A7-860D-67C53EF2A5EC}"/>
              </a:ext>
            </a:extLst>
          </p:cNvPr>
          <p:cNvSpPr/>
          <p:nvPr/>
        </p:nvSpPr>
        <p:spPr>
          <a:xfrm>
            <a:off x="-10524" y="0"/>
            <a:ext cx="9154522" cy="5143500"/>
          </a:xfrm>
          <a:custGeom>
            <a:avLst/>
            <a:gdLst>
              <a:gd name="f0" fmla="val w"/>
              <a:gd name="f1" fmla="val h"/>
              <a:gd name="f2" fmla="val 0"/>
              <a:gd name="f3" fmla="val 20104100"/>
              <a:gd name="f4" fmla="val 11308715"/>
              <a:gd name="f5" fmla="val 11308556"/>
              <a:gd name="f6" fmla="val 20104099"/>
              <a:gd name="f7" fmla="*/ f0 1 20104100"/>
              <a:gd name="f8" fmla="*/ f1 1 11308715"/>
              <a:gd name="f9" fmla="+- f4 0 f2"/>
              <a:gd name="f10" fmla="+- f3 0 f2"/>
              <a:gd name="f11" fmla="*/ f10 1 20104100"/>
              <a:gd name="f12" fmla="*/ f9 1 11308715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20104100" h="11308715">
                <a:moveTo>
                  <a:pt x="f2" y="f5"/>
                </a:moveTo>
                <a:lnTo>
                  <a:pt x="f6" y="f5"/>
                </a:lnTo>
                <a:lnTo>
                  <a:pt x="f6" y="f2"/>
                </a:lnTo>
                <a:lnTo>
                  <a:pt x="f2" y="f2"/>
                </a:lnTo>
                <a:lnTo>
                  <a:pt x="f2" y="f5"/>
                </a:lnTo>
                <a:close/>
              </a:path>
            </a:pathLst>
          </a:custGeom>
          <a:solidFill>
            <a:srgbClr val="8AA299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3" name="Rectangle 23">
            <a:extLst>
              <a:ext uri="{FF2B5EF4-FFF2-40B4-BE49-F238E27FC236}">
                <a16:creationId xmlns:a16="http://schemas.microsoft.com/office/drawing/2014/main" id="{D47460DA-C5BA-4DD7-A5C7-8B0336471F68}"/>
              </a:ext>
            </a:extLst>
          </p:cNvPr>
          <p:cNvSpPr/>
          <p:nvPr/>
        </p:nvSpPr>
        <p:spPr>
          <a:xfrm>
            <a:off x="-10525" y="0"/>
            <a:ext cx="6630399" cy="5143500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marL="0" marR="0" lvl="0" indent="0" algn="ctr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FFFFFF"/>
              </a:solidFill>
              <a:uFillTx/>
              <a:latin typeface="Arial"/>
            </a:endParaRPr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B7449901-B7EB-4961-9D05-F1EAC9311EBA}"/>
              </a:ext>
            </a:extLst>
          </p:cNvPr>
          <p:cNvSpPr/>
          <p:nvPr/>
        </p:nvSpPr>
        <p:spPr>
          <a:xfrm>
            <a:off x="-10524" y="894536"/>
            <a:ext cx="7907362" cy="4248963"/>
          </a:xfrm>
          <a:custGeom>
            <a:avLst/>
            <a:gdLst>
              <a:gd name="f0" fmla="val w"/>
              <a:gd name="f1" fmla="val h"/>
              <a:gd name="f2" fmla="val 0"/>
              <a:gd name="f3" fmla="val 16670019"/>
              <a:gd name="f4" fmla="val 10303510"/>
              <a:gd name="f5" fmla="val 10303351"/>
              <a:gd name="f6" fmla="val 16669649"/>
              <a:gd name="f7" fmla="*/ f0 1 16670019"/>
              <a:gd name="f8" fmla="*/ f1 1 10303510"/>
              <a:gd name="f9" fmla="+- f4 0 f2"/>
              <a:gd name="f10" fmla="+- f3 0 f2"/>
              <a:gd name="f11" fmla="*/ f10 1 16670019"/>
              <a:gd name="f12" fmla="*/ f9 1 10303510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16670019" h="10303510">
                <a:moveTo>
                  <a:pt x="f2" y="f5"/>
                </a:moveTo>
                <a:lnTo>
                  <a:pt x="f6" y="f5"/>
                </a:lnTo>
                <a:lnTo>
                  <a:pt x="f6" y="f2"/>
                </a:lnTo>
                <a:lnTo>
                  <a:pt x="f2" y="f2"/>
                </a:lnTo>
                <a:lnTo>
                  <a:pt x="f2" y="f5"/>
                </a:lnTo>
                <a:close/>
              </a:path>
            </a:pathLst>
          </a:custGeom>
          <a:solidFill>
            <a:srgbClr val="30373B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FFFFFF"/>
              </a:solidFill>
              <a:uFillTx/>
              <a:latin typeface="Arial"/>
            </a:endParaRP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C3CCE0E-12DE-45D4-92F4-CC868159AB59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249235" y="4097346"/>
            <a:ext cx="5393350" cy="647656"/>
          </a:xfrm>
        </p:spPr>
        <p:txBody>
          <a:bodyPr anchor="b"/>
          <a:lstStyle>
            <a:lvl1pPr>
              <a:defRPr lang="en-GB" sz="675">
                <a:solidFill>
                  <a:srgbClr val="F8F5E7"/>
                </a:solidFill>
              </a:defRPr>
            </a:lvl1pPr>
          </a:lstStyle>
          <a:p>
            <a:pPr lvl="0"/>
            <a:r>
              <a:rPr lang="en-GB"/>
              <a:t>Click to edit Master subtitle styl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E9A0E88-BE0F-463A-A56B-6BB6B10D25A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1604223"/>
            <a:ext cx="5393350" cy="1668661"/>
          </a:xfrm>
        </p:spPr>
        <p:txBody>
          <a:bodyPr/>
          <a:lstStyle>
            <a:lvl1pPr>
              <a:lnSpc>
                <a:spcPct val="83000"/>
              </a:lnSpc>
              <a:defRPr lang="en-US" sz="4875" cap="all">
                <a:solidFill>
                  <a:srgbClr val="F8F5E7"/>
                </a:solidFill>
                <a:latin typeface="Impact" pitchFamily="34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33FF0D1-41F1-4143-96D5-2E0643A8122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235" y="4790264"/>
            <a:ext cx="5393350" cy="157974"/>
          </a:xfrm>
        </p:spPr>
        <p:txBody>
          <a:bodyPr rIns="0" anchor="b"/>
          <a:lstStyle>
            <a:lvl1pPr>
              <a:defRPr lang="en-GB" sz="675">
                <a:solidFill>
                  <a:srgbClr val="F8F5E7"/>
                </a:solidFill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Freeform: Shape 15">
            <a:extLst>
              <a:ext uri="{FF2B5EF4-FFF2-40B4-BE49-F238E27FC236}">
                <a16:creationId xmlns:a16="http://schemas.microsoft.com/office/drawing/2014/main" id="{D608901A-9672-4359-8042-39D82A656E4D}"/>
              </a:ext>
            </a:extLst>
          </p:cNvPr>
          <p:cNvSpPr/>
          <p:nvPr/>
        </p:nvSpPr>
        <p:spPr>
          <a:xfrm rot="5400013">
            <a:off x="8288464" y="566493"/>
            <a:ext cx="944168" cy="265744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9905999"/>
              <a:gd name="f7" fmla="val 2265361"/>
              <a:gd name="f8" fmla="val 6778122"/>
              <a:gd name="f9" fmla="val 2222531"/>
              <a:gd name="f10" fmla="val 7135812"/>
              <a:gd name="f11" fmla="val 6449676"/>
              <a:gd name="f12" fmla="val 1769427"/>
              <a:gd name="f13" fmla="val 1965546"/>
              <a:gd name="f14" fmla="val 6575655"/>
              <a:gd name="f15" fmla="val 6643144"/>
              <a:gd name="f16" fmla="val 6679138"/>
              <a:gd name="f17" fmla="val 1933987"/>
              <a:gd name="f18" fmla="val 1864105"/>
              <a:gd name="f19" fmla="val 1800986"/>
              <a:gd name="f20" fmla="val 6638645"/>
              <a:gd name="f21" fmla="val 5021164"/>
              <a:gd name="f22" fmla="val 1949767"/>
              <a:gd name="f23" fmla="val 5158391"/>
              <a:gd name="f24" fmla="val 5219131"/>
              <a:gd name="f25" fmla="val 5261874"/>
              <a:gd name="f26" fmla="val 1924970"/>
              <a:gd name="f27" fmla="val 1859597"/>
              <a:gd name="f28" fmla="val 1794223"/>
              <a:gd name="f29" fmla="val 5597068"/>
              <a:gd name="f30" fmla="val 1762664"/>
              <a:gd name="f31" fmla="val 5563324"/>
              <a:gd name="f32" fmla="val 5529579"/>
              <a:gd name="f33" fmla="val 1776189"/>
              <a:gd name="f34" fmla="val 5504834"/>
              <a:gd name="f35" fmla="val 5462091"/>
              <a:gd name="f36" fmla="val 1843817"/>
              <a:gd name="f37" fmla="val 5459841"/>
              <a:gd name="f38" fmla="val 1913699"/>
              <a:gd name="f39" fmla="val 1967800"/>
              <a:gd name="f40" fmla="val 2019648"/>
              <a:gd name="f41" fmla="val 2089530"/>
              <a:gd name="f42" fmla="val 2132361"/>
              <a:gd name="f43" fmla="val 2159412"/>
              <a:gd name="f44" fmla="val 2170683"/>
              <a:gd name="f45" fmla="val 5633062"/>
              <a:gd name="f46" fmla="val 5666807"/>
              <a:gd name="f47" fmla="val 5691552"/>
              <a:gd name="f48" fmla="val 5732046"/>
              <a:gd name="f49" fmla="val 5734295"/>
              <a:gd name="f50" fmla="val 654642"/>
              <a:gd name="f51" fmla="val 618647"/>
              <a:gd name="f52" fmla="val 584903"/>
              <a:gd name="f53" fmla="val 560157"/>
              <a:gd name="f54" fmla="val 519664"/>
              <a:gd name="f55" fmla="val 517414"/>
              <a:gd name="f56" fmla="val 688386"/>
              <a:gd name="f57" fmla="val 722130"/>
              <a:gd name="f58" fmla="val 746876"/>
              <a:gd name="f59" fmla="val 789619"/>
              <a:gd name="f60" fmla="val 791868"/>
              <a:gd name="f61" fmla="val 6386687"/>
              <a:gd name="f62" fmla="val 1710816"/>
              <a:gd name="f63" fmla="val 6636395"/>
              <a:gd name="f64" fmla="val 1726596"/>
              <a:gd name="f65" fmla="val 6706134"/>
              <a:gd name="f66" fmla="val 1755901"/>
              <a:gd name="f67" fmla="val 6730880"/>
              <a:gd name="f68" fmla="val 1782952"/>
              <a:gd name="f69" fmla="val 6744377"/>
              <a:gd name="f70" fmla="val 1821274"/>
              <a:gd name="f71" fmla="val 1915953"/>
              <a:gd name="f72" fmla="val 1954275"/>
              <a:gd name="f73" fmla="val 6701634"/>
              <a:gd name="f74" fmla="val 1981326"/>
              <a:gd name="f75" fmla="val 6674639"/>
              <a:gd name="f76" fmla="val 2008377"/>
              <a:gd name="f77" fmla="val 6634146"/>
              <a:gd name="f78" fmla="val 2024157"/>
              <a:gd name="f79" fmla="val 6577905"/>
              <a:gd name="f80" fmla="val 5889520"/>
              <a:gd name="f81" fmla="val 5954759"/>
              <a:gd name="f82" fmla="val 2035428"/>
              <a:gd name="f83" fmla="val 2118835"/>
              <a:gd name="f84" fmla="val 5988503"/>
              <a:gd name="f85" fmla="val 2172937"/>
              <a:gd name="f86" fmla="val 6076239"/>
              <a:gd name="f87" fmla="val 6166224"/>
              <a:gd name="f88" fmla="val 6199968"/>
              <a:gd name="f89" fmla="val 6262957"/>
              <a:gd name="f90" fmla="val 2163920"/>
              <a:gd name="f91" fmla="val 6190969"/>
              <a:gd name="f92" fmla="val 2231547"/>
              <a:gd name="f93" fmla="val 5961508"/>
              <a:gd name="f94" fmla="val 4958174"/>
              <a:gd name="f95" fmla="val 5259624"/>
              <a:gd name="f96" fmla="val 5288869"/>
              <a:gd name="f97" fmla="val 5313615"/>
              <a:gd name="f98" fmla="val 5329363"/>
              <a:gd name="f99" fmla="val 1814512"/>
              <a:gd name="f100" fmla="val 1904682"/>
              <a:gd name="f101" fmla="val 1936241"/>
              <a:gd name="f102" fmla="val 1961038"/>
              <a:gd name="f103" fmla="val 5275372"/>
              <a:gd name="f104" fmla="val 1976817"/>
              <a:gd name="f105" fmla="val 5252875"/>
              <a:gd name="f106" fmla="val 1990343"/>
              <a:gd name="f107" fmla="val 5228130"/>
              <a:gd name="f108" fmla="val 1997106"/>
              <a:gd name="f109" fmla="val 5331612"/>
              <a:gd name="f110" fmla="val 5162890"/>
              <a:gd name="f111" fmla="val 2010631"/>
              <a:gd name="f112" fmla="val 3309199"/>
              <a:gd name="f113" fmla="val 3381187"/>
              <a:gd name="f114" fmla="val 3633145"/>
              <a:gd name="f115" fmla="val 2123344"/>
              <a:gd name="f116" fmla="val 3693885"/>
              <a:gd name="f117" fmla="val 3621897"/>
              <a:gd name="f118" fmla="val 3372188"/>
              <a:gd name="f119" fmla="val 1810003"/>
              <a:gd name="f120" fmla="val 3106732"/>
              <a:gd name="f121" fmla="val 3171971"/>
              <a:gd name="f122" fmla="val 2663557"/>
              <a:gd name="f123" fmla="val 3032495"/>
              <a:gd name="f124" fmla="val 2879521"/>
              <a:gd name="f125" fmla="val 2814282"/>
              <a:gd name="f126" fmla="val 2416099"/>
              <a:gd name="f127" fmla="val 2481338"/>
              <a:gd name="f128" fmla="val 2726547"/>
              <a:gd name="f129" fmla="val 1918931"/>
              <a:gd name="f130" fmla="val 1984171"/>
              <a:gd name="f131" fmla="val 2017916"/>
              <a:gd name="f132" fmla="val 2105651"/>
              <a:gd name="f133" fmla="val 2195636"/>
              <a:gd name="f134" fmla="val 2229380"/>
              <a:gd name="f135" fmla="val 2292369"/>
              <a:gd name="f136" fmla="val 2220382"/>
              <a:gd name="f137" fmla="val 1990920"/>
              <a:gd name="f138" fmla="val 960591"/>
              <a:gd name="f139" fmla="val 1032578"/>
              <a:gd name="f140" fmla="val 1284537"/>
              <a:gd name="f141" fmla="val 1345276"/>
              <a:gd name="f142" fmla="val 1273289"/>
              <a:gd name="f143" fmla="val 1023580"/>
              <a:gd name="f144" fmla="val 1701799"/>
              <a:gd name="f145" fmla="val 5648810"/>
              <a:gd name="f146" fmla="val 5698301"/>
              <a:gd name="f147" fmla="val 1719833"/>
              <a:gd name="f148" fmla="val 5736545"/>
              <a:gd name="f149" fmla="val 5790536"/>
              <a:gd name="f150" fmla="val 5801784"/>
              <a:gd name="f151" fmla="val 1884393"/>
              <a:gd name="f152" fmla="val 2048953"/>
              <a:gd name="f153" fmla="val 2177446"/>
              <a:gd name="f154" fmla="val 2213514"/>
              <a:gd name="f155" fmla="val 2233802"/>
              <a:gd name="f156" fmla="val 5547576"/>
              <a:gd name="f157" fmla="val 5495835"/>
              <a:gd name="f158" fmla="val 5403600"/>
              <a:gd name="f159" fmla="val 5394602"/>
              <a:gd name="f160" fmla="val 4645477"/>
              <a:gd name="f161" fmla="val 4701717"/>
              <a:gd name="f162" fmla="val 4755708"/>
              <a:gd name="f163" fmla="val 1722087"/>
              <a:gd name="f164" fmla="val 4791702"/>
              <a:gd name="f165" fmla="val 1758155"/>
              <a:gd name="f166" fmla="val 4816448"/>
              <a:gd name="f167" fmla="val 1785206"/>
              <a:gd name="f168" fmla="val 4832195"/>
              <a:gd name="f169" fmla="val 1816766"/>
              <a:gd name="f170" fmla="val 4834445"/>
              <a:gd name="f171" fmla="val 4766956"/>
              <a:gd name="f172" fmla="val 4764707"/>
              <a:gd name="f173" fmla="val 1834800"/>
              <a:gd name="f174" fmla="val 4757958"/>
              <a:gd name="f175" fmla="val 1819020"/>
              <a:gd name="f176" fmla="val 4744460"/>
              <a:gd name="f177" fmla="val 1803240"/>
              <a:gd name="f178" fmla="val 4721964"/>
              <a:gd name="f179" fmla="val 1773935"/>
              <a:gd name="f180" fmla="val 4685970"/>
              <a:gd name="f181" fmla="val 4609482"/>
              <a:gd name="f182" fmla="val 4575738"/>
              <a:gd name="f183" fmla="val 4550992"/>
              <a:gd name="f184" fmla="val 4510499"/>
              <a:gd name="f185" fmla="val 4506000"/>
              <a:gd name="f186" fmla="val 2017394"/>
              <a:gd name="f187" fmla="val 2091784"/>
              <a:gd name="f188" fmla="val 4553242"/>
              <a:gd name="f189" fmla="val 2134615"/>
              <a:gd name="f190" fmla="val 4577988"/>
              <a:gd name="f191" fmla="val 2161666"/>
              <a:gd name="f192" fmla="val 4681471"/>
              <a:gd name="f193" fmla="val 4715215"/>
              <a:gd name="f194" fmla="val 4737711"/>
              <a:gd name="f195" fmla="val 2136869"/>
              <a:gd name="f196" fmla="val 4771456"/>
              <a:gd name="f197" fmla="val 2103055"/>
              <a:gd name="f198" fmla="val 4780454"/>
              <a:gd name="f199" fmla="val 2053462"/>
              <a:gd name="f200" fmla="val 2006123"/>
              <a:gd name="f201" fmla="val 1947512"/>
              <a:gd name="f202" fmla="val 4838944"/>
              <a:gd name="f203" fmla="val 4793952"/>
              <a:gd name="f204" fmla="val 4782704"/>
              <a:gd name="f205" fmla="val 2204497"/>
              <a:gd name="f206" fmla="val 4593735"/>
              <a:gd name="f207" fmla="val 4544243"/>
              <a:gd name="f208" fmla="val 2215768"/>
              <a:gd name="f209" fmla="val 2179700"/>
              <a:gd name="f210" fmla="val 4454258"/>
              <a:gd name="f211" fmla="val 2130106"/>
              <a:gd name="f212" fmla="val 4440761"/>
              <a:gd name="f213" fmla="val 2057970"/>
              <a:gd name="f214" fmla="val 4452009"/>
              <a:gd name="f215" fmla="val 4002083"/>
              <a:gd name="f216" fmla="val 4060574"/>
              <a:gd name="f217" fmla="val 4112315"/>
              <a:gd name="f218" fmla="val 4148309"/>
              <a:gd name="f219" fmla="val 4173055"/>
              <a:gd name="f220" fmla="val 4191052"/>
              <a:gd name="f221" fmla="val 4193302"/>
              <a:gd name="f222" fmla="val 4125813"/>
              <a:gd name="f223" fmla="val 4123563"/>
              <a:gd name="f224" fmla="val 4114565"/>
              <a:gd name="f225" fmla="val 4103317"/>
              <a:gd name="f226" fmla="val 4078571"/>
              <a:gd name="f227" fmla="val 4044826"/>
              <a:gd name="f228" fmla="val 3968339"/>
              <a:gd name="f229" fmla="val 3934595"/>
              <a:gd name="f230" fmla="val 3909849"/>
              <a:gd name="f231" fmla="val 3867106"/>
              <a:gd name="f232" fmla="val 3864856"/>
              <a:gd name="f233" fmla="val 4038077"/>
              <a:gd name="f234" fmla="val 4071822"/>
              <a:gd name="f235" fmla="val 4094318"/>
              <a:gd name="f236" fmla="val 4130312"/>
              <a:gd name="f237" fmla="val 4139311"/>
              <a:gd name="f238" fmla="val 4197801"/>
              <a:gd name="f239" fmla="val 4152808"/>
              <a:gd name="f240" fmla="val 4141560"/>
              <a:gd name="f241" fmla="val 4116814"/>
              <a:gd name="f242" fmla="val 3950342"/>
              <a:gd name="f243" fmla="val 3900850"/>
              <a:gd name="f244" fmla="val 3813115"/>
              <a:gd name="f245" fmla="val 3797367"/>
              <a:gd name="f246" fmla="val 3808616"/>
              <a:gd name="f247" fmla="val 1642228"/>
              <a:gd name="f248" fmla="val 1691719"/>
              <a:gd name="f249" fmla="val 1741211"/>
              <a:gd name="f250" fmla="val 1717579"/>
              <a:gd name="f251" fmla="val 1774955"/>
              <a:gd name="f252" fmla="val 1749138"/>
              <a:gd name="f253" fmla="val 1806450"/>
              <a:gd name="f254" fmla="val 1780698"/>
              <a:gd name="f255" fmla="val 1822198"/>
              <a:gd name="f256" fmla="val 1824447"/>
              <a:gd name="f257" fmla="val 1756958"/>
              <a:gd name="f258" fmla="val 1754708"/>
              <a:gd name="f259" fmla="val 1745710"/>
              <a:gd name="f260" fmla="val 1812257"/>
              <a:gd name="f261" fmla="val 1732212"/>
              <a:gd name="f262" fmla="val 1796478"/>
              <a:gd name="f263" fmla="val 1711966"/>
              <a:gd name="f264" fmla="val 1680471"/>
              <a:gd name="f265" fmla="val 1760410"/>
              <a:gd name="f266" fmla="val 1639978"/>
              <a:gd name="f267" fmla="val 1603983"/>
              <a:gd name="f268" fmla="val 1572489"/>
              <a:gd name="f269" fmla="val 1549993"/>
              <a:gd name="f270" fmla="val 1536494"/>
              <a:gd name="f271" fmla="val 1529746"/>
              <a:gd name="f272" fmla="val 1828037"/>
              <a:gd name="f273" fmla="val 1850580"/>
              <a:gd name="f274" fmla="val 1897919"/>
              <a:gd name="f275" fmla="val 1567989"/>
              <a:gd name="f276" fmla="val 1918207"/>
              <a:gd name="f277" fmla="val 1606234"/>
              <a:gd name="f278" fmla="val 1922716"/>
              <a:gd name="f279" fmla="val 1635478"/>
              <a:gd name="f280" fmla="val 1927224"/>
              <a:gd name="f281" fmla="val 1662474"/>
              <a:gd name="f282" fmla="val 1931733"/>
              <a:gd name="f283" fmla="val 1833445"/>
              <a:gd name="f284" fmla="val 2001614"/>
              <a:gd name="f285" fmla="val 2082767"/>
              <a:gd name="f286" fmla="val 2125598"/>
              <a:gd name="f287" fmla="val 1815448"/>
              <a:gd name="f288" fmla="val 2157157"/>
              <a:gd name="f289" fmla="val 1790703"/>
              <a:gd name="f290" fmla="val 2181954"/>
              <a:gd name="f291" fmla="val 1698468"/>
              <a:gd name="f292" fmla="val 1644477"/>
              <a:gd name="f293" fmla="val 1581488"/>
              <a:gd name="f294" fmla="val 1531996"/>
              <a:gd name="f295" fmla="val 1498251"/>
              <a:gd name="f296" fmla="val 2184208"/>
              <a:gd name="f297" fmla="val 1466757"/>
              <a:gd name="f298" fmla="val 2152649"/>
              <a:gd name="f299" fmla="val 1444260"/>
              <a:gd name="f300" fmla="val 2109818"/>
              <a:gd name="f301" fmla="val 2060225"/>
              <a:gd name="f302" fmla="val 1509499"/>
              <a:gd name="f303" fmla="val 1525247"/>
              <a:gd name="f304" fmla="val 2121089"/>
              <a:gd name="f305" fmla="val 1545494"/>
              <a:gd name="f306" fmla="val 2141378"/>
              <a:gd name="f307" fmla="val 1570239"/>
              <a:gd name="f308" fmla="val 1608483"/>
              <a:gd name="f309" fmla="val 1682720"/>
              <a:gd name="f310" fmla="val 1716465"/>
              <a:gd name="f311" fmla="val 2166174"/>
              <a:gd name="f312" fmla="val 1738962"/>
              <a:gd name="f313" fmla="val 2143632"/>
              <a:gd name="f314" fmla="val 1765956"/>
              <a:gd name="f315" fmla="val 2044445"/>
              <a:gd name="f316" fmla="val 1599484"/>
              <a:gd name="f317" fmla="val 1988089"/>
              <a:gd name="f318" fmla="val 1522997"/>
              <a:gd name="f319" fmla="val 1462257"/>
              <a:gd name="f320" fmla="val 1852834"/>
              <a:gd name="f321" fmla="val 1480254"/>
              <a:gd name="f322" fmla="val 1778444"/>
              <a:gd name="f323" fmla="val 1507249"/>
              <a:gd name="f324" fmla="val 1751393"/>
              <a:gd name="f325" fmla="val 1543244"/>
              <a:gd name="f326" fmla="val 1588236"/>
              <a:gd name="f327" fmla="val 704133"/>
              <a:gd name="f328" fmla="val 755874"/>
              <a:gd name="f329" fmla="val 848110"/>
              <a:gd name="f330" fmla="val 857108"/>
              <a:gd name="f331" fmla="val 602900"/>
              <a:gd name="f332" fmla="val 553408"/>
              <a:gd name="f333" fmla="val 515164"/>
              <a:gd name="f334" fmla="val 461173"/>
              <a:gd name="f335" fmla="val 449925"/>
              <a:gd name="f336" fmla="val 202466"/>
              <a:gd name="f337" fmla="val 258707"/>
              <a:gd name="f338" fmla="val 308199"/>
              <a:gd name="f339" fmla="val 339693"/>
              <a:gd name="f340" fmla="val 1753647"/>
              <a:gd name="f341" fmla="val 368939"/>
              <a:gd name="f342" fmla="val 386936"/>
              <a:gd name="f343" fmla="val 1823529"/>
              <a:gd name="f344" fmla="val 389185"/>
              <a:gd name="f345" fmla="val 1870868"/>
              <a:gd name="f346" fmla="val 323946"/>
              <a:gd name="f347" fmla="val 321697"/>
              <a:gd name="f348" fmla="val 1841563"/>
              <a:gd name="f349" fmla="val 312698"/>
              <a:gd name="f350" fmla="val 294701"/>
              <a:gd name="f351" fmla="val 1798732"/>
              <a:gd name="f352" fmla="val 274454"/>
              <a:gd name="f353" fmla="val 240710"/>
              <a:gd name="f354" fmla="val 168722"/>
              <a:gd name="f355" fmla="val 134978"/>
              <a:gd name="f356" fmla="val 110232"/>
              <a:gd name="f357" fmla="val 67489"/>
              <a:gd name="f358" fmla="val 276704"/>
              <a:gd name="f359" fmla="val 2154903"/>
              <a:gd name="f360" fmla="val 296951"/>
              <a:gd name="f361" fmla="val 2114327"/>
              <a:gd name="f362" fmla="val 2087276"/>
              <a:gd name="f363" fmla="val 391435"/>
              <a:gd name="f364" fmla="val 2107564"/>
              <a:gd name="f365" fmla="val 2148140"/>
              <a:gd name="f366" fmla="val 2209005"/>
              <a:gd name="f367" fmla="val 150725"/>
              <a:gd name="f368" fmla="val 101233"/>
              <a:gd name="f369" fmla="val 65239"/>
              <a:gd name="f370" fmla="val 8999"/>
              <a:gd name="f371" fmla="val 2227389"/>
              <a:gd name="f372" fmla="val 214047"/>
              <a:gd name="f373" fmla="val 574548"/>
              <a:gd name="f374" fmla="val 2456649"/>
              <a:gd name="f375" fmla="val 2584765"/>
              <a:gd name="f376" fmla="val 2654442"/>
              <a:gd name="f377" fmla="val 509207"/>
              <a:gd name="f378" fmla="val 394298"/>
              <a:gd name="f379" fmla="val 277135"/>
              <a:gd name="f380" fmla="val 8961436"/>
              <a:gd name="f381" fmla="val 225425"/>
              <a:gd name="f382" fmla="val 9555161"/>
              <a:gd name="f383" fmla="val 1214437"/>
              <a:gd name="f384" fmla="val 9315449"/>
              <a:gd name="f385" fmla="val 7785099"/>
              <a:gd name="f386" fmla="val 8035924"/>
              <a:gd name="f387" fmla="val 8037512"/>
              <a:gd name="f388" fmla="val 3175"/>
              <a:gd name="f389" fmla="val 8523286"/>
              <a:gd name="f390" fmla="val 774700"/>
              <a:gd name="f391" fmla="val 8759824"/>
              <a:gd name="f392" fmla="val 8518524"/>
              <a:gd name="f393" fmla="val 8024812"/>
              <a:gd name="f394" fmla="val 425450"/>
              <a:gd name="f395" fmla="val 6665911"/>
              <a:gd name="f396" fmla="val 7535861"/>
              <a:gd name="f397" fmla="val 220663"/>
              <a:gd name="f398" fmla="val 6905624"/>
              <a:gd name="f399" fmla="val 473075"/>
              <a:gd name="f400" fmla="val 7459661"/>
              <a:gd name="f401" fmla="val 690562"/>
              <a:gd name="f402" fmla="val 993775"/>
              <a:gd name="f403" fmla="val 5221286"/>
              <a:gd name="f404" fmla="val 5534024"/>
              <a:gd name="f405" fmla="val 5835649"/>
              <a:gd name="f406" fmla="val 823912"/>
              <a:gd name="f407" fmla="val 6142037"/>
              <a:gd name="f408" fmla="val 6438899"/>
              <a:gd name="f409" fmla="val 6203949"/>
              <a:gd name="f410" fmla="val 419100"/>
              <a:gd name="f411" fmla="val 5916612"/>
              <a:gd name="f412" fmla="val 1196975"/>
              <a:gd name="f413" fmla="val 5740399"/>
              <a:gd name="f414" fmla="val 5454649"/>
              <a:gd name="f415" fmla="val 409575"/>
              <a:gd name="f416" fmla="val 4098924"/>
              <a:gd name="f417" fmla="val 4968874"/>
              <a:gd name="f418" fmla="val 4340224"/>
              <a:gd name="f419" fmla="val 4895849"/>
              <a:gd name="f420" fmla="val 3079749"/>
              <a:gd name="f421" fmla="val 3321049"/>
              <a:gd name="f422" fmla="val 984250"/>
              <a:gd name="f423" fmla="val 3871912"/>
              <a:gd name="f424" fmla="val 1989138"/>
              <a:gd name="f425" fmla="val 2465639"/>
              <a:gd name="f426" fmla="val 2735357"/>
              <a:gd name="f427" fmla="val 2897188"/>
              <a:gd name="f428" fmla="val 146454"/>
              <a:gd name="f429" fmla="val 392045"/>
              <a:gd name="f430" fmla="val 639889"/>
              <a:gd name="f431" fmla="val 786342"/>
              <a:gd name="f432" fmla="val 520699"/>
              <a:gd name="f433" fmla="val 833436"/>
              <a:gd name="f434" fmla="val 1135061"/>
              <a:gd name="f435" fmla="val 1439862"/>
              <a:gd name="f436" fmla="val 1736724"/>
              <a:gd name="f437" fmla="val 1503362"/>
              <a:gd name="f438" fmla="val 1216024"/>
              <a:gd name="f439" fmla="val 1039812"/>
              <a:gd name="f440" fmla="val 754062"/>
              <a:gd name="f441" fmla="val 25400"/>
              <a:gd name="f442" fmla="val 268288"/>
              <a:gd name="f443" fmla="+- 0 0 -90"/>
              <a:gd name="f444" fmla="*/ f3 1 9905999"/>
              <a:gd name="f445" fmla="*/ f4 1 2265361"/>
              <a:gd name="f446" fmla="+- f7 0 f5"/>
              <a:gd name="f447" fmla="+- f6 0 f5"/>
              <a:gd name="f448" fmla="*/ f443 f0 1"/>
              <a:gd name="f449" fmla="*/ f447 1 9905999"/>
              <a:gd name="f450" fmla="*/ f446 1 2265361"/>
              <a:gd name="f451" fmla="*/ 6778122 f447 1"/>
              <a:gd name="f452" fmla="*/ 2222531 f446 1"/>
              <a:gd name="f453" fmla="*/ 7135812 f447 1"/>
              <a:gd name="f454" fmla="*/ 2265361 f446 1"/>
              <a:gd name="f455" fmla="*/ 6449676 f447 1"/>
              <a:gd name="f456" fmla="*/ 1769427 f446 1"/>
              <a:gd name="f457" fmla="*/ 1965546 f446 1"/>
              <a:gd name="f458" fmla="*/ 6575655 f447 1"/>
              <a:gd name="f459" fmla="*/ 6679138 f447 1"/>
              <a:gd name="f460" fmla="*/ 1864105 f446 1"/>
              <a:gd name="f461" fmla="*/ 5021164 f447 1"/>
              <a:gd name="f462" fmla="*/ 1949767 f446 1"/>
              <a:gd name="f463" fmla="*/ 5158391 f447 1"/>
              <a:gd name="f464" fmla="*/ 5261874 f447 1"/>
              <a:gd name="f465" fmla="*/ 1859597 f446 1"/>
              <a:gd name="f466" fmla="*/ 5597068 f447 1"/>
              <a:gd name="f467" fmla="*/ 1762664 f446 1"/>
              <a:gd name="f468" fmla="*/ 5504834 f447 1"/>
              <a:gd name="f469" fmla="*/ 1800986 f446 1"/>
              <a:gd name="f470" fmla="*/ 5459841 f447 1"/>
              <a:gd name="f471" fmla="*/ 1967800 f446 1"/>
              <a:gd name="f472" fmla="*/ 2132361 f446 1"/>
              <a:gd name="f473" fmla="*/ 2170683 f446 1"/>
              <a:gd name="f474" fmla="*/ 5691552 f447 1"/>
              <a:gd name="f475" fmla="*/ 5734295 f447 1"/>
              <a:gd name="f476" fmla="*/ 654642 f447 1"/>
              <a:gd name="f477" fmla="*/ 560157 f447 1"/>
              <a:gd name="f478" fmla="*/ 517414 f447 1"/>
              <a:gd name="f479" fmla="*/ 746876 f447 1"/>
              <a:gd name="f480" fmla="*/ 791868 f447 1"/>
              <a:gd name="f481" fmla="*/ 6386687 f447 1"/>
              <a:gd name="f482" fmla="*/ 1710816 f446 1"/>
              <a:gd name="f483" fmla="*/ 6706134 f447 1"/>
              <a:gd name="f484" fmla="*/ 1755901 f446 1"/>
              <a:gd name="f485" fmla="*/ 6744377 f447 1"/>
              <a:gd name="f486" fmla="*/ 6701634 f447 1"/>
              <a:gd name="f487" fmla="*/ 1981326 f446 1"/>
              <a:gd name="f488" fmla="*/ 6577905 f447 1"/>
              <a:gd name="f489" fmla="*/ 2024157 f446 1"/>
              <a:gd name="f490" fmla="*/ 5889520 f447 1"/>
              <a:gd name="f491" fmla="*/ 5954759 f447 1"/>
              <a:gd name="f492" fmla="*/ 2035428 f446 1"/>
              <a:gd name="f493" fmla="*/ 6076239 f447 1"/>
              <a:gd name="f494" fmla="*/ 2172937 f446 1"/>
              <a:gd name="f495" fmla="*/ 6199968 f447 1"/>
              <a:gd name="f496" fmla="*/ 6262957 f447 1"/>
              <a:gd name="f497" fmla="*/ 2231547 f446 1"/>
              <a:gd name="f498" fmla="*/ 4958174 f447 1"/>
              <a:gd name="f499" fmla="*/ 5288869 f447 1"/>
              <a:gd name="f500" fmla="*/ 5329363 f447 1"/>
              <a:gd name="f501" fmla="*/ 1961038 f446 1"/>
              <a:gd name="f502" fmla="*/ 5228130 f447 1"/>
              <a:gd name="f503" fmla="*/ 1997106 f446 1"/>
              <a:gd name="f504" fmla="*/ 5331612 f447 1"/>
              <a:gd name="f505" fmla="*/ 5259624 f447 1"/>
              <a:gd name="f506" fmla="*/ 5162890 f447 1"/>
              <a:gd name="f507" fmla="*/ 2010631 f446 1"/>
              <a:gd name="f508" fmla="*/ 3309199 f447 1"/>
              <a:gd name="f509" fmla="*/ 3381187 f447 1"/>
              <a:gd name="f510" fmla="*/ 3633145 f447 1"/>
              <a:gd name="f511" fmla="*/ 2123344 f446 1"/>
              <a:gd name="f512" fmla="*/ 3693885 f447 1"/>
              <a:gd name="f513" fmla="*/ 3621897 f447 1"/>
              <a:gd name="f514" fmla="*/ 3372188 f447 1"/>
              <a:gd name="f515" fmla="*/ 1810003 f446 1"/>
              <a:gd name="f516" fmla="*/ 3106732 f447 1"/>
              <a:gd name="f517" fmla="*/ 3171971 f447 1"/>
              <a:gd name="f518" fmla="*/ 2663557 f447 1"/>
              <a:gd name="f519" fmla="*/ 3032495 f447 1"/>
              <a:gd name="f520" fmla="*/ 2879521 f447 1"/>
              <a:gd name="f521" fmla="*/ 2814282 f447 1"/>
              <a:gd name="f522" fmla="*/ 2416099 f447 1"/>
              <a:gd name="f523" fmla="*/ 2481338 f447 1"/>
              <a:gd name="f524" fmla="*/ 2163920 f446 1"/>
              <a:gd name="f525" fmla="*/ 2726547 f447 1"/>
              <a:gd name="f526" fmla="*/ 1918931 f447 1"/>
              <a:gd name="f527" fmla="*/ 1984171 f447 1"/>
              <a:gd name="f528" fmla="*/ 2105651 f447 1"/>
              <a:gd name="f529" fmla="*/ 2229380 f447 1"/>
              <a:gd name="f530" fmla="*/ 2292369 f447 1"/>
              <a:gd name="f531" fmla="*/ 960591 f447 1"/>
              <a:gd name="f532" fmla="*/ 1032578 f447 1"/>
              <a:gd name="f533" fmla="*/ 1284537 f447 1"/>
              <a:gd name="f534" fmla="*/ 1345276 f447 1"/>
              <a:gd name="f535" fmla="*/ 1273289 f447 1"/>
              <a:gd name="f536" fmla="*/ 1023580 f447 1"/>
              <a:gd name="f537" fmla="*/ 1701799 f446 1"/>
              <a:gd name="f538" fmla="*/ 5736545 f447 1"/>
              <a:gd name="f539" fmla="*/ 5801784 f447 1"/>
              <a:gd name="f540" fmla="*/ 2177446 f446 1"/>
              <a:gd name="f541" fmla="*/ 2233802 f446 1"/>
              <a:gd name="f542" fmla="*/ 5394602 f447 1"/>
              <a:gd name="f543" fmla="*/ 4645477 f447 1"/>
              <a:gd name="f544" fmla="*/ 4791702 f447 1"/>
              <a:gd name="f545" fmla="*/ 1758155 f446 1"/>
              <a:gd name="f546" fmla="*/ 4834445 f447 1"/>
              <a:gd name="f547" fmla="*/ 4766956 f447 1"/>
              <a:gd name="f548" fmla="*/ 4744460 f447 1"/>
              <a:gd name="f549" fmla="*/ 1803240 f446 1"/>
              <a:gd name="f550" fmla="*/ 4550992 f447 1"/>
              <a:gd name="f551" fmla="*/ 4506000 f447 1"/>
              <a:gd name="f552" fmla="*/ 4553242 f447 1"/>
              <a:gd name="f553" fmla="*/ 2134615 f446 1"/>
              <a:gd name="f554" fmla="*/ 4737711 f447 1"/>
              <a:gd name="f555" fmla="*/ 2136869 f446 1"/>
              <a:gd name="f556" fmla="*/ 4780454 f447 1"/>
              <a:gd name="f557" fmla="*/ 2006123 f446 1"/>
              <a:gd name="f558" fmla="*/ 1947512 f446 1"/>
              <a:gd name="f559" fmla="*/ 4838944 f447 1"/>
              <a:gd name="f560" fmla="*/ 4793952 f447 1"/>
              <a:gd name="f561" fmla="*/ 4782704 f447 1"/>
              <a:gd name="f562" fmla="*/ 2161666 f446 1"/>
              <a:gd name="f563" fmla="*/ 2179700 f446 1"/>
              <a:gd name="f564" fmla="*/ 4440761 f447 1"/>
              <a:gd name="f565" fmla="*/ 4002083 f447 1"/>
              <a:gd name="f566" fmla="*/ 4148309 f447 1"/>
              <a:gd name="f567" fmla="*/ 4193302 f447 1"/>
              <a:gd name="f568" fmla="*/ 4125813 f447 1"/>
              <a:gd name="f569" fmla="*/ 4103317 f447 1"/>
              <a:gd name="f570" fmla="*/ 3909849 f447 1"/>
              <a:gd name="f571" fmla="*/ 3864856 f447 1"/>
              <a:gd name="f572" fmla="*/ 4094318 f447 1"/>
              <a:gd name="f573" fmla="*/ 4139311 f447 1"/>
              <a:gd name="f574" fmla="*/ 4197801 f447 1"/>
              <a:gd name="f575" fmla="*/ 4152808 f447 1"/>
              <a:gd name="f576" fmla="*/ 4141560 f447 1"/>
              <a:gd name="f577" fmla="*/ 3797367 f447 1"/>
              <a:gd name="f578" fmla="*/ 1642228 f447 1"/>
              <a:gd name="f579" fmla="*/ 1774955 f447 1"/>
              <a:gd name="f580" fmla="*/ 1749138 f446 1"/>
              <a:gd name="f581" fmla="*/ 1824447 f447 1"/>
              <a:gd name="f582" fmla="*/ 1756958 f447 1"/>
              <a:gd name="f583" fmla="*/ 1732212 f447 1"/>
              <a:gd name="f584" fmla="*/ 1796478 f446 1"/>
              <a:gd name="f585" fmla="*/ 1639978 f447 1"/>
              <a:gd name="f586" fmla="*/ 1760410 f446 1"/>
              <a:gd name="f587" fmla="*/ 1549993 f447 1"/>
              <a:gd name="f588" fmla="*/ 1529746 f447 1"/>
              <a:gd name="f589" fmla="*/ 1850580 f446 1"/>
              <a:gd name="f590" fmla="*/ 1606234 f447 1"/>
              <a:gd name="f591" fmla="*/ 1922716 f446 1"/>
              <a:gd name="f592" fmla="*/ 1691719 f447 1"/>
              <a:gd name="f593" fmla="*/ 1936241 f446 1"/>
              <a:gd name="f594" fmla="*/ 1833445 f447 1"/>
              <a:gd name="f595" fmla="*/ 2082767 f446 1"/>
              <a:gd name="f596" fmla="*/ 1790703 f447 1"/>
              <a:gd name="f597" fmla="*/ 2181954 f446 1"/>
              <a:gd name="f598" fmla="*/ 1644477 f447 1"/>
              <a:gd name="f599" fmla="*/ 1498251 f447 1"/>
              <a:gd name="f600" fmla="*/ 2184208 f446 1"/>
              <a:gd name="f601" fmla="*/ 1444260 f447 1"/>
              <a:gd name="f602" fmla="*/ 2060225 f446 1"/>
              <a:gd name="f603" fmla="*/ 1509499 f447 1"/>
              <a:gd name="f604" fmla="*/ 1545494 f447 1"/>
              <a:gd name="f605" fmla="*/ 2141378 f446 1"/>
              <a:gd name="f606" fmla="*/ 1738962 f447 1"/>
              <a:gd name="f607" fmla="*/ 2143632 f446 1"/>
              <a:gd name="f608" fmla="*/ 1765956 f447 1"/>
              <a:gd name="f609" fmla="*/ 1680471 f447 1"/>
              <a:gd name="f610" fmla="*/ 2001614 f446 1"/>
              <a:gd name="f611" fmla="*/ 1599484 f447 1"/>
              <a:gd name="f612" fmla="*/ 1988089 f446 1"/>
              <a:gd name="f613" fmla="*/ 1462257 f447 1"/>
              <a:gd name="f614" fmla="*/ 1852834 f446 1"/>
              <a:gd name="f615" fmla="*/ 1507249 f447 1"/>
              <a:gd name="f616" fmla="*/ 1751393 f446 1"/>
              <a:gd name="f617" fmla="*/ 857108 f447 1"/>
              <a:gd name="f618" fmla="*/ 515164 f447 1"/>
              <a:gd name="f619" fmla="*/ 449925 f447 1"/>
              <a:gd name="f620" fmla="*/ 202466 f447 1"/>
              <a:gd name="f621" fmla="*/ 339693 f447 1"/>
              <a:gd name="f622" fmla="*/ 1753647 f446 1"/>
              <a:gd name="f623" fmla="*/ 389185 f447 1"/>
              <a:gd name="f624" fmla="*/ 1870868 f446 1"/>
              <a:gd name="f625" fmla="*/ 323946 f447 1"/>
              <a:gd name="f626" fmla="*/ 294701 f447 1"/>
              <a:gd name="f627" fmla="*/ 1798732 f446 1"/>
              <a:gd name="f628" fmla="*/ 110232 f447 1"/>
              <a:gd name="f629" fmla="*/ 67489 f447 1"/>
              <a:gd name="f630" fmla="*/ 296951 f447 1"/>
              <a:gd name="f631" fmla="*/ 391435 f447 1"/>
              <a:gd name="f632" fmla="*/ 65239 f447 1"/>
              <a:gd name="f633" fmla="*/ 0 f447 1"/>
              <a:gd name="f634" fmla="*/ 2227389 f447 1"/>
              <a:gd name="f635" fmla="*/ 214047 f446 1"/>
              <a:gd name="f636" fmla="*/ 574548 f446 1"/>
              <a:gd name="f637" fmla="*/ 2456649 f447 1"/>
              <a:gd name="f638" fmla="*/ 2654442 f447 1"/>
              <a:gd name="f639" fmla="*/ 394298 f446 1"/>
              <a:gd name="f640" fmla="*/ 8961436 f447 1"/>
              <a:gd name="f641" fmla="*/ 0 f446 1"/>
              <a:gd name="f642" fmla="*/ 9905999 f447 1"/>
              <a:gd name="f643" fmla="*/ 225425 f446 1"/>
              <a:gd name="f644" fmla="*/ 9555161 f447 1"/>
              <a:gd name="f645" fmla="*/ 1214437 f446 1"/>
              <a:gd name="f646" fmla="*/ 9315449 f447 1"/>
              <a:gd name="f647" fmla="*/ 7785099 f447 1"/>
              <a:gd name="f648" fmla="*/ 8035924 f447 1"/>
              <a:gd name="f649" fmla="*/ 8037512 f447 1"/>
              <a:gd name="f650" fmla="*/ 3175 f446 1"/>
              <a:gd name="f651" fmla="*/ 8523286 f447 1"/>
              <a:gd name="f652" fmla="*/ 774700 f446 1"/>
              <a:gd name="f653" fmla="*/ 8759824 f447 1"/>
              <a:gd name="f654" fmla="*/ 8518524 f447 1"/>
              <a:gd name="f655" fmla="*/ 8024812 f447 1"/>
              <a:gd name="f656" fmla="*/ 425450 f446 1"/>
              <a:gd name="f657" fmla="*/ 6665911 f447 1"/>
              <a:gd name="f658" fmla="*/ 7535861 f447 1"/>
              <a:gd name="f659" fmla="*/ 220663 f446 1"/>
              <a:gd name="f660" fmla="*/ 6905624 f447 1"/>
              <a:gd name="f661" fmla="*/ 473075 f446 1"/>
              <a:gd name="f662" fmla="*/ 7459661 f447 1"/>
              <a:gd name="f663" fmla="*/ 690562 f446 1"/>
              <a:gd name="f664" fmla="*/ 993775 f446 1"/>
              <a:gd name="f665" fmla="*/ 5221286 f447 1"/>
              <a:gd name="f666" fmla="*/ 5534024 f447 1"/>
              <a:gd name="f667" fmla="*/ 5835649 f447 1"/>
              <a:gd name="f668" fmla="*/ 823912 f446 1"/>
              <a:gd name="f669" fmla="*/ 6142037 f447 1"/>
              <a:gd name="f670" fmla="*/ 6438899 f447 1"/>
              <a:gd name="f671" fmla="*/ 6203949 f447 1"/>
              <a:gd name="f672" fmla="*/ 419100 f446 1"/>
              <a:gd name="f673" fmla="*/ 5916612 f447 1"/>
              <a:gd name="f674" fmla="*/ 1196975 f446 1"/>
              <a:gd name="f675" fmla="*/ 5740399 f447 1"/>
              <a:gd name="f676" fmla="*/ 5454649 f447 1"/>
              <a:gd name="f677" fmla="*/ 409575 f446 1"/>
              <a:gd name="f678" fmla="*/ 4098924 f447 1"/>
              <a:gd name="f679" fmla="*/ 4968874 f447 1"/>
              <a:gd name="f680" fmla="*/ 4340224 f447 1"/>
              <a:gd name="f681" fmla="*/ 4895849 f447 1"/>
              <a:gd name="f682" fmla="*/ 3079749 f447 1"/>
              <a:gd name="f683" fmla="*/ 3321049 f447 1"/>
              <a:gd name="f684" fmla="*/ 984250 f446 1"/>
              <a:gd name="f685" fmla="*/ 3871912 f447 1"/>
              <a:gd name="f686" fmla="*/ 1989138 f447 1"/>
              <a:gd name="f687" fmla="*/ 2465639 f447 1"/>
              <a:gd name="f688" fmla="*/ 2897188 f447 1"/>
              <a:gd name="f689" fmla="*/ 392045 f446 1"/>
              <a:gd name="f690" fmla="*/ 786342 f446 1"/>
              <a:gd name="f691" fmla="*/ 520699 f447 1"/>
              <a:gd name="f692" fmla="*/ 833436 f447 1"/>
              <a:gd name="f693" fmla="*/ 1135061 f447 1"/>
              <a:gd name="f694" fmla="*/ 1439862 f447 1"/>
              <a:gd name="f695" fmla="*/ 1736724 f447 1"/>
              <a:gd name="f696" fmla="*/ 1503362 f447 1"/>
              <a:gd name="f697" fmla="*/ 1216024 f447 1"/>
              <a:gd name="f698" fmla="*/ 1039812 f447 1"/>
              <a:gd name="f699" fmla="*/ 754062 f447 1"/>
              <a:gd name="f700" fmla="*/ 25400 f447 1"/>
              <a:gd name="f701" fmla="*/ 268288 f447 1"/>
              <a:gd name="f702" fmla="*/ f448 1 f2"/>
              <a:gd name="f703" fmla="*/ f451 1 9905999"/>
              <a:gd name="f704" fmla="*/ f452 1 2265361"/>
              <a:gd name="f705" fmla="*/ f453 1 9905999"/>
              <a:gd name="f706" fmla="*/ f454 1 2265361"/>
              <a:gd name="f707" fmla="*/ f455 1 9905999"/>
              <a:gd name="f708" fmla="*/ f456 1 2265361"/>
              <a:gd name="f709" fmla="*/ f457 1 2265361"/>
              <a:gd name="f710" fmla="*/ f458 1 9905999"/>
              <a:gd name="f711" fmla="*/ f459 1 9905999"/>
              <a:gd name="f712" fmla="*/ f460 1 2265361"/>
              <a:gd name="f713" fmla="*/ f461 1 9905999"/>
              <a:gd name="f714" fmla="*/ f462 1 2265361"/>
              <a:gd name="f715" fmla="*/ f463 1 9905999"/>
              <a:gd name="f716" fmla="*/ f464 1 9905999"/>
              <a:gd name="f717" fmla="*/ f465 1 2265361"/>
              <a:gd name="f718" fmla="*/ f466 1 9905999"/>
              <a:gd name="f719" fmla="*/ f467 1 2265361"/>
              <a:gd name="f720" fmla="*/ f468 1 9905999"/>
              <a:gd name="f721" fmla="*/ f469 1 2265361"/>
              <a:gd name="f722" fmla="*/ f470 1 9905999"/>
              <a:gd name="f723" fmla="*/ f471 1 2265361"/>
              <a:gd name="f724" fmla="*/ f472 1 2265361"/>
              <a:gd name="f725" fmla="*/ f473 1 2265361"/>
              <a:gd name="f726" fmla="*/ f474 1 9905999"/>
              <a:gd name="f727" fmla="*/ f475 1 9905999"/>
              <a:gd name="f728" fmla="*/ f476 1 9905999"/>
              <a:gd name="f729" fmla="*/ f477 1 9905999"/>
              <a:gd name="f730" fmla="*/ f478 1 9905999"/>
              <a:gd name="f731" fmla="*/ f479 1 9905999"/>
              <a:gd name="f732" fmla="*/ f480 1 9905999"/>
              <a:gd name="f733" fmla="*/ f481 1 9905999"/>
              <a:gd name="f734" fmla="*/ f482 1 2265361"/>
              <a:gd name="f735" fmla="*/ f483 1 9905999"/>
              <a:gd name="f736" fmla="*/ f484 1 2265361"/>
              <a:gd name="f737" fmla="*/ f485 1 9905999"/>
              <a:gd name="f738" fmla="*/ f486 1 9905999"/>
              <a:gd name="f739" fmla="*/ f487 1 2265361"/>
              <a:gd name="f740" fmla="*/ f488 1 9905999"/>
              <a:gd name="f741" fmla="*/ f489 1 2265361"/>
              <a:gd name="f742" fmla="*/ f490 1 9905999"/>
              <a:gd name="f743" fmla="*/ f491 1 9905999"/>
              <a:gd name="f744" fmla="*/ f492 1 2265361"/>
              <a:gd name="f745" fmla="*/ f493 1 9905999"/>
              <a:gd name="f746" fmla="*/ f494 1 2265361"/>
              <a:gd name="f747" fmla="*/ f495 1 9905999"/>
              <a:gd name="f748" fmla="*/ f496 1 9905999"/>
              <a:gd name="f749" fmla="*/ f497 1 2265361"/>
              <a:gd name="f750" fmla="*/ f498 1 9905999"/>
              <a:gd name="f751" fmla="*/ f499 1 9905999"/>
              <a:gd name="f752" fmla="*/ f500 1 9905999"/>
              <a:gd name="f753" fmla="*/ f501 1 2265361"/>
              <a:gd name="f754" fmla="*/ f502 1 9905999"/>
              <a:gd name="f755" fmla="*/ f503 1 2265361"/>
              <a:gd name="f756" fmla="*/ f504 1 9905999"/>
              <a:gd name="f757" fmla="*/ f505 1 9905999"/>
              <a:gd name="f758" fmla="*/ f506 1 9905999"/>
              <a:gd name="f759" fmla="*/ f507 1 2265361"/>
              <a:gd name="f760" fmla="*/ f508 1 9905999"/>
              <a:gd name="f761" fmla="*/ f509 1 9905999"/>
              <a:gd name="f762" fmla="*/ f510 1 9905999"/>
              <a:gd name="f763" fmla="*/ f511 1 2265361"/>
              <a:gd name="f764" fmla="*/ f512 1 9905999"/>
              <a:gd name="f765" fmla="*/ f513 1 9905999"/>
              <a:gd name="f766" fmla="*/ f514 1 9905999"/>
              <a:gd name="f767" fmla="*/ f515 1 2265361"/>
              <a:gd name="f768" fmla="*/ f516 1 9905999"/>
              <a:gd name="f769" fmla="*/ f517 1 9905999"/>
              <a:gd name="f770" fmla="*/ f518 1 9905999"/>
              <a:gd name="f771" fmla="*/ f519 1 9905999"/>
              <a:gd name="f772" fmla="*/ f520 1 9905999"/>
              <a:gd name="f773" fmla="*/ f521 1 9905999"/>
              <a:gd name="f774" fmla="*/ f522 1 9905999"/>
              <a:gd name="f775" fmla="*/ f523 1 9905999"/>
              <a:gd name="f776" fmla="*/ f524 1 2265361"/>
              <a:gd name="f777" fmla="*/ f525 1 9905999"/>
              <a:gd name="f778" fmla="*/ f526 1 9905999"/>
              <a:gd name="f779" fmla="*/ f527 1 9905999"/>
              <a:gd name="f780" fmla="*/ f528 1 9905999"/>
              <a:gd name="f781" fmla="*/ f529 1 9905999"/>
              <a:gd name="f782" fmla="*/ f530 1 9905999"/>
              <a:gd name="f783" fmla="*/ f531 1 9905999"/>
              <a:gd name="f784" fmla="*/ f532 1 9905999"/>
              <a:gd name="f785" fmla="*/ f533 1 9905999"/>
              <a:gd name="f786" fmla="*/ f534 1 9905999"/>
              <a:gd name="f787" fmla="*/ f535 1 9905999"/>
              <a:gd name="f788" fmla="*/ f536 1 9905999"/>
              <a:gd name="f789" fmla="*/ f537 1 2265361"/>
              <a:gd name="f790" fmla="*/ f538 1 9905999"/>
              <a:gd name="f791" fmla="*/ f539 1 9905999"/>
              <a:gd name="f792" fmla="*/ f540 1 2265361"/>
              <a:gd name="f793" fmla="*/ f541 1 2265361"/>
              <a:gd name="f794" fmla="*/ f542 1 9905999"/>
              <a:gd name="f795" fmla="*/ f543 1 9905999"/>
              <a:gd name="f796" fmla="*/ f544 1 9905999"/>
              <a:gd name="f797" fmla="*/ f545 1 2265361"/>
              <a:gd name="f798" fmla="*/ f546 1 9905999"/>
              <a:gd name="f799" fmla="*/ f547 1 9905999"/>
              <a:gd name="f800" fmla="*/ f548 1 9905999"/>
              <a:gd name="f801" fmla="*/ f549 1 2265361"/>
              <a:gd name="f802" fmla="*/ f550 1 9905999"/>
              <a:gd name="f803" fmla="*/ f551 1 9905999"/>
              <a:gd name="f804" fmla="*/ f552 1 9905999"/>
              <a:gd name="f805" fmla="*/ f553 1 2265361"/>
              <a:gd name="f806" fmla="*/ f554 1 9905999"/>
              <a:gd name="f807" fmla="*/ f555 1 2265361"/>
              <a:gd name="f808" fmla="*/ f556 1 9905999"/>
              <a:gd name="f809" fmla="*/ f557 1 2265361"/>
              <a:gd name="f810" fmla="*/ f558 1 2265361"/>
              <a:gd name="f811" fmla="*/ f559 1 9905999"/>
              <a:gd name="f812" fmla="*/ f560 1 9905999"/>
              <a:gd name="f813" fmla="*/ f561 1 9905999"/>
              <a:gd name="f814" fmla="*/ f562 1 2265361"/>
              <a:gd name="f815" fmla="*/ f563 1 2265361"/>
              <a:gd name="f816" fmla="*/ f564 1 9905999"/>
              <a:gd name="f817" fmla="*/ f565 1 9905999"/>
              <a:gd name="f818" fmla="*/ f566 1 9905999"/>
              <a:gd name="f819" fmla="*/ f567 1 9905999"/>
              <a:gd name="f820" fmla="*/ f568 1 9905999"/>
              <a:gd name="f821" fmla="*/ f569 1 9905999"/>
              <a:gd name="f822" fmla="*/ f570 1 9905999"/>
              <a:gd name="f823" fmla="*/ f571 1 9905999"/>
              <a:gd name="f824" fmla="*/ f572 1 9905999"/>
              <a:gd name="f825" fmla="*/ f573 1 9905999"/>
              <a:gd name="f826" fmla="*/ f574 1 9905999"/>
              <a:gd name="f827" fmla="*/ f575 1 9905999"/>
              <a:gd name="f828" fmla="*/ f576 1 9905999"/>
              <a:gd name="f829" fmla="*/ f577 1 9905999"/>
              <a:gd name="f830" fmla="*/ f578 1 9905999"/>
              <a:gd name="f831" fmla="*/ f579 1 9905999"/>
              <a:gd name="f832" fmla="*/ f580 1 2265361"/>
              <a:gd name="f833" fmla="*/ f581 1 9905999"/>
              <a:gd name="f834" fmla="*/ f582 1 9905999"/>
              <a:gd name="f835" fmla="*/ f583 1 9905999"/>
              <a:gd name="f836" fmla="*/ f584 1 2265361"/>
              <a:gd name="f837" fmla="*/ f585 1 9905999"/>
              <a:gd name="f838" fmla="*/ f586 1 2265361"/>
              <a:gd name="f839" fmla="*/ f587 1 9905999"/>
              <a:gd name="f840" fmla="*/ f588 1 9905999"/>
              <a:gd name="f841" fmla="*/ f589 1 2265361"/>
              <a:gd name="f842" fmla="*/ f590 1 9905999"/>
              <a:gd name="f843" fmla="*/ f591 1 2265361"/>
              <a:gd name="f844" fmla="*/ f592 1 9905999"/>
              <a:gd name="f845" fmla="*/ f593 1 2265361"/>
              <a:gd name="f846" fmla="*/ f594 1 9905999"/>
              <a:gd name="f847" fmla="*/ f595 1 2265361"/>
              <a:gd name="f848" fmla="*/ f596 1 9905999"/>
              <a:gd name="f849" fmla="*/ f597 1 2265361"/>
              <a:gd name="f850" fmla="*/ f598 1 9905999"/>
              <a:gd name="f851" fmla="*/ f599 1 9905999"/>
              <a:gd name="f852" fmla="*/ f600 1 2265361"/>
              <a:gd name="f853" fmla="*/ f601 1 9905999"/>
              <a:gd name="f854" fmla="*/ f602 1 2265361"/>
              <a:gd name="f855" fmla="*/ f603 1 9905999"/>
              <a:gd name="f856" fmla="*/ f604 1 9905999"/>
              <a:gd name="f857" fmla="*/ f605 1 2265361"/>
              <a:gd name="f858" fmla="*/ f606 1 9905999"/>
              <a:gd name="f859" fmla="*/ f607 1 2265361"/>
              <a:gd name="f860" fmla="*/ f608 1 9905999"/>
              <a:gd name="f861" fmla="*/ f609 1 9905999"/>
              <a:gd name="f862" fmla="*/ f610 1 2265361"/>
              <a:gd name="f863" fmla="*/ f611 1 9905999"/>
              <a:gd name="f864" fmla="*/ f612 1 2265361"/>
              <a:gd name="f865" fmla="*/ f613 1 9905999"/>
              <a:gd name="f866" fmla="*/ f614 1 2265361"/>
              <a:gd name="f867" fmla="*/ f615 1 9905999"/>
              <a:gd name="f868" fmla="*/ f616 1 2265361"/>
              <a:gd name="f869" fmla="*/ f617 1 9905999"/>
              <a:gd name="f870" fmla="*/ f618 1 9905999"/>
              <a:gd name="f871" fmla="*/ f619 1 9905999"/>
              <a:gd name="f872" fmla="*/ f620 1 9905999"/>
              <a:gd name="f873" fmla="*/ f621 1 9905999"/>
              <a:gd name="f874" fmla="*/ f622 1 2265361"/>
              <a:gd name="f875" fmla="*/ f623 1 9905999"/>
              <a:gd name="f876" fmla="*/ f624 1 2265361"/>
              <a:gd name="f877" fmla="*/ f625 1 9905999"/>
              <a:gd name="f878" fmla="*/ f626 1 9905999"/>
              <a:gd name="f879" fmla="*/ f627 1 2265361"/>
              <a:gd name="f880" fmla="*/ f628 1 9905999"/>
              <a:gd name="f881" fmla="*/ f629 1 9905999"/>
              <a:gd name="f882" fmla="*/ f630 1 9905999"/>
              <a:gd name="f883" fmla="*/ f631 1 9905999"/>
              <a:gd name="f884" fmla="*/ f632 1 9905999"/>
              <a:gd name="f885" fmla="*/ f633 1 9905999"/>
              <a:gd name="f886" fmla="*/ f634 1 9905999"/>
              <a:gd name="f887" fmla="*/ f635 1 2265361"/>
              <a:gd name="f888" fmla="*/ f636 1 2265361"/>
              <a:gd name="f889" fmla="*/ f637 1 9905999"/>
              <a:gd name="f890" fmla="*/ f638 1 9905999"/>
              <a:gd name="f891" fmla="*/ f639 1 2265361"/>
              <a:gd name="f892" fmla="*/ f640 1 9905999"/>
              <a:gd name="f893" fmla="*/ f641 1 2265361"/>
              <a:gd name="f894" fmla="*/ f642 1 9905999"/>
              <a:gd name="f895" fmla="*/ f643 1 2265361"/>
              <a:gd name="f896" fmla="*/ f644 1 9905999"/>
              <a:gd name="f897" fmla="*/ f645 1 2265361"/>
              <a:gd name="f898" fmla="*/ f646 1 9905999"/>
              <a:gd name="f899" fmla="*/ f647 1 9905999"/>
              <a:gd name="f900" fmla="*/ f648 1 9905999"/>
              <a:gd name="f901" fmla="*/ f649 1 9905999"/>
              <a:gd name="f902" fmla="*/ f650 1 2265361"/>
              <a:gd name="f903" fmla="*/ f651 1 9905999"/>
              <a:gd name="f904" fmla="*/ f652 1 2265361"/>
              <a:gd name="f905" fmla="*/ f653 1 9905999"/>
              <a:gd name="f906" fmla="*/ f654 1 9905999"/>
              <a:gd name="f907" fmla="*/ f655 1 9905999"/>
              <a:gd name="f908" fmla="*/ f656 1 2265361"/>
              <a:gd name="f909" fmla="*/ f657 1 9905999"/>
              <a:gd name="f910" fmla="*/ f658 1 9905999"/>
              <a:gd name="f911" fmla="*/ f659 1 2265361"/>
              <a:gd name="f912" fmla="*/ f660 1 9905999"/>
              <a:gd name="f913" fmla="*/ f661 1 2265361"/>
              <a:gd name="f914" fmla="*/ f662 1 9905999"/>
              <a:gd name="f915" fmla="*/ f663 1 2265361"/>
              <a:gd name="f916" fmla="*/ f664 1 2265361"/>
              <a:gd name="f917" fmla="*/ f665 1 9905999"/>
              <a:gd name="f918" fmla="*/ f666 1 9905999"/>
              <a:gd name="f919" fmla="*/ f667 1 9905999"/>
              <a:gd name="f920" fmla="*/ f668 1 2265361"/>
              <a:gd name="f921" fmla="*/ f669 1 9905999"/>
              <a:gd name="f922" fmla="*/ f670 1 9905999"/>
              <a:gd name="f923" fmla="*/ f671 1 9905999"/>
              <a:gd name="f924" fmla="*/ f672 1 2265361"/>
              <a:gd name="f925" fmla="*/ f673 1 9905999"/>
              <a:gd name="f926" fmla="*/ f674 1 2265361"/>
              <a:gd name="f927" fmla="*/ f675 1 9905999"/>
              <a:gd name="f928" fmla="*/ f676 1 9905999"/>
              <a:gd name="f929" fmla="*/ f677 1 2265361"/>
              <a:gd name="f930" fmla="*/ f678 1 9905999"/>
              <a:gd name="f931" fmla="*/ f679 1 9905999"/>
              <a:gd name="f932" fmla="*/ f680 1 9905999"/>
              <a:gd name="f933" fmla="*/ f681 1 9905999"/>
              <a:gd name="f934" fmla="*/ f682 1 9905999"/>
              <a:gd name="f935" fmla="*/ f683 1 9905999"/>
              <a:gd name="f936" fmla="*/ f684 1 2265361"/>
              <a:gd name="f937" fmla="*/ f685 1 9905999"/>
              <a:gd name="f938" fmla="*/ f686 1 9905999"/>
              <a:gd name="f939" fmla="*/ f687 1 9905999"/>
              <a:gd name="f940" fmla="*/ f688 1 9905999"/>
              <a:gd name="f941" fmla="*/ f689 1 2265361"/>
              <a:gd name="f942" fmla="*/ f690 1 2265361"/>
              <a:gd name="f943" fmla="*/ f691 1 9905999"/>
              <a:gd name="f944" fmla="*/ f692 1 9905999"/>
              <a:gd name="f945" fmla="*/ f693 1 9905999"/>
              <a:gd name="f946" fmla="*/ f694 1 9905999"/>
              <a:gd name="f947" fmla="*/ f695 1 9905999"/>
              <a:gd name="f948" fmla="*/ f696 1 9905999"/>
              <a:gd name="f949" fmla="*/ f697 1 9905999"/>
              <a:gd name="f950" fmla="*/ f698 1 9905999"/>
              <a:gd name="f951" fmla="*/ f699 1 9905999"/>
              <a:gd name="f952" fmla="*/ f700 1 9905999"/>
              <a:gd name="f953" fmla="*/ f701 1 9905999"/>
              <a:gd name="f954" fmla="*/ f5 1 f449"/>
              <a:gd name="f955" fmla="*/ f6 1 f449"/>
              <a:gd name="f956" fmla="*/ f5 1 f450"/>
              <a:gd name="f957" fmla="*/ f7 1 f450"/>
              <a:gd name="f958" fmla="+- f702 0 f1"/>
              <a:gd name="f959" fmla="*/ f703 1 f449"/>
              <a:gd name="f960" fmla="*/ f704 1 f450"/>
              <a:gd name="f961" fmla="*/ f705 1 f449"/>
              <a:gd name="f962" fmla="*/ f706 1 f450"/>
              <a:gd name="f963" fmla="*/ f707 1 f449"/>
              <a:gd name="f964" fmla="*/ f708 1 f450"/>
              <a:gd name="f965" fmla="*/ f709 1 f450"/>
              <a:gd name="f966" fmla="*/ f710 1 f449"/>
              <a:gd name="f967" fmla="*/ f711 1 f449"/>
              <a:gd name="f968" fmla="*/ f712 1 f450"/>
              <a:gd name="f969" fmla="*/ f713 1 f449"/>
              <a:gd name="f970" fmla="*/ f714 1 f450"/>
              <a:gd name="f971" fmla="*/ f715 1 f449"/>
              <a:gd name="f972" fmla="*/ f716 1 f449"/>
              <a:gd name="f973" fmla="*/ f717 1 f450"/>
              <a:gd name="f974" fmla="*/ f718 1 f449"/>
              <a:gd name="f975" fmla="*/ f719 1 f450"/>
              <a:gd name="f976" fmla="*/ f720 1 f449"/>
              <a:gd name="f977" fmla="*/ f721 1 f450"/>
              <a:gd name="f978" fmla="*/ f722 1 f449"/>
              <a:gd name="f979" fmla="*/ f723 1 f450"/>
              <a:gd name="f980" fmla="*/ f724 1 f450"/>
              <a:gd name="f981" fmla="*/ f725 1 f450"/>
              <a:gd name="f982" fmla="*/ f726 1 f449"/>
              <a:gd name="f983" fmla="*/ f727 1 f449"/>
              <a:gd name="f984" fmla="*/ f728 1 f449"/>
              <a:gd name="f985" fmla="*/ f729 1 f449"/>
              <a:gd name="f986" fmla="*/ f730 1 f449"/>
              <a:gd name="f987" fmla="*/ f731 1 f449"/>
              <a:gd name="f988" fmla="*/ f732 1 f449"/>
              <a:gd name="f989" fmla="*/ f733 1 f449"/>
              <a:gd name="f990" fmla="*/ f734 1 f450"/>
              <a:gd name="f991" fmla="*/ f735 1 f449"/>
              <a:gd name="f992" fmla="*/ f736 1 f450"/>
              <a:gd name="f993" fmla="*/ f737 1 f449"/>
              <a:gd name="f994" fmla="*/ f738 1 f449"/>
              <a:gd name="f995" fmla="*/ f739 1 f450"/>
              <a:gd name="f996" fmla="*/ f740 1 f449"/>
              <a:gd name="f997" fmla="*/ f741 1 f450"/>
              <a:gd name="f998" fmla="*/ f742 1 f449"/>
              <a:gd name="f999" fmla="*/ f743 1 f449"/>
              <a:gd name="f1000" fmla="*/ f744 1 f450"/>
              <a:gd name="f1001" fmla="*/ f745 1 f449"/>
              <a:gd name="f1002" fmla="*/ f746 1 f450"/>
              <a:gd name="f1003" fmla="*/ f747 1 f449"/>
              <a:gd name="f1004" fmla="*/ f748 1 f449"/>
              <a:gd name="f1005" fmla="*/ f749 1 f450"/>
              <a:gd name="f1006" fmla="*/ f750 1 f449"/>
              <a:gd name="f1007" fmla="*/ f751 1 f449"/>
              <a:gd name="f1008" fmla="*/ f752 1 f449"/>
              <a:gd name="f1009" fmla="*/ f753 1 f450"/>
              <a:gd name="f1010" fmla="*/ f754 1 f449"/>
              <a:gd name="f1011" fmla="*/ f755 1 f450"/>
              <a:gd name="f1012" fmla="*/ f756 1 f449"/>
              <a:gd name="f1013" fmla="*/ f757 1 f449"/>
              <a:gd name="f1014" fmla="*/ f758 1 f449"/>
              <a:gd name="f1015" fmla="*/ f759 1 f450"/>
              <a:gd name="f1016" fmla="*/ f760 1 f449"/>
              <a:gd name="f1017" fmla="*/ f761 1 f449"/>
              <a:gd name="f1018" fmla="*/ f762 1 f449"/>
              <a:gd name="f1019" fmla="*/ f763 1 f450"/>
              <a:gd name="f1020" fmla="*/ f764 1 f449"/>
              <a:gd name="f1021" fmla="*/ f765 1 f449"/>
              <a:gd name="f1022" fmla="*/ f766 1 f449"/>
              <a:gd name="f1023" fmla="*/ f767 1 f450"/>
              <a:gd name="f1024" fmla="*/ f768 1 f449"/>
              <a:gd name="f1025" fmla="*/ f769 1 f449"/>
              <a:gd name="f1026" fmla="*/ f770 1 f449"/>
              <a:gd name="f1027" fmla="*/ f771 1 f449"/>
              <a:gd name="f1028" fmla="*/ f772 1 f449"/>
              <a:gd name="f1029" fmla="*/ f773 1 f449"/>
              <a:gd name="f1030" fmla="*/ f774 1 f449"/>
              <a:gd name="f1031" fmla="*/ f775 1 f449"/>
              <a:gd name="f1032" fmla="*/ f776 1 f450"/>
              <a:gd name="f1033" fmla="*/ f777 1 f449"/>
              <a:gd name="f1034" fmla="*/ f778 1 f449"/>
              <a:gd name="f1035" fmla="*/ f779 1 f449"/>
              <a:gd name="f1036" fmla="*/ f780 1 f449"/>
              <a:gd name="f1037" fmla="*/ f781 1 f449"/>
              <a:gd name="f1038" fmla="*/ f782 1 f449"/>
              <a:gd name="f1039" fmla="*/ f783 1 f449"/>
              <a:gd name="f1040" fmla="*/ f784 1 f449"/>
              <a:gd name="f1041" fmla="*/ f785 1 f449"/>
              <a:gd name="f1042" fmla="*/ f786 1 f449"/>
              <a:gd name="f1043" fmla="*/ f787 1 f449"/>
              <a:gd name="f1044" fmla="*/ f788 1 f449"/>
              <a:gd name="f1045" fmla="*/ f789 1 f450"/>
              <a:gd name="f1046" fmla="*/ f790 1 f449"/>
              <a:gd name="f1047" fmla="*/ f791 1 f449"/>
              <a:gd name="f1048" fmla="*/ f792 1 f450"/>
              <a:gd name="f1049" fmla="*/ f793 1 f450"/>
              <a:gd name="f1050" fmla="*/ f794 1 f449"/>
              <a:gd name="f1051" fmla="*/ f795 1 f449"/>
              <a:gd name="f1052" fmla="*/ f796 1 f449"/>
              <a:gd name="f1053" fmla="*/ f797 1 f450"/>
              <a:gd name="f1054" fmla="*/ f798 1 f449"/>
              <a:gd name="f1055" fmla="*/ f799 1 f449"/>
              <a:gd name="f1056" fmla="*/ f800 1 f449"/>
              <a:gd name="f1057" fmla="*/ f801 1 f450"/>
              <a:gd name="f1058" fmla="*/ f802 1 f449"/>
              <a:gd name="f1059" fmla="*/ f803 1 f449"/>
              <a:gd name="f1060" fmla="*/ f804 1 f449"/>
              <a:gd name="f1061" fmla="*/ f805 1 f450"/>
              <a:gd name="f1062" fmla="*/ f806 1 f449"/>
              <a:gd name="f1063" fmla="*/ f807 1 f450"/>
              <a:gd name="f1064" fmla="*/ f808 1 f449"/>
              <a:gd name="f1065" fmla="*/ f809 1 f450"/>
              <a:gd name="f1066" fmla="*/ f810 1 f450"/>
              <a:gd name="f1067" fmla="*/ f811 1 f449"/>
              <a:gd name="f1068" fmla="*/ f812 1 f449"/>
              <a:gd name="f1069" fmla="*/ f813 1 f449"/>
              <a:gd name="f1070" fmla="*/ f814 1 f450"/>
              <a:gd name="f1071" fmla="*/ f815 1 f450"/>
              <a:gd name="f1072" fmla="*/ f816 1 f449"/>
              <a:gd name="f1073" fmla="*/ f817 1 f449"/>
              <a:gd name="f1074" fmla="*/ f818 1 f449"/>
              <a:gd name="f1075" fmla="*/ f819 1 f449"/>
              <a:gd name="f1076" fmla="*/ f820 1 f449"/>
              <a:gd name="f1077" fmla="*/ f821 1 f449"/>
              <a:gd name="f1078" fmla="*/ f822 1 f449"/>
              <a:gd name="f1079" fmla="*/ f823 1 f449"/>
              <a:gd name="f1080" fmla="*/ f824 1 f449"/>
              <a:gd name="f1081" fmla="*/ f825 1 f449"/>
              <a:gd name="f1082" fmla="*/ f826 1 f449"/>
              <a:gd name="f1083" fmla="*/ f827 1 f449"/>
              <a:gd name="f1084" fmla="*/ f828 1 f449"/>
              <a:gd name="f1085" fmla="*/ f829 1 f449"/>
              <a:gd name="f1086" fmla="*/ f830 1 f449"/>
              <a:gd name="f1087" fmla="*/ f831 1 f449"/>
              <a:gd name="f1088" fmla="*/ f832 1 f450"/>
              <a:gd name="f1089" fmla="*/ f833 1 f449"/>
              <a:gd name="f1090" fmla="*/ f834 1 f449"/>
              <a:gd name="f1091" fmla="*/ f835 1 f449"/>
              <a:gd name="f1092" fmla="*/ f836 1 f450"/>
              <a:gd name="f1093" fmla="*/ f837 1 f449"/>
              <a:gd name="f1094" fmla="*/ f838 1 f450"/>
              <a:gd name="f1095" fmla="*/ f839 1 f449"/>
              <a:gd name="f1096" fmla="*/ f840 1 f449"/>
              <a:gd name="f1097" fmla="*/ f841 1 f450"/>
              <a:gd name="f1098" fmla="*/ f842 1 f449"/>
              <a:gd name="f1099" fmla="*/ f843 1 f450"/>
              <a:gd name="f1100" fmla="*/ f844 1 f449"/>
              <a:gd name="f1101" fmla="*/ f845 1 f450"/>
              <a:gd name="f1102" fmla="*/ f846 1 f449"/>
              <a:gd name="f1103" fmla="*/ f847 1 f450"/>
              <a:gd name="f1104" fmla="*/ f848 1 f449"/>
              <a:gd name="f1105" fmla="*/ f849 1 f450"/>
              <a:gd name="f1106" fmla="*/ f850 1 f449"/>
              <a:gd name="f1107" fmla="*/ f851 1 f449"/>
              <a:gd name="f1108" fmla="*/ f852 1 f450"/>
              <a:gd name="f1109" fmla="*/ f853 1 f449"/>
              <a:gd name="f1110" fmla="*/ f854 1 f450"/>
              <a:gd name="f1111" fmla="*/ f855 1 f449"/>
              <a:gd name="f1112" fmla="*/ f856 1 f449"/>
              <a:gd name="f1113" fmla="*/ f857 1 f450"/>
              <a:gd name="f1114" fmla="*/ f858 1 f449"/>
              <a:gd name="f1115" fmla="*/ f859 1 f450"/>
              <a:gd name="f1116" fmla="*/ f860 1 f449"/>
              <a:gd name="f1117" fmla="*/ f861 1 f449"/>
              <a:gd name="f1118" fmla="*/ f862 1 f450"/>
              <a:gd name="f1119" fmla="*/ f863 1 f449"/>
              <a:gd name="f1120" fmla="*/ f864 1 f450"/>
              <a:gd name="f1121" fmla="*/ f865 1 f449"/>
              <a:gd name="f1122" fmla="*/ f866 1 f450"/>
              <a:gd name="f1123" fmla="*/ f867 1 f449"/>
              <a:gd name="f1124" fmla="*/ f868 1 f450"/>
              <a:gd name="f1125" fmla="*/ f869 1 f449"/>
              <a:gd name="f1126" fmla="*/ f870 1 f449"/>
              <a:gd name="f1127" fmla="*/ f871 1 f449"/>
              <a:gd name="f1128" fmla="*/ f872 1 f449"/>
              <a:gd name="f1129" fmla="*/ f873 1 f449"/>
              <a:gd name="f1130" fmla="*/ f874 1 f450"/>
              <a:gd name="f1131" fmla="*/ f875 1 f449"/>
              <a:gd name="f1132" fmla="*/ f876 1 f450"/>
              <a:gd name="f1133" fmla="*/ f877 1 f449"/>
              <a:gd name="f1134" fmla="*/ f878 1 f449"/>
              <a:gd name="f1135" fmla="*/ f879 1 f450"/>
              <a:gd name="f1136" fmla="*/ f880 1 f449"/>
              <a:gd name="f1137" fmla="*/ f881 1 f449"/>
              <a:gd name="f1138" fmla="*/ f882 1 f449"/>
              <a:gd name="f1139" fmla="*/ f883 1 f449"/>
              <a:gd name="f1140" fmla="*/ f884 1 f449"/>
              <a:gd name="f1141" fmla="*/ f885 1 f449"/>
              <a:gd name="f1142" fmla="*/ f886 1 f449"/>
              <a:gd name="f1143" fmla="*/ f887 1 f450"/>
              <a:gd name="f1144" fmla="*/ f888 1 f450"/>
              <a:gd name="f1145" fmla="*/ f889 1 f449"/>
              <a:gd name="f1146" fmla="*/ f890 1 f449"/>
              <a:gd name="f1147" fmla="*/ f891 1 f450"/>
              <a:gd name="f1148" fmla="*/ f892 1 f449"/>
              <a:gd name="f1149" fmla="*/ f893 1 f450"/>
              <a:gd name="f1150" fmla="*/ f894 1 f449"/>
              <a:gd name="f1151" fmla="*/ f895 1 f450"/>
              <a:gd name="f1152" fmla="*/ f896 1 f449"/>
              <a:gd name="f1153" fmla="*/ f897 1 f450"/>
              <a:gd name="f1154" fmla="*/ f898 1 f449"/>
              <a:gd name="f1155" fmla="*/ f899 1 f449"/>
              <a:gd name="f1156" fmla="*/ f900 1 f449"/>
              <a:gd name="f1157" fmla="*/ f901 1 f449"/>
              <a:gd name="f1158" fmla="*/ f902 1 f450"/>
              <a:gd name="f1159" fmla="*/ f903 1 f449"/>
              <a:gd name="f1160" fmla="*/ f904 1 f450"/>
              <a:gd name="f1161" fmla="*/ f905 1 f449"/>
              <a:gd name="f1162" fmla="*/ f906 1 f449"/>
              <a:gd name="f1163" fmla="*/ f907 1 f449"/>
              <a:gd name="f1164" fmla="*/ f908 1 f450"/>
              <a:gd name="f1165" fmla="*/ f909 1 f449"/>
              <a:gd name="f1166" fmla="*/ f910 1 f449"/>
              <a:gd name="f1167" fmla="*/ f911 1 f450"/>
              <a:gd name="f1168" fmla="*/ f912 1 f449"/>
              <a:gd name="f1169" fmla="*/ f913 1 f450"/>
              <a:gd name="f1170" fmla="*/ f914 1 f449"/>
              <a:gd name="f1171" fmla="*/ f915 1 f450"/>
              <a:gd name="f1172" fmla="*/ f916 1 f450"/>
              <a:gd name="f1173" fmla="*/ f917 1 f449"/>
              <a:gd name="f1174" fmla="*/ f918 1 f449"/>
              <a:gd name="f1175" fmla="*/ f919 1 f449"/>
              <a:gd name="f1176" fmla="*/ f920 1 f450"/>
              <a:gd name="f1177" fmla="*/ f921 1 f449"/>
              <a:gd name="f1178" fmla="*/ f922 1 f449"/>
              <a:gd name="f1179" fmla="*/ f923 1 f449"/>
              <a:gd name="f1180" fmla="*/ f924 1 f450"/>
              <a:gd name="f1181" fmla="*/ f925 1 f449"/>
              <a:gd name="f1182" fmla="*/ f926 1 f450"/>
              <a:gd name="f1183" fmla="*/ f927 1 f449"/>
              <a:gd name="f1184" fmla="*/ f928 1 f449"/>
              <a:gd name="f1185" fmla="*/ f929 1 f450"/>
              <a:gd name="f1186" fmla="*/ f930 1 f449"/>
              <a:gd name="f1187" fmla="*/ f931 1 f449"/>
              <a:gd name="f1188" fmla="*/ f932 1 f449"/>
              <a:gd name="f1189" fmla="*/ f933 1 f449"/>
              <a:gd name="f1190" fmla="*/ f934 1 f449"/>
              <a:gd name="f1191" fmla="*/ f935 1 f449"/>
              <a:gd name="f1192" fmla="*/ f936 1 f450"/>
              <a:gd name="f1193" fmla="*/ f937 1 f449"/>
              <a:gd name="f1194" fmla="*/ f938 1 f449"/>
              <a:gd name="f1195" fmla="*/ f939 1 f449"/>
              <a:gd name="f1196" fmla="*/ f940 1 f449"/>
              <a:gd name="f1197" fmla="*/ f941 1 f450"/>
              <a:gd name="f1198" fmla="*/ f942 1 f450"/>
              <a:gd name="f1199" fmla="*/ f943 1 f449"/>
              <a:gd name="f1200" fmla="*/ f944 1 f449"/>
              <a:gd name="f1201" fmla="*/ f945 1 f449"/>
              <a:gd name="f1202" fmla="*/ f946 1 f449"/>
              <a:gd name="f1203" fmla="*/ f947 1 f449"/>
              <a:gd name="f1204" fmla="*/ f948 1 f449"/>
              <a:gd name="f1205" fmla="*/ f949 1 f449"/>
              <a:gd name="f1206" fmla="*/ f950 1 f449"/>
              <a:gd name="f1207" fmla="*/ f951 1 f449"/>
              <a:gd name="f1208" fmla="*/ f952 1 f449"/>
              <a:gd name="f1209" fmla="*/ f953 1 f449"/>
              <a:gd name="f1210" fmla="*/ f954 f444 1"/>
              <a:gd name="f1211" fmla="*/ f955 f444 1"/>
              <a:gd name="f1212" fmla="*/ f957 f445 1"/>
              <a:gd name="f1213" fmla="*/ f956 f445 1"/>
              <a:gd name="f1214" fmla="*/ f959 f444 1"/>
              <a:gd name="f1215" fmla="*/ f960 f445 1"/>
              <a:gd name="f1216" fmla="*/ f961 f444 1"/>
              <a:gd name="f1217" fmla="*/ f962 f445 1"/>
              <a:gd name="f1218" fmla="*/ f963 f444 1"/>
              <a:gd name="f1219" fmla="*/ f964 f445 1"/>
              <a:gd name="f1220" fmla="*/ f965 f445 1"/>
              <a:gd name="f1221" fmla="*/ f966 f444 1"/>
              <a:gd name="f1222" fmla="*/ f967 f444 1"/>
              <a:gd name="f1223" fmla="*/ f968 f445 1"/>
              <a:gd name="f1224" fmla="*/ f969 f444 1"/>
              <a:gd name="f1225" fmla="*/ f970 f445 1"/>
              <a:gd name="f1226" fmla="*/ f971 f444 1"/>
              <a:gd name="f1227" fmla="*/ f972 f444 1"/>
              <a:gd name="f1228" fmla="*/ f973 f445 1"/>
              <a:gd name="f1229" fmla="*/ f974 f444 1"/>
              <a:gd name="f1230" fmla="*/ f975 f445 1"/>
              <a:gd name="f1231" fmla="*/ f976 f444 1"/>
              <a:gd name="f1232" fmla="*/ f977 f445 1"/>
              <a:gd name="f1233" fmla="*/ f978 f444 1"/>
              <a:gd name="f1234" fmla="*/ f979 f445 1"/>
              <a:gd name="f1235" fmla="*/ f980 f445 1"/>
              <a:gd name="f1236" fmla="*/ f981 f445 1"/>
              <a:gd name="f1237" fmla="*/ f982 f444 1"/>
              <a:gd name="f1238" fmla="*/ f983 f444 1"/>
              <a:gd name="f1239" fmla="*/ f984 f444 1"/>
              <a:gd name="f1240" fmla="*/ f985 f444 1"/>
              <a:gd name="f1241" fmla="*/ f986 f444 1"/>
              <a:gd name="f1242" fmla="*/ f987 f444 1"/>
              <a:gd name="f1243" fmla="*/ f988 f444 1"/>
              <a:gd name="f1244" fmla="*/ f989 f444 1"/>
              <a:gd name="f1245" fmla="*/ f990 f445 1"/>
              <a:gd name="f1246" fmla="*/ f991 f444 1"/>
              <a:gd name="f1247" fmla="*/ f992 f445 1"/>
              <a:gd name="f1248" fmla="*/ f993 f444 1"/>
              <a:gd name="f1249" fmla="*/ f994 f444 1"/>
              <a:gd name="f1250" fmla="*/ f995 f445 1"/>
              <a:gd name="f1251" fmla="*/ f996 f444 1"/>
              <a:gd name="f1252" fmla="*/ f997 f445 1"/>
              <a:gd name="f1253" fmla="*/ f998 f444 1"/>
              <a:gd name="f1254" fmla="*/ f999 f444 1"/>
              <a:gd name="f1255" fmla="*/ f1000 f445 1"/>
              <a:gd name="f1256" fmla="*/ f1001 f444 1"/>
              <a:gd name="f1257" fmla="*/ f1002 f445 1"/>
              <a:gd name="f1258" fmla="*/ f1003 f444 1"/>
              <a:gd name="f1259" fmla="*/ f1004 f444 1"/>
              <a:gd name="f1260" fmla="*/ f1005 f445 1"/>
              <a:gd name="f1261" fmla="*/ f1006 f444 1"/>
              <a:gd name="f1262" fmla="*/ f1007 f444 1"/>
              <a:gd name="f1263" fmla="*/ f1008 f444 1"/>
              <a:gd name="f1264" fmla="*/ f1009 f445 1"/>
              <a:gd name="f1265" fmla="*/ f1010 f444 1"/>
              <a:gd name="f1266" fmla="*/ f1011 f445 1"/>
              <a:gd name="f1267" fmla="*/ f1012 f444 1"/>
              <a:gd name="f1268" fmla="*/ f1013 f444 1"/>
              <a:gd name="f1269" fmla="*/ f1014 f444 1"/>
              <a:gd name="f1270" fmla="*/ f1015 f445 1"/>
              <a:gd name="f1271" fmla="*/ f1016 f444 1"/>
              <a:gd name="f1272" fmla="*/ f1017 f444 1"/>
              <a:gd name="f1273" fmla="*/ f1018 f444 1"/>
              <a:gd name="f1274" fmla="*/ f1019 f445 1"/>
              <a:gd name="f1275" fmla="*/ f1020 f444 1"/>
              <a:gd name="f1276" fmla="*/ f1021 f444 1"/>
              <a:gd name="f1277" fmla="*/ f1022 f444 1"/>
              <a:gd name="f1278" fmla="*/ f1023 f445 1"/>
              <a:gd name="f1279" fmla="*/ f1024 f444 1"/>
              <a:gd name="f1280" fmla="*/ f1025 f444 1"/>
              <a:gd name="f1281" fmla="*/ f1026 f444 1"/>
              <a:gd name="f1282" fmla="*/ f1027 f444 1"/>
              <a:gd name="f1283" fmla="*/ f1028 f444 1"/>
              <a:gd name="f1284" fmla="*/ f1029 f444 1"/>
              <a:gd name="f1285" fmla="*/ f1030 f444 1"/>
              <a:gd name="f1286" fmla="*/ f1031 f444 1"/>
              <a:gd name="f1287" fmla="*/ f1032 f445 1"/>
              <a:gd name="f1288" fmla="*/ f1033 f444 1"/>
              <a:gd name="f1289" fmla="*/ f1034 f444 1"/>
              <a:gd name="f1290" fmla="*/ f1035 f444 1"/>
              <a:gd name="f1291" fmla="*/ f1036 f444 1"/>
              <a:gd name="f1292" fmla="*/ f1037 f444 1"/>
              <a:gd name="f1293" fmla="*/ f1038 f444 1"/>
              <a:gd name="f1294" fmla="*/ f1039 f444 1"/>
              <a:gd name="f1295" fmla="*/ f1040 f444 1"/>
              <a:gd name="f1296" fmla="*/ f1041 f444 1"/>
              <a:gd name="f1297" fmla="*/ f1042 f444 1"/>
              <a:gd name="f1298" fmla="*/ f1043 f444 1"/>
              <a:gd name="f1299" fmla="*/ f1044 f444 1"/>
              <a:gd name="f1300" fmla="*/ f1045 f445 1"/>
              <a:gd name="f1301" fmla="*/ f1046 f444 1"/>
              <a:gd name="f1302" fmla="*/ f1047 f444 1"/>
              <a:gd name="f1303" fmla="*/ f1048 f445 1"/>
              <a:gd name="f1304" fmla="*/ f1049 f445 1"/>
              <a:gd name="f1305" fmla="*/ f1050 f444 1"/>
              <a:gd name="f1306" fmla="*/ f1051 f444 1"/>
              <a:gd name="f1307" fmla="*/ f1052 f444 1"/>
              <a:gd name="f1308" fmla="*/ f1053 f445 1"/>
              <a:gd name="f1309" fmla="*/ f1054 f444 1"/>
              <a:gd name="f1310" fmla="*/ f1055 f444 1"/>
              <a:gd name="f1311" fmla="*/ f1056 f444 1"/>
              <a:gd name="f1312" fmla="*/ f1057 f445 1"/>
              <a:gd name="f1313" fmla="*/ f1058 f444 1"/>
              <a:gd name="f1314" fmla="*/ f1059 f444 1"/>
              <a:gd name="f1315" fmla="*/ f1060 f444 1"/>
              <a:gd name="f1316" fmla="*/ f1061 f445 1"/>
              <a:gd name="f1317" fmla="*/ f1062 f444 1"/>
              <a:gd name="f1318" fmla="*/ f1063 f445 1"/>
              <a:gd name="f1319" fmla="*/ f1064 f444 1"/>
              <a:gd name="f1320" fmla="*/ f1065 f445 1"/>
              <a:gd name="f1321" fmla="*/ f1066 f445 1"/>
              <a:gd name="f1322" fmla="*/ f1067 f444 1"/>
              <a:gd name="f1323" fmla="*/ f1068 f444 1"/>
              <a:gd name="f1324" fmla="*/ f1069 f444 1"/>
              <a:gd name="f1325" fmla="*/ f1070 f445 1"/>
              <a:gd name="f1326" fmla="*/ f1071 f445 1"/>
              <a:gd name="f1327" fmla="*/ f1072 f444 1"/>
              <a:gd name="f1328" fmla="*/ f1073 f444 1"/>
              <a:gd name="f1329" fmla="*/ f1074 f444 1"/>
              <a:gd name="f1330" fmla="*/ f1075 f444 1"/>
              <a:gd name="f1331" fmla="*/ f1076 f444 1"/>
              <a:gd name="f1332" fmla="*/ f1077 f444 1"/>
              <a:gd name="f1333" fmla="*/ f1078 f444 1"/>
              <a:gd name="f1334" fmla="*/ f1079 f444 1"/>
              <a:gd name="f1335" fmla="*/ f1080 f444 1"/>
              <a:gd name="f1336" fmla="*/ f1081 f444 1"/>
              <a:gd name="f1337" fmla="*/ f1082 f444 1"/>
              <a:gd name="f1338" fmla="*/ f1083 f444 1"/>
              <a:gd name="f1339" fmla="*/ f1084 f444 1"/>
              <a:gd name="f1340" fmla="*/ f1085 f444 1"/>
              <a:gd name="f1341" fmla="*/ f1086 f444 1"/>
              <a:gd name="f1342" fmla="*/ f1087 f444 1"/>
              <a:gd name="f1343" fmla="*/ f1088 f445 1"/>
              <a:gd name="f1344" fmla="*/ f1089 f444 1"/>
              <a:gd name="f1345" fmla="*/ f1090 f444 1"/>
              <a:gd name="f1346" fmla="*/ f1091 f444 1"/>
              <a:gd name="f1347" fmla="*/ f1092 f445 1"/>
              <a:gd name="f1348" fmla="*/ f1093 f444 1"/>
              <a:gd name="f1349" fmla="*/ f1094 f445 1"/>
              <a:gd name="f1350" fmla="*/ f1095 f444 1"/>
              <a:gd name="f1351" fmla="*/ f1096 f444 1"/>
              <a:gd name="f1352" fmla="*/ f1097 f445 1"/>
              <a:gd name="f1353" fmla="*/ f1098 f444 1"/>
              <a:gd name="f1354" fmla="*/ f1099 f445 1"/>
              <a:gd name="f1355" fmla="*/ f1100 f444 1"/>
              <a:gd name="f1356" fmla="*/ f1101 f445 1"/>
              <a:gd name="f1357" fmla="*/ f1102 f444 1"/>
              <a:gd name="f1358" fmla="*/ f1103 f445 1"/>
              <a:gd name="f1359" fmla="*/ f1104 f444 1"/>
              <a:gd name="f1360" fmla="*/ f1105 f445 1"/>
              <a:gd name="f1361" fmla="*/ f1106 f444 1"/>
              <a:gd name="f1362" fmla="*/ f1107 f444 1"/>
              <a:gd name="f1363" fmla="*/ f1108 f445 1"/>
              <a:gd name="f1364" fmla="*/ f1109 f444 1"/>
              <a:gd name="f1365" fmla="*/ f1110 f445 1"/>
              <a:gd name="f1366" fmla="*/ f1111 f444 1"/>
              <a:gd name="f1367" fmla="*/ f1112 f444 1"/>
              <a:gd name="f1368" fmla="*/ f1113 f445 1"/>
              <a:gd name="f1369" fmla="*/ f1114 f444 1"/>
              <a:gd name="f1370" fmla="*/ f1115 f445 1"/>
              <a:gd name="f1371" fmla="*/ f1116 f444 1"/>
              <a:gd name="f1372" fmla="*/ f1117 f444 1"/>
              <a:gd name="f1373" fmla="*/ f1118 f445 1"/>
              <a:gd name="f1374" fmla="*/ f1119 f444 1"/>
              <a:gd name="f1375" fmla="*/ f1120 f445 1"/>
              <a:gd name="f1376" fmla="*/ f1121 f444 1"/>
              <a:gd name="f1377" fmla="*/ f1122 f445 1"/>
              <a:gd name="f1378" fmla="*/ f1123 f444 1"/>
              <a:gd name="f1379" fmla="*/ f1124 f445 1"/>
              <a:gd name="f1380" fmla="*/ f1125 f444 1"/>
              <a:gd name="f1381" fmla="*/ f1126 f444 1"/>
              <a:gd name="f1382" fmla="*/ f1127 f444 1"/>
              <a:gd name="f1383" fmla="*/ f1128 f444 1"/>
              <a:gd name="f1384" fmla="*/ f1129 f444 1"/>
              <a:gd name="f1385" fmla="*/ f1130 f445 1"/>
              <a:gd name="f1386" fmla="*/ f1131 f444 1"/>
              <a:gd name="f1387" fmla="*/ f1132 f445 1"/>
              <a:gd name="f1388" fmla="*/ f1133 f444 1"/>
              <a:gd name="f1389" fmla="*/ f1134 f444 1"/>
              <a:gd name="f1390" fmla="*/ f1135 f445 1"/>
              <a:gd name="f1391" fmla="*/ f1136 f444 1"/>
              <a:gd name="f1392" fmla="*/ f1137 f444 1"/>
              <a:gd name="f1393" fmla="*/ f1138 f444 1"/>
              <a:gd name="f1394" fmla="*/ f1139 f444 1"/>
              <a:gd name="f1395" fmla="*/ f1140 f444 1"/>
              <a:gd name="f1396" fmla="*/ f1141 f444 1"/>
              <a:gd name="f1397" fmla="*/ f1142 f444 1"/>
              <a:gd name="f1398" fmla="*/ f1143 f445 1"/>
              <a:gd name="f1399" fmla="*/ f1144 f445 1"/>
              <a:gd name="f1400" fmla="*/ f1145 f444 1"/>
              <a:gd name="f1401" fmla="*/ f1146 f444 1"/>
              <a:gd name="f1402" fmla="*/ f1147 f445 1"/>
              <a:gd name="f1403" fmla="*/ f1148 f444 1"/>
              <a:gd name="f1404" fmla="*/ f1149 f445 1"/>
              <a:gd name="f1405" fmla="*/ f1150 f444 1"/>
              <a:gd name="f1406" fmla="*/ f1151 f445 1"/>
              <a:gd name="f1407" fmla="*/ f1152 f444 1"/>
              <a:gd name="f1408" fmla="*/ f1153 f445 1"/>
              <a:gd name="f1409" fmla="*/ f1154 f444 1"/>
              <a:gd name="f1410" fmla="*/ f1155 f444 1"/>
              <a:gd name="f1411" fmla="*/ f1156 f444 1"/>
              <a:gd name="f1412" fmla="*/ f1157 f444 1"/>
              <a:gd name="f1413" fmla="*/ f1158 f445 1"/>
              <a:gd name="f1414" fmla="*/ f1159 f444 1"/>
              <a:gd name="f1415" fmla="*/ f1160 f445 1"/>
              <a:gd name="f1416" fmla="*/ f1161 f444 1"/>
              <a:gd name="f1417" fmla="*/ f1162 f444 1"/>
              <a:gd name="f1418" fmla="*/ f1163 f444 1"/>
              <a:gd name="f1419" fmla="*/ f1164 f445 1"/>
              <a:gd name="f1420" fmla="*/ f1165 f444 1"/>
              <a:gd name="f1421" fmla="*/ f1166 f444 1"/>
              <a:gd name="f1422" fmla="*/ f1167 f445 1"/>
              <a:gd name="f1423" fmla="*/ f1168 f444 1"/>
              <a:gd name="f1424" fmla="*/ f1169 f445 1"/>
              <a:gd name="f1425" fmla="*/ f1170 f444 1"/>
              <a:gd name="f1426" fmla="*/ f1171 f445 1"/>
              <a:gd name="f1427" fmla="*/ f1172 f445 1"/>
              <a:gd name="f1428" fmla="*/ f1173 f444 1"/>
              <a:gd name="f1429" fmla="*/ f1174 f444 1"/>
              <a:gd name="f1430" fmla="*/ f1175 f444 1"/>
              <a:gd name="f1431" fmla="*/ f1176 f445 1"/>
              <a:gd name="f1432" fmla="*/ f1177 f444 1"/>
              <a:gd name="f1433" fmla="*/ f1178 f444 1"/>
              <a:gd name="f1434" fmla="*/ f1179 f444 1"/>
              <a:gd name="f1435" fmla="*/ f1180 f445 1"/>
              <a:gd name="f1436" fmla="*/ f1181 f444 1"/>
              <a:gd name="f1437" fmla="*/ f1182 f445 1"/>
              <a:gd name="f1438" fmla="*/ f1183 f444 1"/>
              <a:gd name="f1439" fmla="*/ f1184 f444 1"/>
              <a:gd name="f1440" fmla="*/ f1185 f445 1"/>
              <a:gd name="f1441" fmla="*/ f1186 f444 1"/>
              <a:gd name="f1442" fmla="*/ f1187 f444 1"/>
              <a:gd name="f1443" fmla="*/ f1188 f444 1"/>
              <a:gd name="f1444" fmla="*/ f1189 f444 1"/>
              <a:gd name="f1445" fmla="*/ f1190 f444 1"/>
              <a:gd name="f1446" fmla="*/ f1191 f444 1"/>
              <a:gd name="f1447" fmla="*/ f1192 f445 1"/>
              <a:gd name="f1448" fmla="*/ f1193 f444 1"/>
              <a:gd name="f1449" fmla="*/ f1194 f444 1"/>
              <a:gd name="f1450" fmla="*/ f1195 f444 1"/>
              <a:gd name="f1451" fmla="*/ f1196 f444 1"/>
              <a:gd name="f1452" fmla="*/ f1197 f445 1"/>
              <a:gd name="f1453" fmla="*/ f1198 f445 1"/>
              <a:gd name="f1454" fmla="*/ f1199 f444 1"/>
              <a:gd name="f1455" fmla="*/ f1200 f444 1"/>
              <a:gd name="f1456" fmla="*/ f1201 f444 1"/>
              <a:gd name="f1457" fmla="*/ f1202 f444 1"/>
              <a:gd name="f1458" fmla="*/ f1203 f444 1"/>
              <a:gd name="f1459" fmla="*/ f1204 f444 1"/>
              <a:gd name="f1460" fmla="*/ f1205 f444 1"/>
              <a:gd name="f1461" fmla="*/ f1206 f444 1"/>
              <a:gd name="f1462" fmla="*/ f1207 f444 1"/>
              <a:gd name="f1463" fmla="*/ f1208 f444 1"/>
              <a:gd name="f1464" fmla="*/ f1209 f44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958">
                <a:pos x="f1214" y="f1215"/>
              </a:cxn>
              <a:cxn ang="f958">
                <a:pos x="f1216" y="f1215"/>
              </a:cxn>
              <a:cxn ang="f958">
                <a:pos x="f1216" y="f1217"/>
              </a:cxn>
              <a:cxn ang="f958">
                <a:pos x="f1214" y="f1217"/>
              </a:cxn>
              <a:cxn ang="f958">
                <a:pos x="f1214" y="f1215"/>
              </a:cxn>
              <a:cxn ang="f958">
                <a:pos x="f1218" y="f1219"/>
              </a:cxn>
              <a:cxn ang="f958">
                <a:pos x="f1218" y="f1220"/>
              </a:cxn>
              <a:cxn ang="f958">
                <a:pos x="f1221" y="f1220"/>
              </a:cxn>
              <a:cxn ang="f958">
                <a:pos x="f1222" y="f1223"/>
              </a:cxn>
              <a:cxn ang="f958">
                <a:pos x="f1221" y="f1219"/>
              </a:cxn>
              <a:cxn ang="f958">
                <a:pos x="f1218" y="f1219"/>
              </a:cxn>
              <a:cxn ang="f958">
                <a:pos x="f1224" y="f1219"/>
              </a:cxn>
              <a:cxn ang="f958">
                <a:pos x="f1224" y="f1225"/>
              </a:cxn>
              <a:cxn ang="f958">
                <a:pos x="f1226" y="f1225"/>
              </a:cxn>
              <a:cxn ang="f958">
                <a:pos x="f1227" y="f1228"/>
              </a:cxn>
              <a:cxn ang="f958">
                <a:pos x="f1226" y="f1219"/>
              </a:cxn>
              <a:cxn ang="f958">
                <a:pos x="f1224" y="f1219"/>
              </a:cxn>
              <a:cxn ang="f958">
                <a:pos x="f1229" y="f1230"/>
              </a:cxn>
              <a:cxn ang="f958">
                <a:pos x="f1231" y="f1232"/>
              </a:cxn>
              <a:cxn ang="f958">
                <a:pos x="f1233" y="f1234"/>
              </a:cxn>
              <a:cxn ang="f958">
                <a:pos x="f1231" y="f1235"/>
              </a:cxn>
              <a:cxn ang="f958">
                <a:pos x="f1229" y="f1236"/>
              </a:cxn>
              <a:cxn ang="f958">
                <a:pos x="f1237" y="f1235"/>
              </a:cxn>
              <a:cxn ang="f958">
                <a:pos x="f1238" y="f1234"/>
              </a:cxn>
              <a:cxn ang="f958">
                <a:pos x="f1237" y="f1232"/>
              </a:cxn>
              <a:cxn ang="f958">
                <a:pos x="f1229" y="f1230"/>
              </a:cxn>
              <a:cxn ang="f958">
                <a:pos x="f1239" y="f1230"/>
              </a:cxn>
              <a:cxn ang="f958">
                <a:pos x="f1240" y="f1232"/>
              </a:cxn>
              <a:cxn ang="f958">
                <a:pos x="f1241" y="f1234"/>
              </a:cxn>
              <a:cxn ang="f958">
                <a:pos x="f1240" y="f1235"/>
              </a:cxn>
              <a:cxn ang="f958">
                <a:pos x="f1239" y="f1236"/>
              </a:cxn>
              <a:cxn ang="f958">
                <a:pos x="f1242" y="f1235"/>
              </a:cxn>
              <a:cxn ang="f958">
                <a:pos x="f1243" y="f1234"/>
              </a:cxn>
              <a:cxn ang="f958">
                <a:pos x="f1242" y="f1232"/>
              </a:cxn>
              <a:cxn ang="f958">
                <a:pos x="f1239" y="f1230"/>
              </a:cxn>
              <a:cxn ang="f958">
                <a:pos x="f1244" y="f1245"/>
              </a:cxn>
              <a:cxn ang="f958">
                <a:pos x="f1221" y="f1245"/>
              </a:cxn>
              <a:cxn ang="f958">
                <a:pos x="f1246" y="f1247"/>
              </a:cxn>
              <a:cxn ang="f958">
                <a:pos x="f1248" y="f1223"/>
              </a:cxn>
              <a:cxn ang="f958">
                <a:pos x="f1249" y="f1250"/>
              </a:cxn>
              <a:cxn ang="f958">
                <a:pos x="f1251" y="f1252"/>
              </a:cxn>
              <a:cxn ang="f958">
                <a:pos x="f1218" y="f1252"/>
              </a:cxn>
              <a:cxn ang="f958">
                <a:pos x="f1218" y="f1215"/>
              </a:cxn>
              <a:cxn ang="f958">
                <a:pos x="f1244" y="f1215"/>
              </a:cxn>
              <a:cxn ang="f958">
                <a:pos x="f1244" y="f1245"/>
              </a:cxn>
              <a:cxn ang="f958">
                <a:pos x="f1253" y="f1245"/>
              </a:cxn>
              <a:cxn ang="f958">
                <a:pos x="f1254" y="f1245"/>
              </a:cxn>
              <a:cxn ang="f958">
                <a:pos x="f1254" y="f1255"/>
              </a:cxn>
              <a:cxn ang="f958">
                <a:pos x="f1256" y="f1257"/>
              </a:cxn>
              <a:cxn ang="f958">
                <a:pos x="f1258" y="f1255"/>
              </a:cxn>
              <a:cxn ang="f958">
                <a:pos x="f1258" y="f1245"/>
              </a:cxn>
              <a:cxn ang="f958">
                <a:pos x="f1259" y="f1245"/>
              </a:cxn>
              <a:cxn ang="f958">
                <a:pos x="f1259" y="f1255"/>
              </a:cxn>
              <a:cxn ang="f958">
                <a:pos x="f1256" y="f1260"/>
              </a:cxn>
              <a:cxn ang="f958">
                <a:pos x="f1253" y="f1255"/>
              </a:cxn>
              <a:cxn ang="f958">
                <a:pos x="f1253" y="f1245"/>
              </a:cxn>
              <a:cxn ang="f958">
                <a:pos x="f1261" y="f1245"/>
              </a:cxn>
              <a:cxn ang="f958">
                <a:pos x="f1226" y="f1245"/>
              </a:cxn>
              <a:cxn ang="f958">
                <a:pos x="f1262" y="f1247"/>
              </a:cxn>
              <a:cxn ang="f958">
                <a:pos x="f1263" y="f1228"/>
              </a:cxn>
              <a:cxn ang="f958">
                <a:pos x="f1262" y="f1264"/>
              </a:cxn>
              <a:cxn ang="f958">
                <a:pos x="f1265" y="f1266"/>
              </a:cxn>
              <a:cxn ang="f958">
                <a:pos x="f1267" y="f1215"/>
              </a:cxn>
              <a:cxn ang="f958">
                <a:pos x="f1268" y="f1215"/>
              </a:cxn>
              <a:cxn ang="f958">
                <a:pos x="f1269" y="f1270"/>
              </a:cxn>
              <a:cxn ang="f958">
                <a:pos x="f1224" y="f1270"/>
              </a:cxn>
              <a:cxn ang="f958">
                <a:pos x="f1224" y="f1215"/>
              </a:cxn>
              <a:cxn ang="f958">
                <a:pos x="f1261" y="f1215"/>
              </a:cxn>
              <a:cxn ang="f958">
                <a:pos x="f1261" y="f1245"/>
              </a:cxn>
              <a:cxn ang="f958">
                <a:pos x="f1271" y="f1245"/>
              </a:cxn>
              <a:cxn ang="f958">
                <a:pos x="f1272" y="f1245"/>
              </a:cxn>
              <a:cxn ang="f958">
                <a:pos x="f1273" y="f1274"/>
              </a:cxn>
              <a:cxn ang="f958">
                <a:pos x="f1273" y="f1245"/>
              </a:cxn>
              <a:cxn ang="f958">
                <a:pos x="f1275" y="f1245"/>
              </a:cxn>
              <a:cxn ang="f958">
                <a:pos x="f1275" y="f1215"/>
              </a:cxn>
              <a:cxn ang="f958">
                <a:pos x="f1276" y="f1215"/>
              </a:cxn>
              <a:cxn ang="f958">
                <a:pos x="f1277" y="f1278"/>
              </a:cxn>
              <a:cxn ang="f958">
                <a:pos x="f1277" y="f1215"/>
              </a:cxn>
              <a:cxn ang="f958">
                <a:pos x="f1271" y="f1215"/>
              </a:cxn>
              <a:cxn ang="f958">
                <a:pos x="f1271" y="f1245"/>
              </a:cxn>
              <a:cxn ang="f958">
                <a:pos x="f1279" y="f1245"/>
              </a:cxn>
              <a:cxn ang="f958">
                <a:pos x="f1280" y="f1245"/>
              </a:cxn>
              <a:cxn ang="f958">
                <a:pos x="f1280" y="f1215"/>
              </a:cxn>
              <a:cxn ang="f958">
                <a:pos x="f1279" y="f1215"/>
              </a:cxn>
              <a:cxn ang="f958">
                <a:pos x="f1279" y="f1245"/>
              </a:cxn>
              <a:cxn ang="f958">
                <a:pos x="f1281" y="f1245"/>
              </a:cxn>
              <a:cxn ang="f958">
                <a:pos x="f1282" y="f1245"/>
              </a:cxn>
              <a:cxn ang="f958">
                <a:pos x="f1282" y="f1219"/>
              </a:cxn>
              <a:cxn ang="f958">
                <a:pos x="f1283" y="f1219"/>
              </a:cxn>
              <a:cxn ang="f958">
                <a:pos x="f1283" y="f1215"/>
              </a:cxn>
              <a:cxn ang="f958">
                <a:pos x="f1284" y="f1215"/>
              </a:cxn>
              <a:cxn ang="f958">
                <a:pos x="f1284" y="f1219"/>
              </a:cxn>
              <a:cxn ang="f958">
                <a:pos x="f1281" y="f1219"/>
              </a:cxn>
              <a:cxn ang="f958">
                <a:pos x="f1281" y="f1245"/>
              </a:cxn>
              <a:cxn ang="f958">
                <a:pos x="f1285" y="f1245"/>
              </a:cxn>
              <a:cxn ang="f958">
                <a:pos x="f1286" y="f1245"/>
              </a:cxn>
              <a:cxn ang="f958">
                <a:pos x="f1286" y="f1287"/>
              </a:cxn>
              <a:cxn ang="f958">
                <a:pos x="f1288" y="f1287"/>
              </a:cxn>
              <a:cxn ang="f958">
                <a:pos x="f1288" y="f1215"/>
              </a:cxn>
              <a:cxn ang="f958">
                <a:pos x="f1285" y="f1215"/>
              </a:cxn>
              <a:cxn ang="f958">
                <a:pos x="f1285" y="f1245"/>
              </a:cxn>
              <a:cxn ang="f958">
                <a:pos x="f1289" y="f1245"/>
              </a:cxn>
              <a:cxn ang="f958">
                <a:pos x="f1290" y="f1245"/>
              </a:cxn>
              <a:cxn ang="f958">
                <a:pos x="f1290" y="f1255"/>
              </a:cxn>
              <a:cxn ang="f958">
                <a:pos x="f1291" y="f1257"/>
              </a:cxn>
              <a:cxn ang="f958">
                <a:pos x="f1292" y="f1255"/>
              </a:cxn>
              <a:cxn ang="f958">
                <a:pos x="f1292" y="f1245"/>
              </a:cxn>
              <a:cxn ang="f958">
                <a:pos x="f1293" y="f1245"/>
              </a:cxn>
              <a:cxn ang="f958">
                <a:pos x="f1293" y="f1255"/>
              </a:cxn>
              <a:cxn ang="f958">
                <a:pos x="f1291" y="f1260"/>
              </a:cxn>
              <a:cxn ang="f958">
                <a:pos x="f1289" y="f1255"/>
              </a:cxn>
              <a:cxn ang="f958">
                <a:pos x="f1289" y="f1245"/>
              </a:cxn>
              <a:cxn ang="f958">
                <a:pos x="f1294" y="f1245"/>
              </a:cxn>
              <a:cxn ang="f958">
                <a:pos x="f1295" y="f1245"/>
              </a:cxn>
              <a:cxn ang="f958">
                <a:pos x="f1296" y="f1274"/>
              </a:cxn>
              <a:cxn ang="f958">
                <a:pos x="f1296" y="f1245"/>
              </a:cxn>
              <a:cxn ang="f958">
                <a:pos x="f1297" y="f1245"/>
              </a:cxn>
              <a:cxn ang="f958">
                <a:pos x="f1297" y="f1215"/>
              </a:cxn>
              <a:cxn ang="f958">
                <a:pos x="f1298" y="f1215"/>
              </a:cxn>
              <a:cxn ang="f958">
                <a:pos x="f1299" y="f1278"/>
              </a:cxn>
              <a:cxn ang="f958">
                <a:pos x="f1299" y="f1215"/>
              </a:cxn>
              <a:cxn ang="f958">
                <a:pos x="f1294" y="f1215"/>
              </a:cxn>
              <a:cxn ang="f958">
                <a:pos x="f1294" y="f1245"/>
              </a:cxn>
              <a:cxn ang="f958">
                <a:pos x="f1229" y="f1300"/>
              </a:cxn>
              <a:cxn ang="f958">
                <a:pos x="f1301" y="f1247"/>
              </a:cxn>
              <a:cxn ang="f958">
                <a:pos x="f1302" y="f1234"/>
              </a:cxn>
              <a:cxn ang="f958">
                <a:pos x="f1301" y="f1303"/>
              </a:cxn>
              <a:cxn ang="f958">
                <a:pos x="f1229" y="f1304"/>
              </a:cxn>
              <a:cxn ang="f958">
                <a:pos x="f1233" y="f1303"/>
              </a:cxn>
              <a:cxn ang="f958">
                <a:pos x="f1305" y="f1234"/>
              </a:cxn>
              <a:cxn ang="f958">
                <a:pos x="f1233" y="f1247"/>
              </a:cxn>
              <a:cxn ang="f958">
                <a:pos x="f1229" y="f1300"/>
              </a:cxn>
              <a:cxn ang="f958">
                <a:pos x="f1306" y="f1300"/>
              </a:cxn>
              <a:cxn ang="f958">
                <a:pos x="f1307" y="f1308"/>
              </a:cxn>
              <a:cxn ang="f958">
                <a:pos x="f1309" y="f1228"/>
              </a:cxn>
              <a:cxn ang="f958">
                <a:pos x="f1310" y="f1228"/>
              </a:cxn>
              <a:cxn ang="f958">
                <a:pos x="f1311" y="f1312"/>
              </a:cxn>
              <a:cxn ang="f958">
                <a:pos x="f1306" y="f1230"/>
              </a:cxn>
              <a:cxn ang="f958">
                <a:pos x="f1313" y="f1232"/>
              </a:cxn>
              <a:cxn ang="f958">
                <a:pos x="f1314" y="f1234"/>
              </a:cxn>
              <a:cxn ang="f958">
                <a:pos x="f1315" y="f1316"/>
              </a:cxn>
              <a:cxn ang="f958">
                <a:pos x="f1306" y="f1257"/>
              </a:cxn>
              <a:cxn ang="f958">
                <a:pos x="f1317" y="f1318"/>
              </a:cxn>
              <a:cxn ang="f958">
                <a:pos x="f1319" y="f1320"/>
              </a:cxn>
              <a:cxn ang="f958">
                <a:pos x="f1306" y="f1320"/>
              </a:cxn>
              <a:cxn ang="f958">
                <a:pos x="f1306" y="f1321"/>
              </a:cxn>
              <a:cxn ang="f958">
                <a:pos x="f1322" y="f1321"/>
              </a:cxn>
              <a:cxn ang="f958">
                <a:pos x="f1322" y="f1215"/>
              </a:cxn>
              <a:cxn ang="f958">
                <a:pos x="f1323" y="f1215"/>
              </a:cxn>
              <a:cxn ang="f958">
                <a:pos x="f1324" y="f1325"/>
              </a:cxn>
              <a:cxn ang="f958">
                <a:pos x="f1306" y="f1304"/>
              </a:cxn>
              <a:cxn ang="f958">
                <a:pos x="f1314" y="f1326"/>
              </a:cxn>
              <a:cxn ang="f958">
                <a:pos x="f1327" y="f1234"/>
              </a:cxn>
              <a:cxn ang="f958">
                <a:pos x="f1314" y="f1247"/>
              </a:cxn>
              <a:cxn ang="f958">
                <a:pos x="f1306" y="f1300"/>
              </a:cxn>
              <a:cxn ang="f958">
                <a:pos x="f1328" y="f1300"/>
              </a:cxn>
              <a:cxn ang="f958">
                <a:pos x="f1329" y="f1308"/>
              </a:cxn>
              <a:cxn ang="f958">
                <a:pos x="f1330" y="f1228"/>
              </a:cxn>
              <a:cxn ang="f958">
                <a:pos x="f1331" y="f1228"/>
              </a:cxn>
              <a:cxn ang="f958">
                <a:pos x="f1332" y="f1312"/>
              </a:cxn>
              <a:cxn ang="f958">
                <a:pos x="f1328" y="f1230"/>
              </a:cxn>
              <a:cxn ang="f958">
                <a:pos x="f1333" y="f1232"/>
              </a:cxn>
              <a:cxn ang="f958">
                <a:pos x="f1334" y="f1234"/>
              </a:cxn>
              <a:cxn ang="f958">
                <a:pos x="f1333" y="f1316"/>
              </a:cxn>
              <a:cxn ang="f958">
                <a:pos x="f1328" y="f1257"/>
              </a:cxn>
              <a:cxn ang="f958">
                <a:pos x="f1335" y="f1318"/>
              </a:cxn>
              <a:cxn ang="f958">
                <a:pos x="f1336" y="f1320"/>
              </a:cxn>
              <a:cxn ang="f958">
                <a:pos x="f1328" y="f1320"/>
              </a:cxn>
              <a:cxn ang="f958">
                <a:pos x="f1328" y="f1321"/>
              </a:cxn>
              <a:cxn ang="f958">
                <a:pos x="f1337" y="f1321"/>
              </a:cxn>
              <a:cxn ang="f958">
                <a:pos x="f1337" y="f1215"/>
              </a:cxn>
              <a:cxn ang="f958">
                <a:pos x="f1338" y="f1215"/>
              </a:cxn>
              <a:cxn ang="f958">
                <a:pos x="f1339" y="f1325"/>
              </a:cxn>
              <a:cxn ang="f958">
                <a:pos x="f1328" y="f1304"/>
              </a:cxn>
              <a:cxn ang="f958">
                <a:pos x="f1334" y="f1326"/>
              </a:cxn>
              <a:cxn ang="f958">
                <a:pos x="f1340" y="f1234"/>
              </a:cxn>
              <a:cxn ang="f958">
                <a:pos x="f1334" y="f1247"/>
              </a:cxn>
              <a:cxn ang="f958">
                <a:pos x="f1328" y="f1300"/>
              </a:cxn>
              <a:cxn ang="f958">
                <a:pos x="f1341" y="f1300"/>
              </a:cxn>
              <a:cxn ang="f958">
                <a:pos x="f1342" y="f1343"/>
              </a:cxn>
              <a:cxn ang="f958">
                <a:pos x="f1344" y="f1228"/>
              </a:cxn>
              <a:cxn ang="f958">
                <a:pos x="f1345" y="f1228"/>
              </a:cxn>
              <a:cxn ang="f958">
                <a:pos x="f1346" y="f1347"/>
              </a:cxn>
              <a:cxn ang="f958">
                <a:pos x="f1348" y="f1349"/>
              </a:cxn>
              <a:cxn ang="f958">
                <a:pos x="f1350" y="f1347"/>
              </a:cxn>
              <a:cxn ang="f958">
                <a:pos x="f1351" y="f1352"/>
              </a:cxn>
              <a:cxn ang="f958">
                <a:pos x="f1353" y="f1354"/>
              </a:cxn>
              <a:cxn ang="f958">
                <a:pos x="f1355" y="f1356"/>
              </a:cxn>
              <a:cxn ang="f958">
                <a:pos x="f1357" y="f1358"/>
              </a:cxn>
              <a:cxn ang="f958">
                <a:pos x="f1359" y="f1360"/>
              </a:cxn>
              <a:cxn ang="f958">
                <a:pos x="f1361" y="f1260"/>
              </a:cxn>
              <a:cxn ang="f958">
                <a:pos x="f1362" y="f1363"/>
              </a:cxn>
              <a:cxn ang="f958">
                <a:pos x="f1364" y="f1365"/>
              </a:cxn>
              <a:cxn ang="f958">
                <a:pos x="f1366" y="f1365"/>
              </a:cxn>
              <a:cxn ang="f958">
                <a:pos x="f1367" y="f1368"/>
              </a:cxn>
              <a:cxn ang="f958">
                <a:pos x="f1361" y="f1257"/>
              </a:cxn>
              <a:cxn ang="f958">
                <a:pos x="f1369" y="f1370"/>
              </a:cxn>
              <a:cxn ang="f958">
                <a:pos x="f1371" y="f1358"/>
              </a:cxn>
              <a:cxn ang="f958">
                <a:pos x="f1372" y="f1373"/>
              </a:cxn>
              <a:cxn ang="f958">
                <a:pos x="f1374" y="f1375"/>
              </a:cxn>
              <a:cxn ang="f958">
                <a:pos x="f1376" y="f1377"/>
              </a:cxn>
              <a:cxn ang="f958">
                <a:pos x="f1378" y="f1379"/>
              </a:cxn>
              <a:cxn ang="f958">
                <a:pos x="f1341" y="f1300"/>
              </a:cxn>
              <a:cxn ang="f958">
                <a:pos x="f1239" y="f1300"/>
              </a:cxn>
              <a:cxn ang="f958">
                <a:pos x="f1243" y="f1247"/>
              </a:cxn>
              <a:cxn ang="f958">
                <a:pos x="f1380" y="f1234"/>
              </a:cxn>
              <a:cxn ang="f958">
                <a:pos x="f1243" y="f1303"/>
              </a:cxn>
              <a:cxn ang="f958">
                <a:pos x="f1239" y="f1304"/>
              </a:cxn>
              <a:cxn ang="f958">
                <a:pos x="f1381" y="f1303"/>
              </a:cxn>
              <a:cxn ang="f958">
                <a:pos x="f1382" y="f1234"/>
              </a:cxn>
              <a:cxn ang="f958">
                <a:pos x="f1381" y="f1247"/>
              </a:cxn>
              <a:cxn ang="f958">
                <a:pos x="f1239" y="f1300"/>
              </a:cxn>
              <a:cxn ang="f958">
                <a:pos x="f1383" y="f1300"/>
              </a:cxn>
              <a:cxn ang="f958">
                <a:pos x="f1384" y="f1385"/>
              </a:cxn>
              <a:cxn ang="f958">
                <a:pos x="f1386" y="f1387"/>
              </a:cxn>
              <a:cxn ang="f958">
                <a:pos x="f1388" y="f1387"/>
              </a:cxn>
              <a:cxn ang="f958">
                <a:pos x="f1389" y="f1390"/>
              </a:cxn>
              <a:cxn ang="f958">
                <a:pos x="f1383" y="f1230"/>
              </a:cxn>
              <a:cxn ang="f958">
                <a:pos x="f1391" y="f1232"/>
              </a:cxn>
              <a:cxn ang="f958">
                <a:pos x="f1392" y="f1234"/>
              </a:cxn>
              <a:cxn ang="f958">
                <a:pos x="f1391" y="f1235"/>
              </a:cxn>
              <a:cxn ang="f958">
                <a:pos x="f1383" y="f1257"/>
              </a:cxn>
              <a:cxn ang="f958">
                <a:pos x="f1393" y="f1235"/>
              </a:cxn>
              <a:cxn ang="f958">
                <a:pos x="f1388" y="f1365"/>
              </a:cxn>
              <a:cxn ang="f958">
                <a:pos x="f1394" y="f1365"/>
              </a:cxn>
              <a:cxn ang="f958">
                <a:pos x="f1384" y="f1303"/>
              </a:cxn>
              <a:cxn ang="f958">
                <a:pos x="f1383" y="f1304"/>
              </a:cxn>
              <a:cxn ang="f958">
                <a:pos x="f1395" y="f1303"/>
              </a:cxn>
              <a:cxn ang="f958">
                <a:pos x="f1396" y="f1234"/>
              </a:cxn>
              <a:cxn ang="f958">
                <a:pos x="f1395" y="f1247"/>
              </a:cxn>
              <a:cxn ang="f958">
                <a:pos x="f1383" y="f1300"/>
              </a:cxn>
              <a:cxn ang="f958">
                <a:pos x="f1397" y="f1398"/>
              </a:cxn>
              <a:cxn ang="f958">
                <a:pos x="f1397" y="f1399"/>
              </a:cxn>
              <a:cxn ang="f958">
                <a:pos x="f1400" y="f1399"/>
              </a:cxn>
              <a:cxn ang="f958">
                <a:pos x="f1401" y="f1402"/>
              </a:cxn>
              <a:cxn ang="f958">
                <a:pos x="f1400" y="f1398"/>
              </a:cxn>
              <a:cxn ang="f958">
                <a:pos x="f1397" y="f1398"/>
              </a:cxn>
              <a:cxn ang="f958">
                <a:pos x="f1403" y="f1404"/>
              </a:cxn>
              <a:cxn ang="f958">
                <a:pos x="f1405" y="f1404"/>
              </a:cxn>
              <a:cxn ang="f958">
                <a:pos x="f1405" y="f1406"/>
              </a:cxn>
              <a:cxn ang="f958">
                <a:pos x="f1407" y="f1406"/>
              </a:cxn>
              <a:cxn ang="f958">
                <a:pos x="f1407" y="f1408"/>
              </a:cxn>
              <a:cxn ang="f958">
                <a:pos x="f1409" y="f1408"/>
              </a:cxn>
              <a:cxn ang="f958">
                <a:pos x="f1409" y="f1406"/>
              </a:cxn>
              <a:cxn ang="f958">
                <a:pos x="f1403" y="f1406"/>
              </a:cxn>
              <a:cxn ang="f958">
                <a:pos x="f1410" y="f1404"/>
              </a:cxn>
              <a:cxn ang="f958">
                <a:pos x="f1411" y="f1404"/>
              </a:cxn>
              <a:cxn ang="f958">
                <a:pos x="f1412" y="f1413"/>
              </a:cxn>
              <a:cxn ang="f958">
                <a:pos x="f1414" y="f1415"/>
              </a:cxn>
              <a:cxn ang="f958">
                <a:pos x="f1414" y="f1404"/>
              </a:cxn>
              <a:cxn ang="f958">
                <a:pos x="f1416" y="f1404"/>
              </a:cxn>
              <a:cxn ang="f958">
                <a:pos x="f1416" y="f1408"/>
              </a:cxn>
              <a:cxn ang="f958">
                <a:pos x="f1417" y="f1408"/>
              </a:cxn>
              <a:cxn ang="f958">
                <a:pos x="f1418" y="f1419"/>
              </a:cxn>
              <a:cxn ang="f958">
                <a:pos x="f1418" y="f1408"/>
              </a:cxn>
              <a:cxn ang="f958">
                <a:pos x="f1410" y="f1408"/>
              </a:cxn>
              <a:cxn ang="f958">
                <a:pos x="f1420" y="f1404"/>
              </a:cxn>
              <a:cxn ang="f958">
                <a:pos x="f1421" y="f1404"/>
              </a:cxn>
              <a:cxn ang="f958">
                <a:pos x="f1421" y="f1422"/>
              </a:cxn>
              <a:cxn ang="f958">
                <a:pos x="f1423" y="f1422"/>
              </a:cxn>
              <a:cxn ang="f958">
                <a:pos x="f1423" y="f1424"/>
              </a:cxn>
              <a:cxn ang="f958">
                <a:pos x="f1425" y="f1424"/>
              </a:cxn>
              <a:cxn ang="f958">
                <a:pos x="f1425" y="f1426"/>
              </a:cxn>
              <a:cxn ang="f958">
                <a:pos x="f1423" y="f1426"/>
              </a:cxn>
              <a:cxn ang="f958">
                <a:pos x="f1423" y="f1427"/>
              </a:cxn>
              <a:cxn ang="f958">
                <a:pos x="f1421" y="f1427"/>
              </a:cxn>
              <a:cxn ang="f958">
                <a:pos x="f1421" y="f1408"/>
              </a:cxn>
              <a:cxn ang="f958">
                <a:pos x="f1420" y="f1408"/>
              </a:cxn>
              <a:cxn ang="f958">
                <a:pos x="f1428" y="f1404"/>
              </a:cxn>
              <a:cxn ang="f958">
                <a:pos x="f1429" y="f1404"/>
              </a:cxn>
              <a:cxn ang="f958">
                <a:pos x="f1430" y="f1431"/>
              </a:cxn>
              <a:cxn ang="f958">
                <a:pos x="f1432" y="f1404"/>
              </a:cxn>
              <a:cxn ang="f958">
                <a:pos x="f1433" y="f1404"/>
              </a:cxn>
              <a:cxn ang="f958">
                <a:pos x="f1433" y="f1408"/>
              </a:cxn>
              <a:cxn ang="f958">
                <a:pos x="f1434" y="f1408"/>
              </a:cxn>
              <a:cxn ang="f958">
                <a:pos x="f1434" y="f1435"/>
              </a:cxn>
              <a:cxn ang="f958">
                <a:pos x="f1436" y="f1437"/>
              </a:cxn>
              <a:cxn ang="f958">
                <a:pos x="f1438" y="f1437"/>
              </a:cxn>
              <a:cxn ang="f958">
                <a:pos x="f1439" y="f1440"/>
              </a:cxn>
              <a:cxn ang="f958">
                <a:pos x="f1439" y="f1408"/>
              </a:cxn>
              <a:cxn ang="f958">
                <a:pos x="f1428" y="f1408"/>
              </a:cxn>
              <a:cxn ang="f958">
                <a:pos x="f1441" y="f1404"/>
              </a:cxn>
              <a:cxn ang="f958">
                <a:pos x="f1442" y="f1404"/>
              </a:cxn>
              <a:cxn ang="f958">
                <a:pos x="f1442" y="f1422"/>
              </a:cxn>
              <a:cxn ang="f958">
                <a:pos x="f1443" y="f1422"/>
              </a:cxn>
              <a:cxn ang="f958">
                <a:pos x="f1443" y="f1424"/>
              </a:cxn>
              <a:cxn ang="f958">
                <a:pos x="f1444" y="f1424"/>
              </a:cxn>
              <a:cxn ang="f958">
                <a:pos x="f1444" y="f1426"/>
              </a:cxn>
              <a:cxn ang="f958">
                <a:pos x="f1443" y="f1426"/>
              </a:cxn>
              <a:cxn ang="f958">
                <a:pos x="f1443" y="f1427"/>
              </a:cxn>
              <a:cxn ang="f958">
                <a:pos x="f1442" y="f1427"/>
              </a:cxn>
              <a:cxn ang="f958">
                <a:pos x="f1442" y="f1408"/>
              </a:cxn>
              <a:cxn ang="f958">
                <a:pos x="f1441" y="f1408"/>
              </a:cxn>
              <a:cxn ang="f958">
                <a:pos x="f1445" y="f1404"/>
              </a:cxn>
              <a:cxn ang="f958">
                <a:pos x="f1446" y="f1404"/>
              </a:cxn>
              <a:cxn ang="f958">
                <a:pos x="f1446" y="f1447"/>
              </a:cxn>
              <a:cxn ang="f958">
                <a:pos x="f1448" y="f1447"/>
              </a:cxn>
              <a:cxn ang="f958">
                <a:pos x="f1448" y="f1408"/>
              </a:cxn>
              <a:cxn ang="f958">
                <a:pos x="f1445" y="f1408"/>
              </a:cxn>
              <a:cxn ang="f958">
                <a:pos x="f1449" y="f1404"/>
              </a:cxn>
              <a:cxn ang="f958">
                <a:pos x="f1450" y="f1404"/>
              </a:cxn>
              <a:cxn ang="f958">
                <a:pos x="f1451" y="f1452"/>
              </a:cxn>
              <a:cxn ang="f958">
                <a:pos x="f1450" y="f1453"/>
              </a:cxn>
              <a:cxn ang="f958">
                <a:pos x="f1397" y="f1453"/>
              </a:cxn>
              <a:cxn ang="f958">
                <a:pos x="f1397" y="f1408"/>
              </a:cxn>
              <a:cxn ang="f958">
                <a:pos x="f1449" y="f1408"/>
              </a:cxn>
              <a:cxn ang="f958">
                <a:pos x="f1449" y="f1404"/>
              </a:cxn>
              <a:cxn ang="f958">
                <a:pos x="f1454" y="f1404"/>
              </a:cxn>
              <a:cxn ang="f958">
                <a:pos x="f1455" y="f1404"/>
              </a:cxn>
              <a:cxn ang="f958">
                <a:pos x="f1456" y="f1431"/>
              </a:cxn>
              <a:cxn ang="f958">
                <a:pos x="f1457" y="f1404"/>
              </a:cxn>
              <a:cxn ang="f958">
                <a:pos x="f1458" y="f1404"/>
              </a:cxn>
              <a:cxn ang="f958">
                <a:pos x="f1458" y="f1408"/>
              </a:cxn>
              <a:cxn ang="f958">
                <a:pos x="f1459" y="f1408"/>
              </a:cxn>
              <a:cxn ang="f958">
                <a:pos x="f1459" y="f1435"/>
              </a:cxn>
              <a:cxn ang="f958">
                <a:pos x="f1460" y="f1437"/>
              </a:cxn>
              <a:cxn ang="f958">
                <a:pos x="f1461" y="f1437"/>
              </a:cxn>
              <a:cxn ang="f958">
                <a:pos x="f1462" y="f1440"/>
              </a:cxn>
              <a:cxn ang="f958">
                <a:pos x="f1462" y="f1408"/>
              </a:cxn>
              <a:cxn ang="f958">
                <a:pos x="f1454" y="f1408"/>
              </a:cxn>
              <a:cxn ang="f958">
                <a:pos x="f1463" y="f1404"/>
              </a:cxn>
              <a:cxn ang="f958">
                <a:pos x="f1464" y="f1404"/>
              </a:cxn>
              <a:cxn ang="f958">
                <a:pos x="f1464" y="f1408"/>
              </a:cxn>
              <a:cxn ang="f958">
                <a:pos x="f1463" y="f1408"/>
              </a:cxn>
            </a:cxnLst>
            <a:rect l="f1210" t="f1213" r="f1211" b="f1212"/>
            <a:pathLst>
              <a:path w="9905999" h="2265361">
                <a:moveTo>
                  <a:pt x="f8" y="f9"/>
                </a:moveTo>
                <a:cubicBezTo>
                  <a:pt x="f8" y="f9"/>
                  <a:pt x="f8" y="f9"/>
                  <a:pt x="f10" y="f9"/>
                </a:cubicBezTo>
                <a:lnTo>
                  <a:pt x="f10" y="f7"/>
                </a:lnTo>
                <a:cubicBezTo>
                  <a:pt x="f10" y="f7"/>
                  <a:pt x="f10" y="f7"/>
                  <a:pt x="f8" y="f7"/>
                </a:cubicBezTo>
                <a:cubicBezTo>
                  <a:pt x="f8" y="f7"/>
                  <a:pt x="f8" y="f7"/>
                  <a:pt x="f8" y="f9"/>
                </a:cubicBezTo>
                <a:close/>
                <a:moveTo>
                  <a:pt x="f11" y="f12"/>
                </a:moveTo>
                <a:cubicBezTo>
                  <a:pt x="f11" y="f12"/>
                  <a:pt x="f11" y="f12"/>
                  <a:pt x="f11" y="f13"/>
                </a:cubicBezTo>
                <a:cubicBezTo>
                  <a:pt x="f11" y="f13"/>
                  <a:pt x="f11" y="f13"/>
                  <a:pt x="f14" y="f13"/>
                </a:cubicBezTo>
                <a:cubicBezTo>
                  <a:pt x="f15" y="f13"/>
                  <a:pt x="f16" y="f17"/>
                  <a:pt x="f16" y="f18"/>
                </a:cubicBezTo>
                <a:cubicBezTo>
                  <a:pt x="f16" y="f19"/>
                  <a:pt x="f20" y="f12"/>
                  <a:pt x="f14" y="f12"/>
                </a:cubicBezTo>
                <a:cubicBezTo>
                  <a:pt x="f14" y="f12"/>
                  <a:pt x="f14" y="f12"/>
                  <a:pt x="f11" y="f12"/>
                </a:cubicBezTo>
                <a:close/>
                <a:moveTo>
                  <a:pt x="f21" y="f12"/>
                </a:moveTo>
                <a:cubicBezTo>
                  <a:pt x="f21" y="f12"/>
                  <a:pt x="f21" y="f12"/>
                  <a:pt x="f21" y="f22"/>
                </a:cubicBezTo>
                <a:cubicBezTo>
                  <a:pt x="f21" y="f22"/>
                  <a:pt x="f21" y="f22"/>
                  <a:pt x="f23" y="f22"/>
                </a:cubicBezTo>
                <a:cubicBezTo>
                  <a:pt x="f24" y="f22"/>
                  <a:pt x="f25" y="f26"/>
                  <a:pt x="f25" y="f27"/>
                </a:cubicBezTo>
                <a:cubicBezTo>
                  <a:pt x="f25" y="f28"/>
                  <a:pt x="f24" y="f12"/>
                  <a:pt x="f23" y="f12"/>
                </a:cubicBezTo>
                <a:cubicBezTo>
                  <a:pt x="f23" y="f12"/>
                  <a:pt x="f23" y="f12"/>
                  <a:pt x="f21" y="f12"/>
                </a:cubicBezTo>
                <a:close/>
                <a:moveTo>
                  <a:pt x="f29" y="f30"/>
                </a:moveTo>
                <a:cubicBezTo>
                  <a:pt x="f31" y="f30"/>
                  <a:pt x="f32" y="f33"/>
                  <a:pt x="f34" y="f19"/>
                </a:cubicBezTo>
                <a:cubicBezTo>
                  <a:pt x="f35" y="f36"/>
                  <a:pt x="f37" y="f38"/>
                  <a:pt x="f37" y="f39"/>
                </a:cubicBezTo>
                <a:cubicBezTo>
                  <a:pt x="f37" y="f40"/>
                  <a:pt x="f35" y="f41"/>
                  <a:pt x="f34" y="f42"/>
                </a:cubicBezTo>
                <a:cubicBezTo>
                  <a:pt x="f32" y="f43"/>
                  <a:pt x="f31" y="f44"/>
                  <a:pt x="f29" y="f44"/>
                </a:cubicBezTo>
                <a:cubicBezTo>
                  <a:pt x="f45" y="f44"/>
                  <a:pt x="f46" y="f43"/>
                  <a:pt x="f47" y="f42"/>
                </a:cubicBezTo>
                <a:cubicBezTo>
                  <a:pt x="f48" y="f41"/>
                  <a:pt x="f49" y="f40"/>
                  <a:pt x="f49" y="f39"/>
                </a:cubicBezTo>
                <a:cubicBezTo>
                  <a:pt x="f49" y="f38"/>
                  <a:pt x="f48" y="f36"/>
                  <a:pt x="f47" y="f19"/>
                </a:cubicBezTo>
                <a:cubicBezTo>
                  <a:pt x="f46" y="f33"/>
                  <a:pt x="f45" y="f30"/>
                  <a:pt x="f29" y="f30"/>
                </a:cubicBezTo>
                <a:close/>
                <a:moveTo>
                  <a:pt x="f50" y="f30"/>
                </a:moveTo>
                <a:cubicBezTo>
                  <a:pt x="f51" y="f30"/>
                  <a:pt x="f52" y="f33"/>
                  <a:pt x="f53" y="f19"/>
                </a:cubicBezTo>
                <a:cubicBezTo>
                  <a:pt x="f54" y="f36"/>
                  <a:pt x="f55" y="f38"/>
                  <a:pt x="f55" y="f39"/>
                </a:cubicBezTo>
                <a:cubicBezTo>
                  <a:pt x="f55" y="f40"/>
                  <a:pt x="f54" y="f41"/>
                  <a:pt x="f53" y="f42"/>
                </a:cubicBezTo>
                <a:cubicBezTo>
                  <a:pt x="f52" y="f43"/>
                  <a:pt x="f51" y="f44"/>
                  <a:pt x="f50" y="f44"/>
                </a:cubicBezTo>
                <a:cubicBezTo>
                  <a:pt x="f56" y="f44"/>
                  <a:pt x="f57" y="f43"/>
                  <a:pt x="f58" y="f42"/>
                </a:cubicBezTo>
                <a:cubicBezTo>
                  <a:pt x="f59" y="f41"/>
                  <a:pt x="f60" y="f40"/>
                  <a:pt x="f60" y="f39"/>
                </a:cubicBezTo>
                <a:cubicBezTo>
                  <a:pt x="f60" y="f38"/>
                  <a:pt x="f59" y="f36"/>
                  <a:pt x="f58" y="f19"/>
                </a:cubicBezTo>
                <a:cubicBezTo>
                  <a:pt x="f57" y="f33"/>
                  <a:pt x="f56" y="f30"/>
                  <a:pt x="f50" y="f30"/>
                </a:cubicBezTo>
                <a:close/>
                <a:moveTo>
                  <a:pt x="f61" y="f62"/>
                </a:moveTo>
                <a:cubicBezTo>
                  <a:pt x="f61" y="f62"/>
                  <a:pt x="f61" y="f62"/>
                  <a:pt x="f14" y="f62"/>
                </a:cubicBezTo>
                <a:cubicBezTo>
                  <a:pt x="f63" y="f62"/>
                  <a:pt x="f16" y="f64"/>
                  <a:pt x="f65" y="f66"/>
                </a:cubicBezTo>
                <a:cubicBezTo>
                  <a:pt x="f67" y="f68"/>
                  <a:pt x="f69" y="f70"/>
                  <a:pt x="f69" y="f18"/>
                </a:cubicBezTo>
                <a:cubicBezTo>
                  <a:pt x="f69" y="f71"/>
                  <a:pt x="f67" y="f72"/>
                  <a:pt x="f73" y="f74"/>
                </a:cubicBezTo>
                <a:cubicBezTo>
                  <a:pt x="f75" y="f76"/>
                  <a:pt x="f77" y="f78"/>
                  <a:pt x="f79" y="f78"/>
                </a:cubicBezTo>
                <a:cubicBezTo>
                  <a:pt x="f79" y="f78"/>
                  <a:pt x="f79" y="f78"/>
                  <a:pt x="f11" y="f78"/>
                </a:cubicBezTo>
                <a:cubicBezTo>
                  <a:pt x="f11" y="f78"/>
                  <a:pt x="f11" y="f78"/>
                  <a:pt x="f11" y="f9"/>
                </a:cubicBezTo>
                <a:cubicBezTo>
                  <a:pt x="f11" y="f9"/>
                  <a:pt x="f11" y="f9"/>
                  <a:pt x="f61" y="f9"/>
                </a:cubicBezTo>
                <a:cubicBezTo>
                  <a:pt x="f61" y="f9"/>
                  <a:pt x="f61" y="f9"/>
                  <a:pt x="f61" y="f62"/>
                </a:cubicBezTo>
                <a:close/>
                <a:moveTo>
                  <a:pt x="f80" y="f62"/>
                </a:moveTo>
                <a:cubicBezTo>
                  <a:pt x="f80" y="f62"/>
                  <a:pt x="f80" y="f62"/>
                  <a:pt x="f81" y="f62"/>
                </a:cubicBezTo>
                <a:cubicBezTo>
                  <a:pt x="f81" y="f62"/>
                  <a:pt x="f81" y="f62"/>
                  <a:pt x="f81" y="f82"/>
                </a:cubicBezTo>
                <a:cubicBezTo>
                  <a:pt x="f81" y="f83"/>
                  <a:pt x="f84" y="f85"/>
                  <a:pt x="f86" y="f85"/>
                </a:cubicBezTo>
                <a:cubicBezTo>
                  <a:pt x="f87" y="f85"/>
                  <a:pt x="f88" y="f83"/>
                  <a:pt x="f88" y="f82"/>
                </a:cubicBezTo>
                <a:cubicBezTo>
                  <a:pt x="f88" y="f82"/>
                  <a:pt x="f88" y="f82"/>
                  <a:pt x="f88" y="f62"/>
                </a:cubicBezTo>
                <a:cubicBezTo>
                  <a:pt x="f88" y="f62"/>
                  <a:pt x="f88" y="f62"/>
                  <a:pt x="f89" y="f62"/>
                </a:cubicBezTo>
                <a:cubicBezTo>
                  <a:pt x="f89" y="f62"/>
                  <a:pt x="f89" y="f62"/>
                  <a:pt x="f89" y="f82"/>
                </a:cubicBezTo>
                <a:cubicBezTo>
                  <a:pt x="f89" y="f90"/>
                  <a:pt x="f91" y="f92"/>
                  <a:pt x="f86" y="f92"/>
                </a:cubicBezTo>
                <a:cubicBezTo>
                  <a:pt x="f93" y="f92"/>
                  <a:pt x="f80" y="f90"/>
                  <a:pt x="f80" y="f82"/>
                </a:cubicBezTo>
                <a:cubicBezTo>
                  <a:pt x="f80" y="f82"/>
                  <a:pt x="f80" y="f82"/>
                  <a:pt x="f80" y="f62"/>
                </a:cubicBezTo>
                <a:close/>
                <a:moveTo>
                  <a:pt x="f94" y="f62"/>
                </a:moveTo>
                <a:cubicBezTo>
                  <a:pt x="f94" y="f62"/>
                  <a:pt x="f94" y="f62"/>
                  <a:pt x="f23" y="f62"/>
                </a:cubicBezTo>
                <a:cubicBezTo>
                  <a:pt x="f24" y="f62"/>
                  <a:pt x="f95" y="f64"/>
                  <a:pt x="f96" y="f66"/>
                </a:cubicBezTo>
                <a:cubicBezTo>
                  <a:pt x="f97" y="f68"/>
                  <a:pt x="f98" y="f99"/>
                  <a:pt x="f98" y="f27"/>
                </a:cubicBezTo>
                <a:cubicBezTo>
                  <a:pt x="f98" y="f100"/>
                  <a:pt x="f97" y="f101"/>
                  <a:pt x="f96" y="f102"/>
                </a:cubicBezTo>
                <a:cubicBezTo>
                  <a:pt x="f103" y="f104"/>
                  <a:pt x="f105" y="f106"/>
                  <a:pt x="f107" y="f108"/>
                </a:cubicBezTo>
                <a:cubicBezTo>
                  <a:pt x="f107" y="f108"/>
                  <a:pt x="f107" y="f108"/>
                  <a:pt x="f109" y="f9"/>
                </a:cubicBezTo>
                <a:lnTo>
                  <a:pt x="f95" y="f9"/>
                </a:lnTo>
                <a:cubicBezTo>
                  <a:pt x="f95" y="f9"/>
                  <a:pt x="f95" y="f9"/>
                  <a:pt x="f110" y="f111"/>
                </a:cubicBezTo>
                <a:cubicBezTo>
                  <a:pt x="f110" y="f111"/>
                  <a:pt x="f110" y="f111"/>
                  <a:pt x="f21" y="f111"/>
                </a:cubicBezTo>
                <a:cubicBezTo>
                  <a:pt x="f21" y="f111"/>
                  <a:pt x="f21" y="f111"/>
                  <a:pt x="f21" y="f9"/>
                </a:cubicBezTo>
                <a:cubicBezTo>
                  <a:pt x="f21" y="f9"/>
                  <a:pt x="f21" y="f9"/>
                  <a:pt x="f94" y="f9"/>
                </a:cubicBezTo>
                <a:cubicBezTo>
                  <a:pt x="f94" y="f9"/>
                  <a:pt x="f94" y="f9"/>
                  <a:pt x="f94" y="f62"/>
                </a:cubicBezTo>
                <a:close/>
                <a:moveTo>
                  <a:pt x="f112" y="f62"/>
                </a:moveTo>
                <a:cubicBezTo>
                  <a:pt x="f112" y="f62"/>
                  <a:pt x="f112" y="f62"/>
                  <a:pt x="f113" y="f62"/>
                </a:cubicBezTo>
                <a:cubicBezTo>
                  <a:pt x="f113" y="f62"/>
                  <a:pt x="f113" y="f62"/>
                  <a:pt x="f114" y="f115"/>
                </a:cubicBezTo>
                <a:cubicBezTo>
                  <a:pt x="f114" y="f115"/>
                  <a:pt x="f114" y="f115"/>
                  <a:pt x="f114" y="f62"/>
                </a:cubicBezTo>
                <a:cubicBezTo>
                  <a:pt x="f114" y="f62"/>
                  <a:pt x="f114" y="f62"/>
                  <a:pt x="f116" y="f62"/>
                </a:cubicBezTo>
                <a:cubicBezTo>
                  <a:pt x="f116" y="f62"/>
                  <a:pt x="f116" y="f62"/>
                  <a:pt x="f116" y="f9"/>
                </a:cubicBezTo>
                <a:lnTo>
                  <a:pt x="f117" y="f9"/>
                </a:lnTo>
                <a:cubicBezTo>
                  <a:pt x="f117" y="f9"/>
                  <a:pt x="f117" y="f9"/>
                  <a:pt x="f118" y="f119"/>
                </a:cubicBezTo>
                <a:cubicBezTo>
                  <a:pt x="f118" y="f119"/>
                  <a:pt x="f118" y="f119"/>
                  <a:pt x="f118" y="f9"/>
                </a:cubicBezTo>
                <a:cubicBezTo>
                  <a:pt x="f118" y="f9"/>
                  <a:pt x="f118" y="f9"/>
                  <a:pt x="f112" y="f9"/>
                </a:cubicBezTo>
                <a:cubicBezTo>
                  <a:pt x="f112" y="f9"/>
                  <a:pt x="f112" y="f9"/>
                  <a:pt x="f112" y="f62"/>
                </a:cubicBezTo>
                <a:close/>
                <a:moveTo>
                  <a:pt x="f120" y="f62"/>
                </a:moveTo>
                <a:cubicBezTo>
                  <a:pt x="f120" y="f62"/>
                  <a:pt x="f120" y="f62"/>
                  <a:pt x="f121" y="f62"/>
                </a:cubicBezTo>
                <a:lnTo>
                  <a:pt x="f121" y="f9"/>
                </a:lnTo>
                <a:cubicBezTo>
                  <a:pt x="f121" y="f9"/>
                  <a:pt x="f121" y="f9"/>
                  <a:pt x="f120" y="f9"/>
                </a:cubicBezTo>
                <a:cubicBezTo>
                  <a:pt x="f120" y="f9"/>
                  <a:pt x="f120" y="f9"/>
                  <a:pt x="f120" y="f62"/>
                </a:cubicBezTo>
                <a:close/>
                <a:moveTo>
                  <a:pt x="f122" y="f62"/>
                </a:moveTo>
                <a:cubicBezTo>
                  <a:pt x="f122" y="f62"/>
                  <a:pt x="f122" y="f62"/>
                  <a:pt x="f123" y="f62"/>
                </a:cubicBezTo>
                <a:cubicBezTo>
                  <a:pt x="f123" y="f62"/>
                  <a:pt x="f123" y="f62"/>
                  <a:pt x="f123" y="f12"/>
                </a:cubicBezTo>
                <a:lnTo>
                  <a:pt x="f124" y="f12"/>
                </a:lnTo>
                <a:cubicBezTo>
                  <a:pt x="f124" y="f12"/>
                  <a:pt x="f124" y="f12"/>
                  <a:pt x="f124" y="f9"/>
                </a:cubicBezTo>
                <a:cubicBezTo>
                  <a:pt x="f124" y="f9"/>
                  <a:pt x="f124" y="f9"/>
                  <a:pt x="f125" y="f9"/>
                </a:cubicBezTo>
                <a:cubicBezTo>
                  <a:pt x="f125" y="f9"/>
                  <a:pt x="f125" y="f9"/>
                  <a:pt x="f125" y="f12"/>
                </a:cubicBezTo>
                <a:cubicBezTo>
                  <a:pt x="f125" y="f12"/>
                  <a:pt x="f125" y="f12"/>
                  <a:pt x="f122" y="f12"/>
                </a:cubicBezTo>
                <a:cubicBezTo>
                  <a:pt x="f122" y="f12"/>
                  <a:pt x="f122" y="f12"/>
                  <a:pt x="f122" y="f62"/>
                </a:cubicBezTo>
                <a:close/>
                <a:moveTo>
                  <a:pt x="f126" y="f62"/>
                </a:moveTo>
                <a:cubicBezTo>
                  <a:pt x="f126" y="f62"/>
                  <a:pt x="f126" y="f62"/>
                  <a:pt x="f127" y="f62"/>
                </a:cubicBezTo>
                <a:cubicBezTo>
                  <a:pt x="f127" y="f62"/>
                  <a:pt x="f127" y="f62"/>
                  <a:pt x="f127" y="f90"/>
                </a:cubicBezTo>
                <a:cubicBezTo>
                  <a:pt x="f127" y="f90"/>
                  <a:pt x="f127" y="f90"/>
                  <a:pt x="f128" y="f90"/>
                </a:cubicBezTo>
                <a:cubicBezTo>
                  <a:pt x="f128" y="f90"/>
                  <a:pt x="f128" y="f90"/>
                  <a:pt x="f128" y="f9"/>
                </a:cubicBezTo>
                <a:lnTo>
                  <a:pt x="f126" y="f9"/>
                </a:lnTo>
                <a:cubicBezTo>
                  <a:pt x="f126" y="f9"/>
                  <a:pt x="f126" y="f9"/>
                  <a:pt x="f126" y="f62"/>
                </a:cubicBezTo>
                <a:close/>
                <a:moveTo>
                  <a:pt x="f129" y="f62"/>
                </a:moveTo>
                <a:cubicBezTo>
                  <a:pt x="f129" y="f62"/>
                  <a:pt x="f129" y="f62"/>
                  <a:pt x="f130" y="f62"/>
                </a:cubicBezTo>
                <a:cubicBezTo>
                  <a:pt x="f130" y="f62"/>
                  <a:pt x="f130" y="f62"/>
                  <a:pt x="f130" y="f82"/>
                </a:cubicBezTo>
                <a:cubicBezTo>
                  <a:pt x="f130" y="f83"/>
                  <a:pt x="f131" y="f85"/>
                  <a:pt x="f132" y="f85"/>
                </a:cubicBezTo>
                <a:cubicBezTo>
                  <a:pt x="f133" y="f85"/>
                  <a:pt x="f134" y="f83"/>
                  <a:pt x="f134" y="f82"/>
                </a:cubicBezTo>
                <a:cubicBezTo>
                  <a:pt x="f134" y="f82"/>
                  <a:pt x="f134" y="f82"/>
                  <a:pt x="f134" y="f62"/>
                </a:cubicBezTo>
                <a:cubicBezTo>
                  <a:pt x="f134" y="f62"/>
                  <a:pt x="f134" y="f62"/>
                  <a:pt x="f135" y="f62"/>
                </a:cubicBezTo>
                <a:cubicBezTo>
                  <a:pt x="f135" y="f62"/>
                  <a:pt x="f135" y="f62"/>
                  <a:pt x="f135" y="f82"/>
                </a:cubicBezTo>
                <a:cubicBezTo>
                  <a:pt x="f135" y="f90"/>
                  <a:pt x="f136" y="f92"/>
                  <a:pt x="f132" y="f92"/>
                </a:cubicBezTo>
                <a:cubicBezTo>
                  <a:pt x="f137" y="f92"/>
                  <a:pt x="f129" y="f90"/>
                  <a:pt x="f129" y="f82"/>
                </a:cubicBezTo>
                <a:cubicBezTo>
                  <a:pt x="f129" y="f82"/>
                  <a:pt x="f129" y="f82"/>
                  <a:pt x="f129" y="f62"/>
                </a:cubicBezTo>
                <a:close/>
                <a:moveTo>
                  <a:pt x="f138" y="f62"/>
                </a:moveTo>
                <a:cubicBezTo>
                  <a:pt x="f138" y="f62"/>
                  <a:pt x="f138" y="f62"/>
                  <a:pt x="f139" y="f62"/>
                </a:cubicBezTo>
                <a:cubicBezTo>
                  <a:pt x="f139" y="f62"/>
                  <a:pt x="f139" y="f62"/>
                  <a:pt x="f140" y="f115"/>
                </a:cubicBezTo>
                <a:cubicBezTo>
                  <a:pt x="f140" y="f115"/>
                  <a:pt x="f140" y="f115"/>
                  <a:pt x="f140" y="f62"/>
                </a:cubicBezTo>
                <a:cubicBezTo>
                  <a:pt x="f140" y="f62"/>
                  <a:pt x="f140" y="f62"/>
                  <a:pt x="f141" y="f62"/>
                </a:cubicBezTo>
                <a:cubicBezTo>
                  <a:pt x="f141" y="f62"/>
                  <a:pt x="f141" y="f62"/>
                  <a:pt x="f141" y="f9"/>
                </a:cubicBezTo>
                <a:lnTo>
                  <a:pt x="f142" y="f9"/>
                </a:lnTo>
                <a:cubicBezTo>
                  <a:pt x="f142" y="f9"/>
                  <a:pt x="f142" y="f9"/>
                  <a:pt x="f143" y="f119"/>
                </a:cubicBezTo>
                <a:cubicBezTo>
                  <a:pt x="f143" y="f119"/>
                  <a:pt x="f143" y="f119"/>
                  <a:pt x="f143" y="f9"/>
                </a:cubicBezTo>
                <a:cubicBezTo>
                  <a:pt x="f143" y="f9"/>
                  <a:pt x="f143" y="f9"/>
                  <a:pt x="f138" y="f9"/>
                </a:cubicBezTo>
                <a:cubicBezTo>
                  <a:pt x="f138" y="f9"/>
                  <a:pt x="f138" y="f9"/>
                  <a:pt x="f138" y="f62"/>
                </a:cubicBezTo>
                <a:close/>
                <a:moveTo>
                  <a:pt x="f29" y="f144"/>
                </a:moveTo>
                <a:cubicBezTo>
                  <a:pt x="f145" y="f144"/>
                  <a:pt x="f146" y="f147"/>
                  <a:pt x="f148" y="f66"/>
                </a:cubicBezTo>
                <a:cubicBezTo>
                  <a:pt x="f149" y="f119"/>
                  <a:pt x="f150" y="f151"/>
                  <a:pt x="f150" y="f39"/>
                </a:cubicBezTo>
                <a:cubicBezTo>
                  <a:pt x="f150" y="f152"/>
                  <a:pt x="f149" y="f115"/>
                  <a:pt x="f148" y="f153"/>
                </a:cubicBezTo>
                <a:cubicBezTo>
                  <a:pt x="f146" y="f154"/>
                  <a:pt x="f145" y="f155"/>
                  <a:pt x="f29" y="f155"/>
                </a:cubicBezTo>
                <a:cubicBezTo>
                  <a:pt x="f156" y="f155"/>
                  <a:pt x="f157" y="f154"/>
                  <a:pt x="f37" y="f153"/>
                </a:cubicBezTo>
                <a:cubicBezTo>
                  <a:pt x="f158" y="f115"/>
                  <a:pt x="f159" y="f152"/>
                  <a:pt x="f159" y="f39"/>
                </a:cubicBezTo>
                <a:cubicBezTo>
                  <a:pt x="f159" y="f151"/>
                  <a:pt x="f158" y="f119"/>
                  <a:pt x="f37" y="f66"/>
                </a:cubicBezTo>
                <a:cubicBezTo>
                  <a:pt x="f157" y="f147"/>
                  <a:pt x="f156" y="f144"/>
                  <a:pt x="f29" y="f144"/>
                </a:cubicBezTo>
                <a:close/>
                <a:moveTo>
                  <a:pt x="f160" y="f144"/>
                </a:moveTo>
                <a:cubicBezTo>
                  <a:pt x="f161" y="f144"/>
                  <a:pt x="f162" y="f163"/>
                  <a:pt x="f164" y="f165"/>
                </a:cubicBezTo>
                <a:cubicBezTo>
                  <a:pt x="f166" y="f167"/>
                  <a:pt x="f168" y="f169"/>
                  <a:pt x="f170" y="f27"/>
                </a:cubicBezTo>
                <a:cubicBezTo>
                  <a:pt x="f170" y="f27"/>
                  <a:pt x="f170" y="f27"/>
                  <a:pt x="f171" y="f27"/>
                </a:cubicBezTo>
                <a:cubicBezTo>
                  <a:pt x="f172" y="f173"/>
                  <a:pt x="f174" y="f175"/>
                  <a:pt x="f176" y="f177"/>
                </a:cubicBezTo>
                <a:cubicBezTo>
                  <a:pt x="f178" y="f179"/>
                  <a:pt x="f180" y="f30"/>
                  <a:pt x="f160" y="f30"/>
                </a:cubicBezTo>
                <a:cubicBezTo>
                  <a:pt x="f181" y="f30"/>
                  <a:pt x="f182" y="f33"/>
                  <a:pt x="f183" y="f19"/>
                </a:cubicBezTo>
                <a:cubicBezTo>
                  <a:pt x="f184" y="f36"/>
                  <a:pt x="f185" y="f38"/>
                  <a:pt x="f185" y="f39"/>
                </a:cubicBezTo>
                <a:cubicBezTo>
                  <a:pt x="f185" y="f186"/>
                  <a:pt x="f184" y="f187"/>
                  <a:pt x="f188" y="f189"/>
                </a:cubicBezTo>
                <a:cubicBezTo>
                  <a:pt x="f190" y="f191"/>
                  <a:pt x="f181" y="f85"/>
                  <a:pt x="f160" y="f85"/>
                </a:cubicBezTo>
                <a:cubicBezTo>
                  <a:pt x="f192" y="f85"/>
                  <a:pt x="f193" y="f43"/>
                  <a:pt x="f194" y="f195"/>
                </a:cubicBezTo>
                <a:cubicBezTo>
                  <a:pt x="f196" y="f197"/>
                  <a:pt x="f198" y="f199"/>
                  <a:pt x="f198" y="f200"/>
                </a:cubicBezTo>
                <a:cubicBezTo>
                  <a:pt x="f198" y="f200"/>
                  <a:pt x="f198" y="f200"/>
                  <a:pt x="f160" y="f200"/>
                </a:cubicBezTo>
                <a:cubicBezTo>
                  <a:pt x="f160" y="f200"/>
                  <a:pt x="f160" y="f200"/>
                  <a:pt x="f160" y="f201"/>
                </a:cubicBezTo>
                <a:cubicBezTo>
                  <a:pt x="f160" y="f201"/>
                  <a:pt x="f160" y="f201"/>
                  <a:pt x="f202" y="f201"/>
                </a:cubicBezTo>
                <a:cubicBezTo>
                  <a:pt x="f202" y="f201"/>
                  <a:pt x="f202" y="f201"/>
                  <a:pt x="f202" y="f9"/>
                </a:cubicBezTo>
                <a:lnTo>
                  <a:pt x="f203" y="f9"/>
                </a:lnTo>
                <a:cubicBezTo>
                  <a:pt x="f203" y="f9"/>
                  <a:pt x="f203" y="f9"/>
                  <a:pt x="f204" y="f191"/>
                </a:cubicBezTo>
                <a:cubicBezTo>
                  <a:pt x="f174" y="f205"/>
                  <a:pt x="f161" y="f155"/>
                  <a:pt x="f160" y="f155"/>
                </a:cubicBezTo>
                <a:cubicBezTo>
                  <a:pt x="f206" y="f155"/>
                  <a:pt x="f207" y="f208"/>
                  <a:pt x="f185" y="f209"/>
                </a:cubicBezTo>
                <a:cubicBezTo>
                  <a:pt x="f210" y="f211"/>
                  <a:pt x="f212" y="f213"/>
                  <a:pt x="f212" y="f39"/>
                </a:cubicBezTo>
                <a:cubicBezTo>
                  <a:pt x="f212" y="f151"/>
                  <a:pt x="f214" y="f119"/>
                  <a:pt x="f185" y="f66"/>
                </a:cubicBezTo>
                <a:cubicBezTo>
                  <a:pt x="f207" y="f147"/>
                  <a:pt x="f206" y="f144"/>
                  <a:pt x="f160" y="f144"/>
                </a:cubicBezTo>
                <a:close/>
                <a:moveTo>
                  <a:pt x="f215" y="f144"/>
                </a:moveTo>
                <a:cubicBezTo>
                  <a:pt x="f216" y="f144"/>
                  <a:pt x="f217" y="f163"/>
                  <a:pt x="f218" y="f165"/>
                </a:cubicBezTo>
                <a:cubicBezTo>
                  <a:pt x="f219" y="f167"/>
                  <a:pt x="f220" y="f169"/>
                  <a:pt x="f221" y="f27"/>
                </a:cubicBezTo>
                <a:cubicBezTo>
                  <a:pt x="f221" y="f27"/>
                  <a:pt x="f221" y="f27"/>
                  <a:pt x="f222" y="f27"/>
                </a:cubicBezTo>
                <a:cubicBezTo>
                  <a:pt x="f223" y="f173"/>
                  <a:pt x="f224" y="f175"/>
                  <a:pt x="f225" y="f177"/>
                </a:cubicBezTo>
                <a:cubicBezTo>
                  <a:pt x="f226" y="f179"/>
                  <a:pt x="f227" y="f30"/>
                  <a:pt x="f215" y="f30"/>
                </a:cubicBezTo>
                <a:cubicBezTo>
                  <a:pt x="f228" y="f30"/>
                  <a:pt x="f229" y="f33"/>
                  <a:pt x="f230" y="f19"/>
                </a:cubicBezTo>
                <a:cubicBezTo>
                  <a:pt x="f231" y="f36"/>
                  <a:pt x="f232" y="f38"/>
                  <a:pt x="f232" y="f39"/>
                </a:cubicBezTo>
                <a:cubicBezTo>
                  <a:pt x="f232" y="f186"/>
                  <a:pt x="f231" y="f187"/>
                  <a:pt x="f230" y="f189"/>
                </a:cubicBezTo>
                <a:cubicBezTo>
                  <a:pt x="f229" y="f191"/>
                  <a:pt x="f228" y="f85"/>
                  <a:pt x="f215" y="f85"/>
                </a:cubicBezTo>
                <a:cubicBezTo>
                  <a:pt x="f233" y="f85"/>
                  <a:pt x="f234" y="f43"/>
                  <a:pt x="f235" y="f195"/>
                </a:cubicBezTo>
                <a:cubicBezTo>
                  <a:pt x="f236" y="f197"/>
                  <a:pt x="f237" y="f199"/>
                  <a:pt x="f237" y="f200"/>
                </a:cubicBezTo>
                <a:cubicBezTo>
                  <a:pt x="f237" y="f200"/>
                  <a:pt x="f237" y="f200"/>
                  <a:pt x="f215" y="f200"/>
                </a:cubicBezTo>
                <a:cubicBezTo>
                  <a:pt x="f215" y="f200"/>
                  <a:pt x="f215" y="f200"/>
                  <a:pt x="f215" y="f201"/>
                </a:cubicBezTo>
                <a:cubicBezTo>
                  <a:pt x="f215" y="f201"/>
                  <a:pt x="f215" y="f201"/>
                  <a:pt x="f238" y="f201"/>
                </a:cubicBezTo>
                <a:cubicBezTo>
                  <a:pt x="f238" y="f201"/>
                  <a:pt x="f238" y="f201"/>
                  <a:pt x="f238" y="f9"/>
                </a:cubicBezTo>
                <a:lnTo>
                  <a:pt x="f239" y="f9"/>
                </a:lnTo>
                <a:cubicBezTo>
                  <a:pt x="f239" y="f9"/>
                  <a:pt x="f239" y="f9"/>
                  <a:pt x="f240" y="f191"/>
                </a:cubicBezTo>
                <a:cubicBezTo>
                  <a:pt x="f241" y="f205"/>
                  <a:pt x="f216" y="f155"/>
                  <a:pt x="f215" y="f155"/>
                </a:cubicBezTo>
                <a:cubicBezTo>
                  <a:pt x="f242" y="f155"/>
                  <a:pt x="f243" y="f208"/>
                  <a:pt x="f232" y="f209"/>
                </a:cubicBezTo>
                <a:cubicBezTo>
                  <a:pt x="f244" y="f211"/>
                  <a:pt x="f245" y="f213"/>
                  <a:pt x="f245" y="f39"/>
                </a:cubicBezTo>
                <a:cubicBezTo>
                  <a:pt x="f245" y="f151"/>
                  <a:pt x="f246" y="f119"/>
                  <a:pt x="f232" y="f66"/>
                </a:cubicBezTo>
                <a:cubicBezTo>
                  <a:pt x="f243" y="f147"/>
                  <a:pt x="f242" y="f144"/>
                  <a:pt x="f215" y="f144"/>
                </a:cubicBezTo>
                <a:close/>
                <a:moveTo>
                  <a:pt x="f247" y="f144"/>
                </a:moveTo>
                <a:cubicBezTo>
                  <a:pt x="f248" y="f144"/>
                  <a:pt x="f249" y="f250"/>
                  <a:pt x="f251" y="f252"/>
                </a:cubicBezTo>
                <a:cubicBezTo>
                  <a:pt x="f253" y="f254"/>
                  <a:pt x="f255" y="f169"/>
                  <a:pt x="f256" y="f27"/>
                </a:cubicBezTo>
                <a:cubicBezTo>
                  <a:pt x="f256" y="f27"/>
                  <a:pt x="f256" y="f27"/>
                  <a:pt x="f257" y="f27"/>
                </a:cubicBezTo>
                <a:cubicBezTo>
                  <a:pt x="f258" y="f173"/>
                  <a:pt x="f259" y="f260"/>
                  <a:pt x="f261" y="f262"/>
                </a:cubicBezTo>
                <a:cubicBezTo>
                  <a:pt x="f263" y="f179"/>
                  <a:pt x="f264" y="f265"/>
                  <a:pt x="f266" y="f265"/>
                </a:cubicBezTo>
                <a:cubicBezTo>
                  <a:pt x="f267" y="f265"/>
                  <a:pt x="f268" y="f12"/>
                  <a:pt x="f269" y="f262"/>
                </a:cubicBezTo>
                <a:cubicBezTo>
                  <a:pt x="f270" y="f119"/>
                  <a:pt x="f271" y="f272"/>
                  <a:pt x="f271" y="f273"/>
                </a:cubicBezTo>
                <a:cubicBezTo>
                  <a:pt x="f271" y="f274"/>
                  <a:pt x="f275" y="f276"/>
                  <a:pt x="f277" y="f278"/>
                </a:cubicBezTo>
                <a:cubicBezTo>
                  <a:pt x="f279" y="f280"/>
                  <a:pt x="f281" y="f282"/>
                  <a:pt x="f248" y="f101"/>
                </a:cubicBezTo>
                <a:cubicBezTo>
                  <a:pt x="f251" y="f22"/>
                  <a:pt x="f283" y="f284"/>
                  <a:pt x="f283" y="f285"/>
                </a:cubicBezTo>
                <a:cubicBezTo>
                  <a:pt x="f283" y="f286"/>
                  <a:pt x="f287" y="f288"/>
                  <a:pt x="f289" y="f290"/>
                </a:cubicBezTo>
                <a:cubicBezTo>
                  <a:pt x="f258" y="f208"/>
                  <a:pt x="f291" y="f92"/>
                  <a:pt x="f292" y="f92"/>
                </a:cubicBezTo>
                <a:cubicBezTo>
                  <a:pt x="f293" y="f92"/>
                  <a:pt x="f294" y="f208"/>
                  <a:pt x="f295" y="f296"/>
                </a:cubicBezTo>
                <a:cubicBezTo>
                  <a:pt x="f297" y="f298"/>
                  <a:pt x="f299" y="f300"/>
                  <a:pt x="f299" y="f301"/>
                </a:cubicBezTo>
                <a:cubicBezTo>
                  <a:pt x="f299" y="f301"/>
                  <a:pt x="f299" y="f301"/>
                  <a:pt x="f302" y="f301"/>
                </a:cubicBezTo>
                <a:cubicBezTo>
                  <a:pt x="f302" y="f187"/>
                  <a:pt x="f303" y="f304"/>
                  <a:pt x="f305" y="f306"/>
                </a:cubicBezTo>
                <a:cubicBezTo>
                  <a:pt x="f307" y="f90"/>
                  <a:pt x="f308" y="f85"/>
                  <a:pt x="f292" y="f85"/>
                </a:cubicBezTo>
                <a:cubicBezTo>
                  <a:pt x="f309" y="f85"/>
                  <a:pt x="f310" y="f311"/>
                  <a:pt x="f312" y="f313"/>
                </a:cubicBezTo>
                <a:cubicBezTo>
                  <a:pt x="f258" y="f211"/>
                  <a:pt x="f314" y="f300"/>
                  <a:pt x="f314" y="f285"/>
                </a:cubicBezTo>
                <a:cubicBezTo>
                  <a:pt x="f314" y="f315"/>
                  <a:pt x="f249" y="f111"/>
                  <a:pt x="f264" y="f284"/>
                </a:cubicBezTo>
                <a:cubicBezTo>
                  <a:pt x="f264" y="f284"/>
                  <a:pt x="f264" y="f284"/>
                  <a:pt x="f316" y="f317"/>
                </a:cubicBezTo>
                <a:cubicBezTo>
                  <a:pt x="f318" y="f104"/>
                  <a:pt x="f319" y="f17"/>
                  <a:pt x="f319" y="f320"/>
                </a:cubicBezTo>
                <a:cubicBezTo>
                  <a:pt x="f319" y="f99"/>
                  <a:pt x="f321" y="f322"/>
                  <a:pt x="f323" y="f324"/>
                </a:cubicBezTo>
                <a:cubicBezTo>
                  <a:pt x="f325" y="f250"/>
                  <a:pt x="f326" y="f144"/>
                  <a:pt x="f247" y="f144"/>
                </a:cubicBezTo>
                <a:close/>
                <a:moveTo>
                  <a:pt x="f50" y="f144"/>
                </a:moveTo>
                <a:cubicBezTo>
                  <a:pt x="f327" y="f144"/>
                  <a:pt x="f328" y="f147"/>
                  <a:pt x="f60" y="f66"/>
                </a:cubicBezTo>
                <a:cubicBezTo>
                  <a:pt x="f329" y="f119"/>
                  <a:pt x="f330" y="f151"/>
                  <a:pt x="f330" y="f39"/>
                </a:cubicBezTo>
                <a:cubicBezTo>
                  <a:pt x="f330" y="f152"/>
                  <a:pt x="f329" y="f115"/>
                  <a:pt x="f60" y="f153"/>
                </a:cubicBezTo>
                <a:cubicBezTo>
                  <a:pt x="f328" y="f154"/>
                  <a:pt x="f327" y="f155"/>
                  <a:pt x="f50" y="f155"/>
                </a:cubicBezTo>
                <a:cubicBezTo>
                  <a:pt x="f331" y="f155"/>
                  <a:pt x="f332" y="f154"/>
                  <a:pt x="f333" y="f153"/>
                </a:cubicBezTo>
                <a:cubicBezTo>
                  <a:pt x="f334" y="f115"/>
                  <a:pt x="f335" y="f152"/>
                  <a:pt x="f335" y="f39"/>
                </a:cubicBezTo>
                <a:cubicBezTo>
                  <a:pt x="f335" y="f151"/>
                  <a:pt x="f334" y="f119"/>
                  <a:pt x="f333" y="f66"/>
                </a:cubicBezTo>
                <a:cubicBezTo>
                  <a:pt x="f332" y="f147"/>
                  <a:pt x="f331" y="f144"/>
                  <a:pt x="f50" y="f144"/>
                </a:cubicBezTo>
                <a:close/>
                <a:moveTo>
                  <a:pt x="f336" y="f144"/>
                </a:moveTo>
                <a:cubicBezTo>
                  <a:pt x="f337" y="f144"/>
                  <a:pt x="f338" y="f163"/>
                  <a:pt x="f339" y="f340"/>
                </a:cubicBezTo>
                <a:cubicBezTo>
                  <a:pt x="f341" y="f68"/>
                  <a:pt x="f342" y="f343"/>
                  <a:pt x="f344" y="f345"/>
                </a:cubicBezTo>
                <a:cubicBezTo>
                  <a:pt x="f344" y="f345"/>
                  <a:pt x="f344" y="f345"/>
                  <a:pt x="f346" y="f345"/>
                </a:cubicBezTo>
                <a:cubicBezTo>
                  <a:pt x="f347" y="f348"/>
                  <a:pt x="f349" y="f175"/>
                  <a:pt x="f350" y="f351"/>
                </a:cubicBezTo>
                <a:cubicBezTo>
                  <a:pt x="f352" y="f33"/>
                  <a:pt x="f353" y="f30"/>
                  <a:pt x="f336" y="f30"/>
                </a:cubicBezTo>
                <a:cubicBezTo>
                  <a:pt x="f354" y="f30"/>
                  <a:pt x="f355" y="f33"/>
                  <a:pt x="f356" y="f19"/>
                </a:cubicBezTo>
                <a:cubicBezTo>
                  <a:pt x="f357" y="f36"/>
                  <a:pt x="f357" y="f38"/>
                  <a:pt x="f357" y="f39"/>
                </a:cubicBezTo>
                <a:cubicBezTo>
                  <a:pt x="f357" y="f40"/>
                  <a:pt x="f357" y="f41"/>
                  <a:pt x="f356" y="f42"/>
                </a:cubicBezTo>
                <a:cubicBezTo>
                  <a:pt x="f355" y="f43"/>
                  <a:pt x="f354" y="f85"/>
                  <a:pt x="f336" y="f85"/>
                </a:cubicBezTo>
                <a:cubicBezTo>
                  <a:pt x="f353" y="f85"/>
                  <a:pt x="f358" y="f359"/>
                  <a:pt x="f360" y="f42"/>
                </a:cubicBezTo>
                <a:cubicBezTo>
                  <a:pt x="f349" y="f361"/>
                  <a:pt x="f346" y="f362"/>
                  <a:pt x="f346" y="f301"/>
                </a:cubicBezTo>
                <a:cubicBezTo>
                  <a:pt x="f346" y="f301"/>
                  <a:pt x="f346" y="f301"/>
                  <a:pt x="f363" y="f301"/>
                </a:cubicBezTo>
                <a:cubicBezTo>
                  <a:pt x="f344" y="f364"/>
                  <a:pt x="f341" y="f365"/>
                  <a:pt x="f339" y="f153"/>
                </a:cubicBezTo>
                <a:cubicBezTo>
                  <a:pt x="f338" y="f366"/>
                  <a:pt x="f337" y="f155"/>
                  <a:pt x="f336" y="f155"/>
                </a:cubicBezTo>
                <a:cubicBezTo>
                  <a:pt x="f367" y="f155"/>
                  <a:pt x="f368" y="f154"/>
                  <a:pt x="f369" y="f153"/>
                </a:cubicBezTo>
                <a:cubicBezTo>
                  <a:pt x="f370" y="f115"/>
                  <a:pt x="f5" y="f152"/>
                  <a:pt x="f5" y="f39"/>
                </a:cubicBezTo>
                <a:cubicBezTo>
                  <a:pt x="f5" y="f151"/>
                  <a:pt x="f370" y="f119"/>
                  <a:pt x="f369" y="f66"/>
                </a:cubicBezTo>
                <a:cubicBezTo>
                  <a:pt x="f368" y="f147"/>
                  <a:pt x="f367" y="f144"/>
                  <a:pt x="f336" y="f144"/>
                </a:cubicBezTo>
                <a:close/>
                <a:moveTo>
                  <a:pt x="f371" y="f372"/>
                </a:moveTo>
                <a:cubicBezTo>
                  <a:pt x="f371" y="f372"/>
                  <a:pt x="f371" y="f372"/>
                  <a:pt x="f371" y="f373"/>
                </a:cubicBezTo>
                <a:cubicBezTo>
                  <a:pt x="f371" y="f373"/>
                  <a:pt x="f371" y="f373"/>
                  <a:pt x="f374" y="f373"/>
                </a:cubicBezTo>
                <a:cubicBezTo>
                  <a:pt x="f375" y="f373"/>
                  <a:pt x="f376" y="f377"/>
                  <a:pt x="f376" y="f378"/>
                </a:cubicBezTo>
                <a:cubicBezTo>
                  <a:pt x="f376" y="f379"/>
                  <a:pt x="f375" y="f372"/>
                  <a:pt x="f374" y="f372"/>
                </a:cubicBezTo>
                <a:cubicBezTo>
                  <a:pt x="f374" y="f372"/>
                  <a:pt x="f374" y="f372"/>
                  <a:pt x="f371" y="f372"/>
                </a:cubicBezTo>
                <a:close/>
                <a:moveTo>
                  <a:pt x="f380" y="f5"/>
                </a:moveTo>
                <a:lnTo>
                  <a:pt x="f6" y="f5"/>
                </a:lnTo>
                <a:lnTo>
                  <a:pt x="f6" y="f381"/>
                </a:lnTo>
                <a:lnTo>
                  <a:pt x="f382" y="f381"/>
                </a:lnTo>
                <a:lnTo>
                  <a:pt x="f382" y="f383"/>
                </a:lnTo>
                <a:lnTo>
                  <a:pt x="f384" y="f383"/>
                </a:lnTo>
                <a:lnTo>
                  <a:pt x="f384" y="f381"/>
                </a:lnTo>
                <a:lnTo>
                  <a:pt x="f380" y="f381"/>
                </a:lnTo>
                <a:close/>
                <a:moveTo>
                  <a:pt x="f385" y="f5"/>
                </a:moveTo>
                <a:lnTo>
                  <a:pt x="f386" y="f5"/>
                </a:lnTo>
                <a:lnTo>
                  <a:pt x="f387" y="f388"/>
                </a:lnTo>
                <a:lnTo>
                  <a:pt x="f389" y="f390"/>
                </a:lnTo>
                <a:lnTo>
                  <a:pt x="f389" y="f5"/>
                </a:lnTo>
                <a:lnTo>
                  <a:pt x="f391" y="f5"/>
                </a:lnTo>
                <a:lnTo>
                  <a:pt x="f391" y="f383"/>
                </a:lnTo>
                <a:lnTo>
                  <a:pt x="f392" y="f383"/>
                </a:lnTo>
                <a:lnTo>
                  <a:pt x="f393" y="f394"/>
                </a:lnTo>
                <a:lnTo>
                  <a:pt x="f393" y="f383"/>
                </a:lnTo>
                <a:lnTo>
                  <a:pt x="f385" y="f383"/>
                </a:lnTo>
                <a:close/>
                <a:moveTo>
                  <a:pt x="f395" y="f5"/>
                </a:moveTo>
                <a:lnTo>
                  <a:pt x="f396" y="f5"/>
                </a:lnTo>
                <a:lnTo>
                  <a:pt x="f396" y="f397"/>
                </a:lnTo>
                <a:lnTo>
                  <a:pt x="f398" y="f397"/>
                </a:lnTo>
                <a:lnTo>
                  <a:pt x="f398" y="f399"/>
                </a:lnTo>
                <a:lnTo>
                  <a:pt x="f400" y="f399"/>
                </a:lnTo>
                <a:lnTo>
                  <a:pt x="f400" y="f401"/>
                </a:lnTo>
                <a:lnTo>
                  <a:pt x="f398" y="f401"/>
                </a:lnTo>
                <a:lnTo>
                  <a:pt x="f398" y="f402"/>
                </a:lnTo>
                <a:lnTo>
                  <a:pt x="f396" y="f402"/>
                </a:lnTo>
                <a:lnTo>
                  <a:pt x="f396" y="f383"/>
                </a:lnTo>
                <a:lnTo>
                  <a:pt x="f395" y="f383"/>
                </a:lnTo>
                <a:close/>
                <a:moveTo>
                  <a:pt x="f403" y="f5"/>
                </a:moveTo>
                <a:lnTo>
                  <a:pt x="f404" y="f5"/>
                </a:lnTo>
                <a:lnTo>
                  <a:pt x="f405" y="f406"/>
                </a:lnTo>
                <a:lnTo>
                  <a:pt x="f407" y="f5"/>
                </a:lnTo>
                <a:lnTo>
                  <a:pt x="f408" y="f5"/>
                </a:lnTo>
                <a:lnTo>
                  <a:pt x="f408" y="f383"/>
                </a:lnTo>
                <a:lnTo>
                  <a:pt x="f409" y="f383"/>
                </a:lnTo>
                <a:lnTo>
                  <a:pt x="f409" y="f410"/>
                </a:lnTo>
                <a:lnTo>
                  <a:pt x="f411" y="f412"/>
                </a:lnTo>
                <a:lnTo>
                  <a:pt x="f413" y="f412"/>
                </a:lnTo>
                <a:lnTo>
                  <a:pt x="f414" y="f415"/>
                </a:lnTo>
                <a:lnTo>
                  <a:pt x="f414" y="f383"/>
                </a:lnTo>
                <a:lnTo>
                  <a:pt x="f403" y="f383"/>
                </a:lnTo>
                <a:close/>
                <a:moveTo>
                  <a:pt x="f416" y="f5"/>
                </a:moveTo>
                <a:lnTo>
                  <a:pt x="f417" y="f5"/>
                </a:lnTo>
                <a:lnTo>
                  <a:pt x="f417" y="f397"/>
                </a:lnTo>
                <a:lnTo>
                  <a:pt x="f418" y="f397"/>
                </a:lnTo>
                <a:lnTo>
                  <a:pt x="f418" y="f399"/>
                </a:lnTo>
                <a:lnTo>
                  <a:pt x="f419" y="f399"/>
                </a:lnTo>
                <a:lnTo>
                  <a:pt x="f419" y="f401"/>
                </a:lnTo>
                <a:lnTo>
                  <a:pt x="f418" y="f401"/>
                </a:lnTo>
                <a:lnTo>
                  <a:pt x="f418" y="f402"/>
                </a:lnTo>
                <a:lnTo>
                  <a:pt x="f417" y="f402"/>
                </a:lnTo>
                <a:lnTo>
                  <a:pt x="f417" y="f383"/>
                </a:lnTo>
                <a:lnTo>
                  <a:pt x="f416" y="f383"/>
                </a:lnTo>
                <a:close/>
                <a:moveTo>
                  <a:pt x="f420" y="f5"/>
                </a:moveTo>
                <a:lnTo>
                  <a:pt x="f421" y="f5"/>
                </a:lnTo>
                <a:lnTo>
                  <a:pt x="f421" y="f422"/>
                </a:lnTo>
                <a:lnTo>
                  <a:pt x="f423" y="f422"/>
                </a:lnTo>
                <a:lnTo>
                  <a:pt x="f423" y="f383"/>
                </a:lnTo>
                <a:lnTo>
                  <a:pt x="f420" y="f383"/>
                </a:lnTo>
                <a:close/>
                <a:moveTo>
                  <a:pt x="f424" y="f5"/>
                </a:moveTo>
                <a:cubicBezTo>
                  <a:pt x="f424" y="f5"/>
                  <a:pt x="f424" y="f5"/>
                  <a:pt x="f425" y="f5"/>
                </a:cubicBezTo>
                <a:cubicBezTo>
                  <a:pt x="f426" y="f5"/>
                  <a:pt x="f427" y="f428"/>
                  <a:pt x="f427" y="f429"/>
                </a:cubicBezTo>
                <a:cubicBezTo>
                  <a:pt x="f427" y="f430"/>
                  <a:pt x="f426" y="f431"/>
                  <a:pt x="f425" y="f431"/>
                </a:cubicBezTo>
                <a:cubicBezTo>
                  <a:pt x="f425" y="f431"/>
                  <a:pt x="f425" y="f431"/>
                  <a:pt x="f371" y="f431"/>
                </a:cubicBezTo>
                <a:cubicBezTo>
                  <a:pt x="f371" y="f431"/>
                  <a:pt x="f371" y="f431"/>
                  <a:pt x="f371" y="f383"/>
                </a:cubicBezTo>
                <a:cubicBezTo>
                  <a:pt x="f371" y="f383"/>
                  <a:pt x="f371" y="f383"/>
                  <a:pt x="f424" y="f383"/>
                </a:cubicBezTo>
                <a:cubicBezTo>
                  <a:pt x="f424" y="f383"/>
                  <a:pt x="f424" y="f383"/>
                  <a:pt x="f424" y="f5"/>
                </a:cubicBezTo>
                <a:close/>
                <a:moveTo>
                  <a:pt x="f432" y="f5"/>
                </a:moveTo>
                <a:lnTo>
                  <a:pt x="f433" y="f5"/>
                </a:lnTo>
                <a:lnTo>
                  <a:pt x="f434" y="f406"/>
                </a:lnTo>
                <a:lnTo>
                  <a:pt x="f435" y="f5"/>
                </a:lnTo>
                <a:lnTo>
                  <a:pt x="f436" y="f5"/>
                </a:lnTo>
                <a:lnTo>
                  <a:pt x="f436" y="f383"/>
                </a:lnTo>
                <a:lnTo>
                  <a:pt x="f437" y="f383"/>
                </a:lnTo>
                <a:lnTo>
                  <a:pt x="f437" y="f410"/>
                </a:lnTo>
                <a:lnTo>
                  <a:pt x="f438" y="f412"/>
                </a:lnTo>
                <a:lnTo>
                  <a:pt x="f439" y="f412"/>
                </a:lnTo>
                <a:lnTo>
                  <a:pt x="f440" y="f415"/>
                </a:lnTo>
                <a:lnTo>
                  <a:pt x="f440" y="f383"/>
                </a:lnTo>
                <a:lnTo>
                  <a:pt x="f432" y="f383"/>
                </a:lnTo>
                <a:close/>
                <a:moveTo>
                  <a:pt x="f441" y="f5"/>
                </a:moveTo>
                <a:lnTo>
                  <a:pt x="f442" y="f5"/>
                </a:lnTo>
                <a:lnTo>
                  <a:pt x="f442" y="f383"/>
                </a:lnTo>
                <a:lnTo>
                  <a:pt x="f441" y="f383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1F2023"/>
                </a:solidFill>
                <a:uFillTx/>
                <a:latin typeface="Arial"/>
              </a:rPr>
              <a:t> </a:t>
            </a:r>
          </a:p>
        </p:txBody>
      </p:sp>
      <p:sp>
        <p:nvSpPr>
          <p:cNvPr id="9" name="Date_GeneralDate" hidden="1">
            <a:extLst>
              <a:ext uri="{FF2B5EF4-FFF2-40B4-BE49-F238E27FC236}">
                <a16:creationId xmlns:a16="http://schemas.microsoft.com/office/drawing/2014/main" id="{15A8EEBA-E0DE-4B9D-8D4B-B7273FADBA51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93F306C2-5907-4230-B13E-32E20999DD40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10" name="FLD_PresentationTitle" hidden="1">
            <a:extLst>
              <a:ext uri="{FF2B5EF4-FFF2-40B4-BE49-F238E27FC236}">
                <a16:creationId xmlns:a16="http://schemas.microsoft.com/office/drawing/2014/main" id="{DCE57538-1982-4707-A6DC-4BBB4D1100F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5184003"/>
            <a:ext cx="0" cy="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GB"/>
              <a:t>Footer</a:t>
            </a:r>
          </a:p>
        </p:txBody>
      </p:sp>
      <p:sp>
        <p:nvSpPr>
          <p:cNvPr id="11" name="Slide Number Placeholder 5" hidden="1">
            <a:extLst>
              <a:ext uri="{FF2B5EF4-FFF2-40B4-BE49-F238E27FC236}">
                <a16:creationId xmlns:a16="http://schemas.microsoft.com/office/drawing/2014/main" id="{B6A0F15F-6B3F-4CED-AF42-EB52F1176B9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5184003"/>
            <a:ext cx="0" cy="0"/>
          </a:xfrm>
        </p:spPr>
        <p:txBody>
          <a:bodyPr anchor="t"/>
          <a:lstStyle>
            <a:lvl1pPr>
              <a:defRPr sz="108">
                <a:solidFill>
                  <a:srgbClr val="000000"/>
                </a:solidFill>
              </a:defRPr>
            </a:lvl1pPr>
          </a:lstStyle>
          <a:p>
            <a:pPr lvl="0"/>
            <a:fld id="{D78EDEF1-B276-4FB3-B15B-CB6B256A0B06}" type="slidenum">
              <a:t>‹nr.›</a:t>
            </a:fld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C4595D5-ECD7-4B52-B9BA-2AD07779508F}"/>
              </a:ext>
            </a:extLst>
          </p:cNvPr>
          <p:cNvSpPr txBox="1"/>
          <p:nvPr/>
        </p:nvSpPr>
        <p:spPr>
          <a:xfrm>
            <a:off x="8256332" y="4869475"/>
            <a:ext cx="562279" cy="9348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675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84402484"/>
      </p:ext>
    </p:extLst>
  </p:cSld>
  <p:clrMapOvr>
    <a:masterClrMapping/>
  </p:clrMapOvr>
  <p:transition spd="med">
    <p:fade/>
  </p:transition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ogo Image Dark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627BD034-BF8A-480F-9121-AF89A7C8EDA6}"/>
              </a:ext>
            </a:extLst>
          </p:cNvPr>
          <p:cNvSpPr/>
          <p:nvPr/>
        </p:nvSpPr>
        <p:spPr>
          <a:xfrm>
            <a:off x="3186568" y="0"/>
            <a:ext cx="5957428" cy="5143500"/>
          </a:xfrm>
          <a:custGeom>
            <a:avLst/>
            <a:gdLst>
              <a:gd name="f0" fmla="val w"/>
              <a:gd name="f1" fmla="val h"/>
              <a:gd name="f2" fmla="val 0"/>
              <a:gd name="f3" fmla="val 20104100"/>
              <a:gd name="f4" fmla="val 11308715"/>
              <a:gd name="f5" fmla="val 11308556"/>
              <a:gd name="f6" fmla="val 20104099"/>
              <a:gd name="f7" fmla="*/ f0 1 20104100"/>
              <a:gd name="f8" fmla="*/ f1 1 11308715"/>
              <a:gd name="f9" fmla="+- f4 0 f2"/>
              <a:gd name="f10" fmla="+- f3 0 f2"/>
              <a:gd name="f11" fmla="*/ f10 1 20104100"/>
              <a:gd name="f12" fmla="*/ f9 1 11308715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20104100" h="11308715">
                <a:moveTo>
                  <a:pt x="f2" y="f5"/>
                </a:moveTo>
                <a:lnTo>
                  <a:pt x="f6" y="f5"/>
                </a:lnTo>
                <a:lnTo>
                  <a:pt x="f6" y="f2"/>
                </a:lnTo>
                <a:lnTo>
                  <a:pt x="f2" y="f2"/>
                </a:lnTo>
                <a:lnTo>
                  <a:pt x="f2" y="f5"/>
                </a:lnTo>
                <a:close/>
              </a:path>
            </a:pathLst>
          </a:custGeom>
          <a:solidFill>
            <a:srgbClr val="E0BCA6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DFBD0E9-E349-4DDB-ACA3-B8005DE80FA2}"/>
              </a:ext>
            </a:extLst>
          </p:cNvPr>
          <p:cNvSpPr/>
          <p:nvPr/>
        </p:nvSpPr>
        <p:spPr>
          <a:xfrm>
            <a:off x="0" y="0"/>
            <a:ext cx="7896836" cy="4126705"/>
          </a:xfrm>
          <a:prstGeom prst="rect">
            <a:avLst/>
          </a:prstGeom>
          <a:solidFill>
            <a:srgbClr val="30373B"/>
          </a:solidFill>
          <a:ln cap="flat">
            <a:noFill/>
            <a:prstDash val="solid"/>
          </a:ln>
        </p:spPr>
        <p:txBody>
          <a:bodyPr vert="horz" wrap="square" lIns="26999" tIns="26999" rIns="26999" bIns="26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F0AC7AA2-72E4-42B1-BE16-79DF659F2317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3186568" y="3008338"/>
            <a:ext cx="5957428" cy="2135162"/>
          </a:xfrm>
          <a:solidFill>
            <a:srgbClr val="F3F2F0"/>
          </a:solidFill>
        </p:spPr>
        <p:txBody>
          <a:bodyPr rIns="0" anchor="ctr" anchorCtr="1"/>
          <a:lstStyle>
            <a:lvl1pPr algn="ctr">
              <a:buNone/>
              <a:defRPr lang="en-GB"/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09BBD00-E448-4738-920B-677F43B981DA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249117" y="3008337"/>
            <a:ext cx="2599590" cy="752418"/>
          </a:xfrm>
        </p:spPr>
        <p:txBody>
          <a:bodyPr/>
          <a:lstStyle>
            <a:lvl1pPr>
              <a:defRPr sz="731">
                <a:solidFill>
                  <a:srgbClr val="F8F5E7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29F503E5-D822-4A19-B54F-413E2EF4D2C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3760756"/>
            <a:ext cx="2599590" cy="157974"/>
          </a:xfrm>
        </p:spPr>
        <p:txBody>
          <a:bodyPr rIns="0" anchor="b"/>
          <a:lstStyle>
            <a:lvl1pPr>
              <a:defRPr lang="en-GB" sz="675">
                <a:solidFill>
                  <a:srgbClr val="F8F5E7"/>
                </a:solidFill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F958386-0121-4FCA-BB8D-7BD591FE4DE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404815"/>
            <a:ext cx="5392438" cy="2395547"/>
          </a:xfrm>
        </p:spPr>
        <p:txBody>
          <a:bodyPr/>
          <a:lstStyle>
            <a:lvl1pPr>
              <a:lnSpc>
                <a:spcPct val="83000"/>
              </a:lnSpc>
              <a:defRPr lang="en-GB" sz="4875" cap="all">
                <a:solidFill>
                  <a:srgbClr val="F8F5E7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088595A5-E777-432C-9C9D-5814C8D9CD14}"/>
              </a:ext>
            </a:extLst>
          </p:cNvPr>
          <p:cNvSpPr/>
          <p:nvPr/>
        </p:nvSpPr>
        <p:spPr>
          <a:xfrm rot="5400013">
            <a:off x="8288464" y="566493"/>
            <a:ext cx="944168" cy="265744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9905999"/>
              <a:gd name="f7" fmla="val 2265361"/>
              <a:gd name="f8" fmla="val 6778122"/>
              <a:gd name="f9" fmla="val 2222531"/>
              <a:gd name="f10" fmla="val 7135812"/>
              <a:gd name="f11" fmla="val 6449676"/>
              <a:gd name="f12" fmla="val 1769427"/>
              <a:gd name="f13" fmla="val 1965546"/>
              <a:gd name="f14" fmla="val 6575655"/>
              <a:gd name="f15" fmla="val 6643144"/>
              <a:gd name="f16" fmla="val 6679138"/>
              <a:gd name="f17" fmla="val 1933987"/>
              <a:gd name="f18" fmla="val 1864105"/>
              <a:gd name="f19" fmla="val 1800986"/>
              <a:gd name="f20" fmla="val 6638645"/>
              <a:gd name="f21" fmla="val 5021164"/>
              <a:gd name="f22" fmla="val 1949767"/>
              <a:gd name="f23" fmla="val 5158391"/>
              <a:gd name="f24" fmla="val 5219131"/>
              <a:gd name="f25" fmla="val 5261874"/>
              <a:gd name="f26" fmla="val 1924970"/>
              <a:gd name="f27" fmla="val 1859597"/>
              <a:gd name="f28" fmla="val 1794223"/>
              <a:gd name="f29" fmla="val 5597068"/>
              <a:gd name="f30" fmla="val 1762664"/>
              <a:gd name="f31" fmla="val 5563324"/>
              <a:gd name="f32" fmla="val 5529579"/>
              <a:gd name="f33" fmla="val 1776189"/>
              <a:gd name="f34" fmla="val 5504834"/>
              <a:gd name="f35" fmla="val 5462091"/>
              <a:gd name="f36" fmla="val 1843817"/>
              <a:gd name="f37" fmla="val 5459841"/>
              <a:gd name="f38" fmla="val 1913699"/>
              <a:gd name="f39" fmla="val 1967800"/>
              <a:gd name="f40" fmla="val 2019648"/>
              <a:gd name="f41" fmla="val 2089530"/>
              <a:gd name="f42" fmla="val 2132361"/>
              <a:gd name="f43" fmla="val 2159412"/>
              <a:gd name="f44" fmla="val 2170683"/>
              <a:gd name="f45" fmla="val 5633062"/>
              <a:gd name="f46" fmla="val 5666807"/>
              <a:gd name="f47" fmla="val 5691552"/>
              <a:gd name="f48" fmla="val 5732046"/>
              <a:gd name="f49" fmla="val 5734295"/>
              <a:gd name="f50" fmla="val 654642"/>
              <a:gd name="f51" fmla="val 618647"/>
              <a:gd name="f52" fmla="val 584903"/>
              <a:gd name="f53" fmla="val 560157"/>
              <a:gd name="f54" fmla="val 519664"/>
              <a:gd name="f55" fmla="val 517414"/>
              <a:gd name="f56" fmla="val 688386"/>
              <a:gd name="f57" fmla="val 722130"/>
              <a:gd name="f58" fmla="val 746876"/>
              <a:gd name="f59" fmla="val 789619"/>
              <a:gd name="f60" fmla="val 791868"/>
              <a:gd name="f61" fmla="val 6386687"/>
              <a:gd name="f62" fmla="val 1710816"/>
              <a:gd name="f63" fmla="val 6636395"/>
              <a:gd name="f64" fmla="val 1726596"/>
              <a:gd name="f65" fmla="val 6706134"/>
              <a:gd name="f66" fmla="val 1755901"/>
              <a:gd name="f67" fmla="val 6730880"/>
              <a:gd name="f68" fmla="val 1782952"/>
              <a:gd name="f69" fmla="val 6744377"/>
              <a:gd name="f70" fmla="val 1821274"/>
              <a:gd name="f71" fmla="val 1915953"/>
              <a:gd name="f72" fmla="val 1954275"/>
              <a:gd name="f73" fmla="val 6701634"/>
              <a:gd name="f74" fmla="val 1981326"/>
              <a:gd name="f75" fmla="val 6674639"/>
              <a:gd name="f76" fmla="val 2008377"/>
              <a:gd name="f77" fmla="val 6634146"/>
              <a:gd name="f78" fmla="val 2024157"/>
              <a:gd name="f79" fmla="val 6577905"/>
              <a:gd name="f80" fmla="val 5889520"/>
              <a:gd name="f81" fmla="val 5954759"/>
              <a:gd name="f82" fmla="val 2035428"/>
              <a:gd name="f83" fmla="val 2118835"/>
              <a:gd name="f84" fmla="val 5988503"/>
              <a:gd name="f85" fmla="val 2172937"/>
              <a:gd name="f86" fmla="val 6076239"/>
              <a:gd name="f87" fmla="val 6166224"/>
              <a:gd name="f88" fmla="val 6199968"/>
              <a:gd name="f89" fmla="val 6262957"/>
              <a:gd name="f90" fmla="val 2163920"/>
              <a:gd name="f91" fmla="val 6190969"/>
              <a:gd name="f92" fmla="val 2231547"/>
              <a:gd name="f93" fmla="val 5961508"/>
              <a:gd name="f94" fmla="val 4958174"/>
              <a:gd name="f95" fmla="val 5259624"/>
              <a:gd name="f96" fmla="val 5288869"/>
              <a:gd name="f97" fmla="val 5313615"/>
              <a:gd name="f98" fmla="val 5329363"/>
              <a:gd name="f99" fmla="val 1814512"/>
              <a:gd name="f100" fmla="val 1904682"/>
              <a:gd name="f101" fmla="val 1936241"/>
              <a:gd name="f102" fmla="val 1961038"/>
              <a:gd name="f103" fmla="val 5275372"/>
              <a:gd name="f104" fmla="val 1976817"/>
              <a:gd name="f105" fmla="val 5252875"/>
              <a:gd name="f106" fmla="val 1990343"/>
              <a:gd name="f107" fmla="val 5228130"/>
              <a:gd name="f108" fmla="val 1997106"/>
              <a:gd name="f109" fmla="val 5331612"/>
              <a:gd name="f110" fmla="val 5162890"/>
              <a:gd name="f111" fmla="val 2010631"/>
              <a:gd name="f112" fmla="val 3309199"/>
              <a:gd name="f113" fmla="val 3381187"/>
              <a:gd name="f114" fmla="val 3633145"/>
              <a:gd name="f115" fmla="val 2123344"/>
              <a:gd name="f116" fmla="val 3693885"/>
              <a:gd name="f117" fmla="val 3621897"/>
              <a:gd name="f118" fmla="val 3372188"/>
              <a:gd name="f119" fmla="val 1810003"/>
              <a:gd name="f120" fmla="val 3106732"/>
              <a:gd name="f121" fmla="val 3171971"/>
              <a:gd name="f122" fmla="val 2663557"/>
              <a:gd name="f123" fmla="val 3032495"/>
              <a:gd name="f124" fmla="val 2879521"/>
              <a:gd name="f125" fmla="val 2814282"/>
              <a:gd name="f126" fmla="val 2416099"/>
              <a:gd name="f127" fmla="val 2481338"/>
              <a:gd name="f128" fmla="val 2726547"/>
              <a:gd name="f129" fmla="val 1918931"/>
              <a:gd name="f130" fmla="val 1984171"/>
              <a:gd name="f131" fmla="val 2017916"/>
              <a:gd name="f132" fmla="val 2105651"/>
              <a:gd name="f133" fmla="val 2195636"/>
              <a:gd name="f134" fmla="val 2229380"/>
              <a:gd name="f135" fmla="val 2292369"/>
              <a:gd name="f136" fmla="val 2220382"/>
              <a:gd name="f137" fmla="val 1990920"/>
              <a:gd name="f138" fmla="val 960591"/>
              <a:gd name="f139" fmla="val 1032578"/>
              <a:gd name="f140" fmla="val 1284537"/>
              <a:gd name="f141" fmla="val 1345276"/>
              <a:gd name="f142" fmla="val 1273289"/>
              <a:gd name="f143" fmla="val 1023580"/>
              <a:gd name="f144" fmla="val 1701799"/>
              <a:gd name="f145" fmla="val 5648810"/>
              <a:gd name="f146" fmla="val 5698301"/>
              <a:gd name="f147" fmla="val 1719833"/>
              <a:gd name="f148" fmla="val 5736545"/>
              <a:gd name="f149" fmla="val 5790536"/>
              <a:gd name="f150" fmla="val 5801784"/>
              <a:gd name="f151" fmla="val 1884393"/>
              <a:gd name="f152" fmla="val 2048953"/>
              <a:gd name="f153" fmla="val 2177446"/>
              <a:gd name="f154" fmla="val 2213514"/>
              <a:gd name="f155" fmla="val 2233802"/>
              <a:gd name="f156" fmla="val 5547576"/>
              <a:gd name="f157" fmla="val 5495835"/>
              <a:gd name="f158" fmla="val 5403600"/>
              <a:gd name="f159" fmla="val 5394602"/>
              <a:gd name="f160" fmla="val 4645477"/>
              <a:gd name="f161" fmla="val 4701717"/>
              <a:gd name="f162" fmla="val 4755708"/>
              <a:gd name="f163" fmla="val 1722087"/>
              <a:gd name="f164" fmla="val 4791702"/>
              <a:gd name="f165" fmla="val 1758155"/>
              <a:gd name="f166" fmla="val 4816448"/>
              <a:gd name="f167" fmla="val 1785206"/>
              <a:gd name="f168" fmla="val 4832195"/>
              <a:gd name="f169" fmla="val 1816766"/>
              <a:gd name="f170" fmla="val 4834445"/>
              <a:gd name="f171" fmla="val 4766956"/>
              <a:gd name="f172" fmla="val 4764707"/>
              <a:gd name="f173" fmla="val 1834800"/>
              <a:gd name="f174" fmla="val 4757958"/>
              <a:gd name="f175" fmla="val 1819020"/>
              <a:gd name="f176" fmla="val 4744460"/>
              <a:gd name="f177" fmla="val 1803240"/>
              <a:gd name="f178" fmla="val 4721964"/>
              <a:gd name="f179" fmla="val 1773935"/>
              <a:gd name="f180" fmla="val 4685970"/>
              <a:gd name="f181" fmla="val 4609482"/>
              <a:gd name="f182" fmla="val 4575738"/>
              <a:gd name="f183" fmla="val 4550992"/>
              <a:gd name="f184" fmla="val 4510499"/>
              <a:gd name="f185" fmla="val 4506000"/>
              <a:gd name="f186" fmla="val 2017394"/>
              <a:gd name="f187" fmla="val 2091784"/>
              <a:gd name="f188" fmla="val 4553242"/>
              <a:gd name="f189" fmla="val 2134615"/>
              <a:gd name="f190" fmla="val 4577988"/>
              <a:gd name="f191" fmla="val 2161666"/>
              <a:gd name="f192" fmla="val 4681471"/>
              <a:gd name="f193" fmla="val 4715215"/>
              <a:gd name="f194" fmla="val 4737711"/>
              <a:gd name="f195" fmla="val 2136869"/>
              <a:gd name="f196" fmla="val 4771456"/>
              <a:gd name="f197" fmla="val 2103055"/>
              <a:gd name="f198" fmla="val 4780454"/>
              <a:gd name="f199" fmla="val 2053462"/>
              <a:gd name="f200" fmla="val 2006123"/>
              <a:gd name="f201" fmla="val 1947512"/>
              <a:gd name="f202" fmla="val 4838944"/>
              <a:gd name="f203" fmla="val 4793952"/>
              <a:gd name="f204" fmla="val 4782704"/>
              <a:gd name="f205" fmla="val 2204497"/>
              <a:gd name="f206" fmla="val 4593735"/>
              <a:gd name="f207" fmla="val 4544243"/>
              <a:gd name="f208" fmla="val 2215768"/>
              <a:gd name="f209" fmla="val 2179700"/>
              <a:gd name="f210" fmla="val 4454258"/>
              <a:gd name="f211" fmla="val 2130106"/>
              <a:gd name="f212" fmla="val 4440761"/>
              <a:gd name="f213" fmla="val 2057970"/>
              <a:gd name="f214" fmla="val 4452009"/>
              <a:gd name="f215" fmla="val 4002083"/>
              <a:gd name="f216" fmla="val 4060574"/>
              <a:gd name="f217" fmla="val 4112315"/>
              <a:gd name="f218" fmla="val 4148309"/>
              <a:gd name="f219" fmla="val 4173055"/>
              <a:gd name="f220" fmla="val 4191052"/>
              <a:gd name="f221" fmla="val 4193302"/>
              <a:gd name="f222" fmla="val 4125813"/>
              <a:gd name="f223" fmla="val 4123563"/>
              <a:gd name="f224" fmla="val 4114565"/>
              <a:gd name="f225" fmla="val 4103317"/>
              <a:gd name="f226" fmla="val 4078571"/>
              <a:gd name="f227" fmla="val 4044826"/>
              <a:gd name="f228" fmla="val 3968339"/>
              <a:gd name="f229" fmla="val 3934595"/>
              <a:gd name="f230" fmla="val 3909849"/>
              <a:gd name="f231" fmla="val 3867106"/>
              <a:gd name="f232" fmla="val 3864856"/>
              <a:gd name="f233" fmla="val 4038077"/>
              <a:gd name="f234" fmla="val 4071822"/>
              <a:gd name="f235" fmla="val 4094318"/>
              <a:gd name="f236" fmla="val 4130312"/>
              <a:gd name="f237" fmla="val 4139311"/>
              <a:gd name="f238" fmla="val 4197801"/>
              <a:gd name="f239" fmla="val 4152808"/>
              <a:gd name="f240" fmla="val 4141560"/>
              <a:gd name="f241" fmla="val 4116814"/>
              <a:gd name="f242" fmla="val 3950342"/>
              <a:gd name="f243" fmla="val 3900850"/>
              <a:gd name="f244" fmla="val 3813115"/>
              <a:gd name="f245" fmla="val 3797367"/>
              <a:gd name="f246" fmla="val 3808616"/>
              <a:gd name="f247" fmla="val 1642228"/>
              <a:gd name="f248" fmla="val 1691719"/>
              <a:gd name="f249" fmla="val 1741211"/>
              <a:gd name="f250" fmla="val 1717579"/>
              <a:gd name="f251" fmla="val 1774955"/>
              <a:gd name="f252" fmla="val 1749138"/>
              <a:gd name="f253" fmla="val 1806450"/>
              <a:gd name="f254" fmla="val 1780698"/>
              <a:gd name="f255" fmla="val 1822198"/>
              <a:gd name="f256" fmla="val 1824447"/>
              <a:gd name="f257" fmla="val 1756958"/>
              <a:gd name="f258" fmla="val 1754708"/>
              <a:gd name="f259" fmla="val 1745710"/>
              <a:gd name="f260" fmla="val 1812257"/>
              <a:gd name="f261" fmla="val 1732212"/>
              <a:gd name="f262" fmla="val 1796478"/>
              <a:gd name="f263" fmla="val 1711966"/>
              <a:gd name="f264" fmla="val 1680471"/>
              <a:gd name="f265" fmla="val 1760410"/>
              <a:gd name="f266" fmla="val 1639978"/>
              <a:gd name="f267" fmla="val 1603983"/>
              <a:gd name="f268" fmla="val 1572489"/>
              <a:gd name="f269" fmla="val 1549993"/>
              <a:gd name="f270" fmla="val 1536494"/>
              <a:gd name="f271" fmla="val 1529746"/>
              <a:gd name="f272" fmla="val 1828037"/>
              <a:gd name="f273" fmla="val 1850580"/>
              <a:gd name="f274" fmla="val 1897919"/>
              <a:gd name="f275" fmla="val 1567989"/>
              <a:gd name="f276" fmla="val 1918207"/>
              <a:gd name="f277" fmla="val 1606234"/>
              <a:gd name="f278" fmla="val 1922716"/>
              <a:gd name="f279" fmla="val 1635478"/>
              <a:gd name="f280" fmla="val 1927224"/>
              <a:gd name="f281" fmla="val 1662474"/>
              <a:gd name="f282" fmla="val 1931733"/>
              <a:gd name="f283" fmla="val 1833445"/>
              <a:gd name="f284" fmla="val 2001614"/>
              <a:gd name="f285" fmla="val 2082767"/>
              <a:gd name="f286" fmla="val 2125598"/>
              <a:gd name="f287" fmla="val 1815448"/>
              <a:gd name="f288" fmla="val 2157157"/>
              <a:gd name="f289" fmla="val 1790703"/>
              <a:gd name="f290" fmla="val 2181954"/>
              <a:gd name="f291" fmla="val 1698468"/>
              <a:gd name="f292" fmla="val 1644477"/>
              <a:gd name="f293" fmla="val 1581488"/>
              <a:gd name="f294" fmla="val 1531996"/>
              <a:gd name="f295" fmla="val 1498251"/>
              <a:gd name="f296" fmla="val 2184208"/>
              <a:gd name="f297" fmla="val 1466757"/>
              <a:gd name="f298" fmla="val 2152649"/>
              <a:gd name="f299" fmla="val 1444260"/>
              <a:gd name="f300" fmla="val 2109818"/>
              <a:gd name="f301" fmla="val 2060225"/>
              <a:gd name="f302" fmla="val 1509499"/>
              <a:gd name="f303" fmla="val 1525247"/>
              <a:gd name="f304" fmla="val 2121089"/>
              <a:gd name="f305" fmla="val 1545494"/>
              <a:gd name="f306" fmla="val 2141378"/>
              <a:gd name="f307" fmla="val 1570239"/>
              <a:gd name="f308" fmla="val 1608483"/>
              <a:gd name="f309" fmla="val 1682720"/>
              <a:gd name="f310" fmla="val 1716465"/>
              <a:gd name="f311" fmla="val 2166174"/>
              <a:gd name="f312" fmla="val 1738962"/>
              <a:gd name="f313" fmla="val 2143632"/>
              <a:gd name="f314" fmla="val 1765956"/>
              <a:gd name="f315" fmla="val 2044445"/>
              <a:gd name="f316" fmla="val 1599484"/>
              <a:gd name="f317" fmla="val 1988089"/>
              <a:gd name="f318" fmla="val 1522997"/>
              <a:gd name="f319" fmla="val 1462257"/>
              <a:gd name="f320" fmla="val 1852834"/>
              <a:gd name="f321" fmla="val 1480254"/>
              <a:gd name="f322" fmla="val 1778444"/>
              <a:gd name="f323" fmla="val 1507249"/>
              <a:gd name="f324" fmla="val 1751393"/>
              <a:gd name="f325" fmla="val 1543244"/>
              <a:gd name="f326" fmla="val 1588236"/>
              <a:gd name="f327" fmla="val 704133"/>
              <a:gd name="f328" fmla="val 755874"/>
              <a:gd name="f329" fmla="val 848110"/>
              <a:gd name="f330" fmla="val 857108"/>
              <a:gd name="f331" fmla="val 602900"/>
              <a:gd name="f332" fmla="val 553408"/>
              <a:gd name="f333" fmla="val 515164"/>
              <a:gd name="f334" fmla="val 461173"/>
              <a:gd name="f335" fmla="val 449925"/>
              <a:gd name="f336" fmla="val 202466"/>
              <a:gd name="f337" fmla="val 258707"/>
              <a:gd name="f338" fmla="val 308199"/>
              <a:gd name="f339" fmla="val 339693"/>
              <a:gd name="f340" fmla="val 1753647"/>
              <a:gd name="f341" fmla="val 368939"/>
              <a:gd name="f342" fmla="val 386936"/>
              <a:gd name="f343" fmla="val 1823529"/>
              <a:gd name="f344" fmla="val 389185"/>
              <a:gd name="f345" fmla="val 1870868"/>
              <a:gd name="f346" fmla="val 323946"/>
              <a:gd name="f347" fmla="val 321697"/>
              <a:gd name="f348" fmla="val 1841563"/>
              <a:gd name="f349" fmla="val 312698"/>
              <a:gd name="f350" fmla="val 294701"/>
              <a:gd name="f351" fmla="val 1798732"/>
              <a:gd name="f352" fmla="val 274454"/>
              <a:gd name="f353" fmla="val 240710"/>
              <a:gd name="f354" fmla="val 168722"/>
              <a:gd name="f355" fmla="val 134978"/>
              <a:gd name="f356" fmla="val 110232"/>
              <a:gd name="f357" fmla="val 67489"/>
              <a:gd name="f358" fmla="val 276704"/>
              <a:gd name="f359" fmla="val 2154903"/>
              <a:gd name="f360" fmla="val 296951"/>
              <a:gd name="f361" fmla="val 2114327"/>
              <a:gd name="f362" fmla="val 2087276"/>
              <a:gd name="f363" fmla="val 391435"/>
              <a:gd name="f364" fmla="val 2107564"/>
              <a:gd name="f365" fmla="val 2148140"/>
              <a:gd name="f366" fmla="val 2209005"/>
              <a:gd name="f367" fmla="val 150725"/>
              <a:gd name="f368" fmla="val 101233"/>
              <a:gd name="f369" fmla="val 65239"/>
              <a:gd name="f370" fmla="val 8999"/>
              <a:gd name="f371" fmla="val 2227389"/>
              <a:gd name="f372" fmla="val 214047"/>
              <a:gd name="f373" fmla="val 574548"/>
              <a:gd name="f374" fmla="val 2456649"/>
              <a:gd name="f375" fmla="val 2584765"/>
              <a:gd name="f376" fmla="val 2654442"/>
              <a:gd name="f377" fmla="val 509207"/>
              <a:gd name="f378" fmla="val 394298"/>
              <a:gd name="f379" fmla="val 277135"/>
              <a:gd name="f380" fmla="val 8961436"/>
              <a:gd name="f381" fmla="val 225425"/>
              <a:gd name="f382" fmla="val 9555161"/>
              <a:gd name="f383" fmla="val 1214437"/>
              <a:gd name="f384" fmla="val 9315449"/>
              <a:gd name="f385" fmla="val 7785099"/>
              <a:gd name="f386" fmla="val 8035924"/>
              <a:gd name="f387" fmla="val 8037512"/>
              <a:gd name="f388" fmla="val 3175"/>
              <a:gd name="f389" fmla="val 8523286"/>
              <a:gd name="f390" fmla="val 774700"/>
              <a:gd name="f391" fmla="val 8759824"/>
              <a:gd name="f392" fmla="val 8518524"/>
              <a:gd name="f393" fmla="val 8024812"/>
              <a:gd name="f394" fmla="val 425450"/>
              <a:gd name="f395" fmla="val 6665911"/>
              <a:gd name="f396" fmla="val 7535861"/>
              <a:gd name="f397" fmla="val 220663"/>
              <a:gd name="f398" fmla="val 6905624"/>
              <a:gd name="f399" fmla="val 473075"/>
              <a:gd name="f400" fmla="val 7459661"/>
              <a:gd name="f401" fmla="val 690562"/>
              <a:gd name="f402" fmla="val 993775"/>
              <a:gd name="f403" fmla="val 5221286"/>
              <a:gd name="f404" fmla="val 5534024"/>
              <a:gd name="f405" fmla="val 5835649"/>
              <a:gd name="f406" fmla="val 823912"/>
              <a:gd name="f407" fmla="val 6142037"/>
              <a:gd name="f408" fmla="val 6438899"/>
              <a:gd name="f409" fmla="val 6203949"/>
              <a:gd name="f410" fmla="val 419100"/>
              <a:gd name="f411" fmla="val 5916612"/>
              <a:gd name="f412" fmla="val 1196975"/>
              <a:gd name="f413" fmla="val 5740399"/>
              <a:gd name="f414" fmla="val 5454649"/>
              <a:gd name="f415" fmla="val 409575"/>
              <a:gd name="f416" fmla="val 4098924"/>
              <a:gd name="f417" fmla="val 4968874"/>
              <a:gd name="f418" fmla="val 4340224"/>
              <a:gd name="f419" fmla="val 4895849"/>
              <a:gd name="f420" fmla="val 3079749"/>
              <a:gd name="f421" fmla="val 3321049"/>
              <a:gd name="f422" fmla="val 984250"/>
              <a:gd name="f423" fmla="val 3871912"/>
              <a:gd name="f424" fmla="val 1989138"/>
              <a:gd name="f425" fmla="val 2465639"/>
              <a:gd name="f426" fmla="val 2735357"/>
              <a:gd name="f427" fmla="val 2897188"/>
              <a:gd name="f428" fmla="val 146454"/>
              <a:gd name="f429" fmla="val 392045"/>
              <a:gd name="f430" fmla="val 639889"/>
              <a:gd name="f431" fmla="val 786342"/>
              <a:gd name="f432" fmla="val 520699"/>
              <a:gd name="f433" fmla="val 833436"/>
              <a:gd name="f434" fmla="val 1135061"/>
              <a:gd name="f435" fmla="val 1439862"/>
              <a:gd name="f436" fmla="val 1736724"/>
              <a:gd name="f437" fmla="val 1503362"/>
              <a:gd name="f438" fmla="val 1216024"/>
              <a:gd name="f439" fmla="val 1039812"/>
              <a:gd name="f440" fmla="val 754062"/>
              <a:gd name="f441" fmla="val 25400"/>
              <a:gd name="f442" fmla="val 268288"/>
              <a:gd name="f443" fmla="+- 0 0 -90"/>
              <a:gd name="f444" fmla="*/ f3 1 9905999"/>
              <a:gd name="f445" fmla="*/ f4 1 2265361"/>
              <a:gd name="f446" fmla="+- f7 0 f5"/>
              <a:gd name="f447" fmla="+- f6 0 f5"/>
              <a:gd name="f448" fmla="*/ f443 f0 1"/>
              <a:gd name="f449" fmla="*/ f447 1 9905999"/>
              <a:gd name="f450" fmla="*/ f446 1 2265361"/>
              <a:gd name="f451" fmla="*/ 6778122 f447 1"/>
              <a:gd name="f452" fmla="*/ 2222531 f446 1"/>
              <a:gd name="f453" fmla="*/ 7135812 f447 1"/>
              <a:gd name="f454" fmla="*/ 2265361 f446 1"/>
              <a:gd name="f455" fmla="*/ 6449676 f447 1"/>
              <a:gd name="f456" fmla="*/ 1769427 f446 1"/>
              <a:gd name="f457" fmla="*/ 1965546 f446 1"/>
              <a:gd name="f458" fmla="*/ 6575655 f447 1"/>
              <a:gd name="f459" fmla="*/ 6679138 f447 1"/>
              <a:gd name="f460" fmla="*/ 1864105 f446 1"/>
              <a:gd name="f461" fmla="*/ 5021164 f447 1"/>
              <a:gd name="f462" fmla="*/ 1949767 f446 1"/>
              <a:gd name="f463" fmla="*/ 5158391 f447 1"/>
              <a:gd name="f464" fmla="*/ 5261874 f447 1"/>
              <a:gd name="f465" fmla="*/ 1859597 f446 1"/>
              <a:gd name="f466" fmla="*/ 5597068 f447 1"/>
              <a:gd name="f467" fmla="*/ 1762664 f446 1"/>
              <a:gd name="f468" fmla="*/ 5504834 f447 1"/>
              <a:gd name="f469" fmla="*/ 1800986 f446 1"/>
              <a:gd name="f470" fmla="*/ 5459841 f447 1"/>
              <a:gd name="f471" fmla="*/ 1967800 f446 1"/>
              <a:gd name="f472" fmla="*/ 2132361 f446 1"/>
              <a:gd name="f473" fmla="*/ 2170683 f446 1"/>
              <a:gd name="f474" fmla="*/ 5691552 f447 1"/>
              <a:gd name="f475" fmla="*/ 5734295 f447 1"/>
              <a:gd name="f476" fmla="*/ 654642 f447 1"/>
              <a:gd name="f477" fmla="*/ 560157 f447 1"/>
              <a:gd name="f478" fmla="*/ 517414 f447 1"/>
              <a:gd name="f479" fmla="*/ 746876 f447 1"/>
              <a:gd name="f480" fmla="*/ 791868 f447 1"/>
              <a:gd name="f481" fmla="*/ 6386687 f447 1"/>
              <a:gd name="f482" fmla="*/ 1710816 f446 1"/>
              <a:gd name="f483" fmla="*/ 6706134 f447 1"/>
              <a:gd name="f484" fmla="*/ 1755901 f446 1"/>
              <a:gd name="f485" fmla="*/ 6744377 f447 1"/>
              <a:gd name="f486" fmla="*/ 6701634 f447 1"/>
              <a:gd name="f487" fmla="*/ 1981326 f446 1"/>
              <a:gd name="f488" fmla="*/ 6577905 f447 1"/>
              <a:gd name="f489" fmla="*/ 2024157 f446 1"/>
              <a:gd name="f490" fmla="*/ 5889520 f447 1"/>
              <a:gd name="f491" fmla="*/ 5954759 f447 1"/>
              <a:gd name="f492" fmla="*/ 2035428 f446 1"/>
              <a:gd name="f493" fmla="*/ 6076239 f447 1"/>
              <a:gd name="f494" fmla="*/ 2172937 f446 1"/>
              <a:gd name="f495" fmla="*/ 6199968 f447 1"/>
              <a:gd name="f496" fmla="*/ 6262957 f447 1"/>
              <a:gd name="f497" fmla="*/ 2231547 f446 1"/>
              <a:gd name="f498" fmla="*/ 4958174 f447 1"/>
              <a:gd name="f499" fmla="*/ 5288869 f447 1"/>
              <a:gd name="f500" fmla="*/ 5329363 f447 1"/>
              <a:gd name="f501" fmla="*/ 1961038 f446 1"/>
              <a:gd name="f502" fmla="*/ 5228130 f447 1"/>
              <a:gd name="f503" fmla="*/ 1997106 f446 1"/>
              <a:gd name="f504" fmla="*/ 5331612 f447 1"/>
              <a:gd name="f505" fmla="*/ 5259624 f447 1"/>
              <a:gd name="f506" fmla="*/ 5162890 f447 1"/>
              <a:gd name="f507" fmla="*/ 2010631 f446 1"/>
              <a:gd name="f508" fmla="*/ 3309199 f447 1"/>
              <a:gd name="f509" fmla="*/ 3381187 f447 1"/>
              <a:gd name="f510" fmla="*/ 3633145 f447 1"/>
              <a:gd name="f511" fmla="*/ 2123344 f446 1"/>
              <a:gd name="f512" fmla="*/ 3693885 f447 1"/>
              <a:gd name="f513" fmla="*/ 3621897 f447 1"/>
              <a:gd name="f514" fmla="*/ 3372188 f447 1"/>
              <a:gd name="f515" fmla="*/ 1810003 f446 1"/>
              <a:gd name="f516" fmla="*/ 3106732 f447 1"/>
              <a:gd name="f517" fmla="*/ 3171971 f447 1"/>
              <a:gd name="f518" fmla="*/ 2663557 f447 1"/>
              <a:gd name="f519" fmla="*/ 3032495 f447 1"/>
              <a:gd name="f520" fmla="*/ 2879521 f447 1"/>
              <a:gd name="f521" fmla="*/ 2814282 f447 1"/>
              <a:gd name="f522" fmla="*/ 2416099 f447 1"/>
              <a:gd name="f523" fmla="*/ 2481338 f447 1"/>
              <a:gd name="f524" fmla="*/ 2163920 f446 1"/>
              <a:gd name="f525" fmla="*/ 2726547 f447 1"/>
              <a:gd name="f526" fmla="*/ 1918931 f447 1"/>
              <a:gd name="f527" fmla="*/ 1984171 f447 1"/>
              <a:gd name="f528" fmla="*/ 2105651 f447 1"/>
              <a:gd name="f529" fmla="*/ 2229380 f447 1"/>
              <a:gd name="f530" fmla="*/ 2292369 f447 1"/>
              <a:gd name="f531" fmla="*/ 960591 f447 1"/>
              <a:gd name="f532" fmla="*/ 1032578 f447 1"/>
              <a:gd name="f533" fmla="*/ 1284537 f447 1"/>
              <a:gd name="f534" fmla="*/ 1345276 f447 1"/>
              <a:gd name="f535" fmla="*/ 1273289 f447 1"/>
              <a:gd name="f536" fmla="*/ 1023580 f447 1"/>
              <a:gd name="f537" fmla="*/ 1701799 f446 1"/>
              <a:gd name="f538" fmla="*/ 5736545 f447 1"/>
              <a:gd name="f539" fmla="*/ 5801784 f447 1"/>
              <a:gd name="f540" fmla="*/ 2177446 f446 1"/>
              <a:gd name="f541" fmla="*/ 2233802 f446 1"/>
              <a:gd name="f542" fmla="*/ 5394602 f447 1"/>
              <a:gd name="f543" fmla="*/ 4645477 f447 1"/>
              <a:gd name="f544" fmla="*/ 4791702 f447 1"/>
              <a:gd name="f545" fmla="*/ 1758155 f446 1"/>
              <a:gd name="f546" fmla="*/ 4834445 f447 1"/>
              <a:gd name="f547" fmla="*/ 4766956 f447 1"/>
              <a:gd name="f548" fmla="*/ 4744460 f447 1"/>
              <a:gd name="f549" fmla="*/ 1803240 f446 1"/>
              <a:gd name="f550" fmla="*/ 4550992 f447 1"/>
              <a:gd name="f551" fmla="*/ 4506000 f447 1"/>
              <a:gd name="f552" fmla="*/ 4553242 f447 1"/>
              <a:gd name="f553" fmla="*/ 2134615 f446 1"/>
              <a:gd name="f554" fmla="*/ 4737711 f447 1"/>
              <a:gd name="f555" fmla="*/ 2136869 f446 1"/>
              <a:gd name="f556" fmla="*/ 4780454 f447 1"/>
              <a:gd name="f557" fmla="*/ 2006123 f446 1"/>
              <a:gd name="f558" fmla="*/ 1947512 f446 1"/>
              <a:gd name="f559" fmla="*/ 4838944 f447 1"/>
              <a:gd name="f560" fmla="*/ 4793952 f447 1"/>
              <a:gd name="f561" fmla="*/ 4782704 f447 1"/>
              <a:gd name="f562" fmla="*/ 2161666 f446 1"/>
              <a:gd name="f563" fmla="*/ 2179700 f446 1"/>
              <a:gd name="f564" fmla="*/ 4440761 f447 1"/>
              <a:gd name="f565" fmla="*/ 4002083 f447 1"/>
              <a:gd name="f566" fmla="*/ 4148309 f447 1"/>
              <a:gd name="f567" fmla="*/ 4193302 f447 1"/>
              <a:gd name="f568" fmla="*/ 4125813 f447 1"/>
              <a:gd name="f569" fmla="*/ 4103317 f447 1"/>
              <a:gd name="f570" fmla="*/ 3909849 f447 1"/>
              <a:gd name="f571" fmla="*/ 3864856 f447 1"/>
              <a:gd name="f572" fmla="*/ 4094318 f447 1"/>
              <a:gd name="f573" fmla="*/ 4139311 f447 1"/>
              <a:gd name="f574" fmla="*/ 4197801 f447 1"/>
              <a:gd name="f575" fmla="*/ 4152808 f447 1"/>
              <a:gd name="f576" fmla="*/ 4141560 f447 1"/>
              <a:gd name="f577" fmla="*/ 3797367 f447 1"/>
              <a:gd name="f578" fmla="*/ 1642228 f447 1"/>
              <a:gd name="f579" fmla="*/ 1774955 f447 1"/>
              <a:gd name="f580" fmla="*/ 1749138 f446 1"/>
              <a:gd name="f581" fmla="*/ 1824447 f447 1"/>
              <a:gd name="f582" fmla="*/ 1756958 f447 1"/>
              <a:gd name="f583" fmla="*/ 1732212 f447 1"/>
              <a:gd name="f584" fmla="*/ 1796478 f446 1"/>
              <a:gd name="f585" fmla="*/ 1639978 f447 1"/>
              <a:gd name="f586" fmla="*/ 1760410 f446 1"/>
              <a:gd name="f587" fmla="*/ 1549993 f447 1"/>
              <a:gd name="f588" fmla="*/ 1529746 f447 1"/>
              <a:gd name="f589" fmla="*/ 1850580 f446 1"/>
              <a:gd name="f590" fmla="*/ 1606234 f447 1"/>
              <a:gd name="f591" fmla="*/ 1922716 f446 1"/>
              <a:gd name="f592" fmla="*/ 1691719 f447 1"/>
              <a:gd name="f593" fmla="*/ 1936241 f446 1"/>
              <a:gd name="f594" fmla="*/ 1833445 f447 1"/>
              <a:gd name="f595" fmla="*/ 2082767 f446 1"/>
              <a:gd name="f596" fmla="*/ 1790703 f447 1"/>
              <a:gd name="f597" fmla="*/ 2181954 f446 1"/>
              <a:gd name="f598" fmla="*/ 1644477 f447 1"/>
              <a:gd name="f599" fmla="*/ 1498251 f447 1"/>
              <a:gd name="f600" fmla="*/ 2184208 f446 1"/>
              <a:gd name="f601" fmla="*/ 1444260 f447 1"/>
              <a:gd name="f602" fmla="*/ 2060225 f446 1"/>
              <a:gd name="f603" fmla="*/ 1509499 f447 1"/>
              <a:gd name="f604" fmla="*/ 1545494 f447 1"/>
              <a:gd name="f605" fmla="*/ 2141378 f446 1"/>
              <a:gd name="f606" fmla="*/ 1738962 f447 1"/>
              <a:gd name="f607" fmla="*/ 2143632 f446 1"/>
              <a:gd name="f608" fmla="*/ 1765956 f447 1"/>
              <a:gd name="f609" fmla="*/ 1680471 f447 1"/>
              <a:gd name="f610" fmla="*/ 2001614 f446 1"/>
              <a:gd name="f611" fmla="*/ 1599484 f447 1"/>
              <a:gd name="f612" fmla="*/ 1988089 f446 1"/>
              <a:gd name="f613" fmla="*/ 1462257 f447 1"/>
              <a:gd name="f614" fmla="*/ 1852834 f446 1"/>
              <a:gd name="f615" fmla="*/ 1507249 f447 1"/>
              <a:gd name="f616" fmla="*/ 1751393 f446 1"/>
              <a:gd name="f617" fmla="*/ 857108 f447 1"/>
              <a:gd name="f618" fmla="*/ 515164 f447 1"/>
              <a:gd name="f619" fmla="*/ 449925 f447 1"/>
              <a:gd name="f620" fmla="*/ 202466 f447 1"/>
              <a:gd name="f621" fmla="*/ 339693 f447 1"/>
              <a:gd name="f622" fmla="*/ 1753647 f446 1"/>
              <a:gd name="f623" fmla="*/ 389185 f447 1"/>
              <a:gd name="f624" fmla="*/ 1870868 f446 1"/>
              <a:gd name="f625" fmla="*/ 323946 f447 1"/>
              <a:gd name="f626" fmla="*/ 294701 f447 1"/>
              <a:gd name="f627" fmla="*/ 1798732 f446 1"/>
              <a:gd name="f628" fmla="*/ 110232 f447 1"/>
              <a:gd name="f629" fmla="*/ 67489 f447 1"/>
              <a:gd name="f630" fmla="*/ 296951 f447 1"/>
              <a:gd name="f631" fmla="*/ 391435 f447 1"/>
              <a:gd name="f632" fmla="*/ 65239 f447 1"/>
              <a:gd name="f633" fmla="*/ 0 f447 1"/>
              <a:gd name="f634" fmla="*/ 2227389 f447 1"/>
              <a:gd name="f635" fmla="*/ 214047 f446 1"/>
              <a:gd name="f636" fmla="*/ 574548 f446 1"/>
              <a:gd name="f637" fmla="*/ 2456649 f447 1"/>
              <a:gd name="f638" fmla="*/ 2654442 f447 1"/>
              <a:gd name="f639" fmla="*/ 394298 f446 1"/>
              <a:gd name="f640" fmla="*/ 8961436 f447 1"/>
              <a:gd name="f641" fmla="*/ 0 f446 1"/>
              <a:gd name="f642" fmla="*/ 9905999 f447 1"/>
              <a:gd name="f643" fmla="*/ 225425 f446 1"/>
              <a:gd name="f644" fmla="*/ 9555161 f447 1"/>
              <a:gd name="f645" fmla="*/ 1214437 f446 1"/>
              <a:gd name="f646" fmla="*/ 9315449 f447 1"/>
              <a:gd name="f647" fmla="*/ 7785099 f447 1"/>
              <a:gd name="f648" fmla="*/ 8035924 f447 1"/>
              <a:gd name="f649" fmla="*/ 8037512 f447 1"/>
              <a:gd name="f650" fmla="*/ 3175 f446 1"/>
              <a:gd name="f651" fmla="*/ 8523286 f447 1"/>
              <a:gd name="f652" fmla="*/ 774700 f446 1"/>
              <a:gd name="f653" fmla="*/ 8759824 f447 1"/>
              <a:gd name="f654" fmla="*/ 8518524 f447 1"/>
              <a:gd name="f655" fmla="*/ 8024812 f447 1"/>
              <a:gd name="f656" fmla="*/ 425450 f446 1"/>
              <a:gd name="f657" fmla="*/ 6665911 f447 1"/>
              <a:gd name="f658" fmla="*/ 7535861 f447 1"/>
              <a:gd name="f659" fmla="*/ 220663 f446 1"/>
              <a:gd name="f660" fmla="*/ 6905624 f447 1"/>
              <a:gd name="f661" fmla="*/ 473075 f446 1"/>
              <a:gd name="f662" fmla="*/ 7459661 f447 1"/>
              <a:gd name="f663" fmla="*/ 690562 f446 1"/>
              <a:gd name="f664" fmla="*/ 993775 f446 1"/>
              <a:gd name="f665" fmla="*/ 5221286 f447 1"/>
              <a:gd name="f666" fmla="*/ 5534024 f447 1"/>
              <a:gd name="f667" fmla="*/ 5835649 f447 1"/>
              <a:gd name="f668" fmla="*/ 823912 f446 1"/>
              <a:gd name="f669" fmla="*/ 6142037 f447 1"/>
              <a:gd name="f670" fmla="*/ 6438899 f447 1"/>
              <a:gd name="f671" fmla="*/ 6203949 f447 1"/>
              <a:gd name="f672" fmla="*/ 419100 f446 1"/>
              <a:gd name="f673" fmla="*/ 5916612 f447 1"/>
              <a:gd name="f674" fmla="*/ 1196975 f446 1"/>
              <a:gd name="f675" fmla="*/ 5740399 f447 1"/>
              <a:gd name="f676" fmla="*/ 5454649 f447 1"/>
              <a:gd name="f677" fmla="*/ 409575 f446 1"/>
              <a:gd name="f678" fmla="*/ 4098924 f447 1"/>
              <a:gd name="f679" fmla="*/ 4968874 f447 1"/>
              <a:gd name="f680" fmla="*/ 4340224 f447 1"/>
              <a:gd name="f681" fmla="*/ 4895849 f447 1"/>
              <a:gd name="f682" fmla="*/ 3079749 f447 1"/>
              <a:gd name="f683" fmla="*/ 3321049 f447 1"/>
              <a:gd name="f684" fmla="*/ 984250 f446 1"/>
              <a:gd name="f685" fmla="*/ 3871912 f447 1"/>
              <a:gd name="f686" fmla="*/ 1989138 f447 1"/>
              <a:gd name="f687" fmla="*/ 2465639 f447 1"/>
              <a:gd name="f688" fmla="*/ 2897188 f447 1"/>
              <a:gd name="f689" fmla="*/ 392045 f446 1"/>
              <a:gd name="f690" fmla="*/ 786342 f446 1"/>
              <a:gd name="f691" fmla="*/ 520699 f447 1"/>
              <a:gd name="f692" fmla="*/ 833436 f447 1"/>
              <a:gd name="f693" fmla="*/ 1135061 f447 1"/>
              <a:gd name="f694" fmla="*/ 1439862 f447 1"/>
              <a:gd name="f695" fmla="*/ 1736724 f447 1"/>
              <a:gd name="f696" fmla="*/ 1503362 f447 1"/>
              <a:gd name="f697" fmla="*/ 1216024 f447 1"/>
              <a:gd name="f698" fmla="*/ 1039812 f447 1"/>
              <a:gd name="f699" fmla="*/ 754062 f447 1"/>
              <a:gd name="f700" fmla="*/ 25400 f447 1"/>
              <a:gd name="f701" fmla="*/ 268288 f447 1"/>
              <a:gd name="f702" fmla="*/ f448 1 f2"/>
              <a:gd name="f703" fmla="*/ f451 1 9905999"/>
              <a:gd name="f704" fmla="*/ f452 1 2265361"/>
              <a:gd name="f705" fmla="*/ f453 1 9905999"/>
              <a:gd name="f706" fmla="*/ f454 1 2265361"/>
              <a:gd name="f707" fmla="*/ f455 1 9905999"/>
              <a:gd name="f708" fmla="*/ f456 1 2265361"/>
              <a:gd name="f709" fmla="*/ f457 1 2265361"/>
              <a:gd name="f710" fmla="*/ f458 1 9905999"/>
              <a:gd name="f711" fmla="*/ f459 1 9905999"/>
              <a:gd name="f712" fmla="*/ f460 1 2265361"/>
              <a:gd name="f713" fmla="*/ f461 1 9905999"/>
              <a:gd name="f714" fmla="*/ f462 1 2265361"/>
              <a:gd name="f715" fmla="*/ f463 1 9905999"/>
              <a:gd name="f716" fmla="*/ f464 1 9905999"/>
              <a:gd name="f717" fmla="*/ f465 1 2265361"/>
              <a:gd name="f718" fmla="*/ f466 1 9905999"/>
              <a:gd name="f719" fmla="*/ f467 1 2265361"/>
              <a:gd name="f720" fmla="*/ f468 1 9905999"/>
              <a:gd name="f721" fmla="*/ f469 1 2265361"/>
              <a:gd name="f722" fmla="*/ f470 1 9905999"/>
              <a:gd name="f723" fmla="*/ f471 1 2265361"/>
              <a:gd name="f724" fmla="*/ f472 1 2265361"/>
              <a:gd name="f725" fmla="*/ f473 1 2265361"/>
              <a:gd name="f726" fmla="*/ f474 1 9905999"/>
              <a:gd name="f727" fmla="*/ f475 1 9905999"/>
              <a:gd name="f728" fmla="*/ f476 1 9905999"/>
              <a:gd name="f729" fmla="*/ f477 1 9905999"/>
              <a:gd name="f730" fmla="*/ f478 1 9905999"/>
              <a:gd name="f731" fmla="*/ f479 1 9905999"/>
              <a:gd name="f732" fmla="*/ f480 1 9905999"/>
              <a:gd name="f733" fmla="*/ f481 1 9905999"/>
              <a:gd name="f734" fmla="*/ f482 1 2265361"/>
              <a:gd name="f735" fmla="*/ f483 1 9905999"/>
              <a:gd name="f736" fmla="*/ f484 1 2265361"/>
              <a:gd name="f737" fmla="*/ f485 1 9905999"/>
              <a:gd name="f738" fmla="*/ f486 1 9905999"/>
              <a:gd name="f739" fmla="*/ f487 1 2265361"/>
              <a:gd name="f740" fmla="*/ f488 1 9905999"/>
              <a:gd name="f741" fmla="*/ f489 1 2265361"/>
              <a:gd name="f742" fmla="*/ f490 1 9905999"/>
              <a:gd name="f743" fmla="*/ f491 1 9905999"/>
              <a:gd name="f744" fmla="*/ f492 1 2265361"/>
              <a:gd name="f745" fmla="*/ f493 1 9905999"/>
              <a:gd name="f746" fmla="*/ f494 1 2265361"/>
              <a:gd name="f747" fmla="*/ f495 1 9905999"/>
              <a:gd name="f748" fmla="*/ f496 1 9905999"/>
              <a:gd name="f749" fmla="*/ f497 1 2265361"/>
              <a:gd name="f750" fmla="*/ f498 1 9905999"/>
              <a:gd name="f751" fmla="*/ f499 1 9905999"/>
              <a:gd name="f752" fmla="*/ f500 1 9905999"/>
              <a:gd name="f753" fmla="*/ f501 1 2265361"/>
              <a:gd name="f754" fmla="*/ f502 1 9905999"/>
              <a:gd name="f755" fmla="*/ f503 1 2265361"/>
              <a:gd name="f756" fmla="*/ f504 1 9905999"/>
              <a:gd name="f757" fmla="*/ f505 1 9905999"/>
              <a:gd name="f758" fmla="*/ f506 1 9905999"/>
              <a:gd name="f759" fmla="*/ f507 1 2265361"/>
              <a:gd name="f760" fmla="*/ f508 1 9905999"/>
              <a:gd name="f761" fmla="*/ f509 1 9905999"/>
              <a:gd name="f762" fmla="*/ f510 1 9905999"/>
              <a:gd name="f763" fmla="*/ f511 1 2265361"/>
              <a:gd name="f764" fmla="*/ f512 1 9905999"/>
              <a:gd name="f765" fmla="*/ f513 1 9905999"/>
              <a:gd name="f766" fmla="*/ f514 1 9905999"/>
              <a:gd name="f767" fmla="*/ f515 1 2265361"/>
              <a:gd name="f768" fmla="*/ f516 1 9905999"/>
              <a:gd name="f769" fmla="*/ f517 1 9905999"/>
              <a:gd name="f770" fmla="*/ f518 1 9905999"/>
              <a:gd name="f771" fmla="*/ f519 1 9905999"/>
              <a:gd name="f772" fmla="*/ f520 1 9905999"/>
              <a:gd name="f773" fmla="*/ f521 1 9905999"/>
              <a:gd name="f774" fmla="*/ f522 1 9905999"/>
              <a:gd name="f775" fmla="*/ f523 1 9905999"/>
              <a:gd name="f776" fmla="*/ f524 1 2265361"/>
              <a:gd name="f777" fmla="*/ f525 1 9905999"/>
              <a:gd name="f778" fmla="*/ f526 1 9905999"/>
              <a:gd name="f779" fmla="*/ f527 1 9905999"/>
              <a:gd name="f780" fmla="*/ f528 1 9905999"/>
              <a:gd name="f781" fmla="*/ f529 1 9905999"/>
              <a:gd name="f782" fmla="*/ f530 1 9905999"/>
              <a:gd name="f783" fmla="*/ f531 1 9905999"/>
              <a:gd name="f784" fmla="*/ f532 1 9905999"/>
              <a:gd name="f785" fmla="*/ f533 1 9905999"/>
              <a:gd name="f786" fmla="*/ f534 1 9905999"/>
              <a:gd name="f787" fmla="*/ f535 1 9905999"/>
              <a:gd name="f788" fmla="*/ f536 1 9905999"/>
              <a:gd name="f789" fmla="*/ f537 1 2265361"/>
              <a:gd name="f790" fmla="*/ f538 1 9905999"/>
              <a:gd name="f791" fmla="*/ f539 1 9905999"/>
              <a:gd name="f792" fmla="*/ f540 1 2265361"/>
              <a:gd name="f793" fmla="*/ f541 1 2265361"/>
              <a:gd name="f794" fmla="*/ f542 1 9905999"/>
              <a:gd name="f795" fmla="*/ f543 1 9905999"/>
              <a:gd name="f796" fmla="*/ f544 1 9905999"/>
              <a:gd name="f797" fmla="*/ f545 1 2265361"/>
              <a:gd name="f798" fmla="*/ f546 1 9905999"/>
              <a:gd name="f799" fmla="*/ f547 1 9905999"/>
              <a:gd name="f800" fmla="*/ f548 1 9905999"/>
              <a:gd name="f801" fmla="*/ f549 1 2265361"/>
              <a:gd name="f802" fmla="*/ f550 1 9905999"/>
              <a:gd name="f803" fmla="*/ f551 1 9905999"/>
              <a:gd name="f804" fmla="*/ f552 1 9905999"/>
              <a:gd name="f805" fmla="*/ f553 1 2265361"/>
              <a:gd name="f806" fmla="*/ f554 1 9905999"/>
              <a:gd name="f807" fmla="*/ f555 1 2265361"/>
              <a:gd name="f808" fmla="*/ f556 1 9905999"/>
              <a:gd name="f809" fmla="*/ f557 1 2265361"/>
              <a:gd name="f810" fmla="*/ f558 1 2265361"/>
              <a:gd name="f811" fmla="*/ f559 1 9905999"/>
              <a:gd name="f812" fmla="*/ f560 1 9905999"/>
              <a:gd name="f813" fmla="*/ f561 1 9905999"/>
              <a:gd name="f814" fmla="*/ f562 1 2265361"/>
              <a:gd name="f815" fmla="*/ f563 1 2265361"/>
              <a:gd name="f816" fmla="*/ f564 1 9905999"/>
              <a:gd name="f817" fmla="*/ f565 1 9905999"/>
              <a:gd name="f818" fmla="*/ f566 1 9905999"/>
              <a:gd name="f819" fmla="*/ f567 1 9905999"/>
              <a:gd name="f820" fmla="*/ f568 1 9905999"/>
              <a:gd name="f821" fmla="*/ f569 1 9905999"/>
              <a:gd name="f822" fmla="*/ f570 1 9905999"/>
              <a:gd name="f823" fmla="*/ f571 1 9905999"/>
              <a:gd name="f824" fmla="*/ f572 1 9905999"/>
              <a:gd name="f825" fmla="*/ f573 1 9905999"/>
              <a:gd name="f826" fmla="*/ f574 1 9905999"/>
              <a:gd name="f827" fmla="*/ f575 1 9905999"/>
              <a:gd name="f828" fmla="*/ f576 1 9905999"/>
              <a:gd name="f829" fmla="*/ f577 1 9905999"/>
              <a:gd name="f830" fmla="*/ f578 1 9905999"/>
              <a:gd name="f831" fmla="*/ f579 1 9905999"/>
              <a:gd name="f832" fmla="*/ f580 1 2265361"/>
              <a:gd name="f833" fmla="*/ f581 1 9905999"/>
              <a:gd name="f834" fmla="*/ f582 1 9905999"/>
              <a:gd name="f835" fmla="*/ f583 1 9905999"/>
              <a:gd name="f836" fmla="*/ f584 1 2265361"/>
              <a:gd name="f837" fmla="*/ f585 1 9905999"/>
              <a:gd name="f838" fmla="*/ f586 1 2265361"/>
              <a:gd name="f839" fmla="*/ f587 1 9905999"/>
              <a:gd name="f840" fmla="*/ f588 1 9905999"/>
              <a:gd name="f841" fmla="*/ f589 1 2265361"/>
              <a:gd name="f842" fmla="*/ f590 1 9905999"/>
              <a:gd name="f843" fmla="*/ f591 1 2265361"/>
              <a:gd name="f844" fmla="*/ f592 1 9905999"/>
              <a:gd name="f845" fmla="*/ f593 1 2265361"/>
              <a:gd name="f846" fmla="*/ f594 1 9905999"/>
              <a:gd name="f847" fmla="*/ f595 1 2265361"/>
              <a:gd name="f848" fmla="*/ f596 1 9905999"/>
              <a:gd name="f849" fmla="*/ f597 1 2265361"/>
              <a:gd name="f850" fmla="*/ f598 1 9905999"/>
              <a:gd name="f851" fmla="*/ f599 1 9905999"/>
              <a:gd name="f852" fmla="*/ f600 1 2265361"/>
              <a:gd name="f853" fmla="*/ f601 1 9905999"/>
              <a:gd name="f854" fmla="*/ f602 1 2265361"/>
              <a:gd name="f855" fmla="*/ f603 1 9905999"/>
              <a:gd name="f856" fmla="*/ f604 1 9905999"/>
              <a:gd name="f857" fmla="*/ f605 1 2265361"/>
              <a:gd name="f858" fmla="*/ f606 1 9905999"/>
              <a:gd name="f859" fmla="*/ f607 1 2265361"/>
              <a:gd name="f860" fmla="*/ f608 1 9905999"/>
              <a:gd name="f861" fmla="*/ f609 1 9905999"/>
              <a:gd name="f862" fmla="*/ f610 1 2265361"/>
              <a:gd name="f863" fmla="*/ f611 1 9905999"/>
              <a:gd name="f864" fmla="*/ f612 1 2265361"/>
              <a:gd name="f865" fmla="*/ f613 1 9905999"/>
              <a:gd name="f866" fmla="*/ f614 1 2265361"/>
              <a:gd name="f867" fmla="*/ f615 1 9905999"/>
              <a:gd name="f868" fmla="*/ f616 1 2265361"/>
              <a:gd name="f869" fmla="*/ f617 1 9905999"/>
              <a:gd name="f870" fmla="*/ f618 1 9905999"/>
              <a:gd name="f871" fmla="*/ f619 1 9905999"/>
              <a:gd name="f872" fmla="*/ f620 1 9905999"/>
              <a:gd name="f873" fmla="*/ f621 1 9905999"/>
              <a:gd name="f874" fmla="*/ f622 1 2265361"/>
              <a:gd name="f875" fmla="*/ f623 1 9905999"/>
              <a:gd name="f876" fmla="*/ f624 1 2265361"/>
              <a:gd name="f877" fmla="*/ f625 1 9905999"/>
              <a:gd name="f878" fmla="*/ f626 1 9905999"/>
              <a:gd name="f879" fmla="*/ f627 1 2265361"/>
              <a:gd name="f880" fmla="*/ f628 1 9905999"/>
              <a:gd name="f881" fmla="*/ f629 1 9905999"/>
              <a:gd name="f882" fmla="*/ f630 1 9905999"/>
              <a:gd name="f883" fmla="*/ f631 1 9905999"/>
              <a:gd name="f884" fmla="*/ f632 1 9905999"/>
              <a:gd name="f885" fmla="*/ f633 1 9905999"/>
              <a:gd name="f886" fmla="*/ f634 1 9905999"/>
              <a:gd name="f887" fmla="*/ f635 1 2265361"/>
              <a:gd name="f888" fmla="*/ f636 1 2265361"/>
              <a:gd name="f889" fmla="*/ f637 1 9905999"/>
              <a:gd name="f890" fmla="*/ f638 1 9905999"/>
              <a:gd name="f891" fmla="*/ f639 1 2265361"/>
              <a:gd name="f892" fmla="*/ f640 1 9905999"/>
              <a:gd name="f893" fmla="*/ f641 1 2265361"/>
              <a:gd name="f894" fmla="*/ f642 1 9905999"/>
              <a:gd name="f895" fmla="*/ f643 1 2265361"/>
              <a:gd name="f896" fmla="*/ f644 1 9905999"/>
              <a:gd name="f897" fmla="*/ f645 1 2265361"/>
              <a:gd name="f898" fmla="*/ f646 1 9905999"/>
              <a:gd name="f899" fmla="*/ f647 1 9905999"/>
              <a:gd name="f900" fmla="*/ f648 1 9905999"/>
              <a:gd name="f901" fmla="*/ f649 1 9905999"/>
              <a:gd name="f902" fmla="*/ f650 1 2265361"/>
              <a:gd name="f903" fmla="*/ f651 1 9905999"/>
              <a:gd name="f904" fmla="*/ f652 1 2265361"/>
              <a:gd name="f905" fmla="*/ f653 1 9905999"/>
              <a:gd name="f906" fmla="*/ f654 1 9905999"/>
              <a:gd name="f907" fmla="*/ f655 1 9905999"/>
              <a:gd name="f908" fmla="*/ f656 1 2265361"/>
              <a:gd name="f909" fmla="*/ f657 1 9905999"/>
              <a:gd name="f910" fmla="*/ f658 1 9905999"/>
              <a:gd name="f911" fmla="*/ f659 1 2265361"/>
              <a:gd name="f912" fmla="*/ f660 1 9905999"/>
              <a:gd name="f913" fmla="*/ f661 1 2265361"/>
              <a:gd name="f914" fmla="*/ f662 1 9905999"/>
              <a:gd name="f915" fmla="*/ f663 1 2265361"/>
              <a:gd name="f916" fmla="*/ f664 1 2265361"/>
              <a:gd name="f917" fmla="*/ f665 1 9905999"/>
              <a:gd name="f918" fmla="*/ f666 1 9905999"/>
              <a:gd name="f919" fmla="*/ f667 1 9905999"/>
              <a:gd name="f920" fmla="*/ f668 1 2265361"/>
              <a:gd name="f921" fmla="*/ f669 1 9905999"/>
              <a:gd name="f922" fmla="*/ f670 1 9905999"/>
              <a:gd name="f923" fmla="*/ f671 1 9905999"/>
              <a:gd name="f924" fmla="*/ f672 1 2265361"/>
              <a:gd name="f925" fmla="*/ f673 1 9905999"/>
              <a:gd name="f926" fmla="*/ f674 1 2265361"/>
              <a:gd name="f927" fmla="*/ f675 1 9905999"/>
              <a:gd name="f928" fmla="*/ f676 1 9905999"/>
              <a:gd name="f929" fmla="*/ f677 1 2265361"/>
              <a:gd name="f930" fmla="*/ f678 1 9905999"/>
              <a:gd name="f931" fmla="*/ f679 1 9905999"/>
              <a:gd name="f932" fmla="*/ f680 1 9905999"/>
              <a:gd name="f933" fmla="*/ f681 1 9905999"/>
              <a:gd name="f934" fmla="*/ f682 1 9905999"/>
              <a:gd name="f935" fmla="*/ f683 1 9905999"/>
              <a:gd name="f936" fmla="*/ f684 1 2265361"/>
              <a:gd name="f937" fmla="*/ f685 1 9905999"/>
              <a:gd name="f938" fmla="*/ f686 1 9905999"/>
              <a:gd name="f939" fmla="*/ f687 1 9905999"/>
              <a:gd name="f940" fmla="*/ f688 1 9905999"/>
              <a:gd name="f941" fmla="*/ f689 1 2265361"/>
              <a:gd name="f942" fmla="*/ f690 1 2265361"/>
              <a:gd name="f943" fmla="*/ f691 1 9905999"/>
              <a:gd name="f944" fmla="*/ f692 1 9905999"/>
              <a:gd name="f945" fmla="*/ f693 1 9905999"/>
              <a:gd name="f946" fmla="*/ f694 1 9905999"/>
              <a:gd name="f947" fmla="*/ f695 1 9905999"/>
              <a:gd name="f948" fmla="*/ f696 1 9905999"/>
              <a:gd name="f949" fmla="*/ f697 1 9905999"/>
              <a:gd name="f950" fmla="*/ f698 1 9905999"/>
              <a:gd name="f951" fmla="*/ f699 1 9905999"/>
              <a:gd name="f952" fmla="*/ f700 1 9905999"/>
              <a:gd name="f953" fmla="*/ f701 1 9905999"/>
              <a:gd name="f954" fmla="*/ f5 1 f449"/>
              <a:gd name="f955" fmla="*/ f6 1 f449"/>
              <a:gd name="f956" fmla="*/ f5 1 f450"/>
              <a:gd name="f957" fmla="*/ f7 1 f450"/>
              <a:gd name="f958" fmla="+- f702 0 f1"/>
              <a:gd name="f959" fmla="*/ f703 1 f449"/>
              <a:gd name="f960" fmla="*/ f704 1 f450"/>
              <a:gd name="f961" fmla="*/ f705 1 f449"/>
              <a:gd name="f962" fmla="*/ f706 1 f450"/>
              <a:gd name="f963" fmla="*/ f707 1 f449"/>
              <a:gd name="f964" fmla="*/ f708 1 f450"/>
              <a:gd name="f965" fmla="*/ f709 1 f450"/>
              <a:gd name="f966" fmla="*/ f710 1 f449"/>
              <a:gd name="f967" fmla="*/ f711 1 f449"/>
              <a:gd name="f968" fmla="*/ f712 1 f450"/>
              <a:gd name="f969" fmla="*/ f713 1 f449"/>
              <a:gd name="f970" fmla="*/ f714 1 f450"/>
              <a:gd name="f971" fmla="*/ f715 1 f449"/>
              <a:gd name="f972" fmla="*/ f716 1 f449"/>
              <a:gd name="f973" fmla="*/ f717 1 f450"/>
              <a:gd name="f974" fmla="*/ f718 1 f449"/>
              <a:gd name="f975" fmla="*/ f719 1 f450"/>
              <a:gd name="f976" fmla="*/ f720 1 f449"/>
              <a:gd name="f977" fmla="*/ f721 1 f450"/>
              <a:gd name="f978" fmla="*/ f722 1 f449"/>
              <a:gd name="f979" fmla="*/ f723 1 f450"/>
              <a:gd name="f980" fmla="*/ f724 1 f450"/>
              <a:gd name="f981" fmla="*/ f725 1 f450"/>
              <a:gd name="f982" fmla="*/ f726 1 f449"/>
              <a:gd name="f983" fmla="*/ f727 1 f449"/>
              <a:gd name="f984" fmla="*/ f728 1 f449"/>
              <a:gd name="f985" fmla="*/ f729 1 f449"/>
              <a:gd name="f986" fmla="*/ f730 1 f449"/>
              <a:gd name="f987" fmla="*/ f731 1 f449"/>
              <a:gd name="f988" fmla="*/ f732 1 f449"/>
              <a:gd name="f989" fmla="*/ f733 1 f449"/>
              <a:gd name="f990" fmla="*/ f734 1 f450"/>
              <a:gd name="f991" fmla="*/ f735 1 f449"/>
              <a:gd name="f992" fmla="*/ f736 1 f450"/>
              <a:gd name="f993" fmla="*/ f737 1 f449"/>
              <a:gd name="f994" fmla="*/ f738 1 f449"/>
              <a:gd name="f995" fmla="*/ f739 1 f450"/>
              <a:gd name="f996" fmla="*/ f740 1 f449"/>
              <a:gd name="f997" fmla="*/ f741 1 f450"/>
              <a:gd name="f998" fmla="*/ f742 1 f449"/>
              <a:gd name="f999" fmla="*/ f743 1 f449"/>
              <a:gd name="f1000" fmla="*/ f744 1 f450"/>
              <a:gd name="f1001" fmla="*/ f745 1 f449"/>
              <a:gd name="f1002" fmla="*/ f746 1 f450"/>
              <a:gd name="f1003" fmla="*/ f747 1 f449"/>
              <a:gd name="f1004" fmla="*/ f748 1 f449"/>
              <a:gd name="f1005" fmla="*/ f749 1 f450"/>
              <a:gd name="f1006" fmla="*/ f750 1 f449"/>
              <a:gd name="f1007" fmla="*/ f751 1 f449"/>
              <a:gd name="f1008" fmla="*/ f752 1 f449"/>
              <a:gd name="f1009" fmla="*/ f753 1 f450"/>
              <a:gd name="f1010" fmla="*/ f754 1 f449"/>
              <a:gd name="f1011" fmla="*/ f755 1 f450"/>
              <a:gd name="f1012" fmla="*/ f756 1 f449"/>
              <a:gd name="f1013" fmla="*/ f757 1 f449"/>
              <a:gd name="f1014" fmla="*/ f758 1 f449"/>
              <a:gd name="f1015" fmla="*/ f759 1 f450"/>
              <a:gd name="f1016" fmla="*/ f760 1 f449"/>
              <a:gd name="f1017" fmla="*/ f761 1 f449"/>
              <a:gd name="f1018" fmla="*/ f762 1 f449"/>
              <a:gd name="f1019" fmla="*/ f763 1 f450"/>
              <a:gd name="f1020" fmla="*/ f764 1 f449"/>
              <a:gd name="f1021" fmla="*/ f765 1 f449"/>
              <a:gd name="f1022" fmla="*/ f766 1 f449"/>
              <a:gd name="f1023" fmla="*/ f767 1 f450"/>
              <a:gd name="f1024" fmla="*/ f768 1 f449"/>
              <a:gd name="f1025" fmla="*/ f769 1 f449"/>
              <a:gd name="f1026" fmla="*/ f770 1 f449"/>
              <a:gd name="f1027" fmla="*/ f771 1 f449"/>
              <a:gd name="f1028" fmla="*/ f772 1 f449"/>
              <a:gd name="f1029" fmla="*/ f773 1 f449"/>
              <a:gd name="f1030" fmla="*/ f774 1 f449"/>
              <a:gd name="f1031" fmla="*/ f775 1 f449"/>
              <a:gd name="f1032" fmla="*/ f776 1 f450"/>
              <a:gd name="f1033" fmla="*/ f777 1 f449"/>
              <a:gd name="f1034" fmla="*/ f778 1 f449"/>
              <a:gd name="f1035" fmla="*/ f779 1 f449"/>
              <a:gd name="f1036" fmla="*/ f780 1 f449"/>
              <a:gd name="f1037" fmla="*/ f781 1 f449"/>
              <a:gd name="f1038" fmla="*/ f782 1 f449"/>
              <a:gd name="f1039" fmla="*/ f783 1 f449"/>
              <a:gd name="f1040" fmla="*/ f784 1 f449"/>
              <a:gd name="f1041" fmla="*/ f785 1 f449"/>
              <a:gd name="f1042" fmla="*/ f786 1 f449"/>
              <a:gd name="f1043" fmla="*/ f787 1 f449"/>
              <a:gd name="f1044" fmla="*/ f788 1 f449"/>
              <a:gd name="f1045" fmla="*/ f789 1 f450"/>
              <a:gd name="f1046" fmla="*/ f790 1 f449"/>
              <a:gd name="f1047" fmla="*/ f791 1 f449"/>
              <a:gd name="f1048" fmla="*/ f792 1 f450"/>
              <a:gd name="f1049" fmla="*/ f793 1 f450"/>
              <a:gd name="f1050" fmla="*/ f794 1 f449"/>
              <a:gd name="f1051" fmla="*/ f795 1 f449"/>
              <a:gd name="f1052" fmla="*/ f796 1 f449"/>
              <a:gd name="f1053" fmla="*/ f797 1 f450"/>
              <a:gd name="f1054" fmla="*/ f798 1 f449"/>
              <a:gd name="f1055" fmla="*/ f799 1 f449"/>
              <a:gd name="f1056" fmla="*/ f800 1 f449"/>
              <a:gd name="f1057" fmla="*/ f801 1 f450"/>
              <a:gd name="f1058" fmla="*/ f802 1 f449"/>
              <a:gd name="f1059" fmla="*/ f803 1 f449"/>
              <a:gd name="f1060" fmla="*/ f804 1 f449"/>
              <a:gd name="f1061" fmla="*/ f805 1 f450"/>
              <a:gd name="f1062" fmla="*/ f806 1 f449"/>
              <a:gd name="f1063" fmla="*/ f807 1 f450"/>
              <a:gd name="f1064" fmla="*/ f808 1 f449"/>
              <a:gd name="f1065" fmla="*/ f809 1 f450"/>
              <a:gd name="f1066" fmla="*/ f810 1 f450"/>
              <a:gd name="f1067" fmla="*/ f811 1 f449"/>
              <a:gd name="f1068" fmla="*/ f812 1 f449"/>
              <a:gd name="f1069" fmla="*/ f813 1 f449"/>
              <a:gd name="f1070" fmla="*/ f814 1 f450"/>
              <a:gd name="f1071" fmla="*/ f815 1 f450"/>
              <a:gd name="f1072" fmla="*/ f816 1 f449"/>
              <a:gd name="f1073" fmla="*/ f817 1 f449"/>
              <a:gd name="f1074" fmla="*/ f818 1 f449"/>
              <a:gd name="f1075" fmla="*/ f819 1 f449"/>
              <a:gd name="f1076" fmla="*/ f820 1 f449"/>
              <a:gd name="f1077" fmla="*/ f821 1 f449"/>
              <a:gd name="f1078" fmla="*/ f822 1 f449"/>
              <a:gd name="f1079" fmla="*/ f823 1 f449"/>
              <a:gd name="f1080" fmla="*/ f824 1 f449"/>
              <a:gd name="f1081" fmla="*/ f825 1 f449"/>
              <a:gd name="f1082" fmla="*/ f826 1 f449"/>
              <a:gd name="f1083" fmla="*/ f827 1 f449"/>
              <a:gd name="f1084" fmla="*/ f828 1 f449"/>
              <a:gd name="f1085" fmla="*/ f829 1 f449"/>
              <a:gd name="f1086" fmla="*/ f830 1 f449"/>
              <a:gd name="f1087" fmla="*/ f831 1 f449"/>
              <a:gd name="f1088" fmla="*/ f832 1 f450"/>
              <a:gd name="f1089" fmla="*/ f833 1 f449"/>
              <a:gd name="f1090" fmla="*/ f834 1 f449"/>
              <a:gd name="f1091" fmla="*/ f835 1 f449"/>
              <a:gd name="f1092" fmla="*/ f836 1 f450"/>
              <a:gd name="f1093" fmla="*/ f837 1 f449"/>
              <a:gd name="f1094" fmla="*/ f838 1 f450"/>
              <a:gd name="f1095" fmla="*/ f839 1 f449"/>
              <a:gd name="f1096" fmla="*/ f840 1 f449"/>
              <a:gd name="f1097" fmla="*/ f841 1 f450"/>
              <a:gd name="f1098" fmla="*/ f842 1 f449"/>
              <a:gd name="f1099" fmla="*/ f843 1 f450"/>
              <a:gd name="f1100" fmla="*/ f844 1 f449"/>
              <a:gd name="f1101" fmla="*/ f845 1 f450"/>
              <a:gd name="f1102" fmla="*/ f846 1 f449"/>
              <a:gd name="f1103" fmla="*/ f847 1 f450"/>
              <a:gd name="f1104" fmla="*/ f848 1 f449"/>
              <a:gd name="f1105" fmla="*/ f849 1 f450"/>
              <a:gd name="f1106" fmla="*/ f850 1 f449"/>
              <a:gd name="f1107" fmla="*/ f851 1 f449"/>
              <a:gd name="f1108" fmla="*/ f852 1 f450"/>
              <a:gd name="f1109" fmla="*/ f853 1 f449"/>
              <a:gd name="f1110" fmla="*/ f854 1 f450"/>
              <a:gd name="f1111" fmla="*/ f855 1 f449"/>
              <a:gd name="f1112" fmla="*/ f856 1 f449"/>
              <a:gd name="f1113" fmla="*/ f857 1 f450"/>
              <a:gd name="f1114" fmla="*/ f858 1 f449"/>
              <a:gd name="f1115" fmla="*/ f859 1 f450"/>
              <a:gd name="f1116" fmla="*/ f860 1 f449"/>
              <a:gd name="f1117" fmla="*/ f861 1 f449"/>
              <a:gd name="f1118" fmla="*/ f862 1 f450"/>
              <a:gd name="f1119" fmla="*/ f863 1 f449"/>
              <a:gd name="f1120" fmla="*/ f864 1 f450"/>
              <a:gd name="f1121" fmla="*/ f865 1 f449"/>
              <a:gd name="f1122" fmla="*/ f866 1 f450"/>
              <a:gd name="f1123" fmla="*/ f867 1 f449"/>
              <a:gd name="f1124" fmla="*/ f868 1 f450"/>
              <a:gd name="f1125" fmla="*/ f869 1 f449"/>
              <a:gd name="f1126" fmla="*/ f870 1 f449"/>
              <a:gd name="f1127" fmla="*/ f871 1 f449"/>
              <a:gd name="f1128" fmla="*/ f872 1 f449"/>
              <a:gd name="f1129" fmla="*/ f873 1 f449"/>
              <a:gd name="f1130" fmla="*/ f874 1 f450"/>
              <a:gd name="f1131" fmla="*/ f875 1 f449"/>
              <a:gd name="f1132" fmla="*/ f876 1 f450"/>
              <a:gd name="f1133" fmla="*/ f877 1 f449"/>
              <a:gd name="f1134" fmla="*/ f878 1 f449"/>
              <a:gd name="f1135" fmla="*/ f879 1 f450"/>
              <a:gd name="f1136" fmla="*/ f880 1 f449"/>
              <a:gd name="f1137" fmla="*/ f881 1 f449"/>
              <a:gd name="f1138" fmla="*/ f882 1 f449"/>
              <a:gd name="f1139" fmla="*/ f883 1 f449"/>
              <a:gd name="f1140" fmla="*/ f884 1 f449"/>
              <a:gd name="f1141" fmla="*/ f885 1 f449"/>
              <a:gd name="f1142" fmla="*/ f886 1 f449"/>
              <a:gd name="f1143" fmla="*/ f887 1 f450"/>
              <a:gd name="f1144" fmla="*/ f888 1 f450"/>
              <a:gd name="f1145" fmla="*/ f889 1 f449"/>
              <a:gd name="f1146" fmla="*/ f890 1 f449"/>
              <a:gd name="f1147" fmla="*/ f891 1 f450"/>
              <a:gd name="f1148" fmla="*/ f892 1 f449"/>
              <a:gd name="f1149" fmla="*/ f893 1 f450"/>
              <a:gd name="f1150" fmla="*/ f894 1 f449"/>
              <a:gd name="f1151" fmla="*/ f895 1 f450"/>
              <a:gd name="f1152" fmla="*/ f896 1 f449"/>
              <a:gd name="f1153" fmla="*/ f897 1 f450"/>
              <a:gd name="f1154" fmla="*/ f898 1 f449"/>
              <a:gd name="f1155" fmla="*/ f899 1 f449"/>
              <a:gd name="f1156" fmla="*/ f900 1 f449"/>
              <a:gd name="f1157" fmla="*/ f901 1 f449"/>
              <a:gd name="f1158" fmla="*/ f902 1 f450"/>
              <a:gd name="f1159" fmla="*/ f903 1 f449"/>
              <a:gd name="f1160" fmla="*/ f904 1 f450"/>
              <a:gd name="f1161" fmla="*/ f905 1 f449"/>
              <a:gd name="f1162" fmla="*/ f906 1 f449"/>
              <a:gd name="f1163" fmla="*/ f907 1 f449"/>
              <a:gd name="f1164" fmla="*/ f908 1 f450"/>
              <a:gd name="f1165" fmla="*/ f909 1 f449"/>
              <a:gd name="f1166" fmla="*/ f910 1 f449"/>
              <a:gd name="f1167" fmla="*/ f911 1 f450"/>
              <a:gd name="f1168" fmla="*/ f912 1 f449"/>
              <a:gd name="f1169" fmla="*/ f913 1 f450"/>
              <a:gd name="f1170" fmla="*/ f914 1 f449"/>
              <a:gd name="f1171" fmla="*/ f915 1 f450"/>
              <a:gd name="f1172" fmla="*/ f916 1 f450"/>
              <a:gd name="f1173" fmla="*/ f917 1 f449"/>
              <a:gd name="f1174" fmla="*/ f918 1 f449"/>
              <a:gd name="f1175" fmla="*/ f919 1 f449"/>
              <a:gd name="f1176" fmla="*/ f920 1 f450"/>
              <a:gd name="f1177" fmla="*/ f921 1 f449"/>
              <a:gd name="f1178" fmla="*/ f922 1 f449"/>
              <a:gd name="f1179" fmla="*/ f923 1 f449"/>
              <a:gd name="f1180" fmla="*/ f924 1 f450"/>
              <a:gd name="f1181" fmla="*/ f925 1 f449"/>
              <a:gd name="f1182" fmla="*/ f926 1 f450"/>
              <a:gd name="f1183" fmla="*/ f927 1 f449"/>
              <a:gd name="f1184" fmla="*/ f928 1 f449"/>
              <a:gd name="f1185" fmla="*/ f929 1 f450"/>
              <a:gd name="f1186" fmla="*/ f930 1 f449"/>
              <a:gd name="f1187" fmla="*/ f931 1 f449"/>
              <a:gd name="f1188" fmla="*/ f932 1 f449"/>
              <a:gd name="f1189" fmla="*/ f933 1 f449"/>
              <a:gd name="f1190" fmla="*/ f934 1 f449"/>
              <a:gd name="f1191" fmla="*/ f935 1 f449"/>
              <a:gd name="f1192" fmla="*/ f936 1 f450"/>
              <a:gd name="f1193" fmla="*/ f937 1 f449"/>
              <a:gd name="f1194" fmla="*/ f938 1 f449"/>
              <a:gd name="f1195" fmla="*/ f939 1 f449"/>
              <a:gd name="f1196" fmla="*/ f940 1 f449"/>
              <a:gd name="f1197" fmla="*/ f941 1 f450"/>
              <a:gd name="f1198" fmla="*/ f942 1 f450"/>
              <a:gd name="f1199" fmla="*/ f943 1 f449"/>
              <a:gd name="f1200" fmla="*/ f944 1 f449"/>
              <a:gd name="f1201" fmla="*/ f945 1 f449"/>
              <a:gd name="f1202" fmla="*/ f946 1 f449"/>
              <a:gd name="f1203" fmla="*/ f947 1 f449"/>
              <a:gd name="f1204" fmla="*/ f948 1 f449"/>
              <a:gd name="f1205" fmla="*/ f949 1 f449"/>
              <a:gd name="f1206" fmla="*/ f950 1 f449"/>
              <a:gd name="f1207" fmla="*/ f951 1 f449"/>
              <a:gd name="f1208" fmla="*/ f952 1 f449"/>
              <a:gd name="f1209" fmla="*/ f953 1 f449"/>
              <a:gd name="f1210" fmla="*/ f954 f444 1"/>
              <a:gd name="f1211" fmla="*/ f955 f444 1"/>
              <a:gd name="f1212" fmla="*/ f957 f445 1"/>
              <a:gd name="f1213" fmla="*/ f956 f445 1"/>
              <a:gd name="f1214" fmla="*/ f959 f444 1"/>
              <a:gd name="f1215" fmla="*/ f960 f445 1"/>
              <a:gd name="f1216" fmla="*/ f961 f444 1"/>
              <a:gd name="f1217" fmla="*/ f962 f445 1"/>
              <a:gd name="f1218" fmla="*/ f963 f444 1"/>
              <a:gd name="f1219" fmla="*/ f964 f445 1"/>
              <a:gd name="f1220" fmla="*/ f965 f445 1"/>
              <a:gd name="f1221" fmla="*/ f966 f444 1"/>
              <a:gd name="f1222" fmla="*/ f967 f444 1"/>
              <a:gd name="f1223" fmla="*/ f968 f445 1"/>
              <a:gd name="f1224" fmla="*/ f969 f444 1"/>
              <a:gd name="f1225" fmla="*/ f970 f445 1"/>
              <a:gd name="f1226" fmla="*/ f971 f444 1"/>
              <a:gd name="f1227" fmla="*/ f972 f444 1"/>
              <a:gd name="f1228" fmla="*/ f973 f445 1"/>
              <a:gd name="f1229" fmla="*/ f974 f444 1"/>
              <a:gd name="f1230" fmla="*/ f975 f445 1"/>
              <a:gd name="f1231" fmla="*/ f976 f444 1"/>
              <a:gd name="f1232" fmla="*/ f977 f445 1"/>
              <a:gd name="f1233" fmla="*/ f978 f444 1"/>
              <a:gd name="f1234" fmla="*/ f979 f445 1"/>
              <a:gd name="f1235" fmla="*/ f980 f445 1"/>
              <a:gd name="f1236" fmla="*/ f981 f445 1"/>
              <a:gd name="f1237" fmla="*/ f982 f444 1"/>
              <a:gd name="f1238" fmla="*/ f983 f444 1"/>
              <a:gd name="f1239" fmla="*/ f984 f444 1"/>
              <a:gd name="f1240" fmla="*/ f985 f444 1"/>
              <a:gd name="f1241" fmla="*/ f986 f444 1"/>
              <a:gd name="f1242" fmla="*/ f987 f444 1"/>
              <a:gd name="f1243" fmla="*/ f988 f444 1"/>
              <a:gd name="f1244" fmla="*/ f989 f444 1"/>
              <a:gd name="f1245" fmla="*/ f990 f445 1"/>
              <a:gd name="f1246" fmla="*/ f991 f444 1"/>
              <a:gd name="f1247" fmla="*/ f992 f445 1"/>
              <a:gd name="f1248" fmla="*/ f993 f444 1"/>
              <a:gd name="f1249" fmla="*/ f994 f444 1"/>
              <a:gd name="f1250" fmla="*/ f995 f445 1"/>
              <a:gd name="f1251" fmla="*/ f996 f444 1"/>
              <a:gd name="f1252" fmla="*/ f997 f445 1"/>
              <a:gd name="f1253" fmla="*/ f998 f444 1"/>
              <a:gd name="f1254" fmla="*/ f999 f444 1"/>
              <a:gd name="f1255" fmla="*/ f1000 f445 1"/>
              <a:gd name="f1256" fmla="*/ f1001 f444 1"/>
              <a:gd name="f1257" fmla="*/ f1002 f445 1"/>
              <a:gd name="f1258" fmla="*/ f1003 f444 1"/>
              <a:gd name="f1259" fmla="*/ f1004 f444 1"/>
              <a:gd name="f1260" fmla="*/ f1005 f445 1"/>
              <a:gd name="f1261" fmla="*/ f1006 f444 1"/>
              <a:gd name="f1262" fmla="*/ f1007 f444 1"/>
              <a:gd name="f1263" fmla="*/ f1008 f444 1"/>
              <a:gd name="f1264" fmla="*/ f1009 f445 1"/>
              <a:gd name="f1265" fmla="*/ f1010 f444 1"/>
              <a:gd name="f1266" fmla="*/ f1011 f445 1"/>
              <a:gd name="f1267" fmla="*/ f1012 f444 1"/>
              <a:gd name="f1268" fmla="*/ f1013 f444 1"/>
              <a:gd name="f1269" fmla="*/ f1014 f444 1"/>
              <a:gd name="f1270" fmla="*/ f1015 f445 1"/>
              <a:gd name="f1271" fmla="*/ f1016 f444 1"/>
              <a:gd name="f1272" fmla="*/ f1017 f444 1"/>
              <a:gd name="f1273" fmla="*/ f1018 f444 1"/>
              <a:gd name="f1274" fmla="*/ f1019 f445 1"/>
              <a:gd name="f1275" fmla="*/ f1020 f444 1"/>
              <a:gd name="f1276" fmla="*/ f1021 f444 1"/>
              <a:gd name="f1277" fmla="*/ f1022 f444 1"/>
              <a:gd name="f1278" fmla="*/ f1023 f445 1"/>
              <a:gd name="f1279" fmla="*/ f1024 f444 1"/>
              <a:gd name="f1280" fmla="*/ f1025 f444 1"/>
              <a:gd name="f1281" fmla="*/ f1026 f444 1"/>
              <a:gd name="f1282" fmla="*/ f1027 f444 1"/>
              <a:gd name="f1283" fmla="*/ f1028 f444 1"/>
              <a:gd name="f1284" fmla="*/ f1029 f444 1"/>
              <a:gd name="f1285" fmla="*/ f1030 f444 1"/>
              <a:gd name="f1286" fmla="*/ f1031 f444 1"/>
              <a:gd name="f1287" fmla="*/ f1032 f445 1"/>
              <a:gd name="f1288" fmla="*/ f1033 f444 1"/>
              <a:gd name="f1289" fmla="*/ f1034 f444 1"/>
              <a:gd name="f1290" fmla="*/ f1035 f444 1"/>
              <a:gd name="f1291" fmla="*/ f1036 f444 1"/>
              <a:gd name="f1292" fmla="*/ f1037 f444 1"/>
              <a:gd name="f1293" fmla="*/ f1038 f444 1"/>
              <a:gd name="f1294" fmla="*/ f1039 f444 1"/>
              <a:gd name="f1295" fmla="*/ f1040 f444 1"/>
              <a:gd name="f1296" fmla="*/ f1041 f444 1"/>
              <a:gd name="f1297" fmla="*/ f1042 f444 1"/>
              <a:gd name="f1298" fmla="*/ f1043 f444 1"/>
              <a:gd name="f1299" fmla="*/ f1044 f444 1"/>
              <a:gd name="f1300" fmla="*/ f1045 f445 1"/>
              <a:gd name="f1301" fmla="*/ f1046 f444 1"/>
              <a:gd name="f1302" fmla="*/ f1047 f444 1"/>
              <a:gd name="f1303" fmla="*/ f1048 f445 1"/>
              <a:gd name="f1304" fmla="*/ f1049 f445 1"/>
              <a:gd name="f1305" fmla="*/ f1050 f444 1"/>
              <a:gd name="f1306" fmla="*/ f1051 f444 1"/>
              <a:gd name="f1307" fmla="*/ f1052 f444 1"/>
              <a:gd name="f1308" fmla="*/ f1053 f445 1"/>
              <a:gd name="f1309" fmla="*/ f1054 f444 1"/>
              <a:gd name="f1310" fmla="*/ f1055 f444 1"/>
              <a:gd name="f1311" fmla="*/ f1056 f444 1"/>
              <a:gd name="f1312" fmla="*/ f1057 f445 1"/>
              <a:gd name="f1313" fmla="*/ f1058 f444 1"/>
              <a:gd name="f1314" fmla="*/ f1059 f444 1"/>
              <a:gd name="f1315" fmla="*/ f1060 f444 1"/>
              <a:gd name="f1316" fmla="*/ f1061 f445 1"/>
              <a:gd name="f1317" fmla="*/ f1062 f444 1"/>
              <a:gd name="f1318" fmla="*/ f1063 f445 1"/>
              <a:gd name="f1319" fmla="*/ f1064 f444 1"/>
              <a:gd name="f1320" fmla="*/ f1065 f445 1"/>
              <a:gd name="f1321" fmla="*/ f1066 f445 1"/>
              <a:gd name="f1322" fmla="*/ f1067 f444 1"/>
              <a:gd name="f1323" fmla="*/ f1068 f444 1"/>
              <a:gd name="f1324" fmla="*/ f1069 f444 1"/>
              <a:gd name="f1325" fmla="*/ f1070 f445 1"/>
              <a:gd name="f1326" fmla="*/ f1071 f445 1"/>
              <a:gd name="f1327" fmla="*/ f1072 f444 1"/>
              <a:gd name="f1328" fmla="*/ f1073 f444 1"/>
              <a:gd name="f1329" fmla="*/ f1074 f444 1"/>
              <a:gd name="f1330" fmla="*/ f1075 f444 1"/>
              <a:gd name="f1331" fmla="*/ f1076 f444 1"/>
              <a:gd name="f1332" fmla="*/ f1077 f444 1"/>
              <a:gd name="f1333" fmla="*/ f1078 f444 1"/>
              <a:gd name="f1334" fmla="*/ f1079 f444 1"/>
              <a:gd name="f1335" fmla="*/ f1080 f444 1"/>
              <a:gd name="f1336" fmla="*/ f1081 f444 1"/>
              <a:gd name="f1337" fmla="*/ f1082 f444 1"/>
              <a:gd name="f1338" fmla="*/ f1083 f444 1"/>
              <a:gd name="f1339" fmla="*/ f1084 f444 1"/>
              <a:gd name="f1340" fmla="*/ f1085 f444 1"/>
              <a:gd name="f1341" fmla="*/ f1086 f444 1"/>
              <a:gd name="f1342" fmla="*/ f1087 f444 1"/>
              <a:gd name="f1343" fmla="*/ f1088 f445 1"/>
              <a:gd name="f1344" fmla="*/ f1089 f444 1"/>
              <a:gd name="f1345" fmla="*/ f1090 f444 1"/>
              <a:gd name="f1346" fmla="*/ f1091 f444 1"/>
              <a:gd name="f1347" fmla="*/ f1092 f445 1"/>
              <a:gd name="f1348" fmla="*/ f1093 f444 1"/>
              <a:gd name="f1349" fmla="*/ f1094 f445 1"/>
              <a:gd name="f1350" fmla="*/ f1095 f444 1"/>
              <a:gd name="f1351" fmla="*/ f1096 f444 1"/>
              <a:gd name="f1352" fmla="*/ f1097 f445 1"/>
              <a:gd name="f1353" fmla="*/ f1098 f444 1"/>
              <a:gd name="f1354" fmla="*/ f1099 f445 1"/>
              <a:gd name="f1355" fmla="*/ f1100 f444 1"/>
              <a:gd name="f1356" fmla="*/ f1101 f445 1"/>
              <a:gd name="f1357" fmla="*/ f1102 f444 1"/>
              <a:gd name="f1358" fmla="*/ f1103 f445 1"/>
              <a:gd name="f1359" fmla="*/ f1104 f444 1"/>
              <a:gd name="f1360" fmla="*/ f1105 f445 1"/>
              <a:gd name="f1361" fmla="*/ f1106 f444 1"/>
              <a:gd name="f1362" fmla="*/ f1107 f444 1"/>
              <a:gd name="f1363" fmla="*/ f1108 f445 1"/>
              <a:gd name="f1364" fmla="*/ f1109 f444 1"/>
              <a:gd name="f1365" fmla="*/ f1110 f445 1"/>
              <a:gd name="f1366" fmla="*/ f1111 f444 1"/>
              <a:gd name="f1367" fmla="*/ f1112 f444 1"/>
              <a:gd name="f1368" fmla="*/ f1113 f445 1"/>
              <a:gd name="f1369" fmla="*/ f1114 f444 1"/>
              <a:gd name="f1370" fmla="*/ f1115 f445 1"/>
              <a:gd name="f1371" fmla="*/ f1116 f444 1"/>
              <a:gd name="f1372" fmla="*/ f1117 f444 1"/>
              <a:gd name="f1373" fmla="*/ f1118 f445 1"/>
              <a:gd name="f1374" fmla="*/ f1119 f444 1"/>
              <a:gd name="f1375" fmla="*/ f1120 f445 1"/>
              <a:gd name="f1376" fmla="*/ f1121 f444 1"/>
              <a:gd name="f1377" fmla="*/ f1122 f445 1"/>
              <a:gd name="f1378" fmla="*/ f1123 f444 1"/>
              <a:gd name="f1379" fmla="*/ f1124 f445 1"/>
              <a:gd name="f1380" fmla="*/ f1125 f444 1"/>
              <a:gd name="f1381" fmla="*/ f1126 f444 1"/>
              <a:gd name="f1382" fmla="*/ f1127 f444 1"/>
              <a:gd name="f1383" fmla="*/ f1128 f444 1"/>
              <a:gd name="f1384" fmla="*/ f1129 f444 1"/>
              <a:gd name="f1385" fmla="*/ f1130 f445 1"/>
              <a:gd name="f1386" fmla="*/ f1131 f444 1"/>
              <a:gd name="f1387" fmla="*/ f1132 f445 1"/>
              <a:gd name="f1388" fmla="*/ f1133 f444 1"/>
              <a:gd name="f1389" fmla="*/ f1134 f444 1"/>
              <a:gd name="f1390" fmla="*/ f1135 f445 1"/>
              <a:gd name="f1391" fmla="*/ f1136 f444 1"/>
              <a:gd name="f1392" fmla="*/ f1137 f444 1"/>
              <a:gd name="f1393" fmla="*/ f1138 f444 1"/>
              <a:gd name="f1394" fmla="*/ f1139 f444 1"/>
              <a:gd name="f1395" fmla="*/ f1140 f444 1"/>
              <a:gd name="f1396" fmla="*/ f1141 f444 1"/>
              <a:gd name="f1397" fmla="*/ f1142 f444 1"/>
              <a:gd name="f1398" fmla="*/ f1143 f445 1"/>
              <a:gd name="f1399" fmla="*/ f1144 f445 1"/>
              <a:gd name="f1400" fmla="*/ f1145 f444 1"/>
              <a:gd name="f1401" fmla="*/ f1146 f444 1"/>
              <a:gd name="f1402" fmla="*/ f1147 f445 1"/>
              <a:gd name="f1403" fmla="*/ f1148 f444 1"/>
              <a:gd name="f1404" fmla="*/ f1149 f445 1"/>
              <a:gd name="f1405" fmla="*/ f1150 f444 1"/>
              <a:gd name="f1406" fmla="*/ f1151 f445 1"/>
              <a:gd name="f1407" fmla="*/ f1152 f444 1"/>
              <a:gd name="f1408" fmla="*/ f1153 f445 1"/>
              <a:gd name="f1409" fmla="*/ f1154 f444 1"/>
              <a:gd name="f1410" fmla="*/ f1155 f444 1"/>
              <a:gd name="f1411" fmla="*/ f1156 f444 1"/>
              <a:gd name="f1412" fmla="*/ f1157 f444 1"/>
              <a:gd name="f1413" fmla="*/ f1158 f445 1"/>
              <a:gd name="f1414" fmla="*/ f1159 f444 1"/>
              <a:gd name="f1415" fmla="*/ f1160 f445 1"/>
              <a:gd name="f1416" fmla="*/ f1161 f444 1"/>
              <a:gd name="f1417" fmla="*/ f1162 f444 1"/>
              <a:gd name="f1418" fmla="*/ f1163 f444 1"/>
              <a:gd name="f1419" fmla="*/ f1164 f445 1"/>
              <a:gd name="f1420" fmla="*/ f1165 f444 1"/>
              <a:gd name="f1421" fmla="*/ f1166 f444 1"/>
              <a:gd name="f1422" fmla="*/ f1167 f445 1"/>
              <a:gd name="f1423" fmla="*/ f1168 f444 1"/>
              <a:gd name="f1424" fmla="*/ f1169 f445 1"/>
              <a:gd name="f1425" fmla="*/ f1170 f444 1"/>
              <a:gd name="f1426" fmla="*/ f1171 f445 1"/>
              <a:gd name="f1427" fmla="*/ f1172 f445 1"/>
              <a:gd name="f1428" fmla="*/ f1173 f444 1"/>
              <a:gd name="f1429" fmla="*/ f1174 f444 1"/>
              <a:gd name="f1430" fmla="*/ f1175 f444 1"/>
              <a:gd name="f1431" fmla="*/ f1176 f445 1"/>
              <a:gd name="f1432" fmla="*/ f1177 f444 1"/>
              <a:gd name="f1433" fmla="*/ f1178 f444 1"/>
              <a:gd name="f1434" fmla="*/ f1179 f444 1"/>
              <a:gd name="f1435" fmla="*/ f1180 f445 1"/>
              <a:gd name="f1436" fmla="*/ f1181 f444 1"/>
              <a:gd name="f1437" fmla="*/ f1182 f445 1"/>
              <a:gd name="f1438" fmla="*/ f1183 f444 1"/>
              <a:gd name="f1439" fmla="*/ f1184 f444 1"/>
              <a:gd name="f1440" fmla="*/ f1185 f445 1"/>
              <a:gd name="f1441" fmla="*/ f1186 f444 1"/>
              <a:gd name="f1442" fmla="*/ f1187 f444 1"/>
              <a:gd name="f1443" fmla="*/ f1188 f444 1"/>
              <a:gd name="f1444" fmla="*/ f1189 f444 1"/>
              <a:gd name="f1445" fmla="*/ f1190 f444 1"/>
              <a:gd name="f1446" fmla="*/ f1191 f444 1"/>
              <a:gd name="f1447" fmla="*/ f1192 f445 1"/>
              <a:gd name="f1448" fmla="*/ f1193 f444 1"/>
              <a:gd name="f1449" fmla="*/ f1194 f444 1"/>
              <a:gd name="f1450" fmla="*/ f1195 f444 1"/>
              <a:gd name="f1451" fmla="*/ f1196 f444 1"/>
              <a:gd name="f1452" fmla="*/ f1197 f445 1"/>
              <a:gd name="f1453" fmla="*/ f1198 f445 1"/>
              <a:gd name="f1454" fmla="*/ f1199 f444 1"/>
              <a:gd name="f1455" fmla="*/ f1200 f444 1"/>
              <a:gd name="f1456" fmla="*/ f1201 f444 1"/>
              <a:gd name="f1457" fmla="*/ f1202 f444 1"/>
              <a:gd name="f1458" fmla="*/ f1203 f444 1"/>
              <a:gd name="f1459" fmla="*/ f1204 f444 1"/>
              <a:gd name="f1460" fmla="*/ f1205 f444 1"/>
              <a:gd name="f1461" fmla="*/ f1206 f444 1"/>
              <a:gd name="f1462" fmla="*/ f1207 f444 1"/>
              <a:gd name="f1463" fmla="*/ f1208 f444 1"/>
              <a:gd name="f1464" fmla="*/ f1209 f44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958">
                <a:pos x="f1214" y="f1215"/>
              </a:cxn>
              <a:cxn ang="f958">
                <a:pos x="f1216" y="f1215"/>
              </a:cxn>
              <a:cxn ang="f958">
                <a:pos x="f1216" y="f1217"/>
              </a:cxn>
              <a:cxn ang="f958">
                <a:pos x="f1214" y="f1217"/>
              </a:cxn>
              <a:cxn ang="f958">
                <a:pos x="f1214" y="f1215"/>
              </a:cxn>
              <a:cxn ang="f958">
                <a:pos x="f1218" y="f1219"/>
              </a:cxn>
              <a:cxn ang="f958">
                <a:pos x="f1218" y="f1220"/>
              </a:cxn>
              <a:cxn ang="f958">
                <a:pos x="f1221" y="f1220"/>
              </a:cxn>
              <a:cxn ang="f958">
                <a:pos x="f1222" y="f1223"/>
              </a:cxn>
              <a:cxn ang="f958">
                <a:pos x="f1221" y="f1219"/>
              </a:cxn>
              <a:cxn ang="f958">
                <a:pos x="f1218" y="f1219"/>
              </a:cxn>
              <a:cxn ang="f958">
                <a:pos x="f1224" y="f1219"/>
              </a:cxn>
              <a:cxn ang="f958">
                <a:pos x="f1224" y="f1225"/>
              </a:cxn>
              <a:cxn ang="f958">
                <a:pos x="f1226" y="f1225"/>
              </a:cxn>
              <a:cxn ang="f958">
                <a:pos x="f1227" y="f1228"/>
              </a:cxn>
              <a:cxn ang="f958">
                <a:pos x="f1226" y="f1219"/>
              </a:cxn>
              <a:cxn ang="f958">
                <a:pos x="f1224" y="f1219"/>
              </a:cxn>
              <a:cxn ang="f958">
                <a:pos x="f1229" y="f1230"/>
              </a:cxn>
              <a:cxn ang="f958">
                <a:pos x="f1231" y="f1232"/>
              </a:cxn>
              <a:cxn ang="f958">
                <a:pos x="f1233" y="f1234"/>
              </a:cxn>
              <a:cxn ang="f958">
                <a:pos x="f1231" y="f1235"/>
              </a:cxn>
              <a:cxn ang="f958">
                <a:pos x="f1229" y="f1236"/>
              </a:cxn>
              <a:cxn ang="f958">
                <a:pos x="f1237" y="f1235"/>
              </a:cxn>
              <a:cxn ang="f958">
                <a:pos x="f1238" y="f1234"/>
              </a:cxn>
              <a:cxn ang="f958">
                <a:pos x="f1237" y="f1232"/>
              </a:cxn>
              <a:cxn ang="f958">
                <a:pos x="f1229" y="f1230"/>
              </a:cxn>
              <a:cxn ang="f958">
                <a:pos x="f1239" y="f1230"/>
              </a:cxn>
              <a:cxn ang="f958">
                <a:pos x="f1240" y="f1232"/>
              </a:cxn>
              <a:cxn ang="f958">
                <a:pos x="f1241" y="f1234"/>
              </a:cxn>
              <a:cxn ang="f958">
                <a:pos x="f1240" y="f1235"/>
              </a:cxn>
              <a:cxn ang="f958">
                <a:pos x="f1239" y="f1236"/>
              </a:cxn>
              <a:cxn ang="f958">
                <a:pos x="f1242" y="f1235"/>
              </a:cxn>
              <a:cxn ang="f958">
                <a:pos x="f1243" y="f1234"/>
              </a:cxn>
              <a:cxn ang="f958">
                <a:pos x="f1242" y="f1232"/>
              </a:cxn>
              <a:cxn ang="f958">
                <a:pos x="f1239" y="f1230"/>
              </a:cxn>
              <a:cxn ang="f958">
                <a:pos x="f1244" y="f1245"/>
              </a:cxn>
              <a:cxn ang="f958">
                <a:pos x="f1221" y="f1245"/>
              </a:cxn>
              <a:cxn ang="f958">
                <a:pos x="f1246" y="f1247"/>
              </a:cxn>
              <a:cxn ang="f958">
                <a:pos x="f1248" y="f1223"/>
              </a:cxn>
              <a:cxn ang="f958">
                <a:pos x="f1249" y="f1250"/>
              </a:cxn>
              <a:cxn ang="f958">
                <a:pos x="f1251" y="f1252"/>
              </a:cxn>
              <a:cxn ang="f958">
                <a:pos x="f1218" y="f1252"/>
              </a:cxn>
              <a:cxn ang="f958">
                <a:pos x="f1218" y="f1215"/>
              </a:cxn>
              <a:cxn ang="f958">
                <a:pos x="f1244" y="f1215"/>
              </a:cxn>
              <a:cxn ang="f958">
                <a:pos x="f1244" y="f1245"/>
              </a:cxn>
              <a:cxn ang="f958">
                <a:pos x="f1253" y="f1245"/>
              </a:cxn>
              <a:cxn ang="f958">
                <a:pos x="f1254" y="f1245"/>
              </a:cxn>
              <a:cxn ang="f958">
                <a:pos x="f1254" y="f1255"/>
              </a:cxn>
              <a:cxn ang="f958">
                <a:pos x="f1256" y="f1257"/>
              </a:cxn>
              <a:cxn ang="f958">
                <a:pos x="f1258" y="f1255"/>
              </a:cxn>
              <a:cxn ang="f958">
                <a:pos x="f1258" y="f1245"/>
              </a:cxn>
              <a:cxn ang="f958">
                <a:pos x="f1259" y="f1245"/>
              </a:cxn>
              <a:cxn ang="f958">
                <a:pos x="f1259" y="f1255"/>
              </a:cxn>
              <a:cxn ang="f958">
                <a:pos x="f1256" y="f1260"/>
              </a:cxn>
              <a:cxn ang="f958">
                <a:pos x="f1253" y="f1255"/>
              </a:cxn>
              <a:cxn ang="f958">
                <a:pos x="f1253" y="f1245"/>
              </a:cxn>
              <a:cxn ang="f958">
                <a:pos x="f1261" y="f1245"/>
              </a:cxn>
              <a:cxn ang="f958">
                <a:pos x="f1226" y="f1245"/>
              </a:cxn>
              <a:cxn ang="f958">
                <a:pos x="f1262" y="f1247"/>
              </a:cxn>
              <a:cxn ang="f958">
                <a:pos x="f1263" y="f1228"/>
              </a:cxn>
              <a:cxn ang="f958">
                <a:pos x="f1262" y="f1264"/>
              </a:cxn>
              <a:cxn ang="f958">
                <a:pos x="f1265" y="f1266"/>
              </a:cxn>
              <a:cxn ang="f958">
                <a:pos x="f1267" y="f1215"/>
              </a:cxn>
              <a:cxn ang="f958">
                <a:pos x="f1268" y="f1215"/>
              </a:cxn>
              <a:cxn ang="f958">
                <a:pos x="f1269" y="f1270"/>
              </a:cxn>
              <a:cxn ang="f958">
                <a:pos x="f1224" y="f1270"/>
              </a:cxn>
              <a:cxn ang="f958">
                <a:pos x="f1224" y="f1215"/>
              </a:cxn>
              <a:cxn ang="f958">
                <a:pos x="f1261" y="f1215"/>
              </a:cxn>
              <a:cxn ang="f958">
                <a:pos x="f1261" y="f1245"/>
              </a:cxn>
              <a:cxn ang="f958">
                <a:pos x="f1271" y="f1245"/>
              </a:cxn>
              <a:cxn ang="f958">
                <a:pos x="f1272" y="f1245"/>
              </a:cxn>
              <a:cxn ang="f958">
                <a:pos x="f1273" y="f1274"/>
              </a:cxn>
              <a:cxn ang="f958">
                <a:pos x="f1273" y="f1245"/>
              </a:cxn>
              <a:cxn ang="f958">
                <a:pos x="f1275" y="f1245"/>
              </a:cxn>
              <a:cxn ang="f958">
                <a:pos x="f1275" y="f1215"/>
              </a:cxn>
              <a:cxn ang="f958">
                <a:pos x="f1276" y="f1215"/>
              </a:cxn>
              <a:cxn ang="f958">
                <a:pos x="f1277" y="f1278"/>
              </a:cxn>
              <a:cxn ang="f958">
                <a:pos x="f1277" y="f1215"/>
              </a:cxn>
              <a:cxn ang="f958">
                <a:pos x="f1271" y="f1215"/>
              </a:cxn>
              <a:cxn ang="f958">
                <a:pos x="f1271" y="f1245"/>
              </a:cxn>
              <a:cxn ang="f958">
                <a:pos x="f1279" y="f1245"/>
              </a:cxn>
              <a:cxn ang="f958">
                <a:pos x="f1280" y="f1245"/>
              </a:cxn>
              <a:cxn ang="f958">
                <a:pos x="f1280" y="f1215"/>
              </a:cxn>
              <a:cxn ang="f958">
                <a:pos x="f1279" y="f1215"/>
              </a:cxn>
              <a:cxn ang="f958">
                <a:pos x="f1279" y="f1245"/>
              </a:cxn>
              <a:cxn ang="f958">
                <a:pos x="f1281" y="f1245"/>
              </a:cxn>
              <a:cxn ang="f958">
                <a:pos x="f1282" y="f1245"/>
              </a:cxn>
              <a:cxn ang="f958">
                <a:pos x="f1282" y="f1219"/>
              </a:cxn>
              <a:cxn ang="f958">
                <a:pos x="f1283" y="f1219"/>
              </a:cxn>
              <a:cxn ang="f958">
                <a:pos x="f1283" y="f1215"/>
              </a:cxn>
              <a:cxn ang="f958">
                <a:pos x="f1284" y="f1215"/>
              </a:cxn>
              <a:cxn ang="f958">
                <a:pos x="f1284" y="f1219"/>
              </a:cxn>
              <a:cxn ang="f958">
                <a:pos x="f1281" y="f1219"/>
              </a:cxn>
              <a:cxn ang="f958">
                <a:pos x="f1281" y="f1245"/>
              </a:cxn>
              <a:cxn ang="f958">
                <a:pos x="f1285" y="f1245"/>
              </a:cxn>
              <a:cxn ang="f958">
                <a:pos x="f1286" y="f1245"/>
              </a:cxn>
              <a:cxn ang="f958">
                <a:pos x="f1286" y="f1287"/>
              </a:cxn>
              <a:cxn ang="f958">
                <a:pos x="f1288" y="f1287"/>
              </a:cxn>
              <a:cxn ang="f958">
                <a:pos x="f1288" y="f1215"/>
              </a:cxn>
              <a:cxn ang="f958">
                <a:pos x="f1285" y="f1215"/>
              </a:cxn>
              <a:cxn ang="f958">
                <a:pos x="f1285" y="f1245"/>
              </a:cxn>
              <a:cxn ang="f958">
                <a:pos x="f1289" y="f1245"/>
              </a:cxn>
              <a:cxn ang="f958">
                <a:pos x="f1290" y="f1245"/>
              </a:cxn>
              <a:cxn ang="f958">
                <a:pos x="f1290" y="f1255"/>
              </a:cxn>
              <a:cxn ang="f958">
                <a:pos x="f1291" y="f1257"/>
              </a:cxn>
              <a:cxn ang="f958">
                <a:pos x="f1292" y="f1255"/>
              </a:cxn>
              <a:cxn ang="f958">
                <a:pos x="f1292" y="f1245"/>
              </a:cxn>
              <a:cxn ang="f958">
                <a:pos x="f1293" y="f1245"/>
              </a:cxn>
              <a:cxn ang="f958">
                <a:pos x="f1293" y="f1255"/>
              </a:cxn>
              <a:cxn ang="f958">
                <a:pos x="f1291" y="f1260"/>
              </a:cxn>
              <a:cxn ang="f958">
                <a:pos x="f1289" y="f1255"/>
              </a:cxn>
              <a:cxn ang="f958">
                <a:pos x="f1289" y="f1245"/>
              </a:cxn>
              <a:cxn ang="f958">
                <a:pos x="f1294" y="f1245"/>
              </a:cxn>
              <a:cxn ang="f958">
                <a:pos x="f1295" y="f1245"/>
              </a:cxn>
              <a:cxn ang="f958">
                <a:pos x="f1296" y="f1274"/>
              </a:cxn>
              <a:cxn ang="f958">
                <a:pos x="f1296" y="f1245"/>
              </a:cxn>
              <a:cxn ang="f958">
                <a:pos x="f1297" y="f1245"/>
              </a:cxn>
              <a:cxn ang="f958">
                <a:pos x="f1297" y="f1215"/>
              </a:cxn>
              <a:cxn ang="f958">
                <a:pos x="f1298" y="f1215"/>
              </a:cxn>
              <a:cxn ang="f958">
                <a:pos x="f1299" y="f1278"/>
              </a:cxn>
              <a:cxn ang="f958">
                <a:pos x="f1299" y="f1215"/>
              </a:cxn>
              <a:cxn ang="f958">
                <a:pos x="f1294" y="f1215"/>
              </a:cxn>
              <a:cxn ang="f958">
                <a:pos x="f1294" y="f1245"/>
              </a:cxn>
              <a:cxn ang="f958">
                <a:pos x="f1229" y="f1300"/>
              </a:cxn>
              <a:cxn ang="f958">
                <a:pos x="f1301" y="f1247"/>
              </a:cxn>
              <a:cxn ang="f958">
                <a:pos x="f1302" y="f1234"/>
              </a:cxn>
              <a:cxn ang="f958">
                <a:pos x="f1301" y="f1303"/>
              </a:cxn>
              <a:cxn ang="f958">
                <a:pos x="f1229" y="f1304"/>
              </a:cxn>
              <a:cxn ang="f958">
                <a:pos x="f1233" y="f1303"/>
              </a:cxn>
              <a:cxn ang="f958">
                <a:pos x="f1305" y="f1234"/>
              </a:cxn>
              <a:cxn ang="f958">
                <a:pos x="f1233" y="f1247"/>
              </a:cxn>
              <a:cxn ang="f958">
                <a:pos x="f1229" y="f1300"/>
              </a:cxn>
              <a:cxn ang="f958">
                <a:pos x="f1306" y="f1300"/>
              </a:cxn>
              <a:cxn ang="f958">
                <a:pos x="f1307" y="f1308"/>
              </a:cxn>
              <a:cxn ang="f958">
                <a:pos x="f1309" y="f1228"/>
              </a:cxn>
              <a:cxn ang="f958">
                <a:pos x="f1310" y="f1228"/>
              </a:cxn>
              <a:cxn ang="f958">
                <a:pos x="f1311" y="f1312"/>
              </a:cxn>
              <a:cxn ang="f958">
                <a:pos x="f1306" y="f1230"/>
              </a:cxn>
              <a:cxn ang="f958">
                <a:pos x="f1313" y="f1232"/>
              </a:cxn>
              <a:cxn ang="f958">
                <a:pos x="f1314" y="f1234"/>
              </a:cxn>
              <a:cxn ang="f958">
                <a:pos x="f1315" y="f1316"/>
              </a:cxn>
              <a:cxn ang="f958">
                <a:pos x="f1306" y="f1257"/>
              </a:cxn>
              <a:cxn ang="f958">
                <a:pos x="f1317" y="f1318"/>
              </a:cxn>
              <a:cxn ang="f958">
                <a:pos x="f1319" y="f1320"/>
              </a:cxn>
              <a:cxn ang="f958">
                <a:pos x="f1306" y="f1320"/>
              </a:cxn>
              <a:cxn ang="f958">
                <a:pos x="f1306" y="f1321"/>
              </a:cxn>
              <a:cxn ang="f958">
                <a:pos x="f1322" y="f1321"/>
              </a:cxn>
              <a:cxn ang="f958">
                <a:pos x="f1322" y="f1215"/>
              </a:cxn>
              <a:cxn ang="f958">
                <a:pos x="f1323" y="f1215"/>
              </a:cxn>
              <a:cxn ang="f958">
                <a:pos x="f1324" y="f1325"/>
              </a:cxn>
              <a:cxn ang="f958">
                <a:pos x="f1306" y="f1304"/>
              </a:cxn>
              <a:cxn ang="f958">
                <a:pos x="f1314" y="f1326"/>
              </a:cxn>
              <a:cxn ang="f958">
                <a:pos x="f1327" y="f1234"/>
              </a:cxn>
              <a:cxn ang="f958">
                <a:pos x="f1314" y="f1247"/>
              </a:cxn>
              <a:cxn ang="f958">
                <a:pos x="f1306" y="f1300"/>
              </a:cxn>
              <a:cxn ang="f958">
                <a:pos x="f1328" y="f1300"/>
              </a:cxn>
              <a:cxn ang="f958">
                <a:pos x="f1329" y="f1308"/>
              </a:cxn>
              <a:cxn ang="f958">
                <a:pos x="f1330" y="f1228"/>
              </a:cxn>
              <a:cxn ang="f958">
                <a:pos x="f1331" y="f1228"/>
              </a:cxn>
              <a:cxn ang="f958">
                <a:pos x="f1332" y="f1312"/>
              </a:cxn>
              <a:cxn ang="f958">
                <a:pos x="f1328" y="f1230"/>
              </a:cxn>
              <a:cxn ang="f958">
                <a:pos x="f1333" y="f1232"/>
              </a:cxn>
              <a:cxn ang="f958">
                <a:pos x="f1334" y="f1234"/>
              </a:cxn>
              <a:cxn ang="f958">
                <a:pos x="f1333" y="f1316"/>
              </a:cxn>
              <a:cxn ang="f958">
                <a:pos x="f1328" y="f1257"/>
              </a:cxn>
              <a:cxn ang="f958">
                <a:pos x="f1335" y="f1318"/>
              </a:cxn>
              <a:cxn ang="f958">
                <a:pos x="f1336" y="f1320"/>
              </a:cxn>
              <a:cxn ang="f958">
                <a:pos x="f1328" y="f1320"/>
              </a:cxn>
              <a:cxn ang="f958">
                <a:pos x="f1328" y="f1321"/>
              </a:cxn>
              <a:cxn ang="f958">
                <a:pos x="f1337" y="f1321"/>
              </a:cxn>
              <a:cxn ang="f958">
                <a:pos x="f1337" y="f1215"/>
              </a:cxn>
              <a:cxn ang="f958">
                <a:pos x="f1338" y="f1215"/>
              </a:cxn>
              <a:cxn ang="f958">
                <a:pos x="f1339" y="f1325"/>
              </a:cxn>
              <a:cxn ang="f958">
                <a:pos x="f1328" y="f1304"/>
              </a:cxn>
              <a:cxn ang="f958">
                <a:pos x="f1334" y="f1326"/>
              </a:cxn>
              <a:cxn ang="f958">
                <a:pos x="f1340" y="f1234"/>
              </a:cxn>
              <a:cxn ang="f958">
                <a:pos x="f1334" y="f1247"/>
              </a:cxn>
              <a:cxn ang="f958">
                <a:pos x="f1328" y="f1300"/>
              </a:cxn>
              <a:cxn ang="f958">
                <a:pos x="f1341" y="f1300"/>
              </a:cxn>
              <a:cxn ang="f958">
                <a:pos x="f1342" y="f1343"/>
              </a:cxn>
              <a:cxn ang="f958">
                <a:pos x="f1344" y="f1228"/>
              </a:cxn>
              <a:cxn ang="f958">
                <a:pos x="f1345" y="f1228"/>
              </a:cxn>
              <a:cxn ang="f958">
                <a:pos x="f1346" y="f1347"/>
              </a:cxn>
              <a:cxn ang="f958">
                <a:pos x="f1348" y="f1349"/>
              </a:cxn>
              <a:cxn ang="f958">
                <a:pos x="f1350" y="f1347"/>
              </a:cxn>
              <a:cxn ang="f958">
                <a:pos x="f1351" y="f1352"/>
              </a:cxn>
              <a:cxn ang="f958">
                <a:pos x="f1353" y="f1354"/>
              </a:cxn>
              <a:cxn ang="f958">
                <a:pos x="f1355" y="f1356"/>
              </a:cxn>
              <a:cxn ang="f958">
                <a:pos x="f1357" y="f1358"/>
              </a:cxn>
              <a:cxn ang="f958">
                <a:pos x="f1359" y="f1360"/>
              </a:cxn>
              <a:cxn ang="f958">
                <a:pos x="f1361" y="f1260"/>
              </a:cxn>
              <a:cxn ang="f958">
                <a:pos x="f1362" y="f1363"/>
              </a:cxn>
              <a:cxn ang="f958">
                <a:pos x="f1364" y="f1365"/>
              </a:cxn>
              <a:cxn ang="f958">
                <a:pos x="f1366" y="f1365"/>
              </a:cxn>
              <a:cxn ang="f958">
                <a:pos x="f1367" y="f1368"/>
              </a:cxn>
              <a:cxn ang="f958">
                <a:pos x="f1361" y="f1257"/>
              </a:cxn>
              <a:cxn ang="f958">
                <a:pos x="f1369" y="f1370"/>
              </a:cxn>
              <a:cxn ang="f958">
                <a:pos x="f1371" y="f1358"/>
              </a:cxn>
              <a:cxn ang="f958">
                <a:pos x="f1372" y="f1373"/>
              </a:cxn>
              <a:cxn ang="f958">
                <a:pos x="f1374" y="f1375"/>
              </a:cxn>
              <a:cxn ang="f958">
                <a:pos x="f1376" y="f1377"/>
              </a:cxn>
              <a:cxn ang="f958">
                <a:pos x="f1378" y="f1379"/>
              </a:cxn>
              <a:cxn ang="f958">
                <a:pos x="f1341" y="f1300"/>
              </a:cxn>
              <a:cxn ang="f958">
                <a:pos x="f1239" y="f1300"/>
              </a:cxn>
              <a:cxn ang="f958">
                <a:pos x="f1243" y="f1247"/>
              </a:cxn>
              <a:cxn ang="f958">
                <a:pos x="f1380" y="f1234"/>
              </a:cxn>
              <a:cxn ang="f958">
                <a:pos x="f1243" y="f1303"/>
              </a:cxn>
              <a:cxn ang="f958">
                <a:pos x="f1239" y="f1304"/>
              </a:cxn>
              <a:cxn ang="f958">
                <a:pos x="f1381" y="f1303"/>
              </a:cxn>
              <a:cxn ang="f958">
                <a:pos x="f1382" y="f1234"/>
              </a:cxn>
              <a:cxn ang="f958">
                <a:pos x="f1381" y="f1247"/>
              </a:cxn>
              <a:cxn ang="f958">
                <a:pos x="f1239" y="f1300"/>
              </a:cxn>
              <a:cxn ang="f958">
                <a:pos x="f1383" y="f1300"/>
              </a:cxn>
              <a:cxn ang="f958">
                <a:pos x="f1384" y="f1385"/>
              </a:cxn>
              <a:cxn ang="f958">
                <a:pos x="f1386" y="f1387"/>
              </a:cxn>
              <a:cxn ang="f958">
                <a:pos x="f1388" y="f1387"/>
              </a:cxn>
              <a:cxn ang="f958">
                <a:pos x="f1389" y="f1390"/>
              </a:cxn>
              <a:cxn ang="f958">
                <a:pos x="f1383" y="f1230"/>
              </a:cxn>
              <a:cxn ang="f958">
                <a:pos x="f1391" y="f1232"/>
              </a:cxn>
              <a:cxn ang="f958">
                <a:pos x="f1392" y="f1234"/>
              </a:cxn>
              <a:cxn ang="f958">
                <a:pos x="f1391" y="f1235"/>
              </a:cxn>
              <a:cxn ang="f958">
                <a:pos x="f1383" y="f1257"/>
              </a:cxn>
              <a:cxn ang="f958">
                <a:pos x="f1393" y="f1235"/>
              </a:cxn>
              <a:cxn ang="f958">
                <a:pos x="f1388" y="f1365"/>
              </a:cxn>
              <a:cxn ang="f958">
                <a:pos x="f1394" y="f1365"/>
              </a:cxn>
              <a:cxn ang="f958">
                <a:pos x="f1384" y="f1303"/>
              </a:cxn>
              <a:cxn ang="f958">
                <a:pos x="f1383" y="f1304"/>
              </a:cxn>
              <a:cxn ang="f958">
                <a:pos x="f1395" y="f1303"/>
              </a:cxn>
              <a:cxn ang="f958">
                <a:pos x="f1396" y="f1234"/>
              </a:cxn>
              <a:cxn ang="f958">
                <a:pos x="f1395" y="f1247"/>
              </a:cxn>
              <a:cxn ang="f958">
                <a:pos x="f1383" y="f1300"/>
              </a:cxn>
              <a:cxn ang="f958">
                <a:pos x="f1397" y="f1398"/>
              </a:cxn>
              <a:cxn ang="f958">
                <a:pos x="f1397" y="f1399"/>
              </a:cxn>
              <a:cxn ang="f958">
                <a:pos x="f1400" y="f1399"/>
              </a:cxn>
              <a:cxn ang="f958">
                <a:pos x="f1401" y="f1402"/>
              </a:cxn>
              <a:cxn ang="f958">
                <a:pos x="f1400" y="f1398"/>
              </a:cxn>
              <a:cxn ang="f958">
                <a:pos x="f1397" y="f1398"/>
              </a:cxn>
              <a:cxn ang="f958">
                <a:pos x="f1403" y="f1404"/>
              </a:cxn>
              <a:cxn ang="f958">
                <a:pos x="f1405" y="f1404"/>
              </a:cxn>
              <a:cxn ang="f958">
                <a:pos x="f1405" y="f1406"/>
              </a:cxn>
              <a:cxn ang="f958">
                <a:pos x="f1407" y="f1406"/>
              </a:cxn>
              <a:cxn ang="f958">
                <a:pos x="f1407" y="f1408"/>
              </a:cxn>
              <a:cxn ang="f958">
                <a:pos x="f1409" y="f1408"/>
              </a:cxn>
              <a:cxn ang="f958">
                <a:pos x="f1409" y="f1406"/>
              </a:cxn>
              <a:cxn ang="f958">
                <a:pos x="f1403" y="f1406"/>
              </a:cxn>
              <a:cxn ang="f958">
                <a:pos x="f1410" y="f1404"/>
              </a:cxn>
              <a:cxn ang="f958">
                <a:pos x="f1411" y="f1404"/>
              </a:cxn>
              <a:cxn ang="f958">
                <a:pos x="f1412" y="f1413"/>
              </a:cxn>
              <a:cxn ang="f958">
                <a:pos x="f1414" y="f1415"/>
              </a:cxn>
              <a:cxn ang="f958">
                <a:pos x="f1414" y="f1404"/>
              </a:cxn>
              <a:cxn ang="f958">
                <a:pos x="f1416" y="f1404"/>
              </a:cxn>
              <a:cxn ang="f958">
                <a:pos x="f1416" y="f1408"/>
              </a:cxn>
              <a:cxn ang="f958">
                <a:pos x="f1417" y="f1408"/>
              </a:cxn>
              <a:cxn ang="f958">
                <a:pos x="f1418" y="f1419"/>
              </a:cxn>
              <a:cxn ang="f958">
                <a:pos x="f1418" y="f1408"/>
              </a:cxn>
              <a:cxn ang="f958">
                <a:pos x="f1410" y="f1408"/>
              </a:cxn>
              <a:cxn ang="f958">
                <a:pos x="f1420" y="f1404"/>
              </a:cxn>
              <a:cxn ang="f958">
                <a:pos x="f1421" y="f1404"/>
              </a:cxn>
              <a:cxn ang="f958">
                <a:pos x="f1421" y="f1422"/>
              </a:cxn>
              <a:cxn ang="f958">
                <a:pos x="f1423" y="f1422"/>
              </a:cxn>
              <a:cxn ang="f958">
                <a:pos x="f1423" y="f1424"/>
              </a:cxn>
              <a:cxn ang="f958">
                <a:pos x="f1425" y="f1424"/>
              </a:cxn>
              <a:cxn ang="f958">
                <a:pos x="f1425" y="f1426"/>
              </a:cxn>
              <a:cxn ang="f958">
                <a:pos x="f1423" y="f1426"/>
              </a:cxn>
              <a:cxn ang="f958">
                <a:pos x="f1423" y="f1427"/>
              </a:cxn>
              <a:cxn ang="f958">
                <a:pos x="f1421" y="f1427"/>
              </a:cxn>
              <a:cxn ang="f958">
                <a:pos x="f1421" y="f1408"/>
              </a:cxn>
              <a:cxn ang="f958">
                <a:pos x="f1420" y="f1408"/>
              </a:cxn>
              <a:cxn ang="f958">
                <a:pos x="f1428" y="f1404"/>
              </a:cxn>
              <a:cxn ang="f958">
                <a:pos x="f1429" y="f1404"/>
              </a:cxn>
              <a:cxn ang="f958">
                <a:pos x="f1430" y="f1431"/>
              </a:cxn>
              <a:cxn ang="f958">
                <a:pos x="f1432" y="f1404"/>
              </a:cxn>
              <a:cxn ang="f958">
                <a:pos x="f1433" y="f1404"/>
              </a:cxn>
              <a:cxn ang="f958">
                <a:pos x="f1433" y="f1408"/>
              </a:cxn>
              <a:cxn ang="f958">
                <a:pos x="f1434" y="f1408"/>
              </a:cxn>
              <a:cxn ang="f958">
                <a:pos x="f1434" y="f1435"/>
              </a:cxn>
              <a:cxn ang="f958">
                <a:pos x="f1436" y="f1437"/>
              </a:cxn>
              <a:cxn ang="f958">
                <a:pos x="f1438" y="f1437"/>
              </a:cxn>
              <a:cxn ang="f958">
                <a:pos x="f1439" y="f1440"/>
              </a:cxn>
              <a:cxn ang="f958">
                <a:pos x="f1439" y="f1408"/>
              </a:cxn>
              <a:cxn ang="f958">
                <a:pos x="f1428" y="f1408"/>
              </a:cxn>
              <a:cxn ang="f958">
                <a:pos x="f1441" y="f1404"/>
              </a:cxn>
              <a:cxn ang="f958">
                <a:pos x="f1442" y="f1404"/>
              </a:cxn>
              <a:cxn ang="f958">
                <a:pos x="f1442" y="f1422"/>
              </a:cxn>
              <a:cxn ang="f958">
                <a:pos x="f1443" y="f1422"/>
              </a:cxn>
              <a:cxn ang="f958">
                <a:pos x="f1443" y="f1424"/>
              </a:cxn>
              <a:cxn ang="f958">
                <a:pos x="f1444" y="f1424"/>
              </a:cxn>
              <a:cxn ang="f958">
                <a:pos x="f1444" y="f1426"/>
              </a:cxn>
              <a:cxn ang="f958">
                <a:pos x="f1443" y="f1426"/>
              </a:cxn>
              <a:cxn ang="f958">
                <a:pos x="f1443" y="f1427"/>
              </a:cxn>
              <a:cxn ang="f958">
                <a:pos x="f1442" y="f1427"/>
              </a:cxn>
              <a:cxn ang="f958">
                <a:pos x="f1442" y="f1408"/>
              </a:cxn>
              <a:cxn ang="f958">
                <a:pos x="f1441" y="f1408"/>
              </a:cxn>
              <a:cxn ang="f958">
                <a:pos x="f1445" y="f1404"/>
              </a:cxn>
              <a:cxn ang="f958">
                <a:pos x="f1446" y="f1404"/>
              </a:cxn>
              <a:cxn ang="f958">
                <a:pos x="f1446" y="f1447"/>
              </a:cxn>
              <a:cxn ang="f958">
                <a:pos x="f1448" y="f1447"/>
              </a:cxn>
              <a:cxn ang="f958">
                <a:pos x="f1448" y="f1408"/>
              </a:cxn>
              <a:cxn ang="f958">
                <a:pos x="f1445" y="f1408"/>
              </a:cxn>
              <a:cxn ang="f958">
                <a:pos x="f1449" y="f1404"/>
              </a:cxn>
              <a:cxn ang="f958">
                <a:pos x="f1450" y="f1404"/>
              </a:cxn>
              <a:cxn ang="f958">
                <a:pos x="f1451" y="f1452"/>
              </a:cxn>
              <a:cxn ang="f958">
                <a:pos x="f1450" y="f1453"/>
              </a:cxn>
              <a:cxn ang="f958">
                <a:pos x="f1397" y="f1453"/>
              </a:cxn>
              <a:cxn ang="f958">
                <a:pos x="f1397" y="f1408"/>
              </a:cxn>
              <a:cxn ang="f958">
                <a:pos x="f1449" y="f1408"/>
              </a:cxn>
              <a:cxn ang="f958">
                <a:pos x="f1449" y="f1404"/>
              </a:cxn>
              <a:cxn ang="f958">
                <a:pos x="f1454" y="f1404"/>
              </a:cxn>
              <a:cxn ang="f958">
                <a:pos x="f1455" y="f1404"/>
              </a:cxn>
              <a:cxn ang="f958">
                <a:pos x="f1456" y="f1431"/>
              </a:cxn>
              <a:cxn ang="f958">
                <a:pos x="f1457" y="f1404"/>
              </a:cxn>
              <a:cxn ang="f958">
                <a:pos x="f1458" y="f1404"/>
              </a:cxn>
              <a:cxn ang="f958">
                <a:pos x="f1458" y="f1408"/>
              </a:cxn>
              <a:cxn ang="f958">
                <a:pos x="f1459" y="f1408"/>
              </a:cxn>
              <a:cxn ang="f958">
                <a:pos x="f1459" y="f1435"/>
              </a:cxn>
              <a:cxn ang="f958">
                <a:pos x="f1460" y="f1437"/>
              </a:cxn>
              <a:cxn ang="f958">
                <a:pos x="f1461" y="f1437"/>
              </a:cxn>
              <a:cxn ang="f958">
                <a:pos x="f1462" y="f1440"/>
              </a:cxn>
              <a:cxn ang="f958">
                <a:pos x="f1462" y="f1408"/>
              </a:cxn>
              <a:cxn ang="f958">
                <a:pos x="f1454" y="f1408"/>
              </a:cxn>
              <a:cxn ang="f958">
                <a:pos x="f1463" y="f1404"/>
              </a:cxn>
              <a:cxn ang="f958">
                <a:pos x="f1464" y="f1404"/>
              </a:cxn>
              <a:cxn ang="f958">
                <a:pos x="f1464" y="f1408"/>
              </a:cxn>
              <a:cxn ang="f958">
                <a:pos x="f1463" y="f1408"/>
              </a:cxn>
            </a:cxnLst>
            <a:rect l="f1210" t="f1213" r="f1211" b="f1212"/>
            <a:pathLst>
              <a:path w="9905999" h="2265361">
                <a:moveTo>
                  <a:pt x="f8" y="f9"/>
                </a:moveTo>
                <a:cubicBezTo>
                  <a:pt x="f8" y="f9"/>
                  <a:pt x="f8" y="f9"/>
                  <a:pt x="f10" y="f9"/>
                </a:cubicBezTo>
                <a:lnTo>
                  <a:pt x="f10" y="f7"/>
                </a:lnTo>
                <a:cubicBezTo>
                  <a:pt x="f10" y="f7"/>
                  <a:pt x="f10" y="f7"/>
                  <a:pt x="f8" y="f7"/>
                </a:cubicBezTo>
                <a:cubicBezTo>
                  <a:pt x="f8" y="f7"/>
                  <a:pt x="f8" y="f7"/>
                  <a:pt x="f8" y="f9"/>
                </a:cubicBezTo>
                <a:close/>
                <a:moveTo>
                  <a:pt x="f11" y="f12"/>
                </a:moveTo>
                <a:cubicBezTo>
                  <a:pt x="f11" y="f12"/>
                  <a:pt x="f11" y="f12"/>
                  <a:pt x="f11" y="f13"/>
                </a:cubicBezTo>
                <a:cubicBezTo>
                  <a:pt x="f11" y="f13"/>
                  <a:pt x="f11" y="f13"/>
                  <a:pt x="f14" y="f13"/>
                </a:cubicBezTo>
                <a:cubicBezTo>
                  <a:pt x="f15" y="f13"/>
                  <a:pt x="f16" y="f17"/>
                  <a:pt x="f16" y="f18"/>
                </a:cubicBezTo>
                <a:cubicBezTo>
                  <a:pt x="f16" y="f19"/>
                  <a:pt x="f20" y="f12"/>
                  <a:pt x="f14" y="f12"/>
                </a:cubicBezTo>
                <a:cubicBezTo>
                  <a:pt x="f14" y="f12"/>
                  <a:pt x="f14" y="f12"/>
                  <a:pt x="f11" y="f12"/>
                </a:cubicBezTo>
                <a:close/>
                <a:moveTo>
                  <a:pt x="f21" y="f12"/>
                </a:moveTo>
                <a:cubicBezTo>
                  <a:pt x="f21" y="f12"/>
                  <a:pt x="f21" y="f12"/>
                  <a:pt x="f21" y="f22"/>
                </a:cubicBezTo>
                <a:cubicBezTo>
                  <a:pt x="f21" y="f22"/>
                  <a:pt x="f21" y="f22"/>
                  <a:pt x="f23" y="f22"/>
                </a:cubicBezTo>
                <a:cubicBezTo>
                  <a:pt x="f24" y="f22"/>
                  <a:pt x="f25" y="f26"/>
                  <a:pt x="f25" y="f27"/>
                </a:cubicBezTo>
                <a:cubicBezTo>
                  <a:pt x="f25" y="f28"/>
                  <a:pt x="f24" y="f12"/>
                  <a:pt x="f23" y="f12"/>
                </a:cubicBezTo>
                <a:cubicBezTo>
                  <a:pt x="f23" y="f12"/>
                  <a:pt x="f23" y="f12"/>
                  <a:pt x="f21" y="f12"/>
                </a:cubicBezTo>
                <a:close/>
                <a:moveTo>
                  <a:pt x="f29" y="f30"/>
                </a:moveTo>
                <a:cubicBezTo>
                  <a:pt x="f31" y="f30"/>
                  <a:pt x="f32" y="f33"/>
                  <a:pt x="f34" y="f19"/>
                </a:cubicBezTo>
                <a:cubicBezTo>
                  <a:pt x="f35" y="f36"/>
                  <a:pt x="f37" y="f38"/>
                  <a:pt x="f37" y="f39"/>
                </a:cubicBezTo>
                <a:cubicBezTo>
                  <a:pt x="f37" y="f40"/>
                  <a:pt x="f35" y="f41"/>
                  <a:pt x="f34" y="f42"/>
                </a:cubicBezTo>
                <a:cubicBezTo>
                  <a:pt x="f32" y="f43"/>
                  <a:pt x="f31" y="f44"/>
                  <a:pt x="f29" y="f44"/>
                </a:cubicBezTo>
                <a:cubicBezTo>
                  <a:pt x="f45" y="f44"/>
                  <a:pt x="f46" y="f43"/>
                  <a:pt x="f47" y="f42"/>
                </a:cubicBezTo>
                <a:cubicBezTo>
                  <a:pt x="f48" y="f41"/>
                  <a:pt x="f49" y="f40"/>
                  <a:pt x="f49" y="f39"/>
                </a:cubicBezTo>
                <a:cubicBezTo>
                  <a:pt x="f49" y="f38"/>
                  <a:pt x="f48" y="f36"/>
                  <a:pt x="f47" y="f19"/>
                </a:cubicBezTo>
                <a:cubicBezTo>
                  <a:pt x="f46" y="f33"/>
                  <a:pt x="f45" y="f30"/>
                  <a:pt x="f29" y="f30"/>
                </a:cubicBezTo>
                <a:close/>
                <a:moveTo>
                  <a:pt x="f50" y="f30"/>
                </a:moveTo>
                <a:cubicBezTo>
                  <a:pt x="f51" y="f30"/>
                  <a:pt x="f52" y="f33"/>
                  <a:pt x="f53" y="f19"/>
                </a:cubicBezTo>
                <a:cubicBezTo>
                  <a:pt x="f54" y="f36"/>
                  <a:pt x="f55" y="f38"/>
                  <a:pt x="f55" y="f39"/>
                </a:cubicBezTo>
                <a:cubicBezTo>
                  <a:pt x="f55" y="f40"/>
                  <a:pt x="f54" y="f41"/>
                  <a:pt x="f53" y="f42"/>
                </a:cubicBezTo>
                <a:cubicBezTo>
                  <a:pt x="f52" y="f43"/>
                  <a:pt x="f51" y="f44"/>
                  <a:pt x="f50" y="f44"/>
                </a:cubicBezTo>
                <a:cubicBezTo>
                  <a:pt x="f56" y="f44"/>
                  <a:pt x="f57" y="f43"/>
                  <a:pt x="f58" y="f42"/>
                </a:cubicBezTo>
                <a:cubicBezTo>
                  <a:pt x="f59" y="f41"/>
                  <a:pt x="f60" y="f40"/>
                  <a:pt x="f60" y="f39"/>
                </a:cubicBezTo>
                <a:cubicBezTo>
                  <a:pt x="f60" y="f38"/>
                  <a:pt x="f59" y="f36"/>
                  <a:pt x="f58" y="f19"/>
                </a:cubicBezTo>
                <a:cubicBezTo>
                  <a:pt x="f57" y="f33"/>
                  <a:pt x="f56" y="f30"/>
                  <a:pt x="f50" y="f30"/>
                </a:cubicBezTo>
                <a:close/>
                <a:moveTo>
                  <a:pt x="f61" y="f62"/>
                </a:moveTo>
                <a:cubicBezTo>
                  <a:pt x="f61" y="f62"/>
                  <a:pt x="f61" y="f62"/>
                  <a:pt x="f14" y="f62"/>
                </a:cubicBezTo>
                <a:cubicBezTo>
                  <a:pt x="f63" y="f62"/>
                  <a:pt x="f16" y="f64"/>
                  <a:pt x="f65" y="f66"/>
                </a:cubicBezTo>
                <a:cubicBezTo>
                  <a:pt x="f67" y="f68"/>
                  <a:pt x="f69" y="f70"/>
                  <a:pt x="f69" y="f18"/>
                </a:cubicBezTo>
                <a:cubicBezTo>
                  <a:pt x="f69" y="f71"/>
                  <a:pt x="f67" y="f72"/>
                  <a:pt x="f73" y="f74"/>
                </a:cubicBezTo>
                <a:cubicBezTo>
                  <a:pt x="f75" y="f76"/>
                  <a:pt x="f77" y="f78"/>
                  <a:pt x="f79" y="f78"/>
                </a:cubicBezTo>
                <a:cubicBezTo>
                  <a:pt x="f79" y="f78"/>
                  <a:pt x="f79" y="f78"/>
                  <a:pt x="f11" y="f78"/>
                </a:cubicBezTo>
                <a:cubicBezTo>
                  <a:pt x="f11" y="f78"/>
                  <a:pt x="f11" y="f78"/>
                  <a:pt x="f11" y="f9"/>
                </a:cubicBezTo>
                <a:cubicBezTo>
                  <a:pt x="f11" y="f9"/>
                  <a:pt x="f11" y="f9"/>
                  <a:pt x="f61" y="f9"/>
                </a:cubicBezTo>
                <a:cubicBezTo>
                  <a:pt x="f61" y="f9"/>
                  <a:pt x="f61" y="f9"/>
                  <a:pt x="f61" y="f62"/>
                </a:cubicBezTo>
                <a:close/>
                <a:moveTo>
                  <a:pt x="f80" y="f62"/>
                </a:moveTo>
                <a:cubicBezTo>
                  <a:pt x="f80" y="f62"/>
                  <a:pt x="f80" y="f62"/>
                  <a:pt x="f81" y="f62"/>
                </a:cubicBezTo>
                <a:cubicBezTo>
                  <a:pt x="f81" y="f62"/>
                  <a:pt x="f81" y="f62"/>
                  <a:pt x="f81" y="f82"/>
                </a:cubicBezTo>
                <a:cubicBezTo>
                  <a:pt x="f81" y="f83"/>
                  <a:pt x="f84" y="f85"/>
                  <a:pt x="f86" y="f85"/>
                </a:cubicBezTo>
                <a:cubicBezTo>
                  <a:pt x="f87" y="f85"/>
                  <a:pt x="f88" y="f83"/>
                  <a:pt x="f88" y="f82"/>
                </a:cubicBezTo>
                <a:cubicBezTo>
                  <a:pt x="f88" y="f82"/>
                  <a:pt x="f88" y="f82"/>
                  <a:pt x="f88" y="f62"/>
                </a:cubicBezTo>
                <a:cubicBezTo>
                  <a:pt x="f88" y="f62"/>
                  <a:pt x="f88" y="f62"/>
                  <a:pt x="f89" y="f62"/>
                </a:cubicBezTo>
                <a:cubicBezTo>
                  <a:pt x="f89" y="f62"/>
                  <a:pt x="f89" y="f62"/>
                  <a:pt x="f89" y="f82"/>
                </a:cubicBezTo>
                <a:cubicBezTo>
                  <a:pt x="f89" y="f90"/>
                  <a:pt x="f91" y="f92"/>
                  <a:pt x="f86" y="f92"/>
                </a:cubicBezTo>
                <a:cubicBezTo>
                  <a:pt x="f93" y="f92"/>
                  <a:pt x="f80" y="f90"/>
                  <a:pt x="f80" y="f82"/>
                </a:cubicBezTo>
                <a:cubicBezTo>
                  <a:pt x="f80" y="f82"/>
                  <a:pt x="f80" y="f82"/>
                  <a:pt x="f80" y="f62"/>
                </a:cubicBezTo>
                <a:close/>
                <a:moveTo>
                  <a:pt x="f94" y="f62"/>
                </a:moveTo>
                <a:cubicBezTo>
                  <a:pt x="f94" y="f62"/>
                  <a:pt x="f94" y="f62"/>
                  <a:pt x="f23" y="f62"/>
                </a:cubicBezTo>
                <a:cubicBezTo>
                  <a:pt x="f24" y="f62"/>
                  <a:pt x="f95" y="f64"/>
                  <a:pt x="f96" y="f66"/>
                </a:cubicBezTo>
                <a:cubicBezTo>
                  <a:pt x="f97" y="f68"/>
                  <a:pt x="f98" y="f99"/>
                  <a:pt x="f98" y="f27"/>
                </a:cubicBezTo>
                <a:cubicBezTo>
                  <a:pt x="f98" y="f100"/>
                  <a:pt x="f97" y="f101"/>
                  <a:pt x="f96" y="f102"/>
                </a:cubicBezTo>
                <a:cubicBezTo>
                  <a:pt x="f103" y="f104"/>
                  <a:pt x="f105" y="f106"/>
                  <a:pt x="f107" y="f108"/>
                </a:cubicBezTo>
                <a:cubicBezTo>
                  <a:pt x="f107" y="f108"/>
                  <a:pt x="f107" y="f108"/>
                  <a:pt x="f109" y="f9"/>
                </a:cubicBezTo>
                <a:lnTo>
                  <a:pt x="f95" y="f9"/>
                </a:lnTo>
                <a:cubicBezTo>
                  <a:pt x="f95" y="f9"/>
                  <a:pt x="f95" y="f9"/>
                  <a:pt x="f110" y="f111"/>
                </a:cubicBezTo>
                <a:cubicBezTo>
                  <a:pt x="f110" y="f111"/>
                  <a:pt x="f110" y="f111"/>
                  <a:pt x="f21" y="f111"/>
                </a:cubicBezTo>
                <a:cubicBezTo>
                  <a:pt x="f21" y="f111"/>
                  <a:pt x="f21" y="f111"/>
                  <a:pt x="f21" y="f9"/>
                </a:cubicBezTo>
                <a:cubicBezTo>
                  <a:pt x="f21" y="f9"/>
                  <a:pt x="f21" y="f9"/>
                  <a:pt x="f94" y="f9"/>
                </a:cubicBezTo>
                <a:cubicBezTo>
                  <a:pt x="f94" y="f9"/>
                  <a:pt x="f94" y="f9"/>
                  <a:pt x="f94" y="f62"/>
                </a:cubicBezTo>
                <a:close/>
                <a:moveTo>
                  <a:pt x="f112" y="f62"/>
                </a:moveTo>
                <a:cubicBezTo>
                  <a:pt x="f112" y="f62"/>
                  <a:pt x="f112" y="f62"/>
                  <a:pt x="f113" y="f62"/>
                </a:cubicBezTo>
                <a:cubicBezTo>
                  <a:pt x="f113" y="f62"/>
                  <a:pt x="f113" y="f62"/>
                  <a:pt x="f114" y="f115"/>
                </a:cubicBezTo>
                <a:cubicBezTo>
                  <a:pt x="f114" y="f115"/>
                  <a:pt x="f114" y="f115"/>
                  <a:pt x="f114" y="f62"/>
                </a:cubicBezTo>
                <a:cubicBezTo>
                  <a:pt x="f114" y="f62"/>
                  <a:pt x="f114" y="f62"/>
                  <a:pt x="f116" y="f62"/>
                </a:cubicBezTo>
                <a:cubicBezTo>
                  <a:pt x="f116" y="f62"/>
                  <a:pt x="f116" y="f62"/>
                  <a:pt x="f116" y="f9"/>
                </a:cubicBezTo>
                <a:lnTo>
                  <a:pt x="f117" y="f9"/>
                </a:lnTo>
                <a:cubicBezTo>
                  <a:pt x="f117" y="f9"/>
                  <a:pt x="f117" y="f9"/>
                  <a:pt x="f118" y="f119"/>
                </a:cubicBezTo>
                <a:cubicBezTo>
                  <a:pt x="f118" y="f119"/>
                  <a:pt x="f118" y="f119"/>
                  <a:pt x="f118" y="f9"/>
                </a:cubicBezTo>
                <a:cubicBezTo>
                  <a:pt x="f118" y="f9"/>
                  <a:pt x="f118" y="f9"/>
                  <a:pt x="f112" y="f9"/>
                </a:cubicBezTo>
                <a:cubicBezTo>
                  <a:pt x="f112" y="f9"/>
                  <a:pt x="f112" y="f9"/>
                  <a:pt x="f112" y="f62"/>
                </a:cubicBezTo>
                <a:close/>
                <a:moveTo>
                  <a:pt x="f120" y="f62"/>
                </a:moveTo>
                <a:cubicBezTo>
                  <a:pt x="f120" y="f62"/>
                  <a:pt x="f120" y="f62"/>
                  <a:pt x="f121" y="f62"/>
                </a:cubicBezTo>
                <a:lnTo>
                  <a:pt x="f121" y="f9"/>
                </a:lnTo>
                <a:cubicBezTo>
                  <a:pt x="f121" y="f9"/>
                  <a:pt x="f121" y="f9"/>
                  <a:pt x="f120" y="f9"/>
                </a:cubicBezTo>
                <a:cubicBezTo>
                  <a:pt x="f120" y="f9"/>
                  <a:pt x="f120" y="f9"/>
                  <a:pt x="f120" y="f62"/>
                </a:cubicBezTo>
                <a:close/>
                <a:moveTo>
                  <a:pt x="f122" y="f62"/>
                </a:moveTo>
                <a:cubicBezTo>
                  <a:pt x="f122" y="f62"/>
                  <a:pt x="f122" y="f62"/>
                  <a:pt x="f123" y="f62"/>
                </a:cubicBezTo>
                <a:cubicBezTo>
                  <a:pt x="f123" y="f62"/>
                  <a:pt x="f123" y="f62"/>
                  <a:pt x="f123" y="f12"/>
                </a:cubicBezTo>
                <a:lnTo>
                  <a:pt x="f124" y="f12"/>
                </a:lnTo>
                <a:cubicBezTo>
                  <a:pt x="f124" y="f12"/>
                  <a:pt x="f124" y="f12"/>
                  <a:pt x="f124" y="f9"/>
                </a:cubicBezTo>
                <a:cubicBezTo>
                  <a:pt x="f124" y="f9"/>
                  <a:pt x="f124" y="f9"/>
                  <a:pt x="f125" y="f9"/>
                </a:cubicBezTo>
                <a:cubicBezTo>
                  <a:pt x="f125" y="f9"/>
                  <a:pt x="f125" y="f9"/>
                  <a:pt x="f125" y="f12"/>
                </a:cubicBezTo>
                <a:cubicBezTo>
                  <a:pt x="f125" y="f12"/>
                  <a:pt x="f125" y="f12"/>
                  <a:pt x="f122" y="f12"/>
                </a:cubicBezTo>
                <a:cubicBezTo>
                  <a:pt x="f122" y="f12"/>
                  <a:pt x="f122" y="f12"/>
                  <a:pt x="f122" y="f62"/>
                </a:cubicBezTo>
                <a:close/>
                <a:moveTo>
                  <a:pt x="f126" y="f62"/>
                </a:moveTo>
                <a:cubicBezTo>
                  <a:pt x="f126" y="f62"/>
                  <a:pt x="f126" y="f62"/>
                  <a:pt x="f127" y="f62"/>
                </a:cubicBezTo>
                <a:cubicBezTo>
                  <a:pt x="f127" y="f62"/>
                  <a:pt x="f127" y="f62"/>
                  <a:pt x="f127" y="f90"/>
                </a:cubicBezTo>
                <a:cubicBezTo>
                  <a:pt x="f127" y="f90"/>
                  <a:pt x="f127" y="f90"/>
                  <a:pt x="f128" y="f90"/>
                </a:cubicBezTo>
                <a:cubicBezTo>
                  <a:pt x="f128" y="f90"/>
                  <a:pt x="f128" y="f90"/>
                  <a:pt x="f128" y="f9"/>
                </a:cubicBezTo>
                <a:lnTo>
                  <a:pt x="f126" y="f9"/>
                </a:lnTo>
                <a:cubicBezTo>
                  <a:pt x="f126" y="f9"/>
                  <a:pt x="f126" y="f9"/>
                  <a:pt x="f126" y="f62"/>
                </a:cubicBezTo>
                <a:close/>
                <a:moveTo>
                  <a:pt x="f129" y="f62"/>
                </a:moveTo>
                <a:cubicBezTo>
                  <a:pt x="f129" y="f62"/>
                  <a:pt x="f129" y="f62"/>
                  <a:pt x="f130" y="f62"/>
                </a:cubicBezTo>
                <a:cubicBezTo>
                  <a:pt x="f130" y="f62"/>
                  <a:pt x="f130" y="f62"/>
                  <a:pt x="f130" y="f82"/>
                </a:cubicBezTo>
                <a:cubicBezTo>
                  <a:pt x="f130" y="f83"/>
                  <a:pt x="f131" y="f85"/>
                  <a:pt x="f132" y="f85"/>
                </a:cubicBezTo>
                <a:cubicBezTo>
                  <a:pt x="f133" y="f85"/>
                  <a:pt x="f134" y="f83"/>
                  <a:pt x="f134" y="f82"/>
                </a:cubicBezTo>
                <a:cubicBezTo>
                  <a:pt x="f134" y="f82"/>
                  <a:pt x="f134" y="f82"/>
                  <a:pt x="f134" y="f62"/>
                </a:cubicBezTo>
                <a:cubicBezTo>
                  <a:pt x="f134" y="f62"/>
                  <a:pt x="f134" y="f62"/>
                  <a:pt x="f135" y="f62"/>
                </a:cubicBezTo>
                <a:cubicBezTo>
                  <a:pt x="f135" y="f62"/>
                  <a:pt x="f135" y="f62"/>
                  <a:pt x="f135" y="f82"/>
                </a:cubicBezTo>
                <a:cubicBezTo>
                  <a:pt x="f135" y="f90"/>
                  <a:pt x="f136" y="f92"/>
                  <a:pt x="f132" y="f92"/>
                </a:cubicBezTo>
                <a:cubicBezTo>
                  <a:pt x="f137" y="f92"/>
                  <a:pt x="f129" y="f90"/>
                  <a:pt x="f129" y="f82"/>
                </a:cubicBezTo>
                <a:cubicBezTo>
                  <a:pt x="f129" y="f82"/>
                  <a:pt x="f129" y="f82"/>
                  <a:pt x="f129" y="f62"/>
                </a:cubicBezTo>
                <a:close/>
                <a:moveTo>
                  <a:pt x="f138" y="f62"/>
                </a:moveTo>
                <a:cubicBezTo>
                  <a:pt x="f138" y="f62"/>
                  <a:pt x="f138" y="f62"/>
                  <a:pt x="f139" y="f62"/>
                </a:cubicBezTo>
                <a:cubicBezTo>
                  <a:pt x="f139" y="f62"/>
                  <a:pt x="f139" y="f62"/>
                  <a:pt x="f140" y="f115"/>
                </a:cubicBezTo>
                <a:cubicBezTo>
                  <a:pt x="f140" y="f115"/>
                  <a:pt x="f140" y="f115"/>
                  <a:pt x="f140" y="f62"/>
                </a:cubicBezTo>
                <a:cubicBezTo>
                  <a:pt x="f140" y="f62"/>
                  <a:pt x="f140" y="f62"/>
                  <a:pt x="f141" y="f62"/>
                </a:cubicBezTo>
                <a:cubicBezTo>
                  <a:pt x="f141" y="f62"/>
                  <a:pt x="f141" y="f62"/>
                  <a:pt x="f141" y="f9"/>
                </a:cubicBezTo>
                <a:lnTo>
                  <a:pt x="f142" y="f9"/>
                </a:lnTo>
                <a:cubicBezTo>
                  <a:pt x="f142" y="f9"/>
                  <a:pt x="f142" y="f9"/>
                  <a:pt x="f143" y="f119"/>
                </a:cubicBezTo>
                <a:cubicBezTo>
                  <a:pt x="f143" y="f119"/>
                  <a:pt x="f143" y="f119"/>
                  <a:pt x="f143" y="f9"/>
                </a:cubicBezTo>
                <a:cubicBezTo>
                  <a:pt x="f143" y="f9"/>
                  <a:pt x="f143" y="f9"/>
                  <a:pt x="f138" y="f9"/>
                </a:cubicBezTo>
                <a:cubicBezTo>
                  <a:pt x="f138" y="f9"/>
                  <a:pt x="f138" y="f9"/>
                  <a:pt x="f138" y="f62"/>
                </a:cubicBezTo>
                <a:close/>
                <a:moveTo>
                  <a:pt x="f29" y="f144"/>
                </a:moveTo>
                <a:cubicBezTo>
                  <a:pt x="f145" y="f144"/>
                  <a:pt x="f146" y="f147"/>
                  <a:pt x="f148" y="f66"/>
                </a:cubicBezTo>
                <a:cubicBezTo>
                  <a:pt x="f149" y="f119"/>
                  <a:pt x="f150" y="f151"/>
                  <a:pt x="f150" y="f39"/>
                </a:cubicBezTo>
                <a:cubicBezTo>
                  <a:pt x="f150" y="f152"/>
                  <a:pt x="f149" y="f115"/>
                  <a:pt x="f148" y="f153"/>
                </a:cubicBezTo>
                <a:cubicBezTo>
                  <a:pt x="f146" y="f154"/>
                  <a:pt x="f145" y="f155"/>
                  <a:pt x="f29" y="f155"/>
                </a:cubicBezTo>
                <a:cubicBezTo>
                  <a:pt x="f156" y="f155"/>
                  <a:pt x="f157" y="f154"/>
                  <a:pt x="f37" y="f153"/>
                </a:cubicBezTo>
                <a:cubicBezTo>
                  <a:pt x="f158" y="f115"/>
                  <a:pt x="f159" y="f152"/>
                  <a:pt x="f159" y="f39"/>
                </a:cubicBezTo>
                <a:cubicBezTo>
                  <a:pt x="f159" y="f151"/>
                  <a:pt x="f158" y="f119"/>
                  <a:pt x="f37" y="f66"/>
                </a:cubicBezTo>
                <a:cubicBezTo>
                  <a:pt x="f157" y="f147"/>
                  <a:pt x="f156" y="f144"/>
                  <a:pt x="f29" y="f144"/>
                </a:cubicBezTo>
                <a:close/>
                <a:moveTo>
                  <a:pt x="f160" y="f144"/>
                </a:moveTo>
                <a:cubicBezTo>
                  <a:pt x="f161" y="f144"/>
                  <a:pt x="f162" y="f163"/>
                  <a:pt x="f164" y="f165"/>
                </a:cubicBezTo>
                <a:cubicBezTo>
                  <a:pt x="f166" y="f167"/>
                  <a:pt x="f168" y="f169"/>
                  <a:pt x="f170" y="f27"/>
                </a:cubicBezTo>
                <a:cubicBezTo>
                  <a:pt x="f170" y="f27"/>
                  <a:pt x="f170" y="f27"/>
                  <a:pt x="f171" y="f27"/>
                </a:cubicBezTo>
                <a:cubicBezTo>
                  <a:pt x="f172" y="f173"/>
                  <a:pt x="f174" y="f175"/>
                  <a:pt x="f176" y="f177"/>
                </a:cubicBezTo>
                <a:cubicBezTo>
                  <a:pt x="f178" y="f179"/>
                  <a:pt x="f180" y="f30"/>
                  <a:pt x="f160" y="f30"/>
                </a:cubicBezTo>
                <a:cubicBezTo>
                  <a:pt x="f181" y="f30"/>
                  <a:pt x="f182" y="f33"/>
                  <a:pt x="f183" y="f19"/>
                </a:cubicBezTo>
                <a:cubicBezTo>
                  <a:pt x="f184" y="f36"/>
                  <a:pt x="f185" y="f38"/>
                  <a:pt x="f185" y="f39"/>
                </a:cubicBezTo>
                <a:cubicBezTo>
                  <a:pt x="f185" y="f186"/>
                  <a:pt x="f184" y="f187"/>
                  <a:pt x="f188" y="f189"/>
                </a:cubicBezTo>
                <a:cubicBezTo>
                  <a:pt x="f190" y="f191"/>
                  <a:pt x="f181" y="f85"/>
                  <a:pt x="f160" y="f85"/>
                </a:cubicBezTo>
                <a:cubicBezTo>
                  <a:pt x="f192" y="f85"/>
                  <a:pt x="f193" y="f43"/>
                  <a:pt x="f194" y="f195"/>
                </a:cubicBezTo>
                <a:cubicBezTo>
                  <a:pt x="f196" y="f197"/>
                  <a:pt x="f198" y="f199"/>
                  <a:pt x="f198" y="f200"/>
                </a:cubicBezTo>
                <a:cubicBezTo>
                  <a:pt x="f198" y="f200"/>
                  <a:pt x="f198" y="f200"/>
                  <a:pt x="f160" y="f200"/>
                </a:cubicBezTo>
                <a:cubicBezTo>
                  <a:pt x="f160" y="f200"/>
                  <a:pt x="f160" y="f200"/>
                  <a:pt x="f160" y="f201"/>
                </a:cubicBezTo>
                <a:cubicBezTo>
                  <a:pt x="f160" y="f201"/>
                  <a:pt x="f160" y="f201"/>
                  <a:pt x="f202" y="f201"/>
                </a:cubicBezTo>
                <a:cubicBezTo>
                  <a:pt x="f202" y="f201"/>
                  <a:pt x="f202" y="f201"/>
                  <a:pt x="f202" y="f9"/>
                </a:cubicBezTo>
                <a:lnTo>
                  <a:pt x="f203" y="f9"/>
                </a:lnTo>
                <a:cubicBezTo>
                  <a:pt x="f203" y="f9"/>
                  <a:pt x="f203" y="f9"/>
                  <a:pt x="f204" y="f191"/>
                </a:cubicBezTo>
                <a:cubicBezTo>
                  <a:pt x="f174" y="f205"/>
                  <a:pt x="f161" y="f155"/>
                  <a:pt x="f160" y="f155"/>
                </a:cubicBezTo>
                <a:cubicBezTo>
                  <a:pt x="f206" y="f155"/>
                  <a:pt x="f207" y="f208"/>
                  <a:pt x="f185" y="f209"/>
                </a:cubicBezTo>
                <a:cubicBezTo>
                  <a:pt x="f210" y="f211"/>
                  <a:pt x="f212" y="f213"/>
                  <a:pt x="f212" y="f39"/>
                </a:cubicBezTo>
                <a:cubicBezTo>
                  <a:pt x="f212" y="f151"/>
                  <a:pt x="f214" y="f119"/>
                  <a:pt x="f185" y="f66"/>
                </a:cubicBezTo>
                <a:cubicBezTo>
                  <a:pt x="f207" y="f147"/>
                  <a:pt x="f206" y="f144"/>
                  <a:pt x="f160" y="f144"/>
                </a:cubicBezTo>
                <a:close/>
                <a:moveTo>
                  <a:pt x="f215" y="f144"/>
                </a:moveTo>
                <a:cubicBezTo>
                  <a:pt x="f216" y="f144"/>
                  <a:pt x="f217" y="f163"/>
                  <a:pt x="f218" y="f165"/>
                </a:cubicBezTo>
                <a:cubicBezTo>
                  <a:pt x="f219" y="f167"/>
                  <a:pt x="f220" y="f169"/>
                  <a:pt x="f221" y="f27"/>
                </a:cubicBezTo>
                <a:cubicBezTo>
                  <a:pt x="f221" y="f27"/>
                  <a:pt x="f221" y="f27"/>
                  <a:pt x="f222" y="f27"/>
                </a:cubicBezTo>
                <a:cubicBezTo>
                  <a:pt x="f223" y="f173"/>
                  <a:pt x="f224" y="f175"/>
                  <a:pt x="f225" y="f177"/>
                </a:cubicBezTo>
                <a:cubicBezTo>
                  <a:pt x="f226" y="f179"/>
                  <a:pt x="f227" y="f30"/>
                  <a:pt x="f215" y="f30"/>
                </a:cubicBezTo>
                <a:cubicBezTo>
                  <a:pt x="f228" y="f30"/>
                  <a:pt x="f229" y="f33"/>
                  <a:pt x="f230" y="f19"/>
                </a:cubicBezTo>
                <a:cubicBezTo>
                  <a:pt x="f231" y="f36"/>
                  <a:pt x="f232" y="f38"/>
                  <a:pt x="f232" y="f39"/>
                </a:cubicBezTo>
                <a:cubicBezTo>
                  <a:pt x="f232" y="f186"/>
                  <a:pt x="f231" y="f187"/>
                  <a:pt x="f230" y="f189"/>
                </a:cubicBezTo>
                <a:cubicBezTo>
                  <a:pt x="f229" y="f191"/>
                  <a:pt x="f228" y="f85"/>
                  <a:pt x="f215" y="f85"/>
                </a:cubicBezTo>
                <a:cubicBezTo>
                  <a:pt x="f233" y="f85"/>
                  <a:pt x="f234" y="f43"/>
                  <a:pt x="f235" y="f195"/>
                </a:cubicBezTo>
                <a:cubicBezTo>
                  <a:pt x="f236" y="f197"/>
                  <a:pt x="f237" y="f199"/>
                  <a:pt x="f237" y="f200"/>
                </a:cubicBezTo>
                <a:cubicBezTo>
                  <a:pt x="f237" y="f200"/>
                  <a:pt x="f237" y="f200"/>
                  <a:pt x="f215" y="f200"/>
                </a:cubicBezTo>
                <a:cubicBezTo>
                  <a:pt x="f215" y="f200"/>
                  <a:pt x="f215" y="f200"/>
                  <a:pt x="f215" y="f201"/>
                </a:cubicBezTo>
                <a:cubicBezTo>
                  <a:pt x="f215" y="f201"/>
                  <a:pt x="f215" y="f201"/>
                  <a:pt x="f238" y="f201"/>
                </a:cubicBezTo>
                <a:cubicBezTo>
                  <a:pt x="f238" y="f201"/>
                  <a:pt x="f238" y="f201"/>
                  <a:pt x="f238" y="f9"/>
                </a:cubicBezTo>
                <a:lnTo>
                  <a:pt x="f239" y="f9"/>
                </a:lnTo>
                <a:cubicBezTo>
                  <a:pt x="f239" y="f9"/>
                  <a:pt x="f239" y="f9"/>
                  <a:pt x="f240" y="f191"/>
                </a:cubicBezTo>
                <a:cubicBezTo>
                  <a:pt x="f241" y="f205"/>
                  <a:pt x="f216" y="f155"/>
                  <a:pt x="f215" y="f155"/>
                </a:cubicBezTo>
                <a:cubicBezTo>
                  <a:pt x="f242" y="f155"/>
                  <a:pt x="f243" y="f208"/>
                  <a:pt x="f232" y="f209"/>
                </a:cubicBezTo>
                <a:cubicBezTo>
                  <a:pt x="f244" y="f211"/>
                  <a:pt x="f245" y="f213"/>
                  <a:pt x="f245" y="f39"/>
                </a:cubicBezTo>
                <a:cubicBezTo>
                  <a:pt x="f245" y="f151"/>
                  <a:pt x="f246" y="f119"/>
                  <a:pt x="f232" y="f66"/>
                </a:cubicBezTo>
                <a:cubicBezTo>
                  <a:pt x="f243" y="f147"/>
                  <a:pt x="f242" y="f144"/>
                  <a:pt x="f215" y="f144"/>
                </a:cubicBezTo>
                <a:close/>
                <a:moveTo>
                  <a:pt x="f247" y="f144"/>
                </a:moveTo>
                <a:cubicBezTo>
                  <a:pt x="f248" y="f144"/>
                  <a:pt x="f249" y="f250"/>
                  <a:pt x="f251" y="f252"/>
                </a:cubicBezTo>
                <a:cubicBezTo>
                  <a:pt x="f253" y="f254"/>
                  <a:pt x="f255" y="f169"/>
                  <a:pt x="f256" y="f27"/>
                </a:cubicBezTo>
                <a:cubicBezTo>
                  <a:pt x="f256" y="f27"/>
                  <a:pt x="f256" y="f27"/>
                  <a:pt x="f257" y="f27"/>
                </a:cubicBezTo>
                <a:cubicBezTo>
                  <a:pt x="f258" y="f173"/>
                  <a:pt x="f259" y="f260"/>
                  <a:pt x="f261" y="f262"/>
                </a:cubicBezTo>
                <a:cubicBezTo>
                  <a:pt x="f263" y="f179"/>
                  <a:pt x="f264" y="f265"/>
                  <a:pt x="f266" y="f265"/>
                </a:cubicBezTo>
                <a:cubicBezTo>
                  <a:pt x="f267" y="f265"/>
                  <a:pt x="f268" y="f12"/>
                  <a:pt x="f269" y="f262"/>
                </a:cubicBezTo>
                <a:cubicBezTo>
                  <a:pt x="f270" y="f119"/>
                  <a:pt x="f271" y="f272"/>
                  <a:pt x="f271" y="f273"/>
                </a:cubicBezTo>
                <a:cubicBezTo>
                  <a:pt x="f271" y="f274"/>
                  <a:pt x="f275" y="f276"/>
                  <a:pt x="f277" y="f278"/>
                </a:cubicBezTo>
                <a:cubicBezTo>
                  <a:pt x="f279" y="f280"/>
                  <a:pt x="f281" y="f282"/>
                  <a:pt x="f248" y="f101"/>
                </a:cubicBezTo>
                <a:cubicBezTo>
                  <a:pt x="f251" y="f22"/>
                  <a:pt x="f283" y="f284"/>
                  <a:pt x="f283" y="f285"/>
                </a:cubicBezTo>
                <a:cubicBezTo>
                  <a:pt x="f283" y="f286"/>
                  <a:pt x="f287" y="f288"/>
                  <a:pt x="f289" y="f290"/>
                </a:cubicBezTo>
                <a:cubicBezTo>
                  <a:pt x="f258" y="f208"/>
                  <a:pt x="f291" y="f92"/>
                  <a:pt x="f292" y="f92"/>
                </a:cubicBezTo>
                <a:cubicBezTo>
                  <a:pt x="f293" y="f92"/>
                  <a:pt x="f294" y="f208"/>
                  <a:pt x="f295" y="f296"/>
                </a:cubicBezTo>
                <a:cubicBezTo>
                  <a:pt x="f297" y="f298"/>
                  <a:pt x="f299" y="f300"/>
                  <a:pt x="f299" y="f301"/>
                </a:cubicBezTo>
                <a:cubicBezTo>
                  <a:pt x="f299" y="f301"/>
                  <a:pt x="f299" y="f301"/>
                  <a:pt x="f302" y="f301"/>
                </a:cubicBezTo>
                <a:cubicBezTo>
                  <a:pt x="f302" y="f187"/>
                  <a:pt x="f303" y="f304"/>
                  <a:pt x="f305" y="f306"/>
                </a:cubicBezTo>
                <a:cubicBezTo>
                  <a:pt x="f307" y="f90"/>
                  <a:pt x="f308" y="f85"/>
                  <a:pt x="f292" y="f85"/>
                </a:cubicBezTo>
                <a:cubicBezTo>
                  <a:pt x="f309" y="f85"/>
                  <a:pt x="f310" y="f311"/>
                  <a:pt x="f312" y="f313"/>
                </a:cubicBezTo>
                <a:cubicBezTo>
                  <a:pt x="f258" y="f211"/>
                  <a:pt x="f314" y="f300"/>
                  <a:pt x="f314" y="f285"/>
                </a:cubicBezTo>
                <a:cubicBezTo>
                  <a:pt x="f314" y="f315"/>
                  <a:pt x="f249" y="f111"/>
                  <a:pt x="f264" y="f284"/>
                </a:cubicBezTo>
                <a:cubicBezTo>
                  <a:pt x="f264" y="f284"/>
                  <a:pt x="f264" y="f284"/>
                  <a:pt x="f316" y="f317"/>
                </a:cubicBezTo>
                <a:cubicBezTo>
                  <a:pt x="f318" y="f104"/>
                  <a:pt x="f319" y="f17"/>
                  <a:pt x="f319" y="f320"/>
                </a:cubicBezTo>
                <a:cubicBezTo>
                  <a:pt x="f319" y="f99"/>
                  <a:pt x="f321" y="f322"/>
                  <a:pt x="f323" y="f324"/>
                </a:cubicBezTo>
                <a:cubicBezTo>
                  <a:pt x="f325" y="f250"/>
                  <a:pt x="f326" y="f144"/>
                  <a:pt x="f247" y="f144"/>
                </a:cubicBezTo>
                <a:close/>
                <a:moveTo>
                  <a:pt x="f50" y="f144"/>
                </a:moveTo>
                <a:cubicBezTo>
                  <a:pt x="f327" y="f144"/>
                  <a:pt x="f328" y="f147"/>
                  <a:pt x="f60" y="f66"/>
                </a:cubicBezTo>
                <a:cubicBezTo>
                  <a:pt x="f329" y="f119"/>
                  <a:pt x="f330" y="f151"/>
                  <a:pt x="f330" y="f39"/>
                </a:cubicBezTo>
                <a:cubicBezTo>
                  <a:pt x="f330" y="f152"/>
                  <a:pt x="f329" y="f115"/>
                  <a:pt x="f60" y="f153"/>
                </a:cubicBezTo>
                <a:cubicBezTo>
                  <a:pt x="f328" y="f154"/>
                  <a:pt x="f327" y="f155"/>
                  <a:pt x="f50" y="f155"/>
                </a:cubicBezTo>
                <a:cubicBezTo>
                  <a:pt x="f331" y="f155"/>
                  <a:pt x="f332" y="f154"/>
                  <a:pt x="f333" y="f153"/>
                </a:cubicBezTo>
                <a:cubicBezTo>
                  <a:pt x="f334" y="f115"/>
                  <a:pt x="f335" y="f152"/>
                  <a:pt x="f335" y="f39"/>
                </a:cubicBezTo>
                <a:cubicBezTo>
                  <a:pt x="f335" y="f151"/>
                  <a:pt x="f334" y="f119"/>
                  <a:pt x="f333" y="f66"/>
                </a:cubicBezTo>
                <a:cubicBezTo>
                  <a:pt x="f332" y="f147"/>
                  <a:pt x="f331" y="f144"/>
                  <a:pt x="f50" y="f144"/>
                </a:cubicBezTo>
                <a:close/>
                <a:moveTo>
                  <a:pt x="f336" y="f144"/>
                </a:moveTo>
                <a:cubicBezTo>
                  <a:pt x="f337" y="f144"/>
                  <a:pt x="f338" y="f163"/>
                  <a:pt x="f339" y="f340"/>
                </a:cubicBezTo>
                <a:cubicBezTo>
                  <a:pt x="f341" y="f68"/>
                  <a:pt x="f342" y="f343"/>
                  <a:pt x="f344" y="f345"/>
                </a:cubicBezTo>
                <a:cubicBezTo>
                  <a:pt x="f344" y="f345"/>
                  <a:pt x="f344" y="f345"/>
                  <a:pt x="f346" y="f345"/>
                </a:cubicBezTo>
                <a:cubicBezTo>
                  <a:pt x="f347" y="f348"/>
                  <a:pt x="f349" y="f175"/>
                  <a:pt x="f350" y="f351"/>
                </a:cubicBezTo>
                <a:cubicBezTo>
                  <a:pt x="f352" y="f33"/>
                  <a:pt x="f353" y="f30"/>
                  <a:pt x="f336" y="f30"/>
                </a:cubicBezTo>
                <a:cubicBezTo>
                  <a:pt x="f354" y="f30"/>
                  <a:pt x="f355" y="f33"/>
                  <a:pt x="f356" y="f19"/>
                </a:cubicBezTo>
                <a:cubicBezTo>
                  <a:pt x="f357" y="f36"/>
                  <a:pt x="f357" y="f38"/>
                  <a:pt x="f357" y="f39"/>
                </a:cubicBezTo>
                <a:cubicBezTo>
                  <a:pt x="f357" y="f40"/>
                  <a:pt x="f357" y="f41"/>
                  <a:pt x="f356" y="f42"/>
                </a:cubicBezTo>
                <a:cubicBezTo>
                  <a:pt x="f355" y="f43"/>
                  <a:pt x="f354" y="f85"/>
                  <a:pt x="f336" y="f85"/>
                </a:cubicBezTo>
                <a:cubicBezTo>
                  <a:pt x="f353" y="f85"/>
                  <a:pt x="f358" y="f359"/>
                  <a:pt x="f360" y="f42"/>
                </a:cubicBezTo>
                <a:cubicBezTo>
                  <a:pt x="f349" y="f361"/>
                  <a:pt x="f346" y="f362"/>
                  <a:pt x="f346" y="f301"/>
                </a:cubicBezTo>
                <a:cubicBezTo>
                  <a:pt x="f346" y="f301"/>
                  <a:pt x="f346" y="f301"/>
                  <a:pt x="f363" y="f301"/>
                </a:cubicBezTo>
                <a:cubicBezTo>
                  <a:pt x="f344" y="f364"/>
                  <a:pt x="f341" y="f365"/>
                  <a:pt x="f339" y="f153"/>
                </a:cubicBezTo>
                <a:cubicBezTo>
                  <a:pt x="f338" y="f366"/>
                  <a:pt x="f337" y="f155"/>
                  <a:pt x="f336" y="f155"/>
                </a:cubicBezTo>
                <a:cubicBezTo>
                  <a:pt x="f367" y="f155"/>
                  <a:pt x="f368" y="f154"/>
                  <a:pt x="f369" y="f153"/>
                </a:cubicBezTo>
                <a:cubicBezTo>
                  <a:pt x="f370" y="f115"/>
                  <a:pt x="f5" y="f152"/>
                  <a:pt x="f5" y="f39"/>
                </a:cubicBezTo>
                <a:cubicBezTo>
                  <a:pt x="f5" y="f151"/>
                  <a:pt x="f370" y="f119"/>
                  <a:pt x="f369" y="f66"/>
                </a:cubicBezTo>
                <a:cubicBezTo>
                  <a:pt x="f368" y="f147"/>
                  <a:pt x="f367" y="f144"/>
                  <a:pt x="f336" y="f144"/>
                </a:cubicBezTo>
                <a:close/>
                <a:moveTo>
                  <a:pt x="f371" y="f372"/>
                </a:moveTo>
                <a:cubicBezTo>
                  <a:pt x="f371" y="f372"/>
                  <a:pt x="f371" y="f372"/>
                  <a:pt x="f371" y="f373"/>
                </a:cubicBezTo>
                <a:cubicBezTo>
                  <a:pt x="f371" y="f373"/>
                  <a:pt x="f371" y="f373"/>
                  <a:pt x="f374" y="f373"/>
                </a:cubicBezTo>
                <a:cubicBezTo>
                  <a:pt x="f375" y="f373"/>
                  <a:pt x="f376" y="f377"/>
                  <a:pt x="f376" y="f378"/>
                </a:cubicBezTo>
                <a:cubicBezTo>
                  <a:pt x="f376" y="f379"/>
                  <a:pt x="f375" y="f372"/>
                  <a:pt x="f374" y="f372"/>
                </a:cubicBezTo>
                <a:cubicBezTo>
                  <a:pt x="f374" y="f372"/>
                  <a:pt x="f374" y="f372"/>
                  <a:pt x="f371" y="f372"/>
                </a:cubicBezTo>
                <a:close/>
                <a:moveTo>
                  <a:pt x="f380" y="f5"/>
                </a:moveTo>
                <a:lnTo>
                  <a:pt x="f6" y="f5"/>
                </a:lnTo>
                <a:lnTo>
                  <a:pt x="f6" y="f381"/>
                </a:lnTo>
                <a:lnTo>
                  <a:pt x="f382" y="f381"/>
                </a:lnTo>
                <a:lnTo>
                  <a:pt x="f382" y="f383"/>
                </a:lnTo>
                <a:lnTo>
                  <a:pt x="f384" y="f383"/>
                </a:lnTo>
                <a:lnTo>
                  <a:pt x="f384" y="f381"/>
                </a:lnTo>
                <a:lnTo>
                  <a:pt x="f380" y="f381"/>
                </a:lnTo>
                <a:close/>
                <a:moveTo>
                  <a:pt x="f385" y="f5"/>
                </a:moveTo>
                <a:lnTo>
                  <a:pt x="f386" y="f5"/>
                </a:lnTo>
                <a:lnTo>
                  <a:pt x="f387" y="f388"/>
                </a:lnTo>
                <a:lnTo>
                  <a:pt x="f389" y="f390"/>
                </a:lnTo>
                <a:lnTo>
                  <a:pt x="f389" y="f5"/>
                </a:lnTo>
                <a:lnTo>
                  <a:pt x="f391" y="f5"/>
                </a:lnTo>
                <a:lnTo>
                  <a:pt x="f391" y="f383"/>
                </a:lnTo>
                <a:lnTo>
                  <a:pt x="f392" y="f383"/>
                </a:lnTo>
                <a:lnTo>
                  <a:pt x="f393" y="f394"/>
                </a:lnTo>
                <a:lnTo>
                  <a:pt x="f393" y="f383"/>
                </a:lnTo>
                <a:lnTo>
                  <a:pt x="f385" y="f383"/>
                </a:lnTo>
                <a:close/>
                <a:moveTo>
                  <a:pt x="f395" y="f5"/>
                </a:moveTo>
                <a:lnTo>
                  <a:pt x="f396" y="f5"/>
                </a:lnTo>
                <a:lnTo>
                  <a:pt x="f396" y="f397"/>
                </a:lnTo>
                <a:lnTo>
                  <a:pt x="f398" y="f397"/>
                </a:lnTo>
                <a:lnTo>
                  <a:pt x="f398" y="f399"/>
                </a:lnTo>
                <a:lnTo>
                  <a:pt x="f400" y="f399"/>
                </a:lnTo>
                <a:lnTo>
                  <a:pt x="f400" y="f401"/>
                </a:lnTo>
                <a:lnTo>
                  <a:pt x="f398" y="f401"/>
                </a:lnTo>
                <a:lnTo>
                  <a:pt x="f398" y="f402"/>
                </a:lnTo>
                <a:lnTo>
                  <a:pt x="f396" y="f402"/>
                </a:lnTo>
                <a:lnTo>
                  <a:pt x="f396" y="f383"/>
                </a:lnTo>
                <a:lnTo>
                  <a:pt x="f395" y="f383"/>
                </a:lnTo>
                <a:close/>
                <a:moveTo>
                  <a:pt x="f403" y="f5"/>
                </a:moveTo>
                <a:lnTo>
                  <a:pt x="f404" y="f5"/>
                </a:lnTo>
                <a:lnTo>
                  <a:pt x="f405" y="f406"/>
                </a:lnTo>
                <a:lnTo>
                  <a:pt x="f407" y="f5"/>
                </a:lnTo>
                <a:lnTo>
                  <a:pt x="f408" y="f5"/>
                </a:lnTo>
                <a:lnTo>
                  <a:pt x="f408" y="f383"/>
                </a:lnTo>
                <a:lnTo>
                  <a:pt x="f409" y="f383"/>
                </a:lnTo>
                <a:lnTo>
                  <a:pt x="f409" y="f410"/>
                </a:lnTo>
                <a:lnTo>
                  <a:pt x="f411" y="f412"/>
                </a:lnTo>
                <a:lnTo>
                  <a:pt x="f413" y="f412"/>
                </a:lnTo>
                <a:lnTo>
                  <a:pt x="f414" y="f415"/>
                </a:lnTo>
                <a:lnTo>
                  <a:pt x="f414" y="f383"/>
                </a:lnTo>
                <a:lnTo>
                  <a:pt x="f403" y="f383"/>
                </a:lnTo>
                <a:close/>
                <a:moveTo>
                  <a:pt x="f416" y="f5"/>
                </a:moveTo>
                <a:lnTo>
                  <a:pt x="f417" y="f5"/>
                </a:lnTo>
                <a:lnTo>
                  <a:pt x="f417" y="f397"/>
                </a:lnTo>
                <a:lnTo>
                  <a:pt x="f418" y="f397"/>
                </a:lnTo>
                <a:lnTo>
                  <a:pt x="f418" y="f399"/>
                </a:lnTo>
                <a:lnTo>
                  <a:pt x="f419" y="f399"/>
                </a:lnTo>
                <a:lnTo>
                  <a:pt x="f419" y="f401"/>
                </a:lnTo>
                <a:lnTo>
                  <a:pt x="f418" y="f401"/>
                </a:lnTo>
                <a:lnTo>
                  <a:pt x="f418" y="f402"/>
                </a:lnTo>
                <a:lnTo>
                  <a:pt x="f417" y="f402"/>
                </a:lnTo>
                <a:lnTo>
                  <a:pt x="f417" y="f383"/>
                </a:lnTo>
                <a:lnTo>
                  <a:pt x="f416" y="f383"/>
                </a:lnTo>
                <a:close/>
                <a:moveTo>
                  <a:pt x="f420" y="f5"/>
                </a:moveTo>
                <a:lnTo>
                  <a:pt x="f421" y="f5"/>
                </a:lnTo>
                <a:lnTo>
                  <a:pt x="f421" y="f422"/>
                </a:lnTo>
                <a:lnTo>
                  <a:pt x="f423" y="f422"/>
                </a:lnTo>
                <a:lnTo>
                  <a:pt x="f423" y="f383"/>
                </a:lnTo>
                <a:lnTo>
                  <a:pt x="f420" y="f383"/>
                </a:lnTo>
                <a:close/>
                <a:moveTo>
                  <a:pt x="f424" y="f5"/>
                </a:moveTo>
                <a:cubicBezTo>
                  <a:pt x="f424" y="f5"/>
                  <a:pt x="f424" y="f5"/>
                  <a:pt x="f425" y="f5"/>
                </a:cubicBezTo>
                <a:cubicBezTo>
                  <a:pt x="f426" y="f5"/>
                  <a:pt x="f427" y="f428"/>
                  <a:pt x="f427" y="f429"/>
                </a:cubicBezTo>
                <a:cubicBezTo>
                  <a:pt x="f427" y="f430"/>
                  <a:pt x="f426" y="f431"/>
                  <a:pt x="f425" y="f431"/>
                </a:cubicBezTo>
                <a:cubicBezTo>
                  <a:pt x="f425" y="f431"/>
                  <a:pt x="f425" y="f431"/>
                  <a:pt x="f371" y="f431"/>
                </a:cubicBezTo>
                <a:cubicBezTo>
                  <a:pt x="f371" y="f431"/>
                  <a:pt x="f371" y="f431"/>
                  <a:pt x="f371" y="f383"/>
                </a:cubicBezTo>
                <a:cubicBezTo>
                  <a:pt x="f371" y="f383"/>
                  <a:pt x="f371" y="f383"/>
                  <a:pt x="f424" y="f383"/>
                </a:cubicBezTo>
                <a:cubicBezTo>
                  <a:pt x="f424" y="f383"/>
                  <a:pt x="f424" y="f383"/>
                  <a:pt x="f424" y="f5"/>
                </a:cubicBezTo>
                <a:close/>
                <a:moveTo>
                  <a:pt x="f432" y="f5"/>
                </a:moveTo>
                <a:lnTo>
                  <a:pt x="f433" y="f5"/>
                </a:lnTo>
                <a:lnTo>
                  <a:pt x="f434" y="f406"/>
                </a:lnTo>
                <a:lnTo>
                  <a:pt x="f435" y="f5"/>
                </a:lnTo>
                <a:lnTo>
                  <a:pt x="f436" y="f5"/>
                </a:lnTo>
                <a:lnTo>
                  <a:pt x="f436" y="f383"/>
                </a:lnTo>
                <a:lnTo>
                  <a:pt x="f437" y="f383"/>
                </a:lnTo>
                <a:lnTo>
                  <a:pt x="f437" y="f410"/>
                </a:lnTo>
                <a:lnTo>
                  <a:pt x="f438" y="f412"/>
                </a:lnTo>
                <a:lnTo>
                  <a:pt x="f439" y="f412"/>
                </a:lnTo>
                <a:lnTo>
                  <a:pt x="f440" y="f415"/>
                </a:lnTo>
                <a:lnTo>
                  <a:pt x="f440" y="f383"/>
                </a:lnTo>
                <a:lnTo>
                  <a:pt x="f432" y="f383"/>
                </a:lnTo>
                <a:close/>
                <a:moveTo>
                  <a:pt x="f441" y="f5"/>
                </a:moveTo>
                <a:lnTo>
                  <a:pt x="f442" y="f5"/>
                </a:lnTo>
                <a:lnTo>
                  <a:pt x="f442" y="f383"/>
                </a:lnTo>
                <a:lnTo>
                  <a:pt x="f441" y="f383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1F2023"/>
                </a:solidFill>
                <a:uFillTx/>
                <a:latin typeface="Arial"/>
              </a:rPr>
              <a:t> </a:t>
            </a:r>
          </a:p>
        </p:txBody>
      </p:sp>
      <p:sp>
        <p:nvSpPr>
          <p:cNvPr id="9" name="Date_GeneralDate" hidden="1">
            <a:extLst>
              <a:ext uri="{FF2B5EF4-FFF2-40B4-BE49-F238E27FC236}">
                <a16:creationId xmlns:a16="http://schemas.microsoft.com/office/drawing/2014/main" id="{14751717-A80E-4100-A02F-D75A1F5341DA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B3A3D71F-984D-4B46-93E4-0E51F2177B7C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10" name="FLD_PresentationTitle" hidden="1">
            <a:extLst>
              <a:ext uri="{FF2B5EF4-FFF2-40B4-BE49-F238E27FC236}">
                <a16:creationId xmlns:a16="http://schemas.microsoft.com/office/drawing/2014/main" id="{4453BA06-5503-473A-AD9F-18AF07A8B256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5184003"/>
            <a:ext cx="0" cy="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GB"/>
              <a:t>Footer</a:t>
            </a:r>
          </a:p>
        </p:txBody>
      </p:sp>
      <p:sp>
        <p:nvSpPr>
          <p:cNvPr id="11" name="Slide Number Placeholder 5" hidden="1">
            <a:extLst>
              <a:ext uri="{FF2B5EF4-FFF2-40B4-BE49-F238E27FC236}">
                <a16:creationId xmlns:a16="http://schemas.microsoft.com/office/drawing/2014/main" id="{8287E939-1C5A-40D4-A03D-15CC218FD3C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5184003"/>
            <a:ext cx="0" cy="0"/>
          </a:xfrm>
        </p:spPr>
        <p:txBody>
          <a:bodyPr anchor="t"/>
          <a:lstStyle>
            <a:lvl1pPr>
              <a:defRPr sz="108">
                <a:solidFill>
                  <a:srgbClr val="000000"/>
                </a:solidFill>
              </a:defRPr>
            </a:lvl1pPr>
          </a:lstStyle>
          <a:p>
            <a:pPr lvl="0"/>
            <a:fld id="{3C55AE44-4532-4C04-8230-36A2409EDEDC}" type="slidenum">
              <a:t>‹nr.›</a:t>
            </a:fld>
            <a:endParaRPr lang="en-GB"/>
          </a:p>
        </p:txBody>
      </p:sp>
      <p:sp>
        <p:nvSpPr>
          <p:cNvPr id="12" name="TextBox 16">
            <a:extLst>
              <a:ext uri="{FF2B5EF4-FFF2-40B4-BE49-F238E27FC236}">
                <a16:creationId xmlns:a16="http://schemas.microsoft.com/office/drawing/2014/main" id="{15C1E4BD-19EA-4594-A18C-7C367228AA93}"/>
              </a:ext>
            </a:extLst>
          </p:cNvPr>
          <p:cNvSpPr txBox="1"/>
          <p:nvPr/>
        </p:nvSpPr>
        <p:spPr>
          <a:xfrm>
            <a:off x="257472" y="4879124"/>
            <a:ext cx="562279" cy="9348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675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34045531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ogo Image Dark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3">
            <a:extLst>
              <a:ext uri="{FF2B5EF4-FFF2-40B4-BE49-F238E27FC236}">
                <a16:creationId xmlns:a16="http://schemas.microsoft.com/office/drawing/2014/main" id="{0B047A89-3D5C-4FB1-A145-2C14C69E33DF}"/>
              </a:ext>
            </a:extLst>
          </p:cNvPr>
          <p:cNvSpPr/>
          <p:nvPr/>
        </p:nvSpPr>
        <p:spPr>
          <a:xfrm>
            <a:off x="2554425" y="0"/>
            <a:ext cx="6589571" cy="5143500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marL="0" marR="0" lvl="0" indent="0" algn="ctr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FFFFFF"/>
              </a:solidFill>
              <a:uFillTx/>
              <a:latin typeface="Arial"/>
            </a:endParaRPr>
          </a:p>
        </p:txBody>
      </p:sp>
      <p:sp>
        <p:nvSpPr>
          <p:cNvPr id="3" name="Rectangle 16">
            <a:extLst>
              <a:ext uri="{FF2B5EF4-FFF2-40B4-BE49-F238E27FC236}">
                <a16:creationId xmlns:a16="http://schemas.microsoft.com/office/drawing/2014/main" id="{4132CF24-82B0-461B-B0D6-7F38606B65E1}"/>
              </a:ext>
            </a:extLst>
          </p:cNvPr>
          <p:cNvSpPr/>
          <p:nvPr/>
        </p:nvSpPr>
        <p:spPr>
          <a:xfrm>
            <a:off x="0" y="894530"/>
            <a:ext cx="7896836" cy="4248970"/>
          </a:xfrm>
          <a:prstGeom prst="rect">
            <a:avLst/>
          </a:prstGeom>
          <a:solidFill>
            <a:srgbClr val="30373B"/>
          </a:solidFill>
          <a:ln cap="flat">
            <a:noFill/>
            <a:prstDash val="solid"/>
          </a:ln>
        </p:spPr>
        <p:txBody>
          <a:bodyPr vert="horz" wrap="square" lIns="26999" tIns="26999" rIns="26999" bIns="26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019F3248-31C2-4502-BB11-7C583441DBAF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5154017" y="1585912"/>
            <a:ext cx="3225049" cy="3557587"/>
          </a:xfrm>
          <a:solidFill>
            <a:srgbClr val="F3F2F0"/>
          </a:solidFill>
        </p:spPr>
        <p:txBody>
          <a:bodyPr rIns="0" anchor="ctr" anchorCtr="1"/>
          <a:lstStyle>
            <a:lvl1pPr algn="ctr">
              <a:buNone/>
              <a:defRPr lang="en-GB"/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B5B470E4-CCEE-40B7-837A-3BF8FC2E3C0B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249117" y="4019405"/>
            <a:ext cx="2599590" cy="727620"/>
          </a:xfrm>
        </p:spPr>
        <p:txBody>
          <a:bodyPr/>
          <a:lstStyle>
            <a:lvl1pPr>
              <a:defRPr lang="en-GB" sz="731">
                <a:solidFill>
                  <a:srgbClr val="F8F5E7"/>
                </a:solidFill>
              </a:defRPr>
            </a:lvl1pPr>
          </a:lstStyle>
          <a:p>
            <a:pPr lvl="0"/>
            <a:r>
              <a:rPr lang="en-GB"/>
              <a:t>Click to edit Master subtitle styl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6BC03E4-0DAE-4BB3-BA6E-93403360B6A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747025"/>
            <a:ext cx="2599590" cy="201213"/>
          </a:xfrm>
        </p:spPr>
        <p:txBody>
          <a:bodyPr rIns="0" anchor="b"/>
          <a:lstStyle>
            <a:lvl1pPr>
              <a:defRPr lang="en-GB" sz="675">
                <a:solidFill>
                  <a:srgbClr val="F8F5E7"/>
                </a:solidFill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A85FA887-0C6B-4FC5-A08F-E714554D429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1585912"/>
            <a:ext cx="4447445" cy="2232272"/>
          </a:xfrm>
        </p:spPr>
        <p:txBody>
          <a:bodyPr/>
          <a:lstStyle>
            <a:lvl1pPr>
              <a:lnSpc>
                <a:spcPct val="83000"/>
              </a:lnSpc>
              <a:defRPr lang="en-GB" sz="4500" cap="all">
                <a:solidFill>
                  <a:srgbClr val="F8F5E7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42E20D31-D939-4F6D-A487-5D433A98B3E0}"/>
              </a:ext>
            </a:extLst>
          </p:cNvPr>
          <p:cNvSpPr/>
          <p:nvPr/>
        </p:nvSpPr>
        <p:spPr>
          <a:xfrm rot="5400013">
            <a:off x="8288464" y="566493"/>
            <a:ext cx="944168" cy="265744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9905999"/>
              <a:gd name="f7" fmla="val 2265361"/>
              <a:gd name="f8" fmla="val 6778122"/>
              <a:gd name="f9" fmla="val 2222531"/>
              <a:gd name="f10" fmla="val 7135812"/>
              <a:gd name="f11" fmla="val 6449676"/>
              <a:gd name="f12" fmla="val 1769427"/>
              <a:gd name="f13" fmla="val 1965546"/>
              <a:gd name="f14" fmla="val 6575655"/>
              <a:gd name="f15" fmla="val 6643144"/>
              <a:gd name="f16" fmla="val 6679138"/>
              <a:gd name="f17" fmla="val 1933987"/>
              <a:gd name="f18" fmla="val 1864105"/>
              <a:gd name="f19" fmla="val 1800986"/>
              <a:gd name="f20" fmla="val 6638645"/>
              <a:gd name="f21" fmla="val 5021164"/>
              <a:gd name="f22" fmla="val 1949767"/>
              <a:gd name="f23" fmla="val 5158391"/>
              <a:gd name="f24" fmla="val 5219131"/>
              <a:gd name="f25" fmla="val 5261874"/>
              <a:gd name="f26" fmla="val 1924970"/>
              <a:gd name="f27" fmla="val 1859597"/>
              <a:gd name="f28" fmla="val 1794223"/>
              <a:gd name="f29" fmla="val 5597068"/>
              <a:gd name="f30" fmla="val 1762664"/>
              <a:gd name="f31" fmla="val 5563324"/>
              <a:gd name="f32" fmla="val 5529579"/>
              <a:gd name="f33" fmla="val 1776189"/>
              <a:gd name="f34" fmla="val 5504834"/>
              <a:gd name="f35" fmla="val 5462091"/>
              <a:gd name="f36" fmla="val 1843817"/>
              <a:gd name="f37" fmla="val 5459841"/>
              <a:gd name="f38" fmla="val 1913699"/>
              <a:gd name="f39" fmla="val 1967800"/>
              <a:gd name="f40" fmla="val 2019648"/>
              <a:gd name="f41" fmla="val 2089530"/>
              <a:gd name="f42" fmla="val 2132361"/>
              <a:gd name="f43" fmla="val 2159412"/>
              <a:gd name="f44" fmla="val 2170683"/>
              <a:gd name="f45" fmla="val 5633062"/>
              <a:gd name="f46" fmla="val 5666807"/>
              <a:gd name="f47" fmla="val 5691552"/>
              <a:gd name="f48" fmla="val 5732046"/>
              <a:gd name="f49" fmla="val 5734295"/>
              <a:gd name="f50" fmla="val 654642"/>
              <a:gd name="f51" fmla="val 618647"/>
              <a:gd name="f52" fmla="val 584903"/>
              <a:gd name="f53" fmla="val 560157"/>
              <a:gd name="f54" fmla="val 519664"/>
              <a:gd name="f55" fmla="val 517414"/>
              <a:gd name="f56" fmla="val 688386"/>
              <a:gd name="f57" fmla="val 722130"/>
              <a:gd name="f58" fmla="val 746876"/>
              <a:gd name="f59" fmla="val 789619"/>
              <a:gd name="f60" fmla="val 791868"/>
              <a:gd name="f61" fmla="val 6386687"/>
              <a:gd name="f62" fmla="val 1710816"/>
              <a:gd name="f63" fmla="val 6636395"/>
              <a:gd name="f64" fmla="val 1726596"/>
              <a:gd name="f65" fmla="val 6706134"/>
              <a:gd name="f66" fmla="val 1755901"/>
              <a:gd name="f67" fmla="val 6730880"/>
              <a:gd name="f68" fmla="val 1782952"/>
              <a:gd name="f69" fmla="val 6744377"/>
              <a:gd name="f70" fmla="val 1821274"/>
              <a:gd name="f71" fmla="val 1915953"/>
              <a:gd name="f72" fmla="val 1954275"/>
              <a:gd name="f73" fmla="val 6701634"/>
              <a:gd name="f74" fmla="val 1981326"/>
              <a:gd name="f75" fmla="val 6674639"/>
              <a:gd name="f76" fmla="val 2008377"/>
              <a:gd name="f77" fmla="val 6634146"/>
              <a:gd name="f78" fmla="val 2024157"/>
              <a:gd name="f79" fmla="val 6577905"/>
              <a:gd name="f80" fmla="val 5889520"/>
              <a:gd name="f81" fmla="val 5954759"/>
              <a:gd name="f82" fmla="val 2035428"/>
              <a:gd name="f83" fmla="val 2118835"/>
              <a:gd name="f84" fmla="val 5988503"/>
              <a:gd name="f85" fmla="val 2172937"/>
              <a:gd name="f86" fmla="val 6076239"/>
              <a:gd name="f87" fmla="val 6166224"/>
              <a:gd name="f88" fmla="val 6199968"/>
              <a:gd name="f89" fmla="val 6262957"/>
              <a:gd name="f90" fmla="val 2163920"/>
              <a:gd name="f91" fmla="val 6190969"/>
              <a:gd name="f92" fmla="val 2231547"/>
              <a:gd name="f93" fmla="val 5961508"/>
              <a:gd name="f94" fmla="val 4958174"/>
              <a:gd name="f95" fmla="val 5259624"/>
              <a:gd name="f96" fmla="val 5288869"/>
              <a:gd name="f97" fmla="val 5313615"/>
              <a:gd name="f98" fmla="val 5329363"/>
              <a:gd name="f99" fmla="val 1814512"/>
              <a:gd name="f100" fmla="val 1904682"/>
              <a:gd name="f101" fmla="val 1936241"/>
              <a:gd name="f102" fmla="val 1961038"/>
              <a:gd name="f103" fmla="val 5275372"/>
              <a:gd name="f104" fmla="val 1976817"/>
              <a:gd name="f105" fmla="val 5252875"/>
              <a:gd name="f106" fmla="val 1990343"/>
              <a:gd name="f107" fmla="val 5228130"/>
              <a:gd name="f108" fmla="val 1997106"/>
              <a:gd name="f109" fmla="val 5331612"/>
              <a:gd name="f110" fmla="val 5162890"/>
              <a:gd name="f111" fmla="val 2010631"/>
              <a:gd name="f112" fmla="val 3309199"/>
              <a:gd name="f113" fmla="val 3381187"/>
              <a:gd name="f114" fmla="val 3633145"/>
              <a:gd name="f115" fmla="val 2123344"/>
              <a:gd name="f116" fmla="val 3693885"/>
              <a:gd name="f117" fmla="val 3621897"/>
              <a:gd name="f118" fmla="val 3372188"/>
              <a:gd name="f119" fmla="val 1810003"/>
              <a:gd name="f120" fmla="val 3106732"/>
              <a:gd name="f121" fmla="val 3171971"/>
              <a:gd name="f122" fmla="val 2663557"/>
              <a:gd name="f123" fmla="val 3032495"/>
              <a:gd name="f124" fmla="val 2879521"/>
              <a:gd name="f125" fmla="val 2814282"/>
              <a:gd name="f126" fmla="val 2416099"/>
              <a:gd name="f127" fmla="val 2481338"/>
              <a:gd name="f128" fmla="val 2726547"/>
              <a:gd name="f129" fmla="val 1918931"/>
              <a:gd name="f130" fmla="val 1984171"/>
              <a:gd name="f131" fmla="val 2017916"/>
              <a:gd name="f132" fmla="val 2105651"/>
              <a:gd name="f133" fmla="val 2195636"/>
              <a:gd name="f134" fmla="val 2229380"/>
              <a:gd name="f135" fmla="val 2292369"/>
              <a:gd name="f136" fmla="val 2220382"/>
              <a:gd name="f137" fmla="val 1990920"/>
              <a:gd name="f138" fmla="val 960591"/>
              <a:gd name="f139" fmla="val 1032578"/>
              <a:gd name="f140" fmla="val 1284537"/>
              <a:gd name="f141" fmla="val 1345276"/>
              <a:gd name="f142" fmla="val 1273289"/>
              <a:gd name="f143" fmla="val 1023580"/>
              <a:gd name="f144" fmla="val 1701799"/>
              <a:gd name="f145" fmla="val 5648810"/>
              <a:gd name="f146" fmla="val 5698301"/>
              <a:gd name="f147" fmla="val 1719833"/>
              <a:gd name="f148" fmla="val 5736545"/>
              <a:gd name="f149" fmla="val 5790536"/>
              <a:gd name="f150" fmla="val 5801784"/>
              <a:gd name="f151" fmla="val 1884393"/>
              <a:gd name="f152" fmla="val 2048953"/>
              <a:gd name="f153" fmla="val 2177446"/>
              <a:gd name="f154" fmla="val 2213514"/>
              <a:gd name="f155" fmla="val 2233802"/>
              <a:gd name="f156" fmla="val 5547576"/>
              <a:gd name="f157" fmla="val 5495835"/>
              <a:gd name="f158" fmla="val 5403600"/>
              <a:gd name="f159" fmla="val 5394602"/>
              <a:gd name="f160" fmla="val 4645477"/>
              <a:gd name="f161" fmla="val 4701717"/>
              <a:gd name="f162" fmla="val 4755708"/>
              <a:gd name="f163" fmla="val 1722087"/>
              <a:gd name="f164" fmla="val 4791702"/>
              <a:gd name="f165" fmla="val 1758155"/>
              <a:gd name="f166" fmla="val 4816448"/>
              <a:gd name="f167" fmla="val 1785206"/>
              <a:gd name="f168" fmla="val 4832195"/>
              <a:gd name="f169" fmla="val 1816766"/>
              <a:gd name="f170" fmla="val 4834445"/>
              <a:gd name="f171" fmla="val 4766956"/>
              <a:gd name="f172" fmla="val 4764707"/>
              <a:gd name="f173" fmla="val 1834800"/>
              <a:gd name="f174" fmla="val 4757958"/>
              <a:gd name="f175" fmla="val 1819020"/>
              <a:gd name="f176" fmla="val 4744460"/>
              <a:gd name="f177" fmla="val 1803240"/>
              <a:gd name="f178" fmla="val 4721964"/>
              <a:gd name="f179" fmla="val 1773935"/>
              <a:gd name="f180" fmla="val 4685970"/>
              <a:gd name="f181" fmla="val 4609482"/>
              <a:gd name="f182" fmla="val 4575738"/>
              <a:gd name="f183" fmla="val 4550992"/>
              <a:gd name="f184" fmla="val 4510499"/>
              <a:gd name="f185" fmla="val 4506000"/>
              <a:gd name="f186" fmla="val 2017394"/>
              <a:gd name="f187" fmla="val 2091784"/>
              <a:gd name="f188" fmla="val 4553242"/>
              <a:gd name="f189" fmla="val 2134615"/>
              <a:gd name="f190" fmla="val 4577988"/>
              <a:gd name="f191" fmla="val 2161666"/>
              <a:gd name="f192" fmla="val 4681471"/>
              <a:gd name="f193" fmla="val 4715215"/>
              <a:gd name="f194" fmla="val 4737711"/>
              <a:gd name="f195" fmla="val 2136869"/>
              <a:gd name="f196" fmla="val 4771456"/>
              <a:gd name="f197" fmla="val 2103055"/>
              <a:gd name="f198" fmla="val 4780454"/>
              <a:gd name="f199" fmla="val 2053462"/>
              <a:gd name="f200" fmla="val 2006123"/>
              <a:gd name="f201" fmla="val 1947512"/>
              <a:gd name="f202" fmla="val 4838944"/>
              <a:gd name="f203" fmla="val 4793952"/>
              <a:gd name="f204" fmla="val 4782704"/>
              <a:gd name="f205" fmla="val 2204497"/>
              <a:gd name="f206" fmla="val 4593735"/>
              <a:gd name="f207" fmla="val 4544243"/>
              <a:gd name="f208" fmla="val 2215768"/>
              <a:gd name="f209" fmla="val 2179700"/>
              <a:gd name="f210" fmla="val 4454258"/>
              <a:gd name="f211" fmla="val 2130106"/>
              <a:gd name="f212" fmla="val 4440761"/>
              <a:gd name="f213" fmla="val 2057970"/>
              <a:gd name="f214" fmla="val 4452009"/>
              <a:gd name="f215" fmla="val 4002083"/>
              <a:gd name="f216" fmla="val 4060574"/>
              <a:gd name="f217" fmla="val 4112315"/>
              <a:gd name="f218" fmla="val 4148309"/>
              <a:gd name="f219" fmla="val 4173055"/>
              <a:gd name="f220" fmla="val 4191052"/>
              <a:gd name="f221" fmla="val 4193302"/>
              <a:gd name="f222" fmla="val 4125813"/>
              <a:gd name="f223" fmla="val 4123563"/>
              <a:gd name="f224" fmla="val 4114565"/>
              <a:gd name="f225" fmla="val 4103317"/>
              <a:gd name="f226" fmla="val 4078571"/>
              <a:gd name="f227" fmla="val 4044826"/>
              <a:gd name="f228" fmla="val 3968339"/>
              <a:gd name="f229" fmla="val 3934595"/>
              <a:gd name="f230" fmla="val 3909849"/>
              <a:gd name="f231" fmla="val 3867106"/>
              <a:gd name="f232" fmla="val 3864856"/>
              <a:gd name="f233" fmla="val 4038077"/>
              <a:gd name="f234" fmla="val 4071822"/>
              <a:gd name="f235" fmla="val 4094318"/>
              <a:gd name="f236" fmla="val 4130312"/>
              <a:gd name="f237" fmla="val 4139311"/>
              <a:gd name="f238" fmla="val 4197801"/>
              <a:gd name="f239" fmla="val 4152808"/>
              <a:gd name="f240" fmla="val 4141560"/>
              <a:gd name="f241" fmla="val 4116814"/>
              <a:gd name="f242" fmla="val 3950342"/>
              <a:gd name="f243" fmla="val 3900850"/>
              <a:gd name="f244" fmla="val 3813115"/>
              <a:gd name="f245" fmla="val 3797367"/>
              <a:gd name="f246" fmla="val 3808616"/>
              <a:gd name="f247" fmla="val 1642228"/>
              <a:gd name="f248" fmla="val 1691719"/>
              <a:gd name="f249" fmla="val 1741211"/>
              <a:gd name="f250" fmla="val 1717579"/>
              <a:gd name="f251" fmla="val 1774955"/>
              <a:gd name="f252" fmla="val 1749138"/>
              <a:gd name="f253" fmla="val 1806450"/>
              <a:gd name="f254" fmla="val 1780698"/>
              <a:gd name="f255" fmla="val 1822198"/>
              <a:gd name="f256" fmla="val 1824447"/>
              <a:gd name="f257" fmla="val 1756958"/>
              <a:gd name="f258" fmla="val 1754708"/>
              <a:gd name="f259" fmla="val 1745710"/>
              <a:gd name="f260" fmla="val 1812257"/>
              <a:gd name="f261" fmla="val 1732212"/>
              <a:gd name="f262" fmla="val 1796478"/>
              <a:gd name="f263" fmla="val 1711966"/>
              <a:gd name="f264" fmla="val 1680471"/>
              <a:gd name="f265" fmla="val 1760410"/>
              <a:gd name="f266" fmla="val 1639978"/>
              <a:gd name="f267" fmla="val 1603983"/>
              <a:gd name="f268" fmla="val 1572489"/>
              <a:gd name="f269" fmla="val 1549993"/>
              <a:gd name="f270" fmla="val 1536494"/>
              <a:gd name="f271" fmla="val 1529746"/>
              <a:gd name="f272" fmla="val 1828037"/>
              <a:gd name="f273" fmla="val 1850580"/>
              <a:gd name="f274" fmla="val 1897919"/>
              <a:gd name="f275" fmla="val 1567989"/>
              <a:gd name="f276" fmla="val 1918207"/>
              <a:gd name="f277" fmla="val 1606234"/>
              <a:gd name="f278" fmla="val 1922716"/>
              <a:gd name="f279" fmla="val 1635478"/>
              <a:gd name="f280" fmla="val 1927224"/>
              <a:gd name="f281" fmla="val 1662474"/>
              <a:gd name="f282" fmla="val 1931733"/>
              <a:gd name="f283" fmla="val 1833445"/>
              <a:gd name="f284" fmla="val 2001614"/>
              <a:gd name="f285" fmla="val 2082767"/>
              <a:gd name="f286" fmla="val 2125598"/>
              <a:gd name="f287" fmla="val 1815448"/>
              <a:gd name="f288" fmla="val 2157157"/>
              <a:gd name="f289" fmla="val 1790703"/>
              <a:gd name="f290" fmla="val 2181954"/>
              <a:gd name="f291" fmla="val 1698468"/>
              <a:gd name="f292" fmla="val 1644477"/>
              <a:gd name="f293" fmla="val 1581488"/>
              <a:gd name="f294" fmla="val 1531996"/>
              <a:gd name="f295" fmla="val 1498251"/>
              <a:gd name="f296" fmla="val 2184208"/>
              <a:gd name="f297" fmla="val 1466757"/>
              <a:gd name="f298" fmla="val 2152649"/>
              <a:gd name="f299" fmla="val 1444260"/>
              <a:gd name="f300" fmla="val 2109818"/>
              <a:gd name="f301" fmla="val 2060225"/>
              <a:gd name="f302" fmla="val 1509499"/>
              <a:gd name="f303" fmla="val 1525247"/>
              <a:gd name="f304" fmla="val 2121089"/>
              <a:gd name="f305" fmla="val 1545494"/>
              <a:gd name="f306" fmla="val 2141378"/>
              <a:gd name="f307" fmla="val 1570239"/>
              <a:gd name="f308" fmla="val 1608483"/>
              <a:gd name="f309" fmla="val 1682720"/>
              <a:gd name="f310" fmla="val 1716465"/>
              <a:gd name="f311" fmla="val 2166174"/>
              <a:gd name="f312" fmla="val 1738962"/>
              <a:gd name="f313" fmla="val 2143632"/>
              <a:gd name="f314" fmla="val 1765956"/>
              <a:gd name="f315" fmla="val 2044445"/>
              <a:gd name="f316" fmla="val 1599484"/>
              <a:gd name="f317" fmla="val 1988089"/>
              <a:gd name="f318" fmla="val 1522997"/>
              <a:gd name="f319" fmla="val 1462257"/>
              <a:gd name="f320" fmla="val 1852834"/>
              <a:gd name="f321" fmla="val 1480254"/>
              <a:gd name="f322" fmla="val 1778444"/>
              <a:gd name="f323" fmla="val 1507249"/>
              <a:gd name="f324" fmla="val 1751393"/>
              <a:gd name="f325" fmla="val 1543244"/>
              <a:gd name="f326" fmla="val 1588236"/>
              <a:gd name="f327" fmla="val 704133"/>
              <a:gd name="f328" fmla="val 755874"/>
              <a:gd name="f329" fmla="val 848110"/>
              <a:gd name="f330" fmla="val 857108"/>
              <a:gd name="f331" fmla="val 602900"/>
              <a:gd name="f332" fmla="val 553408"/>
              <a:gd name="f333" fmla="val 515164"/>
              <a:gd name="f334" fmla="val 461173"/>
              <a:gd name="f335" fmla="val 449925"/>
              <a:gd name="f336" fmla="val 202466"/>
              <a:gd name="f337" fmla="val 258707"/>
              <a:gd name="f338" fmla="val 308199"/>
              <a:gd name="f339" fmla="val 339693"/>
              <a:gd name="f340" fmla="val 1753647"/>
              <a:gd name="f341" fmla="val 368939"/>
              <a:gd name="f342" fmla="val 386936"/>
              <a:gd name="f343" fmla="val 1823529"/>
              <a:gd name="f344" fmla="val 389185"/>
              <a:gd name="f345" fmla="val 1870868"/>
              <a:gd name="f346" fmla="val 323946"/>
              <a:gd name="f347" fmla="val 321697"/>
              <a:gd name="f348" fmla="val 1841563"/>
              <a:gd name="f349" fmla="val 312698"/>
              <a:gd name="f350" fmla="val 294701"/>
              <a:gd name="f351" fmla="val 1798732"/>
              <a:gd name="f352" fmla="val 274454"/>
              <a:gd name="f353" fmla="val 240710"/>
              <a:gd name="f354" fmla="val 168722"/>
              <a:gd name="f355" fmla="val 134978"/>
              <a:gd name="f356" fmla="val 110232"/>
              <a:gd name="f357" fmla="val 67489"/>
              <a:gd name="f358" fmla="val 276704"/>
              <a:gd name="f359" fmla="val 2154903"/>
              <a:gd name="f360" fmla="val 296951"/>
              <a:gd name="f361" fmla="val 2114327"/>
              <a:gd name="f362" fmla="val 2087276"/>
              <a:gd name="f363" fmla="val 391435"/>
              <a:gd name="f364" fmla="val 2107564"/>
              <a:gd name="f365" fmla="val 2148140"/>
              <a:gd name="f366" fmla="val 2209005"/>
              <a:gd name="f367" fmla="val 150725"/>
              <a:gd name="f368" fmla="val 101233"/>
              <a:gd name="f369" fmla="val 65239"/>
              <a:gd name="f370" fmla="val 8999"/>
              <a:gd name="f371" fmla="val 2227389"/>
              <a:gd name="f372" fmla="val 214047"/>
              <a:gd name="f373" fmla="val 574548"/>
              <a:gd name="f374" fmla="val 2456649"/>
              <a:gd name="f375" fmla="val 2584765"/>
              <a:gd name="f376" fmla="val 2654442"/>
              <a:gd name="f377" fmla="val 509207"/>
              <a:gd name="f378" fmla="val 394298"/>
              <a:gd name="f379" fmla="val 277135"/>
              <a:gd name="f380" fmla="val 8961436"/>
              <a:gd name="f381" fmla="val 225425"/>
              <a:gd name="f382" fmla="val 9555161"/>
              <a:gd name="f383" fmla="val 1214437"/>
              <a:gd name="f384" fmla="val 9315449"/>
              <a:gd name="f385" fmla="val 7785099"/>
              <a:gd name="f386" fmla="val 8035924"/>
              <a:gd name="f387" fmla="val 8037512"/>
              <a:gd name="f388" fmla="val 3175"/>
              <a:gd name="f389" fmla="val 8523286"/>
              <a:gd name="f390" fmla="val 774700"/>
              <a:gd name="f391" fmla="val 8759824"/>
              <a:gd name="f392" fmla="val 8518524"/>
              <a:gd name="f393" fmla="val 8024812"/>
              <a:gd name="f394" fmla="val 425450"/>
              <a:gd name="f395" fmla="val 6665911"/>
              <a:gd name="f396" fmla="val 7535861"/>
              <a:gd name="f397" fmla="val 220663"/>
              <a:gd name="f398" fmla="val 6905624"/>
              <a:gd name="f399" fmla="val 473075"/>
              <a:gd name="f400" fmla="val 7459661"/>
              <a:gd name="f401" fmla="val 690562"/>
              <a:gd name="f402" fmla="val 993775"/>
              <a:gd name="f403" fmla="val 5221286"/>
              <a:gd name="f404" fmla="val 5534024"/>
              <a:gd name="f405" fmla="val 5835649"/>
              <a:gd name="f406" fmla="val 823912"/>
              <a:gd name="f407" fmla="val 6142037"/>
              <a:gd name="f408" fmla="val 6438899"/>
              <a:gd name="f409" fmla="val 6203949"/>
              <a:gd name="f410" fmla="val 419100"/>
              <a:gd name="f411" fmla="val 5916612"/>
              <a:gd name="f412" fmla="val 1196975"/>
              <a:gd name="f413" fmla="val 5740399"/>
              <a:gd name="f414" fmla="val 5454649"/>
              <a:gd name="f415" fmla="val 409575"/>
              <a:gd name="f416" fmla="val 4098924"/>
              <a:gd name="f417" fmla="val 4968874"/>
              <a:gd name="f418" fmla="val 4340224"/>
              <a:gd name="f419" fmla="val 4895849"/>
              <a:gd name="f420" fmla="val 3079749"/>
              <a:gd name="f421" fmla="val 3321049"/>
              <a:gd name="f422" fmla="val 984250"/>
              <a:gd name="f423" fmla="val 3871912"/>
              <a:gd name="f424" fmla="val 1989138"/>
              <a:gd name="f425" fmla="val 2465639"/>
              <a:gd name="f426" fmla="val 2735357"/>
              <a:gd name="f427" fmla="val 2897188"/>
              <a:gd name="f428" fmla="val 146454"/>
              <a:gd name="f429" fmla="val 392045"/>
              <a:gd name="f430" fmla="val 639889"/>
              <a:gd name="f431" fmla="val 786342"/>
              <a:gd name="f432" fmla="val 520699"/>
              <a:gd name="f433" fmla="val 833436"/>
              <a:gd name="f434" fmla="val 1135061"/>
              <a:gd name="f435" fmla="val 1439862"/>
              <a:gd name="f436" fmla="val 1736724"/>
              <a:gd name="f437" fmla="val 1503362"/>
              <a:gd name="f438" fmla="val 1216024"/>
              <a:gd name="f439" fmla="val 1039812"/>
              <a:gd name="f440" fmla="val 754062"/>
              <a:gd name="f441" fmla="val 25400"/>
              <a:gd name="f442" fmla="val 268288"/>
              <a:gd name="f443" fmla="+- 0 0 -90"/>
              <a:gd name="f444" fmla="*/ f3 1 9905999"/>
              <a:gd name="f445" fmla="*/ f4 1 2265361"/>
              <a:gd name="f446" fmla="+- f7 0 f5"/>
              <a:gd name="f447" fmla="+- f6 0 f5"/>
              <a:gd name="f448" fmla="*/ f443 f0 1"/>
              <a:gd name="f449" fmla="*/ f447 1 9905999"/>
              <a:gd name="f450" fmla="*/ f446 1 2265361"/>
              <a:gd name="f451" fmla="*/ 6778122 f447 1"/>
              <a:gd name="f452" fmla="*/ 2222531 f446 1"/>
              <a:gd name="f453" fmla="*/ 7135812 f447 1"/>
              <a:gd name="f454" fmla="*/ 2265361 f446 1"/>
              <a:gd name="f455" fmla="*/ 6449676 f447 1"/>
              <a:gd name="f456" fmla="*/ 1769427 f446 1"/>
              <a:gd name="f457" fmla="*/ 1965546 f446 1"/>
              <a:gd name="f458" fmla="*/ 6575655 f447 1"/>
              <a:gd name="f459" fmla="*/ 6679138 f447 1"/>
              <a:gd name="f460" fmla="*/ 1864105 f446 1"/>
              <a:gd name="f461" fmla="*/ 5021164 f447 1"/>
              <a:gd name="f462" fmla="*/ 1949767 f446 1"/>
              <a:gd name="f463" fmla="*/ 5158391 f447 1"/>
              <a:gd name="f464" fmla="*/ 5261874 f447 1"/>
              <a:gd name="f465" fmla="*/ 1859597 f446 1"/>
              <a:gd name="f466" fmla="*/ 5597068 f447 1"/>
              <a:gd name="f467" fmla="*/ 1762664 f446 1"/>
              <a:gd name="f468" fmla="*/ 5504834 f447 1"/>
              <a:gd name="f469" fmla="*/ 1800986 f446 1"/>
              <a:gd name="f470" fmla="*/ 5459841 f447 1"/>
              <a:gd name="f471" fmla="*/ 1967800 f446 1"/>
              <a:gd name="f472" fmla="*/ 2132361 f446 1"/>
              <a:gd name="f473" fmla="*/ 2170683 f446 1"/>
              <a:gd name="f474" fmla="*/ 5691552 f447 1"/>
              <a:gd name="f475" fmla="*/ 5734295 f447 1"/>
              <a:gd name="f476" fmla="*/ 654642 f447 1"/>
              <a:gd name="f477" fmla="*/ 560157 f447 1"/>
              <a:gd name="f478" fmla="*/ 517414 f447 1"/>
              <a:gd name="f479" fmla="*/ 746876 f447 1"/>
              <a:gd name="f480" fmla="*/ 791868 f447 1"/>
              <a:gd name="f481" fmla="*/ 6386687 f447 1"/>
              <a:gd name="f482" fmla="*/ 1710816 f446 1"/>
              <a:gd name="f483" fmla="*/ 6706134 f447 1"/>
              <a:gd name="f484" fmla="*/ 1755901 f446 1"/>
              <a:gd name="f485" fmla="*/ 6744377 f447 1"/>
              <a:gd name="f486" fmla="*/ 6701634 f447 1"/>
              <a:gd name="f487" fmla="*/ 1981326 f446 1"/>
              <a:gd name="f488" fmla="*/ 6577905 f447 1"/>
              <a:gd name="f489" fmla="*/ 2024157 f446 1"/>
              <a:gd name="f490" fmla="*/ 5889520 f447 1"/>
              <a:gd name="f491" fmla="*/ 5954759 f447 1"/>
              <a:gd name="f492" fmla="*/ 2035428 f446 1"/>
              <a:gd name="f493" fmla="*/ 6076239 f447 1"/>
              <a:gd name="f494" fmla="*/ 2172937 f446 1"/>
              <a:gd name="f495" fmla="*/ 6199968 f447 1"/>
              <a:gd name="f496" fmla="*/ 6262957 f447 1"/>
              <a:gd name="f497" fmla="*/ 2231547 f446 1"/>
              <a:gd name="f498" fmla="*/ 4958174 f447 1"/>
              <a:gd name="f499" fmla="*/ 5288869 f447 1"/>
              <a:gd name="f500" fmla="*/ 5329363 f447 1"/>
              <a:gd name="f501" fmla="*/ 1961038 f446 1"/>
              <a:gd name="f502" fmla="*/ 5228130 f447 1"/>
              <a:gd name="f503" fmla="*/ 1997106 f446 1"/>
              <a:gd name="f504" fmla="*/ 5331612 f447 1"/>
              <a:gd name="f505" fmla="*/ 5259624 f447 1"/>
              <a:gd name="f506" fmla="*/ 5162890 f447 1"/>
              <a:gd name="f507" fmla="*/ 2010631 f446 1"/>
              <a:gd name="f508" fmla="*/ 3309199 f447 1"/>
              <a:gd name="f509" fmla="*/ 3381187 f447 1"/>
              <a:gd name="f510" fmla="*/ 3633145 f447 1"/>
              <a:gd name="f511" fmla="*/ 2123344 f446 1"/>
              <a:gd name="f512" fmla="*/ 3693885 f447 1"/>
              <a:gd name="f513" fmla="*/ 3621897 f447 1"/>
              <a:gd name="f514" fmla="*/ 3372188 f447 1"/>
              <a:gd name="f515" fmla="*/ 1810003 f446 1"/>
              <a:gd name="f516" fmla="*/ 3106732 f447 1"/>
              <a:gd name="f517" fmla="*/ 3171971 f447 1"/>
              <a:gd name="f518" fmla="*/ 2663557 f447 1"/>
              <a:gd name="f519" fmla="*/ 3032495 f447 1"/>
              <a:gd name="f520" fmla="*/ 2879521 f447 1"/>
              <a:gd name="f521" fmla="*/ 2814282 f447 1"/>
              <a:gd name="f522" fmla="*/ 2416099 f447 1"/>
              <a:gd name="f523" fmla="*/ 2481338 f447 1"/>
              <a:gd name="f524" fmla="*/ 2163920 f446 1"/>
              <a:gd name="f525" fmla="*/ 2726547 f447 1"/>
              <a:gd name="f526" fmla="*/ 1918931 f447 1"/>
              <a:gd name="f527" fmla="*/ 1984171 f447 1"/>
              <a:gd name="f528" fmla="*/ 2105651 f447 1"/>
              <a:gd name="f529" fmla="*/ 2229380 f447 1"/>
              <a:gd name="f530" fmla="*/ 2292369 f447 1"/>
              <a:gd name="f531" fmla="*/ 960591 f447 1"/>
              <a:gd name="f532" fmla="*/ 1032578 f447 1"/>
              <a:gd name="f533" fmla="*/ 1284537 f447 1"/>
              <a:gd name="f534" fmla="*/ 1345276 f447 1"/>
              <a:gd name="f535" fmla="*/ 1273289 f447 1"/>
              <a:gd name="f536" fmla="*/ 1023580 f447 1"/>
              <a:gd name="f537" fmla="*/ 1701799 f446 1"/>
              <a:gd name="f538" fmla="*/ 5736545 f447 1"/>
              <a:gd name="f539" fmla="*/ 5801784 f447 1"/>
              <a:gd name="f540" fmla="*/ 2177446 f446 1"/>
              <a:gd name="f541" fmla="*/ 2233802 f446 1"/>
              <a:gd name="f542" fmla="*/ 5394602 f447 1"/>
              <a:gd name="f543" fmla="*/ 4645477 f447 1"/>
              <a:gd name="f544" fmla="*/ 4791702 f447 1"/>
              <a:gd name="f545" fmla="*/ 1758155 f446 1"/>
              <a:gd name="f546" fmla="*/ 4834445 f447 1"/>
              <a:gd name="f547" fmla="*/ 4766956 f447 1"/>
              <a:gd name="f548" fmla="*/ 4744460 f447 1"/>
              <a:gd name="f549" fmla="*/ 1803240 f446 1"/>
              <a:gd name="f550" fmla="*/ 4550992 f447 1"/>
              <a:gd name="f551" fmla="*/ 4506000 f447 1"/>
              <a:gd name="f552" fmla="*/ 4553242 f447 1"/>
              <a:gd name="f553" fmla="*/ 2134615 f446 1"/>
              <a:gd name="f554" fmla="*/ 4737711 f447 1"/>
              <a:gd name="f555" fmla="*/ 2136869 f446 1"/>
              <a:gd name="f556" fmla="*/ 4780454 f447 1"/>
              <a:gd name="f557" fmla="*/ 2006123 f446 1"/>
              <a:gd name="f558" fmla="*/ 1947512 f446 1"/>
              <a:gd name="f559" fmla="*/ 4838944 f447 1"/>
              <a:gd name="f560" fmla="*/ 4793952 f447 1"/>
              <a:gd name="f561" fmla="*/ 4782704 f447 1"/>
              <a:gd name="f562" fmla="*/ 2161666 f446 1"/>
              <a:gd name="f563" fmla="*/ 2179700 f446 1"/>
              <a:gd name="f564" fmla="*/ 4440761 f447 1"/>
              <a:gd name="f565" fmla="*/ 4002083 f447 1"/>
              <a:gd name="f566" fmla="*/ 4148309 f447 1"/>
              <a:gd name="f567" fmla="*/ 4193302 f447 1"/>
              <a:gd name="f568" fmla="*/ 4125813 f447 1"/>
              <a:gd name="f569" fmla="*/ 4103317 f447 1"/>
              <a:gd name="f570" fmla="*/ 3909849 f447 1"/>
              <a:gd name="f571" fmla="*/ 3864856 f447 1"/>
              <a:gd name="f572" fmla="*/ 4094318 f447 1"/>
              <a:gd name="f573" fmla="*/ 4139311 f447 1"/>
              <a:gd name="f574" fmla="*/ 4197801 f447 1"/>
              <a:gd name="f575" fmla="*/ 4152808 f447 1"/>
              <a:gd name="f576" fmla="*/ 4141560 f447 1"/>
              <a:gd name="f577" fmla="*/ 3797367 f447 1"/>
              <a:gd name="f578" fmla="*/ 1642228 f447 1"/>
              <a:gd name="f579" fmla="*/ 1774955 f447 1"/>
              <a:gd name="f580" fmla="*/ 1749138 f446 1"/>
              <a:gd name="f581" fmla="*/ 1824447 f447 1"/>
              <a:gd name="f582" fmla="*/ 1756958 f447 1"/>
              <a:gd name="f583" fmla="*/ 1732212 f447 1"/>
              <a:gd name="f584" fmla="*/ 1796478 f446 1"/>
              <a:gd name="f585" fmla="*/ 1639978 f447 1"/>
              <a:gd name="f586" fmla="*/ 1760410 f446 1"/>
              <a:gd name="f587" fmla="*/ 1549993 f447 1"/>
              <a:gd name="f588" fmla="*/ 1529746 f447 1"/>
              <a:gd name="f589" fmla="*/ 1850580 f446 1"/>
              <a:gd name="f590" fmla="*/ 1606234 f447 1"/>
              <a:gd name="f591" fmla="*/ 1922716 f446 1"/>
              <a:gd name="f592" fmla="*/ 1691719 f447 1"/>
              <a:gd name="f593" fmla="*/ 1936241 f446 1"/>
              <a:gd name="f594" fmla="*/ 1833445 f447 1"/>
              <a:gd name="f595" fmla="*/ 2082767 f446 1"/>
              <a:gd name="f596" fmla="*/ 1790703 f447 1"/>
              <a:gd name="f597" fmla="*/ 2181954 f446 1"/>
              <a:gd name="f598" fmla="*/ 1644477 f447 1"/>
              <a:gd name="f599" fmla="*/ 1498251 f447 1"/>
              <a:gd name="f600" fmla="*/ 2184208 f446 1"/>
              <a:gd name="f601" fmla="*/ 1444260 f447 1"/>
              <a:gd name="f602" fmla="*/ 2060225 f446 1"/>
              <a:gd name="f603" fmla="*/ 1509499 f447 1"/>
              <a:gd name="f604" fmla="*/ 1545494 f447 1"/>
              <a:gd name="f605" fmla="*/ 2141378 f446 1"/>
              <a:gd name="f606" fmla="*/ 1738962 f447 1"/>
              <a:gd name="f607" fmla="*/ 2143632 f446 1"/>
              <a:gd name="f608" fmla="*/ 1765956 f447 1"/>
              <a:gd name="f609" fmla="*/ 1680471 f447 1"/>
              <a:gd name="f610" fmla="*/ 2001614 f446 1"/>
              <a:gd name="f611" fmla="*/ 1599484 f447 1"/>
              <a:gd name="f612" fmla="*/ 1988089 f446 1"/>
              <a:gd name="f613" fmla="*/ 1462257 f447 1"/>
              <a:gd name="f614" fmla="*/ 1852834 f446 1"/>
              <a:gd name="f615" fmla="*/ 1507249 f447 1"/>
              <a:gd name="f616" fmla="*/ 1751393 f446 1"/>
              <a:gd name="f617" fmla="*/ 857108 f447 1"/>
              <a:gd name="f618" fmla="*/ 515164 f447 1"/>
              <a:gd name="f619" fmla="*/ 449925 f447 1"/>
              <a:gd name="f620" fmla="*/ 202466 f447 1"/>
              <a:gd name="f621" fmla="*/ 339693 f447 1"/>
              <a:gd name="f622" fmla="*/ 1753647 f446 1"/>
              <a:gd name="f623" fmla="*/ 389185 f447 1"/>
              <a:gd name="f624" fmla="*/ 1870868 f446 1"/>
              <a:gd name="f625" fmla="*/ 323946 f447 1"/>
              <a:gd name="f626" fmla="*/ 294701 f447 1"/>
              <a:gd name="f627" fmla="*/ 1798732 f446 1"/>
              <a:gd name="f628" fmla="*/ 110232 f447 1"/>
              <a:gd name="f629" fmla="*/ 67489 f447 1"/>
              <a:gd name="f630" fmla="*/ 296951 f447 1"/>
              <a:gd name="f631" fmla="*/ 391435 f447 1"/>
              <a:gd name="f632" fmla="*/ 65239 f447 1"/>
              <a:gd name="f633" fmla="*/ 0 f447 1"/>
              <a:gd name="f634" fmla="*/ 2227389 f447 1"/>
              <a:gd name="f635" fmla="*/ 214047 f446 1"/>
              <a:gd name="f636" fmla="*/ 574548 f446 1"/>
              <a:gd name="f637" fmla="*/ 2456649 f447 1"/>
              <a:gd name="f638" fmla="*/ 2654442 f447 1"/>
              <a:gd name="f639" fmla="*/ 394298 f446 1"/>
              <a:gd name="f640" fmla="*/ 8961436 f447 1"/>
              <a:gd name="f641" fmla="*/ 0 f446 1"/>
              <a:gd name="f642" fmla="*/ 9905999 f447 1"/>
              <a:gd name="f643" fmla="*/ 225425 f446 1"/>
              <a:gd name="f644" fmla="*/ 9555161 f447 1"/>
              <a:gd name="f645" fmla="*/ 1214437 f446 1"/>
              <a:gd name="f646" fmla="*/ 9315449 f447 1"/>
              <a:gd name="f647" fmla="*/ 7785099 f447 1"/>
              <a:gd name="f648" fmla="*/ 8035924 f447 1"/>
              <a:gd name="f649" fmla="*/ 8037512 f447 1"/>
              <a:gd name="f650" fmla="*/ 3175 f446 1"/>
              <a:gd name="f651" fmla="*/ 8523286 f447 1"/>
              <a:gd name="f652" fmla="*/ 774700 f446 1"/>
              <a:gd name="f653" fmla="*/ 8759824 f447 1"/>
              <a:gd name="f654" fmla="*/ 8518524 f447 1"/>
              <a:gd name="f655" fmla="*/ 8024812 f447 1"/>
              <a:gd name="f656" fmla="*/ 425450 f446 1"/>
              <a:gd name="f657" fmla="*/ 6665911 f447 1"/>
              <a:gd name="f658" fmla="*/ 7535861 f447 1"/>
              <a:gd name="f659" fmla="*/ 220663 f446 1"/>
              <a:gd name="f660" fmla="*/ 6905624 f447 1"/>
              <a:gd name="f661" fmla="*/ 473075 f446 1"/>
              <a:gd name="f662" fmla="*/ 7459661 f447 1"/>
              <a:gd name="f663" fmla="*/ 690562 f446 1"/>
              <a:gd name="f664" fmla="*/ 993775 f446 1"/>
              <a:gd name="f665" fmla="*/ 5221286 f447 1"/>
              <a:gd name="f666" fmla="*/ 5534024 f447 1"/>
              <a:gd name="f667" fmla="*/ 5835649 f447 1"/>
              <a:gd name="f668" fmla="*/ 823912 f446 1"/>
              <a:gd name="f669" fmla="*/ 6142037 f447 1"/>
              <a:gd name="f670" fmla="*/ 6438899 f447 1"/>
              <a:gd name="f671" fmla="*/ 6203949 f447 1"/>
              <a:gd name="f672" fmla="*/ 419100 f446 1"/>
              <a:gd name="f673" fmla="*/ 5916612 f447 1"/>
              <a:gd name="f674" fmla="*/ 1196975 f446 1"/>
              <a:gd name="f675" fmla="*/ 5740399 f447 1"/>
              <a:gd name="f676" fmla="*/ 5454649 f447 1"/>
              <a:gd name="f677" fmla="*/ 409575 f446 1"/>
              <a:gd name="f678" fmla="*/ 4098924 f447 1"/>
              <a:gd name="f679" fmla="*/ 4968874 f447 1"/>
              <a:gd name="f680" fmla="*/ 4340224 f447 1"/>
              <a:gd name="f681" fmla="*/ 4895849 f447 1"/>
              <a:gd name="f682" fmla="*/ 3079749 f447 1"/>
              <a:gd name="f683" fmla="*/ 3321049 f447 1"/>
              <a:gd name="f684" fmla="*/ 984250 f446 1"/>
              <a:gd name="f685" fmla="*/ 3871912 f447 1"/>
              <a:gd name="f686" fmla="*/ 1989138 f447 1"/>
              <a:gd name="f687" fmla="*/ 2465639 f447 1"/>
              <a:gd name="f688" fmla="*/ 2897188 f447 1"/>
              <a:gd name="f689" fmla="*/ 392045 f446 1"/>
              <a:gd name="f690" fmla="*/ 786342 f446 1"/>
              <a:gd name="f691" fmla="*/ 520699 f447 1"/>
              <a:gd name="f692" fmla="*/ 833436 f447 1"/>
              <a:gd name="f693" fmla="*/ 1135061 f447 1"/>
              <a:gd name="f694" fmla="*/ 1439862 f447 1"/>
              <a:gd name="f695" fmla="*/ 1736724 f447 1"/>
              <a:gd name="f696" fmla="*/ 1503362 f447 1"/>
              <a:gd name="f697" fmla="*/ 1216024 f447 1"/>
              <a:gd name="f698" fmla="*/ 1039812 f447 1"/>
              <a:gd name="f699" fmla="*/ 754062 f447 1"/>
              <a:gd name="f700" fmla="*/ 25400 f447 1"/>
              <a:gd name="f701" fmla="*/ 268288 f447 1"/>
              <a:gd name="f702" fmla="*/ f448 1 f2"/>
              <a:gd name="f703" fmla="*/ f451 1 9905999"/>
              <a:gd name="f704" fmla="*/ f452 1 2265361"/>
              <a:gd name="f705" fmla="*/ f453 1 9905999"/>
              <a:gd name="f706" fmla="*/ f454 1 2265361"/>
              <a:gd name="f707" fmla="*/ f455 1 9905999"/>
              <a:gd name="f708" fmla="*/ f456 1 2265361"/>
              <a:gd name="f709" fmla="*/ f457 1 2265361"/>
              <a:gd name="f710" fmla="*/ f458 1 9905999"/>
              <a:gd name="f711" fmla="*/ f459 1 9905999"/>
              <a:gd name="f712" fmla="*/ f460 1 2265361"/>
              <a:gd name="f713" fmla="*/ f461 1 9905999"/>
              <a:gd name="f714" fmla="*/ f462 1 2265361"/>
              <a:gd name="f715" fmla="*/ f463 1 9905999"/>
              <a:gd name="f716" fmla="*/ f464 1 9905999"/>
              <a:gd name="f717" fmla="*/ f465 1 2265361"/>
              <a:gd name="f718" fmla="*/ f466 1 9905999"/>
              <a:gd name="f719" fmla="*/ f467 1 2265361"/>
              <a:gd name="f720" fmla="*/ f468 1 9905999"/>
              <a:gd name="f721" fmla="*/ f469 1 2265361"/>
              <a:gd name="f722" fmla="*/ f470 1 9905999"/>
              <a:gd name="f723" fmla="*/ f471 1 2265361"/>
              <a:gd name="f724" fmla="*/ f472 1 2265361"/>
              <a:gd name="f725" fmla="*/ f473 1 2265361"/>
              <a:gd name="f726" fmla="*/ f474 1 9905999"/>
              <a:gd name="f727" fmla="*/ f475 1 9905999"/>
              <a:gd name="f728" fmla="*/ f476 1 9905999"/>
              <a:gd name="f729" fmla="*/ f477 1 9905999"/>
              <a:gd name="f730" fmla="*/ f478 1 9905999"/>
              <a:gd name="f731" fmla="*/ f479 1 9905999"/>
              <a:gd name="f732" fmla="*/ f480 1 9905999"/>
              <a:gd name="f733" fmla="*/ f481 1 9905999"/>
              <a:gd name="f734" fmla="*/ f482 1 2265361"/>
              <a:gd name="f735" fmla="*/ f483 1 9905999"/>
              <a:gd name="f736" fmla="*/ f484 1 2265361"/>
              <a:gd name="f737" fmla="*/ f485 1 9905999"/>
              <a:gd name="f738" fmla="*/ f486 1 9905999"/>
              <a:gd name="f739" fmla="*/ f487 1 2265361"/>
              <a:gd name="f740" fmla="*/ f488 1 9905999"/>
              <a:gd name="f741" fmla="*/ f489 1 2265361"/>
              <a:gd name="f742" fmla="*/ f490 1 9905999"/>
              <a:gd name="f743" fmla="*/ f491 1 9905999"/>
              <a:gd name="f744" fmla="*/ f492 1 2265361"/>
              <a:gd name="f745" fmla="*/ f493 1 9905999"/>
              <a:gd name="f746" fmla="*/ f494 1 2265361"/>
              <a:gd name="f747" fmla="*/ f495 1 9905999"/>
              <a:gd name="f748" fmla="*/ f496 1 9905999"/>
              <a:gd name="f749" fmla="*/ f497 1 2265361"/>
              <a:gd name="f750" fmla="*/ f498 1 9905999"/>
              <a:gd name="f751" fmla="*/ f499 1 9905999"/>
              <a:gd name="f752" fmla="*/ f500 1 9905999"/>
              <a:gd name="f753" fmla="*/ f501 1 2265361"/>
              <a:gd name="f754" fmla="*/ f502 1 9905999"/>
              <a:gd name="f755" fmla="*/ f503 1 2265361"/>
              <a:gd name="f756" fmla="*/ f504 1 9905999"/>
              <a:gd name="f757" fmla="*/ f505 1 9905999"/>
              <a:gd name="f758" fmla="*/ f506 1 9905999"/>
              <a:gd name="f759" fmla="*/ f507 1 2265361"/>
              <a:gd name="f760" fmla="*/ f508 1 9905999"/>
              <a:gd name="f761" fmla="*/ f509 1 9905999"/>
              <a:gd name="f762" fmla="*/ f510 1 9905999"/>
              <a:gd name="f763" fmla="*/ f511 1 2265361"/>
              <a:gd name="f764" fmla="*/ f512 1 9905999"/>
              <a:gd name="f765" fmla="*/ f513 1 9905999"/>
              <a:gd name="f766" fmla="*/ f514 1 9905999"/>
              <a:gd name="f767" fmla="*/ f515 1 2265361"/>
              <a:gd name="f768" fmla="*/ f516 1 9905999"/>
              <a:gd name="f769" fmla="*/ f517 1 9905999"/>
              <a:gd name="f770" fmla="*/ f518 1 9905999"/>
              <a:gd name="f771" fmla="*/ f519 1 9905999"/>
              <a:gd name="f772" fmla="*/ f520 1 9905999"/>
              <a:gd name="f773" fmla="*/ f521 1 9905999"/>
              <a:gd name="f774" fmla="*/ f522 1 9905999"/>
              <a:gd name="f775" fmla="*/ f523 1 9905999"/>
              <a:gd name="f776" fmla="*/ f524 1 2265361"/>
              <a:gd name="f777" fmla="*/ f525 1 9905999"/>
              <a:gd name="f778" fmla="*/ f526 1 9905999"/>
              <a:gd name="f779" fmla="*/ f527 1 9905999"/>
              <a:gd name="f780" fmla="*/ f528 1 9905999"/>
              <a:gd name="f781" fmla="*/ f529 1 9905999"/>
              <a:gd name="f782" fmla="*/ f530 1 9905999"/>
              <a:gd name="f783" fmla="*/ f531 1 9905999"/>
              <a:gd name="f784" fmla="*/ f532 1 9905999"/>
              <a:gd name="f785" fmla="*/ f533 1 9905999"/>
              <a:gd name="f786" fmla="*/ f534 1 9905999"/>
              <a:gd name="f787" fmla="*/ f535 1 9905999"/>
              <a:gd name="f788" fmla="*/ f536 1 9905999"/>
              <a:gd name="f789" fmla="*/ f537 1 2265361"/>
              <a:gd name="f790" fmla="*/ f538 1 9905999"/>
              <a:gd name="f791" fmla="*/ f539 1 9905999"/>
              <a:gd name="f792" fmla="*/ f540 1 2265361"/>
              <a:gd name="f793" fmla="*/ f541 1 2265361"/>
              <a:gd name="f794" fmla="*/ f542 1 9905999"/>
              <a:gd name="f795" fmla="*/ f543 1 9905999"/>
              <a:gd name="f796" fmla="*/ f544 1 9905999"/>
              <a:gd name="f797" fmla="*/ f545 1 2265361"/>
              <a:gd name="f798" fmla="*/ f546 1 9905999"/>
              <a:gd name="f799" fmla="*/ f547 1 9905999"/>
              <a:gd name="f800" fmla="*/ f548 1 9905999"/>
              <a:gd name="f801" fmla="*/ f549 1 2265361"/>
              <a:gd name="f802" fmla="*/ f550 1 9905999"/>
              <a:gd name="f803" fmla="*/ f551 1 9905999"/>
              <a:gd name="f804" fmla="*/ f552 1 9905999"/>
              <a:gd name="f805" fmla="*/ f553 1 2265361"/>
              <a:gd name="f806" fmla="*/ f554 1 9905999"/>
              <a:gd name="f807" fmla="*/ f555 1 2265361"/>
              <a:gd name="f808" fmla="*/ f556 1 9905999"/>
              <a:gd name="f809" fmla="*/ f557 1 2265361"/>
              <a:gd name="f810" fmla="*/ f558 1 2265361"/>
              <a:gd name="f811" fmla="*/ f559 1 9905999"/>
              <a:gd name="f812" fmla="*/ f560 1 9905999"/>
              <a:gd name="f813" fmla="*/ f561 1 9905999"/>
              <a:gd name="f814" fmla="*/ f562 1 2265361"/>
              <a:gd name="f815" fmla="*/ f563 1 2265361"/>
              <a:gd name="f816" fmla="*/ f564 1 9905999"/>
              <a:gd name="f817" fmla="*/ f565 1 9905999"/>
              <a:gd name="f818" fmla="*/ f566 1 9905999"/>
              <a:gd name="f819" fmla="*/ f567 1 9905999"/>
              <a:gd name="f820" fmla="*/ f568 1 9905999"/>
              <a:gd name="f821" fmla="*/ f569 1 9905999"/>
              <a:gd name="f822" fmla="*/ f570 1 9905999"/>
              <a:gd name="f823" fmla="*/ f571 1 9905999"/>
              <a:gd name="f824" fmla="*/ f572 1 9905999"/>
              <a:gd name="f825" fmla="*/ f573 1 9905999"/>
              <a:gd name="f826" fmla="*/ f574 1 9905999"/>
              <a:gd name="f827" fmla="*/ f575 1 9905999"/>
              <a:gd name="f828" fmla="*/ f576 1 9905999"/>
              <a:gd name="f829" fmla="*/ f577 1 9905999"/>
              <a:gd name="f830" fmla="*/ f578 1 9905999"/>
              <a:gd name="f831" fmla="*/ f579 1 9905999"/>
              <a:gd name="f832" fmla="*/ f580 1 2265361"/>
              <a:gd name="f833" fmla="*/ f581 1 9905999"/>
              <a:gd name="f834" fmla="*/ f582 1 9905999"/>
              <a:gd name="f835" fmla="*/ f583 1 9905999"/>
              <a:gd name="f836" fmla="*/ f584 1 2265361"/>
              <a:gd name="f837" fmla="*/ f585 1 9905999"/>
              <a:gd name="f838" fmla="*/ f586 1 2265361"/>
              <a:gd name="f839" fmla="*/ f587 1 9905999"/>
              <a:gd name="f840" fmla="*/ f588 1 9905999"/>
              <a:gd name="f841" fmla="*/ f589 1 2265361"/>
              <a:gd name="f842" fmla="*/ f590 1 9905999"/>
              <a:gd name="f843" fmla="*/ f591 1 2265361"/>
              <a:gd name="f844" fmla="*/ f592 1 9905999"/>
              <a:gd name="f845" fmla="*/ f593 1 2265361"/>
              <a:gd name="f846" fmla="*/ f594 1 9905999"/>
              <a:gd name="f847" fmla="*/ f595 1 2265361"/>
              <a:gd name="f848" fmla="*/ f596 1 9905999"/>
              <a:gd name="f849" fmla="*/ f597 1 2265361"/>
              <a:gd name="f850" fmla="*/ f598 1 9905999"/>
              <a:gd name="f851" fmla="*/ f599 1 9905999"/>
              <a:gd name="f852" fmla="*/ f600 1 2265361"/>
              <a:gd name="f853" fmla="*/ f601 1 9905999"/>
              <a:gd name="f854" fmla="*/ f602 1 2265361"/>
              <a:gd name="f855" fmla="*/ f603 1 9905999"/>
              <a:gd name="f856" fmla="*/ f604 1 9905999"/>
              <a:gd name="f857" fmla="*/ f605 1 2265361"/>
              <a:gd name="f858" fmla="*/ f606 1 9905999"/>
              <a:gd name="f859" fmla="*/ f607 1 2265361"/>
              <a:gd name="f860" fmla="*/ f608 1 9905999"/>
              <a:gd name="f861" fmla="*/ f609 1 9905999"/>
              <a:gd name="f862" fmla="*/ f610 1 2265361"/>
              <a:gd name="f863" fmla="*/ f611 1 9905999"/>
              <a:gd name="f864" fmla="*/ f612 1 2265361"/>
              <a:gd name="f865" fmla="*/ f613 1 9905999"/>
              <a:gd name="f866" fmla="*/ f614 1 2265361"/>
              <a:gd name="f867" fmla="*/ f615 1 9905999"/>
              <a:gd name="f868" fmla="*/ f616 1 2265361"/>
              <a:gd name="f869" fmla="*/ f617 1 9905999"/>
              <a:gd name="f870" fmla="*/ f618 1 9905999"/>
              <a:gd name="f871" fmla="*/ f619 1 9905999"/>
              <a:gd name="f872" fmla="*/ f620 1 9905999"/>
              <a:gd name="f873" fmla="*/ f621 1 9905999"/>
              <a:gd name="f874" fmla="*/ f622 1 2265361"/>
              <a:gd name="f875" fmla="*/ f623 1 9905999"/>
              <a:gd name="f876" fmla="*/ f624 1 2265361"/>
              <a:gd name="f877" fmla="*/ f625 1 9905999"/>
              <a:gd name="f878" fmla="*/ f626 1 9905999"/>
              <a:gd name="f879" fmla="*/ f627 1 2265361"/>
              <a:gd name="f880" fmla="*/ f628 1 9905999"/>
              <a:gd name="f881" fmla="*/ f629 1 9905999"/>
              <a:gd name="f882" fmla="*/ f630 1 9905999"/>
              <a:gd name="f883" fmla="*/ f631 1 9905999"/>
              <a:gd name="f884" fmla="*/ f632 1 9905999"/>
              <a:gd name="f885" fmla="*/ f633 1 9905999"/>
              <a:gd name="f886" fmla="*/ f634 1 9905999"/>
              <a:gd name="f887" fmla="*/ f635 1 2265361"/>
              <a:gd name="f888" fmla="*/ f636 1 2265361"/>
              <a:gd name="f889" fmla="*/ f637 1 9905999"/>
              <a:gd name="f890" fmla="*/ f638 1 9905999"/>
              <a:gd name="f891" fmla="*/ f639 1 2265361"/>
              <a:gd name="f892" fmla="*/ f640 1 9905999"/>
              <a:gd name="f893" fmla="*/ f641 1 2265361"/>
              <a:gd name="f894" fmla="*/ f642 1 9905999"/>
              <a:gd name="f895" fmla="*/ f643 1 2265361"/>
              <a:gd name="f896" fmla="*/ f644 1 9905999"/>
              <a:gd name="f897" fmla="*/ f645 1 2265361"/>
              <a:gd name="f898" fmla="*/ f646 1 9905999"/>
              <a:gd name="f899" fmla="*/ f647 1 9905999"/>
              <a:gd name="f900" fmla="*/ f648 1 9905999"/>
              <a:gd name="f901" fmla="*/ f649 1 9905999"/>
              <a:gd name="f902" fmla="*/ f650 1 2265361"/>
              <a:gd name="f903" fmla="*/ f651 1 9905999"/>
              <a:gd name="f904" fmla="*/ f652 1 2265361"/>
              <a:gd name="f905" fmla="*/ f653 1 9905999"/>
              <a:gd name="f906" fmla="*/ f654 1 9905999"/>
              <a:gd name="f907" fmla="*/ f655 1 9905999"/>
              <a:gd name="f908" fmla="*/ f656 1 2265361"/>
              <a:gd name="f909" fmla="*/ f657 1 9905999"/>
              <a:gd name="f910" fmla="*/ f658 1 9905999"/>
              <a:gd name="f911" fmla="*/ f659 1 2265361"/>
              <a:gd name="f912" fmla="*/ f660 1 9905999"/>
              <a:gd name="f913" fmla="*/ f661 1 2265361"/>
              <a:gd name="f914" fmla="*/ f662 1 9905999"/>
              <a:gd name="f915" fmla="*/ f663 1 2265361"/>
              <a:gd name="f916" fmla="*/ f664 1 2265361"/>
              <a:gd name="f917" fmla="*/ f665 1 9905999"/>
              <a:gd name="f918" fmla="*/ f666 1 9905999"/>
              <a:gd name="f919" fmla="*/ f667 1 9905999"/>
              <a:gd name="f920" fmla="*/ f668 1 2265361"/>
              <a:gd name="f921" fmla="*/ f669 1 9905999"/>
              <a:gd name="f922" fmla="*/ f670 1 9905999"/>
              <a:gd name="f923" fmla="*/ f671 1 9905999"/>
              <a:gd name="f924" fmla="*/ f672 1 2265361"/>
              <a:gd name="f925" fmla="*/ f673 1 9905999"/>
              <a:gd name="f926" fmla="*/ f674 1 2265361"/>
              <a:gd name="f927" fmla="*/ f675 1 9905999"/>
              <a:gd name="f928" fmla="*/ f676 1 9905999"/>
              <a:gd name="f929" fmla="*/ f677 1 2265361"/>
              <a:gd name="f930" fmla="*/ f678 1 9905999"/>
              <a:gd name="f931" fmla="*/ f679 1 9905999"/>
              <a:gd name="f932" fmla="*/ f680 1 9905999"/>
              <a:gd name="f933" fmla="*/ f681 1 9905999"/>
              <a:gd name="f934" fmla="*/ f682 1 9905999"/>
              <a:gd name="f935" fmla="*/ f683 1 9905999"/>
              <a:gd name="f936" fmla="*/ f684 1 2265361"/>
              <a:gd name="f937" fmla="*/ f685 1 9905999"/>
              <a:gd name="f938" fmla="*/ f686 1 9905999"/>
              <a:gd name="f939" fmla="*/ f687 1 9905999"/>
              <a:gd name="f940" fmla="*/ f688 1 9905999"/>
              <a:gd name="f941" fmla="*/ f689 1 2265361"/>
              <a:gd name="f942" fmla="*/ f690 1 2265361"/>
              <a:gd name="f943" fmla="*/ f691 1 9905999"/>
              <a:gd name="f944" fmla="*/ f692 1 9905999"/>
              <a:gd name="f945" fmla="*/ f693 1 9905999"/>
              <a:gd name="f946" fmla="*/ f694 1 9905999"/>
              <a:gd name="f947" fmla="*/ f695 1 9905999"/>
              <a:gd name="f948" fmla="*/ f696 1 9905999"/>
              <a:gd name="f949" fmla="*/ f697 1 9905999"/>
              <a:gd name="f950" fmla="*/ f698 1 9905999"/>
              <a:gd name="f951" fmla="*/ f699 1 9905999"/>
              <a:gd name="f952" fmla="*/ f700 1 9905999"/>
              <a:gd name="f953" fmla="*/ f701 1 9905999"/>
              <a:gd name="f954" fmla="*/ f5 1 f449"/>
              <a:gd name="f955" fmla="*/ f6 1 f449"/>
              <a:gd name="f956" fmla="*/ f5 1 f450"/>
              <a:gd name="f957" fmla="*/ f7 1 f450"/>
              <a:gd name="f958" fmla="+- f702 0 f1"/>
              <a:gd name="f959" fmla="*/ f703 1 f449"/>
              <a:gd name="f960" fmla="*/ f704 1 f450"/>
              <a:gd name="f961" fmla="*/ f705 1 f449"/>
              <a:gd name="f962" fmla="*/ f706 1 f450"/>
              <a:gd name="f963" fmla="*/ f707 1 f449"/>
              <a:gd name="f964" fmla="*/ f708 1 f450"/>
              <a:gd name="f965" fmla="*/ f709 1 f450"/>
              <a:gd name="f966" fmla="*/ f710 1 f449"/>
              <a:gd name="f967" fmla="*/ f711 1 f449"/>
              <a:gd name="f968" fmla="*/ f712 1 f450"/>
              <a:gd name="f969" fmla="*/ f713 1 f449"/>
              <a:gd name="f970" fmla="*/ f714 1 f450"/>
              <a:gd name="f971" fmla="*/ f715 1 f449"/>
              <a:gd name="f972" fmla="*/ f716 1 f449"/>
              <a:gd name="f973" fmla="*/ f717 1 f450"/>
              <a:gd name="f974" fmla="*/ f718 1 f449"/>
              <a:gd name="f975" fmla="*/ f719 1 f450"/>
              <a:gd name="f976" fmla="*/ f720 1 f449"/>
              <a:gd name="f977" fmla="*/ f721 1 f450"/>
              <a:gd name="f978" fmla="*/ f722 1 f449"/>
              <a:gd name="f979" fmla="*/ f723 1 f450"/>
              <a:gd name="f980" fmla="*/ f724 1 f450"/>
              <a:gd name="f981" fmla="*/ f725 1 f450"/>
              <a:gd name="f982" fmla="*/ f726 1 f449"/>
              <a:gd name="f983" fmla="*/ f727 1 f449"/>
              <a:gd name="f984" fmla="*/ f728 1 f449"/>
              <a:gd name="f985" fmla="*/ f729 1 f449"/>
              <a:gd name="f986" fmla="*/ f730 1 f449"/>
              <a:gd name="f987" fmla="*/ f731 1 f449"/>
              <a:gd name="f988" fmla="*/ f732 1 f449"/>
              <a:gd name="f989" fmla="*/ f733 1 f449"/>
              <a:gd name="f990" fmla="*/ f734 1 f450"/>
              <a:gd name="f991" fmla="*/ f735 1 f449"/>
              <a:gd name="f992" fmla="*/ f736 1 f450"/>
              <a:gd name="f993" fmla="*/ f737 1 f449"/>
              <a:gd name="f994" fmla="*/ f738 1 f449"/>
              <a:gd name="f995" fmla="*/ f739 1 f450"/>
              <a:gd name="f996" fmla="*/ f740 1 f449"/>
              <a:gd name="f997" fmla="*/ f741 1 f450"/>
              <a:gd name="f998" fmla="*/ f742 1 f449"/>
              <a:gd name="f999" fmla="*/ f743 1 f449"/>
              <a:gd name="f1000" fmla="*/ f744 1 f450"/>
              <a:gd name="f1001" fmla="*/ f745 1 f449"/>
              <a:gd name="f1002" fmla="*/ f746 1 f450"/>
              <a:gd name="f1003" fmla="*/ f747 1 f449"/>
              <a:gd name="f1004" fmla="*/ f748 1 f449"/>
              <a:gd name="f1005" fmla="*/ f749 1 f450"/>
              <a:gd name="f1006" fmla="*/ f750 1 f449"/>
              <a:gd name="f1007" fmla="*/ f751 1 f449"/>
              <a:gd name="f1008" fmla="*/ f752 1 f449"/>
              <a:gd name="f1009" fmla="*/ f753 1 f450"/>
              <a:gd name="f1010" fmla="*/ f754 1 f449"/>
              <a:gd name="f1011" fmla="*/ f755 1 f450"/>
              <a:gd name="f1012" fmla="*/ f756 1 f449"/>
              <a:gd name="f1013" fmla="*/ f757 1 f449"/>
              <a:gd name="f1014" fmla="*/ f758 1 f449"/>
              <a:gd name="f1015" fmla="*/ f759 1 f450"/>
              <a:gd name="f1016" fmla="*/ f760 1 f449"/>
              <a:gd name="f1017" fmla="*/ f761 1 f449"/>
              <a:gd name="f1018" fmla="*/ f762 1 f449"/>
              <a:gd name="f1019" fmla="*/ f763 1 f450"/>
              <a:gd name="f1020" fmla="*/ f764 1 f449"/>
              <a:gd name="f1021" fmla="*/ f765 1 f449"/>
              <a:gd name="f1022" fmla="*/ f766 1 f449"/>
              <a:gd name="f1023" fmla="*/ f767 1 f450"/>
              <a:gd name="f1024" fmla="*/ f768 1 f449"/>
              <a:gd name="f1025" fmla="*/ f769 1 f449"/>
              <a:gd name="f1026" fmla="*/ f770 1 f449"/>
              <a:gd name="f1027" fmla="*/ f771 1 f449"/>
              <a:gd name="f1028" fmla="*/ f772 1 f449"/>
              <a:gd name="f1029" fmla="*/ f773 1 f449"/>
              <a:gd name="f1030" fmla="*/ f774 1 f449"/>
              <a:gd name="f1031" fmla="*/ f775 1 f449"/>
              <a:gd name="f1032" fmla="*/ f776 1 f450"/>
              <a:gd name="f1033" fmla="*/ f777 1 f449"/>
              <a:gd name="f1034" fmla="*/ f778 1 f449"/>
              <a:gd name="f1035" fmla="*/ f779 1 f449"/>
              <a:gd name="f1036" fmla="*/ f780 1 f449"/>
              <a:gd name="f1037" fmla="*/ f781 1 f449"/>
              <a:gd name="f1038" fmla="*/ f782 1 f449"/>
              <a:gd name="f1039" fmla="*/ f783 1 f449"/>
              <a:gd name="f1040" fmla="*/ f784 1 f449"/>
              <a:gd name="f1041" fmla="*/ f785 1 f449"/>
              <a:gd name="f1042" fmla="*/ f786 1 f449"/>
              <a:gd name="f1043" fmla="*/ f787 1 f449"/>
              <a:gd name="f1044" fmla="*/ f788 1 f449"/>
              <a:gd name="f1045" fmla="*/ f789 1 f450"/>
              <a:gd name="f1046" fmla="*/ f790 1 f449"/>
              <a:gd name="f1047" fmla="*/ f791 1 f449"/>
              <a:gd name="f1048" fmla="*/ f792 1 f450"/>
              <a:gd name="f1049" fmla="*/ f793 1 f450"/>
              <a:gd name="f1050" fmla="*/ f794 1 f449"/>
              <a:gd name="f1051" fmla="*/ f795 1 f449"/>
              <a:gd name="f1052" fmla="*/ f796 1 f449"/>
              <a:gd name="f1053" fmla="*/ f797 1 f450"/>
              <a:gd name="f1054" fmla="*/ f798 1 f449"/>
              <a:gd name="f1055" fmla="*/ f799 1 f449"/>
              <a:gd name="f1056" fmla="*/ f800 1 f449"/>
              <a:gd name="f1057" fmla="*/ f801 1 f450"/>
              <a:gd name="f1058" fmla="*/ f802 1 f449"/>
              <a:gd name="f1059" fmla="*/ f803 1 f449"/>
              <a:gd name="f1060" fmla="*/ f804 1 f449"/>
              <a:gd name="f1061" fmla="*/ f805 1 f450"/>
              <a:gd name="f1062" fmla="*/ f806 1 f449"/>
              <a:gd name="f1063" fmla="*/ f807 1 f450"/>
              <a:gd name="f1064" fmla="*/ f808 1 f449"/>
              <a:gd name="f1065" fmla="*/ f809 1 f450"/>
              <a:gd name="f1066" fmla="*/ f810 1 f450"/>
              <a:gd name="f1067" fmla="*/ f811 1 f449"/>
              <a:gd name="f1068" fmla="*/ f812 1 f449"/>
              <a:gd name="f1069" fmla="*/ f813 1 f449"/>
              <a:gd name="f1070" fmla="*/ f814 1 f450"/>
              <a:gd name="f1071" fmla="*/ f815 1 f450"/>
              <a:gd name="f1072" fmla="*/ f816 1 f449"/>
              <a:gd name="f1073" fmla="*/ f817 1 f449"/>
              <a:gd name="f1074" fmla="*/ f818 1 f449"/>
              <a:gd name="f1075" fmla="*/ f819 1 f449"/>
              <a:gd name="f1076" fmla="*/ f820 1 f449"/>
              <a:gd name="f1077" fmla="*/ f821 1 f449"/>
              <a:gd name="f1078" fmla="*/ f822 1 f449"/>
              <a:gd name="f1079" fmla="*/ f823 1 f449"/>
              <a:gd name="f1080" fmla="*/ f824 1 f449"/>
              <a:gd name="f1081" fmla="*/ f825 1 f449"/>
              <a:gd name="f1082" fmla="*/ f826 1 f449"/>
              <a:gd name="f1083" fmla="*/ f827 1 f449"/>
              <a:gd name="f1084" fmla="*/ f828 1 f449"/>
              <a:gd name="f1085" fmla="*/ f829 1 f449"/>
              <a:gd name="f1086" fmla="*/ f830 1 f449"/>
              <a:gd name="f1087" fmla="*/ f831 1 f449"/>
              <a:gd name="f1088" fmla="*/ f832 1 f450"/>
              <a:gd name="f1089" fmla="*/ f833 1 f449"/>
              <a:gd name="f1090" fmla="*/ f834 1 f449"/>
              <a:gd name="f1091" fmla="*/ f835 1 f449"/>
              <a:gd name="f1092" fmla="*/ f836 1 f450"/>
              <a:gd name="f1093" fmla="*/ f837 1 f449"/>
              <a:gd name="f1094" fmla="*/ f838 1 f450"/>
              <a:gd name="f1095" fmla="*/ f839 1 f449"/>
              <a:gd name="f1096" fmla="*/ f840 1 f449"/>
              <a:gd name="f1097" fmla="*/ f841 1 f450"/>
              <a:gd name="f1098" fmla="*/ f842 1 f449"/>
              <a:gd name="f1099" fmla="*/ f843 1 f450"/>
              <a:gd name="f1100" fmla="*/ f844 1 f449"/>
              <a:gd name="f1101" fmla="*/ f845 1 f450"/>
              <a:gd name="f1102" fmla="*/ f846 1 f449"/>
              <a:gd name="f1103" fmla="*/ f847 1 f450"/>
              <a:gd name="f1104" fmla="*/ f848 1 f449"/>
              <a:gd name="f1105" fmla="*/ f849 1 f450"/>
              <a:gd name="f1106" fmla="*/ f850 1 f449"/>
              <a:gd name="f1107" fmla="*/ f851 1 f449"/>
              <a:gd name="f1108" fmla="*/ f852 1 f450"/>
              <a:gd name="f1109" fmla="*/ f853 1 f449"/>
              <a:gd name="f1110" fmla="*/ f854 1 f450"/>
              <a:gd name="f1111" fmla="*/ f855 1 f449"/>
              <a:gd name="f1112" fmla="*/ f856 1 f449"/>
              <a:gd name="f1113" fmla="*/ f857 1 f450"/>
              <a:gd name="f1114" fmla="*/ f858 1 f449"/>
              <a:gd name="f1115" fmla="*/ f859 1 f450"/>
              <a:gd name="f1116" fmla="*/ f860 1 f449"/>
              <a:gd name="f1117" fmla="*/ f861 1 f449"/>
              <a:gd name="f1118" fmla="*/ f862 1 f450"/>
              <a:gd name="f1119" fmla="*/ f863 1 f449"/>
              <a:gd name="f1120" fmla="*/ f864 1 f450"/>
              <a:gd name="f1121" fmla="*/ f865 1 f449"/>
              <a:gd name="f1122" fmla="*/ f866 1 f450"/>
              <a:gd name="f1123" fmla="*/ f867 1 f449"/>
              <a:gd name="f1124" fmla="*/ f868 1 f450"/>
              <a:gd name="f1125" fmla="*/ f869 1 f449"/>
              <a:gd name="f1126" fmla="*/ f870 1 f449"/>
              <a:gd name="f1127" fmla="*/ f871 1 f449"/>
              <a:gd name="f1128" fmla="*/ f872 1 f449"/>
              <a:gd name="f1129" fmla="*/ f873 1 f449"/>
              <a:gd name="f1130" fmla="*/ f874 1 f450"/>
              <a:gd name="f1131" fmla="*/ f875 1 f449"/>
              <a:gd name="f1132" fmla="*/ f876 1 f450"/>
              <a:gd name="f1133" fmla="*/ f877 1 f449"/>
              <a:gd name="f1134" fmla="*/ f878 1 f449"/>
              <a:gd name="f1135" fmla="*/ f879 1 f450"/>
              <a:gd name="f1136" fmla="*/ f880 1 f449"/>
              <a:gd name="f1137" fmla="*/ f881 1 f449"/>
              <a:gd name="f1138" fmla="*/ f882 1 f449"/>
              <a:gd name="f1139" fmla="*/ f883 1 f449"/>
              <a:gd name="f1140" fmla="*/ f884 1 f449"/>
              <a:gd name="f1141" fmla="*/ f885 1 f449"/>
              <a:gd name="f1142" fmla="*/ f886 1 f449"/>
              <a:gd name="f1143" fmla="*/ f887 1 f450"/>
              <a:gd name="f1144" fmla="*/ f888 1 f450"/>
              <a:gd name="f1145" fmla="*/ f889 1 f449"/>
              <a:gd name="f1146" fmla="*/ f890 1 f449"/>
              <a:gd name="f1147" fmla="*/ f891 1 f450"/>
              <a:gd name="f1148" fmla="*/ f892 1 f449"/>
              <a:gd name="f1149" fmla="*/ f893 1 f450"/>
              <a:gd name="f1150" fmla="*/ f894 1 f449"/>
              <a:gd name="f1151" fmla="*/ f895 1 f450"/>
              <a:gd name="f1152" fmla="*/ f896 1 f449"/>
              <a:gd name="f1153" fmla="*/ f897 1 f450"/>
              <a:gd name="f1154" fmla="*/ f898 1 f449"/>
              <a:gd name="f1155" fmla="*/ f899 1 f449"/>
              <a:gd name="f1156" fmla="*/ f900 1 f449"/>
              <a:gd name="f1157" fmla="*/ f901 1 f449"/>
              <a:gd name="f1158" fmla="*/ f902 1 f450"/>
              <a:gd name="f1159" fmla="*/ f903 1 f449"/>
              <a:gd name="f1160" fmla="*/ f904 1 f450"/>
              <a:gd name="f1161" fmla="*/ f905 1 f449"/>
              <a:gd name="f1162" fmla="*/ f906 1 f449"/>
              <a:gd name="f1163" fmla="*/ f907 1 f449"/>
              <a:gd name="f1164" fmla="*/ f908 1 f450"/>
              <a:gd name="f1165" fmla="*/ f909 1 f449"/>
              <a:gd name="f1166" fmla="*/ f910 1 f449"/>
              <a:gd name="f1167" fmla="*/ f911 1 f450"/>
              <a:gd name="f1168" fmla="*/ f912 1 f449"/>
              <a:gd name="f1169" fmla="*/ f913 1 f450"/>
              <a:gd name="f1170" fmla="*/ f914 1 f449"/>
              <a:gd name="f1171" fmla="*/ f915 1 f450"/>
              <a:gd name="f1172" fmla="*/ f916 1 f450"/>
              <a:gd name="f1173" fmla="*/ f917 1 f449"/>
              <a:gd name="f1174" fmla="*/ f918 1 f449"/>
              <a:gd name="f1175" fmla="*/ f919 1 f449"/>
              <a:gd name="f1176" fmla="*/ f920 1 f450"/>
              <a:gd name="f1177" fmla="*/ f921 1 f449"/>
              <a:gd name="f1178" fmla="*/ f922 1 f449"/>
              <a:gd name="f1179" fmla="*/ f923 1 f449"/>
              <a:gd name="f1180" fmla="*/ f924 1 f450"/>
              <a:gd name="f1181" fmla="*/ f925 1 f449"/>
              <a:gd name="f1182" fmla="*/ f926 1 f450"/>
              <a:gd name="f1183" fmla="*/ f927 1 f449"/>
              <a:gd name="f1184" fmla="*/ f928 1 f449"/>
              <a:gd name="f1185" fmla="*/ f929 1 f450"/>
              <a:gd name="f1186" fmla="*/ f930 1 f449"/>
              <a:gd name="f1187" fmla="*/ f931 1 f449"/>
              <a:gd name="f1188" fmla="*/ f932 1 f449"/>
              <a:gd name="f1189" fmla="*/ f933 1 f449"/>
              <a:gd name="f1190" fmla="*/ f934 1 f449"/>
              <a:gd name="f1191" fmla="*/ f935 1 f449"/>
              <a:gd name="f1192" fmla="*/ f936 1 f450"/>
              <a:gd name="f1193" fmla="*/ f937 1 f449"/>
              <a:gd name="f1194" fmla="*/ f938 1 f449"/>
              <a:gd name="f1195" fmla="*/ f939 1 f449"/>
              <a:gd name="f1196" fmla="*/ f940 1 f449"/>
              <a:gd name="f1197" fmla="*/ f941 1 f450"/>
              <a:gd name="f1198" fmla="*/ f942 1 f450"/>
              <a:gd name="f1199" fmla="*/ f943 1 f449"/>
              <a:gd name="f1200" fmla="*/ f944 1 f449"/>
              <a:gd name="f1201" fmla="*/ f945 1 f449"/>
              <a:gd name="f1202" fmla="*/ f946 1 f449"/>
              <a:gd name="f1203" fmla="*/ f947 1 f449"/>
              <a:gd name="f1204" fmla="*/ f948 1 f449"/>
              <a:gd name="f1205" fmla="*/ f949 1 f449"/>
              <a:gd name="f1206" fmla="*/ f950 1 f449"/>
              <a:gd name="f1207" fmla="*/ f951 1 f449"/>
              <a:gd name="f1208" fmla="*/ f952 1 f449"/>
              <a:gd name="f1209" fmla="*/ f953 1 f449"/>
              <a:gd name="f1210" fmla="*/ f954 f444 1"/>
              <a:gd name="f1211" fmla="*/ f955 f444 1"/>
              <a:gd name="f1212" fmla="*/ f957 f445 1"/>
              <a:gd name="f1213" fmla="*/ f956 f445 1"/>
              <a:gd name="f1214" fmla="*/ f959 f444 1"/>
              <a:gd name="f1215" fmla="*/ f960 f445 1"/>
              <a:gd name="f1216" fmla="*/ f961 f444 1"/>
              <a:gd name="f1217" fmla="*/ f962 f445 1"/>
              <a:gd name="f1218" fmla="*/ f963 f444 1"/>
              <a:gd name="f1219" fmla="*/ f964 f445 1"/>
              <a:gd name="f1220" fmla="*/ f965 f445 1"/>
              <a:gd name="f1221" fmla="*/ f966 f444 1"/>
              <a:gd name="f1222" fmla="*/ f967 f444 1"/>
              <a:gd name="f1223" fmla="*/ f968 f445 1"/>
              <a:gd name="f1224" fmla="*/ f969 f444 1"/>
              <a:gd name="f1225" fmla="*/ f970 f445 1"/>
              <a:gd name="f1226" fmla="*/ f971 f444 1"/>
              <a:gd name="f1227" fmla="*/ f972 f444 1"/>
              <a:gd name="f1228" fmla="*/ f973 f445 1"/>
              <a:gd name="f1229" fmla="*/ f974 f444 1"/>
              <a:gd name="f1230" fmla="*/ f975 f445 1"/>
              <a:gd name="f1231" fmla="*/ f976 f444 1"/>
              <a:gd name="f1232" fmla="*/ f977 f445 1"/>
              <a:gd name="f1233" fmla="*/ f978 f444 1"/>
              <a:gd name="f1234" fmla="*/ f979 f445 1"/>
              <a:gd name="f1235" fmla="*/ f980 f445 1"/>
              <a:gd name="f1236" fmla="*/ f981 f445 1"/>
              <a:gd name="f1237" fmla="*/ f982 f444 1"/>
              <a:gd name="f1238" fmla="*/ f983 f444 1"/>
              <a:gd name="f1239" fmla="*/ f984 f444 1"/>
              <a:gd name="f1240" fmla="*/ f985 f444 1"/>
              <a:gd name="f1241" fmla="*/ f986 f444 1"/>
              <a:gd name="f1242" fmla="*/ f987 f444 1"/>
              <a:gd name="f1243" fmla="*/ f988 f444 1"/>
              <a:gd name="f1244" fmla="*/ f989 f444 1"/>
              <a:gd name="f1245" fmla="*/ f990 f445 1"/>
              <a:gd name="f1246" fmla="*/ f991 f444 1"/>
              <a:gd name="f1247" fmla="*/ f992 f445 1"/>
              <a:gd name="f1248" fmla="*/ f993 f444 1"/>
              <a:gd name="f1249" fmla="*/ f994 f444 1"/>
              <a:gd name="f1250" fmla="*/ f995 f445 1"/>
              <a:gd name="f1251" fmla="*/ f996 f444 1"/>
              <a:gd name="f1252" fmla="*/ f997 f445 1"/>
              <a:gd name="f1253" fmla="*/ f998 f444 1"/>
              <a:gd name="f1254" fmla="*/ f999 f444 1"/>
              <a:gd name="f1255" fmla="*/ f1000 f445 1"/>
              <a:gd name="f1256" fmla="*/ f1001 f444 1"/>
              <a:gd name="f1257" fmla="*/ f1002 f445 1"/>
              <a:gd name="f1258" fmla="*/ f1003 f444 1"/>
              <a:gd name="f1259" fmla="*/ f1004 f444 1"/>
              <a:gd name="f1260" fmla="*/ f1005 f445 1"/>
              <a:gd name="f1261" fmla="*/ f1006 f444 1"/>
              <a:gd name="f1262" fmla="*/ f1007 f444 1"/>
              <a:gd name="f1263" fmla="*/ f1008 f444 1"/>
              <a:gd name="f1264" fmla="*/ f1009 f445 1"/>
              <a:gd name="f1265" fmla="*/ f1010 f444 1"/>
              <a:gd name="f1266" fmla="*/ f1011 f445 1"/>
              <a:gd name="f1267" fmla="*/ f1012 f444 1"/>
              <a:gd name="f1268" fmla="*/ f1013 f444 1"/>
              <a:gd name="f1269" fmla="*/ f1014 f444 1"/>
              <a:gd name="f1270" fmla="*/ f1015 f445 1"/>
              <a:gd name="f1271" fmla="*/ f1016 f444 1"/>
              <a:gd name="f1272" fmla="*/ f1017 f444 1"/>
              <a:gd name="f1273" fmla="*/ f1018 f444 1"/>
              <a:gd name="f1274" fmla="*/ f1019 f445 1"/>
              <a:gd name="f1275" fmla="*/ f1020 f444 1"/>
              <a:gd name="f1276" fmla="*/ f1021 f444 1"/>
              <a:gd name="f1277" fmla="*/ f1022 f444 1"/>
              <a:gd name="f1278" fmla="*/ f1023 f445 1"/>
              <a:gd name="f1279" fmla="*/ f1024 f444 1"/>
              <a:gd name="f1280" fmla="*/ f1025 f444 1"/>
              <a:gd name="f1281" fmla="*/ f1026 f444 1"/>
              <a:gd name="f1282" fmla="*/ f1027 f444 1"/>
              <a:gd name="f1283" fmla="*/ f1028 f444 1"/>
              <a:gd name="f1284" fmla="*/ f1029 f444 1"/>
              <a:gd name="f1285" fmla="*/ f1030 f444 1"/>
              <a:gd name="f1286" fmla="*/ f1031 f444 1"/>
              <a:gd name="f1287" fmla="*/ f1032 f445 1"/>
              <a:gd name="f1288" fmla="*/ f1033 f444 1"/>
              <a:gd name="f1289" fmla="*/ f1034 f444 1"/>
              <a:gd name="f1290" fmla="*/ f1035 f444 1"/>
              <a:gd name="f1291" fmla="*/ f1036 f444 1"/>
              <a:gd name="f1292" fmla="*/ f1037 f444 1"/>
              <a:gd name="f1293" fmla="*/ f1038 f444 1"/>
              <a:gd name="f1294" fmla="*/ f1039 f444 1"/>
              <a:gd name="f1295" fmla="*/ f1040 f444 1"/>
              <a:gd name="f1296" fmla="*/ f1041 f444 1"/>
              <a:gd name="f1297" fmla="*/ f1042 f444 1"/>
              <a:gd name="f1298" fmla="*/ f1043 f444 1"/>
              <a:gd name="f1299" fmla="*/ f1044 f444 1"/>
              <a:gd name="f1300" fmla="*/ f1045 f445 1"/>
              <a:gd name="f1301" fmla="*/ f1046 f444 1"/>
              <a:gd name="f1302" fmla="*/ f1047 f444 1"/>
              <a:gd name="f1303" fmla="*/ f1048 f445 1"/>
              <a:gd name="f1304" fmla="*/ f1049 f445 1"/>
              <a:gd name="f1305" fmla="*/ f1050 f444 1"/>
              <a:gd name="f1306" fmla="*/ f1051 f444 1"/>
              <a:gd name="f1307" fmla="*/ f1052 f444 1"/>
              <a:gd name="f1308" fmla="*/ f1053 f445 1"/>
              <a:gd name="f1309" fmla="*/ f1054 f444 1"/>
              <a:gd name="f1310" fmla="*/ f1055 f444 1"/>
              <a:gd name="f1311" fmla="*/ f1056 f444 1"/>
              <a:gd name="f1312" fmla="*/ f1057 f445 1"/>
              <a:gd name="f1313" fmla="*/ f1058 f444 1"/>
              <a:gd name="f1314" fmla="*/ f1059 f444 1"/>
              <a:gd name="f1315" fmla="*/ f1060 f444 1"/>
              <a:gd name="f1316" fmla="*/ f1061 f445 1"/>
              <a:gd name="f1317" fmla="*/ f1062 f444 1"/>
              <a:gd name="f1318" fmla="*/ f1063 f445 1"/>
              <a:gd name="f1319" fmla="*/ f1064 f444 1"/>
              <a:gd name="f1320" fmla="*/ f1065 f445 1"/>
              <a:gd name="f1321" fmla="*/ f1066 f445 1"/>
              <a:gd name="f1322" fmla="*/ f1067 f444 1"/>
              <a:gd name="f1323" fmla="*/ f1068 f444 1"/>
              <a:gd name="f1324" fmla="*/ f1069 f444 1"/>
              <a:gd name="f1325" fmla="*/ f1070 f445 1"/>
              <a:gd name="f1326" fmla="*/ f1071 f445 1"/>
              <a:gd name="f1327" fmla="*/ f1072 f444 1"/>
              <a:gd name="f1328" fmla="*/ f1073 f444 1"/>
              <a:gd name="f1329" fmla="*/ f1074 f444 1"/>
              <a:gd name="f1330" fmla="*/ f1075 f444 1"/>
              <a:gd name="f1331" fmla="*/ f1076 f444 1"/>
              <a:gd name="f1332" fmla="*/ f1077 f444 1"/>
              <a:gd name="f1333" fmla="*/ f1078 f444 1"/>
              <a:gd name="f1334" fmla="*/ f1079 f444 1"/>
              <a:gd name="f1335" fmla="*/ f1080 f444 1"/>
              <a:gd name="f1336" fmla="*/ f1081 f444 1"/>
              <a:gd name="f1337" fmla="*/ f1082 f444 1"/>
              <a:gd name="f1338" fmla="*/ f1083 f444 1"/>
              <a:gd name="f1339" fmla="*/ f1084 f444 1"/>
              <a:gd name="f1340" fmla="*/ f1085 f444 1"/>
              <a:gd name="f1341" fmla="*/ f1086 f444 1"/>
              <a:gd name="f1342" fmla="*/ f1087 f444 1"/>
              <a:gd name="f1343" fmla="*/ f1088 f445 1"/>
              <a:gd name="f1344" fmla="*/ f1089 f444 1"/>
              <a:gd name="f1345" fmla="*/ f1090 f444 1"/>
              <a:gd name="f1346" fmla="*/ f1091 f444 1"/>
              <a:gd name="f1347" fmla="*/ f1092 f445 1"/>
              <a:gd name="f1348" fmla="*/ f1093 f444 1"/>
              <a:gd name="f1349" fmla="*/ f1094 f445 1"/>
              <a:gd name="f1350" fmla="*/ f1095 f444 1"/>
              <a:gd name="f1351" fmla="*/ f1096 f444 1"/>
              <a:gd name="f1352" fmla="*/ f1097 f445 1"/>
              <a:gd name="f1353" fmla="*/ f1098 f444 1"/>
              <a:gd name="f1354" fmla="*/ f1099 f445 1"/>
              <a:gd name="f1355" fmla="*/ f1100 f444 1"/>
              <a:gd name="f1356" fmla="*/ f1101 f445 1"/>
              <a:gd name="f1357" fmla="*/ f1102 f444 1"/>
              <a:gd name="f1358" fmla="*/ f1103 f445 1"/>
              <a:gd name="f1359" fmla="*/ f1104 f444 1"/>
              <a:gd name="f1360" fmla="*/ f1105 f445 1"/>
              <a:gd name="f1361" fmla="*/ f1106 f444 1"/>
              <a:gd name="f1362" fmla="*/ f1107 f444 1"/>
              <a:gd name="f1363" fmla="*/ f1108 f445 1"/>
              <a:gd name="f1364" fmla="*/ f1109 f444 1"/>
              <a:gd name="f1365" fmla="*/ f1110 f445 1"/>
              <a:gd name="f1366" fmla="*/ f1111 f444 1"/>
              <a:gd name="f1367" fmla="*/ f1112 f444 1"/>
              <a:gd name="f1368" fmla="*/ f1113 f445 1"/>
              <a:gd name="f1369" fmla="*/ f1114 f444 1"/>
              <a:gd name="f1370" fmla="*/ f1115 f445 1"/>
              <a:gd name="f1371" fmla="*/ f1116 f444 1"/>
              <a:gd name="f1372" fmla="*/ f1117 f444 1"/>
              <a:gd name="f1373" fmla="*/ f1118 f445 1"/>
              <a:gd name="f1374" fmla="*/ f1119 f444 1"/>
              <a:gd name="f1375" fmla="*/ f1120 f445 1"/>
              <a:gd name="f1376" fmla="*/ f1121 f444 1"/>
              <a:gd name="f1377" fmla="*/ f1122 f445 1"/>
              <a:gd name="f1378" fmla="*/ f1123 f444 1"/>
              <a:gd name="f1379" fmla="*/ f1124 f445 1"/>
              <a:gd name="f1380" fmla="*/ f1125 f444 1"/>
              <a:gd name="f1381" fmla="*/ f1126 f444 1"/>
              <a:gd name="f1382" fmla="*/ f1127 f444 1"/>
              <a:gd name="f1383" fmla="*/ f1128 f444 1"/>
              <a:gd name="f1384" fmla="*/ f1129 f444 1"/>
              <a:gd name="f1385" fmla="*/ f1130 f445 1"/>
              <a:gd name="f1386" fmla="*/ f1131 f444 1"/>
              <a:gd name="f1387" fmla="*/ f1132 f445 1"/>
              <a:gd name="f1388" fmla="*/ f1133 f444 1"/>
              <a:gd name="f1389" fmla="*/ f1134 f444 1"/>
              <a:gd name="f1390" fmla="*/ f1135 f445 1"/>
              <a:gd name="f1391" fmla="*/ f1136 f444 1"/>
              <a:gd name="f1392" fmla="*/ f1137 f444 1"/>
              <a:gd name="f1393" fmla="*/ f1138 f444 1"/>
              <a:gd name="f1394" fmla="*/ f1139 f444 1"/>
              <a:gd name="f1395" fmla="*/ f1140 f444 1"/>
              <a:gd name="f1396" fmla="*/ f1141 f444 1"/>
              <a:gd name="f1397" fmla="*/ f1142 f444 1"/>
              <a:gd name="f1398" fmla="*/ f1143 f445 1"/>
              <a:gd name="f1399" fmla="*/ f1144 f445 1"/>
              <a:gd name="f1400" fmla="*/ f1145 f444 1"/>
              <a:gd name="f1401" fmla="*/ f1146 f444 1"/>
              <a:gd name="f1402" fmla="*/ f1147 f445 1"/>
              <a:gd name="f1403" fmla="*/ f1148 f444 1"/>
              <a:gd name="f1404" fmla="*/ f1149 f445 1"/>
              <a:gd name="f1405" fmla="*/ f1150 f444 1"/>
              <a:gd name="f1406" fmla="*/ f1151 f445 1"/>
              <a:gd name="f1407" fmla="*/ f1152 f444 1"/>
              <a:gd name="f1408" fmla="*/ f1153 f445 1"/>
              <a:gd name="f1409" fmla="*/ f1154 f444 1"/>
              <a:gd name="f1410" fmla="*/ f1155 f444 1"/>
              <a:gd name="f1411" fmla="*/ f1156 f444 1"/>
              <a:gd name="f1412" fmla="*/ f1157 f444 1"/>
              <a:gd name="f1413" fmla="*/ f1158 f445 1"/>
              <a:gd name="f1414" fmla="*/ f1159 f444 1"/>
              <a:gd name="f1415" fmla="*/ f1160 f445 1"/>
              <a:gd name="f1416" fmla="*/ f1161 f444 1"/>
              <a:gd name="f1417" fmla="*/ f1162 f444 1"/>
              <a:gd name="f1418" fmla="*/ f1163 f444 1"/>
              <a:gd name="f1419" fmla="*/ f1164 f445 1"/>
              <a:gd name="f1420" fmla="*/ f1165 f444 1"/>
              <a:gd name="f1421" fmla="*/ f1166 f444 1"/>
              <a:gd name="f1422" fmla="*/ f1167 f445 1"/>
              <a:gd name="f1423" fmla="*/ f1168 f444 1"/>
              <a:gd name="f1424" fmla="*/ f1169 f445 1"/>
              <a:gd name="f1425" fmla="*/ f1170 f444 1"/>
              <a:gd name="f1426" fmla="*/ f1171 f445 1"/>
              <a:gd name="f1427" fmla="*/ f1172 f445 1"/>
              <a:gd name="f1428" fmla="*/ f1173 f444 1"/>
              <a:gd name="f1429" fmla="*/ f1174 f444 1"/>
              <a:gd name="f1430" fmla="*/ f1175 f444 1"/>
              <a:gd name="f1431" fmla="*/ f1176 f445 1"/>
              <a:gd name="f1432" fmla="*/ f1177 f444 1"/>
              <a:gd name="f1433" fmla="*/ f1178 f444 1"/>
              <a:gd name="f1434" fmla="*/ f1179 f444 1"/>
              <a:gd name="f1435" fmla="*/ f1180 f445 1"/>
              <a:gd name="f1436" fmla="*/ f1181 f444 1"/>
              <a:gd name="f1437" fmla="*/ f1182 f445 1"/>
              <a:gd name="f1438" fmla="*/ f1183 f444 1"/>
              <a:gd name="f1439" fmla="*/ f1184 f444 1"/>
              <a:gd name="f1440" fmla="*/ f1185 f445 1"/>
              <a:gd name="f1441" fmla="*/ f1186 f444 1"/>
              <a:gd name="f1442" fmla="*/ f1187 f444 1"/>
              <a:gd name="f1443" fmla="*/ f1188 f444 1"/>
              <a:gd name="f1444" fmla="*/ f1189 f444 1"/>
              <a:gd name="f1445" fmla="*/ f1190 f444 1"/>
              <a:gd name="f1446" fmla="*/ f1191 f444 1"/>
              <a:gd name="f1447" fmla="*/ f1192 f445 1"/>
              <a:gd name="f1448" fmla="*/ f1193 f444 1"/>
              <a:gd name="f1449" fmla="*/ f1194 f444 1"/>
              <a:gd name="f1450" fmla="*/ f1195 f444 1"/>
              <a:gd name="f1451" fmla="*/ f1196 f444 1"/>
              <a:gd name="f1452" fmla="*/ f1197 f445 1"/>
              <a:gd name="f1453" fmla="*/ f1198 f445 1"/>
              <a:gd name="f1454" fmla="*/ f1199 f444 1"/>
              <a:gd name="f1455" fmla="*/ f1200 f444 1"/>
              <a:gd name="f1456" fmla="*/ f1201 f444 1"/>
              <a:gd name="f1457" fmla="*/ f1202 f444 1"/>
              <a:gd name="f1458" fmla="*/ f1203 f444 1"/>
              <a:gd name="f1459" fmla="*/ f1204 f444 1"/>
              <a:gd name="f1460" fmla="*/ f1205 f444 1"/>
              <a:gd name="f1461" fmla="*/ f1206 f444 1"/>
              <a:gd name="f1462" fmla="*/ f1207 f444 1"/>
              <a:gd name="f1463" fmla="*/ f1208 f444 1"/>
              <a:gd name="f1464" fmla="*/ f1209 f44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958">
                <a:pos x="f1214" y="f1215"/>
              </a:cxn>
              <a:cxn ang="f958">
                <a:pos x="f1216" y="f1215"/>
              </a:cxn>
              <a:cxn ang="f958">
                <a:pos x="f1216" y="f1217"/>
              </a:cxn>
              <a:cxn ang="f958">
                <a:pos x="f1214" y="f1217"/>
              </a:cxn>
              <a:cxn ang="f958">
                <a:pos x="f1214" y="f1215"/>
              </a:cxn>
              <a:cxn ang="f958">
                <a:pos x="f1218" y="f1219"/>
              </a:cxn>
              <a:cxn ang="f958">
                <a:pos x="f1218" y="f1220"/>
              </a:cxn>
              <a:cxn ang="f958">
                <a:pos x="f1221" y="f1220"/>
              </a:cxn>
              <a:cxn ang="f958">
                <a:pos x="f1222" y="f1223"/>
              </a:cxn>
              <a:cxn ang="f958">
                <a:pos x="f1221" y="f1219"/>
              </a:cxn>
              <a:cxn ang="f958">
                <a:pos x="f1218" y="f1219"/>
              </a:cxn>
              <a:cxn ang="f958">
                <a:pos x="f1224" y="f1219"/>
              </a:cxn>
              <a:cxn ang="f958">
                <a:pos x="f1224" y="f1225"/>
              </a:cxn>
              <a:cxn ang="f958">
                <a:pos x="f1226" y="f1225"/>
              </a:cxn>
              <a:cxn ang="f958">
                <a:pos x="f1227" y="f1228"/>
              </a:cxn>
              <a:cxn ang="f958">
                <a:pos x="f1226" y="f1219"/>
              </a:cxn>
              <a:cxn ang="f958">
                <a:pos x="f1224" y="f1219"/>
              </a:cxn>
              <a:cxn ang="f958">
                <a:pos x="f1229" y="f1230"/>
              </a:cxn>
              <a:cxn ang="f958">
                <a:pos x="f1231" y="f1232"/>
              </a:cxn>
              <a:cxn ang="f958">
                <a:pos x="f1233" y="f1234"/>
              </a:cxn>
              <a:cxn ang="f958">
                <a:pos x="f1231" y="f1235"/>
              </a:cxn>
              <a:cxn ang="f958">
                <a:pos x="f1229" y="f1236"/>
              </a:cxn>
              <a:cxn ang="f958">
                <a:pos x="f1237" y="f1235"/>
              </a:cxn>
              <a:cxn ang="f958">
                <a:pos x="f1238" y="f1234"/>
              </a:cxn>
              <a:cxn ang="f958">
                <a:pos x="f1237" y="f1232"/>
              </a:cxn>
              <a:cxn ang="f958">
                <a:pos x="f1229" y="f1230"/>
              </a:cxn>
              <a:cxn ang="f958">
                <a:pos x="f1239" y="f1230"/>
              </a:cxn>
              <a:cxn ang="f958">
                <a:pos x="f1240" y="f1232"/>
              </a:cxn>
              <a:cxn ang="f958">
                <a:pos x="f1241" y="f1234"/>
              </a:cxn>
              <a:cxn ang="f958">
                <a:pos x="f1240" y="f1235"/>
              </a:cxn>
              <a:cxn ang="f958">
                <a:pos x="f1239" y="f1236"/>
              </a:cxn>
              <a:cxn ang="f958">
                <a:pos x="f1242" y="f1235"/>
              </a:cxn>
              <a:cxn ang="f958">
                <a:pos x="f1243" y="f1234"/>
              </a:cxn>
              <a:cxn ang="f958">
                <a:pos x="f1242" y="f1232"/>
              </a:cxn>
              <a:cxn ang="f958">
                <a:pos x="f1239" y="f1230"/>
              </a:cxn>
              <a:cxn ang="f958">
                <a:pos x="f1244" y="f1245"/>
              </a:cxn>
              <a:cxn ang="f958">
                <a:pos x="f1221" y="f1245"/>
              </a:cxn>
              <a:cxn ang="f958">
                <a:pos x="f1246" y="f1247"/>
              </a:cxn>
              <a:cxn ang="f958">
                <a:pos x="f1248" y="f1223"/>
              </a:cxn>
              <a:cxn ang="f958">
                <a:pos x="f1249" y="f1250"/>
              </a:cxn>
              <a:cxn ang="f958">
                <a:pos x="f1251" y="f1252"/>
              </a:cxn>
              <a:cxn ang="f958">
                <a:pos x="f1218" y="f1252"/>
              </a:cxn>
              <a:cxn ang="f958">
                <a:pos x="f1218" y="f1215"/>
              </a:cxn>
              <a:cxn ang="f958">
                <a:pos x="f1244" y="f1215"/>
              </a:cxn>
              <a:cxn ang="f958">
                <a:pos x="f1244" y="f1245"/>
              </a:cxn>
              <a:cxn ang="f958">
                <a:pos x="f1253" y="f1245"/>
              </a:cxn>
              <a:cxn ang="f958">
                <a:pos x="f1254" y="f1245"/>
              </a:cxn>
              <a:cxn ang="f958">
                <a:pos x="f1254" y="f1255"/>
              </a:cxn>
              <a:cxn ang="f958">
                <a:pos x="f1256" y="f1257"/>
              </a:cxn>
              <a:cxn ang="f958">
                <a:pos x="f1258" y="f1255"/>
              </a:cxn>
              <a:cxn ang="f958">
                <a:pos x="f1258" y="f1245"/>
              </a:cxn>
              <a:cxn ang="f958">
                <a:pos x="f1259" y="f1245"/>
              </a:cxn>
              <a:cxn ang="f958">
                <a:pos x="f1259" y="f1255"/>
              </a:cxn>
              <a:cxn ang="f958">
                <a:pos x="f1256" y="f1260"/>
              </a:cxn>
              <a:cxn ang="f958">
                <a:pos x="f1253" y="f1255"/>
              </a:cxn>
              <a:cxn ang="f958">
                <a:pos x="f1253" y="f1245"/>
              </a:cxn>
              <a:cxn ang="f958">
                <a:pos x="f1261" y="f1245"/>
              </a:cxn>
              <a:cxn ang="f958">
                <a:pos x="f1226" y="f1245"/>
              </a:cxn>
              <a:cxn ang="f958">
                <a:pos x="f1262" y="f1247"/>
              </a:cxn>
              <a:cxn ang="f958">
                <a:pos x="f1263" y="f1228"/>
              </a:cxn>
              <a:cxn ang="f958">
                <a:pos x="f1262" y="f1264"/>
              </a:cxn>
              <a:cxn ang="f958">
                <a:pos x="f1265" y="f1266"/>
              </a:cxn>
              <a:cxn ang="f958">
                <a:pos x="f1267" y="f1215"/>
              </a:cxn>
              <a:cxn ang="f958">
                <a:pos x="f1268" y="f1215"/>
              </a:cxn>
              <a:cxn ang="f958">
                <a:pos x="f1269" y="f1270"/>
              </a:cxn>
              <a:cxn ang="f958">
                <a:pos x="f1224" y="f1270"/>
              </a:cxn>
              <a:cxn ang="f958">
                <a:pos x="f1224" y="f1215"/>
              </a:cxn>
              <a:cxn ang="f958">
                <a:pos x="f1261" y="f1215"/>
              </a:cxn>
              <a:cxn ang="f958">
                <a:pos x="f1261" y="f1245"/>
              </a:cxn>
              <a:cxn ang="f958">
                <a:pos x="f1271" y="f1245"/>
              </a:cxn>
              <a:cxn ang="f958">
                <a:pos x="f1272" y="f1245"/>
              </a:cxn>
              <a:cxn ang="f958">
                <a:pos x="f1273" y="f1274"/>
              </a:cxn>
              <a:cxn ang="f958">
                <a:pos x="f1273" y="f1245"/>
              </a:cxn>
              <a:cxn ang="f958">
                <a:pos x="f1275" y="f1245"/>
              </a:cxn>
              <a:cxn ang="f958">
                <a:pos x="f1275" y="f1215"/>
              </a:cxn>
              <a:cxn ang="f958">
                <a:pos x="f1276" y="f1215"/>
              </a:cxn>
              <a:cxn ang="f958">
                <a:pos x="f1277" y="f1278"/>
              </a:cxn>
              <a:cxn ang="f958">
                <a:pos x="f1277" y="f1215"/>
              </a:cxn>
              <a:cxn ang="f958">
                <a:pos x="f1271" y="f1215"/>
              </a:cxn>
              <a:cxn ang="f958">
                <a:pos x="f1271" y="f1245"/>
              </a:cxn>
              <a:cxn ang="f958">
                <a:pos x="f1279" y="f1245"/>
              </a:cxn>
              <a:cxn ang="f958">
                <a:pos x="f1280" y="f1245"/>
              </a:cxn>
              <a:cxn ang="f958">
                <a:pos x="f1280" y="f1215"/>
              </a:cxn>
              <a:cxn ang="f958">
                <a:pos x="f1279" y="f1215"/>
              </a:cxn>
              <a:cxn ang="f958">
                <a:pos x="f1279" y="f1245"/>
              </a:cxn>
              <a:cxn ang="f958">
                <a:pos x="f1281" y="f1245"/>
              </a:cxn>
              <a:cxn ang="f958">
                <a:pos x="f1282" y="f1245"/>
              </a:cxn>
              <a:cxn ang="f958">
                <a:pos x="f1282" y="f1219"/>
              </a:cxn>
              <a:cxn ang="f958">
                <a:pos x="f1283" y="f1219"/>
              </a:cxn>
              <a:cxn ang="f958">
                <a:pos x="f1283" y="f1215"/>
              </a:cxn>
              <a:cxn ang="f958">
                <a:pos x="f1284" y="f1215"/>
              </a:cxn>
              <a:cxn ang="f958">
                <a:pos x="f1284" y="f1219"/>
              </a:cxn>
              <a:cxn ang="f958">
                <a:pos x="f1281" y="f1219"/>
              </a:cxn>
              <a:cxn ang="f958">
                <a:pos x="f1281" y="f1245"/>
              </a:cxn>
              <a:cxn ang="f958">
                <a:pos x="f1285" y="f1245"/>
              </a:cxn>
              <a:cxn ang="f958">
                <a:pos x="f1286" y="f1245"/>
              </a:cxn>
              <a:cxn ang="f958">
                <a:pos x="f1286" y="f1287"/>
              </a:cxn>
              <a:cxn ang="f958">
                <a:pos x="f1288" y="f1287"/>
              </a:cxn>
              <a:cxn ang="f958">
                <a:pos x="f1288" y="f1215"/>
              </a:cxn>
              <a:cxn ang="f958">
                <a:pos x="f1285" y="f1215"/>
              </a:cxn>
              <a:cxn ang="f958">
                <a:pos x="f1285" y="f1245"/>
              </a:cxn>
              <a:cxn ang="f958">
                <a:pos x="f1289" y="f1245"/>
              </a:cxn>
              <a:cxn ang="f958">
                <a:pos x="f1290" y="f1245"/>
              </a:cxn>
              <a:cxn ang="f958">
                <a:pos x="f1290" y="f1255"/>
              </a:cxn>
              <a:cxn ang="f958">
                <a:pos x="f1291" y="f1257"/>
              </a:cxn>
              <a:cxn ang="f958">
                <a:pos x="f1292" y="f1255"/>
              </a:cxn>
              <a:cxn ang="f958">
                <a:pos x="f1292" y="f1245"/>
              </a:cxn>
              <a:cxn ang="f958">
                <a:pos x="f1293" y="f1245"/>
              </a:cxn>
              <a:cxn ang="f958">
                <a:pos x="f1293" y="f1255"/>
              </a:cxn>
              <a:cxn ang="f958">
                <a:pos x="f1291" y="f1260"/>
              </a:cxn>
              <a:cxn ang="f958">
                <a:pos x="f1289" y="f1255"/>
              </a:cxn>
              <a:cxn ang="f958">
                <a:pos x="f1289" y="f1245"/>
              </a:cxn>
              <a:cxn ang="f958">
                <a:pos x="f1294" y="f1245"/>
              </a:cxn>
              <a:cxn ang="f958">
                <a:pos x="f1295" y="f1245"/>
              </a:cxn>
              <a:cxn ang="f958">
                <a:pos x="f1296" y="f1274"/>
              </a:cxn>
              <a:cxn ang="f958">
                <a:pos x="f1296" y="f1245"/>
              </a:cxn>
              <a:cxn ang="f958">
                <a:pos x="f1297" y="f1245"/>
              </a:cxn>
              <a:cxn ang="f958">
                <a:pos x="f1297" y="f1215"/>
              </a:cxn>
              <a:cxn ang="f958">
                <a:pos x="f1298" y="f1215"/>
              </a:cxn>
              <a:cxn ang="f958">
                <a:pos x="f1299" y="f1278"/>
              </a:cxn>
              <a:cxn ang="f958">
                <a:pos x="f1299" y="f1215"/>
              </a:cxn>
              <a:cxn ang="f958">
                <a:pos x="f1294" y="f1215"/>
              </a:cxn>
              <a:cxn ang="f958">
                <a:pos x="f1294" y="f1245"/>
              </a:cxn>
              <a:cxn ang="f958">
                <a:pos x="f1229" y="f1300"/>
              </a:cxn>
              <a:cxn ang="f958">
                <a:pos x="f1301" y="f1247"/>
              </a:cxn>
              <a:cxn ang="f958">
                <a:pos x="f1302" y="f1234"/>
              </a:cxn>
              <a:cxn ang="f958">
                <a:pos x="f1301" y="f1303"/>
              </a:cxn>
              <a:cxn ang="f958">
                <a:pos x="f1229" y="f1304"/>
              </a:cxn>
              <a:cxn ang="f958">
                <a:pos x="f1233" y="f1303"/>
              </a:cxn>
              <a:cxn ang="f958">
                <a:pos x="f1305" y="f1234"/>
              </a:cxn>
              <a:cxn ang="f958">
                <a:pos x="f1233" y="f1247"/>
              </a:cxn>
              <a:cxn ang="f958">
                <a:pos x="f1229" y="f1300"/>
              </a:cxn>
              <a:cxn ang="f958">
                <a:pos x="f1306" y="f1300"/>
              </a:cxn>
              <a:cxn ang="f958">
                <a:pos x="f1307" y="f1308"/>
              </a:cxn>
              <a:cxn ang="f958">
                <a:pos x="f1309" y="f1228"/>
              </a:cxn>
              <a:cxn ang="f958">
                <a:pos x="f1310" y="f1228"/>
              </a:cxn>
              <a:cxn ang="f958">
                <a:pos x="f1311" y="f1312"/>
              </a:cxn>
              <a:cxn ang="f958">
                <a:pos x="f1306" y="f1230"/>
              </a:cxn>
              <a:cxn ang="f958">
                <a:pos x="f1313" y="f1232"/>
              </a:cxn>
              <a:cxn ang="f958">
                <a:pos x="f1314" y="f1234"/>
              </a:cxn>
              <a:cxn ang="f958">
                <a:pos x="f1315" y="f1316"/>
              </a:cxn>
              <a:cxn ang="f958">
                <a:pos x="f1306" y="f1257"/>
              </a:cxn>
              <a:cxn ang="f958">
                <a:pos x="f1317" y="f1318"/>
              </a:cxn>
              <a:cxn ang="f958">
                <a:pos x="f1319" y="f1320"/>
              </a:cxn>
              <a:cxn ang="f958">
                <a:pos x="f1306" y="f1320"/>
              </a:cxn>
              <a:cxn ang="f958">
                <a:pos x="f1306" y="f1321"/>
              </a:cxn>
              <a:cxn ang="f958">
                <a:pos x="f1322" y="f1321"/>
              </a:cxn>
              <a:cxn ang="f958">
                <a:pos x="f1322" y="f1215"/>
              </a:cxn>
              <a:cxn ang="f958">
                <a:pos x="f1323" y="f1215"/>
              </a:cxn>
              <a:cxn ang="f958">
                <a:pos x="f1324" y="f1325"/>
              </a:cxn>
              <a:cxn ang="f958">
                <a:pos x="f1306" y="f1304"/>
              </a:cxn>
              <a:cxn ang="f958">
                <a:pos x="f1314" y="f1326"/>
              </a:cxn>
              <a:cxn ang="f958">
                <a:pos x="f1327" y="f1234"/>
              </a:cxn>
              <a:cxn ang="f958">
                <a:pos x="f1314" y="f1247"/>
              </a:cxn>
              <a:cxn ang="f958">
                <a:pos x="f1306" y="f1300"/>
              </a:cxn>
              <a:cxn ang="f958">
                <a:pos x="f1328" y="f1300"/>
              </a:cxn>
              <a:cxn ang="f958">
                <a:pos x="f1329" y="f1308"/>
              </a:cxn>
              <a:cxn ang="f958">
                <a:pos x="f1330" y="f1228"/>
              </a:cxn>
              <a:cxn ang="f958">
                <a:pos x="f1331" y="f1228"/>
              </a:cxn>
              <a:cxn ang="f958">
                <a:pos x="f1332" y="f1312"/>
              </a:cxn>
              <a:cxn ang="f958">
                <a:pos x="f1328" y="f1230"/>
              </a:cxn>
              <a:cxn ang="f958">
                <a:pos x="f1333" y="f1232"/>
              </a:cxn>
              <a:cxn ang="f958">
                <a:pos x="f1334" y="f1234"/>
              </a:cxn>
              <a:cxn ang="f958">
                <a:pos x="f1333" y="f1316"/>
              </a:cxn>
              <a:cxn ang="f958">
                <a:pos x="f1328" y="f1257"/>
              </a:cxn>
              <a:cxn ang="f958">
                <a:pos x="f1335" y="f1318"/>
              </a:cxn>
              <a:cxn ang="f958">
                <a:pos x="f1336" y="f1320"/>
              </a:cxn>
              <a:cxn ang="f958">
                <a:pos x="f1328" y="f1320"/>
              </a:cxn>
              <a:cxn ang="f958">
                <a:pos x="f1328" y="f1321"/>
              </a:cxn>
              <a:cxn ang="f958">
                <a:pos x="f1337" y="f1321"/>
              </a:cxn>
              <a:cxn ang="f958">
                <a:pos x="f1337" y="f1215"/>
              </a:cxn>
              <a:cxn ang="f958">
                <a:pos x="f1338" y="f1215"/>
              </a:cxn>
              <a:cxn ang="f958">
                <a:pos x="f1339" y="f1325"/>
              </a:cxn>
              <a:cxn ang="f958">
                <a:pos x="f1328" y="f1304"/>
              </a:cxn>
              <a:cxn ang="f958">
                <a:pos x="f1334" y="f1326"/>
              </a:cxn>
              <a:cxn ang="f958">
                <a:pos x="f1340" y="f1234"/>
              </a:cxn>
              <a:cxn ang="f958">
                <a:pos x="f1334" y="f1247"/>
              </a:cxn>
              <a:cxn ang="f958">
                <a:pos x="f1328" y="f1300"/>
              </a:cxn>
              <a:cxn ang="f958">
                <a:pos x="f1341" y="f1300"/>
              </a:cxn>
              <a:cxn ang="f958">
                <a:pos x="f1342" y="f1343"/>
              </a:cxn>
              <a:cxn ang="f958">
                <a:pos x="f1344" y="f1228"/>
              </a:cxn>
              <a:cxn ang="f958">
                <a:pos x="f1345" y="f1228"/>
              </a:cxn>
              <a:cxn ang="f958">
                <a:pos x="f1346" y="f1347"/>
              </a:cxn>
              <a:cxn ang="f958">
                <a:pos x="f1348" y="f1349"/>
              </a:cxn>
              <a:cxn ang="f958">
                <a:pos x="f1350" y="f1347"/>
              </a:cxn>
              <a:cxn ang="f958">
                <a:pos x="f1351" y="f1352"/>
              </a:cxn>
              <a:cxn ang="f958">
                <a:pos x="f1353" y="f1354"/>
              </a:cxn>
              <a:cxn ang="f958">
                <a:pos x="f1355" y="f1356"/>
              </a:cxn>
              <a:cxn ang="f958">
                <a:pos x="f1357" y="f1358"/>
              </a:cxn>
              <a:cxn ang="f958">
                <a:pos x="f1359" y="f1360"/>
              </a:cxn>
              <a:cxn ang="f958">
                <a:pos x="f1361" y="f1260"/>
              </a:cxn>
              <a:cxn ang="f958">
                <a:pos x="f1362" y="f1363"/>
              </a:cxn>
              <a:cxn ang="f958">
                <a:pos x="f1364" y="f1365"/>
              </a:cxn>
              <a:cxn ang="f958">
                <a:pos x="f1366" y="f1365"/>
              </a:cxn>
              <a:cxn ang="f958">
                <a:pos x="f1367" y="f1368"/>
              </a:cxn>
              <a:cxn ang="f958">
                <a:pos x="f1361" y="f1257"/>
              </a:cxn>
              <a:cxn ang="f958">
                <a:pos x="f1369" y="f1370"/>
              </a:cxn>
              <a:cxn ang="f958">
                <a:pos x="f1371" y="f1358"/>
              </a:cxn>
              <a:cxn ang="f958">
                <a:pos x="f1372" y="f1373"/>
              </a:cxn>
              <a:cxn ang="f958">
                <a:pos x="f1374" y="f1375"/>
              </a:cxn>
              <a:cxn ang="f958">
                <a:pos x="f1376" y="f1377"/>
              </a:cxn>
              <a:cxn ang="f958">
                <a:pos x="f1378" y="f1379"/>
              </a:cxn>
              <a:cxn ang="f958">
                <a:pos x="f1341" y="f1300"/>
              </a:cxn>
              <a:cxn ang="f958">
                <a:pos x="f1239" y="f1300"/>
              </a:cxn>
              <a:cxn ang="f958">
                <a:pos x="f1243" y="f1247"/>
              </a:cxn>
              <a:cxn ang="f958">
                <a:pos x="f1380" y="f1234"/>
              </a:cxn>
              <a:cxn ang="f958">
                <a:pos x="f1243" y="f1303"/>
              </a:cxn>
              <a:cxn ang="f958">
                <a:pos x="f1239" y="f1304"/>
              </a:cxn>
              <a:cxn ang="f958">
                <a:pos x="f1381" y="f1303"/>
              </a:cxn>
              <a:cxn ang="f958">
                <a:pos x="f1382" y="f1234"/>
              </a:cxn>
              <a:cxn ang="f958">
                <a:pos x="f1381" y="f1247"/>
              </a:cxn>
              <a:cxn ang="f958">
                <a:pos x="f1239" y="f1300"/>
              </a:cxn>
              <a:cxn ang="f958">
                <a:pos x="f1383" y="f1300"/>
              </a:cxn>
              <a:cxn ang="f958">
                <a:pos x="f1384" y="f1385"/>
              </a:cxn>
              <a:cxn ang="f958">
                <a:pos x="f1386" y="f1387"/>
              </a:cxn>
              <a:cxn ang="f958">
                <a:pos x="f1388" y="f1387"/>
              </a:cxn>
              <a:cxn ang="f958">
                <a:pos x="f1389" y="f1390"/>
              </a:cxn>
              <a:cxn ang="f958">
                <a:pos x="f1383" y="f1230"/>
              </a:cxn>
              <a:cxn ang="f958">
                <a:pos x="f1391" y="f1232"/>
              </a:cxn>
              <a:cxn ang="f958">
                <a:pos x="f1392" y="f1234"/>
              </a:cxn>
              <a:cxn ang="f958">
                <a:pos x="f1391" y="f1235"/>
              </a:cxn>
              <a:cxn ang="f958">
                <a:pos x="f1383" y="f1257"/>
              </a:cxn>
              <a:cxn ang="f958">
                <a:pos x="f1393" y="f1235"/>
              </a:cxn>
              <a:cxn ang="f958">
                <a:pos x="f1388" y="f1365"/>
              </a:cxn>
              <a:cxn ang="f958">
                <a:pos x="f1394" y="f1365"/>
              </a:cxn>
              <a:cxn ang="f958">
                <a:pos x="f1384" y="f1303"/>
              </a:cxn>
              <a:cxn ang="f958">
                <a:pos x="f1383" y="f1304"/>
              </a:cxn>
              <a:cxn ang="f958">
                <a:pos x="f1395" y="f1303"/>
              </a:cxn>
              <a:cxn ang="f958">
                <a:pos x="f1396" y="f1234"/>
              </a:cxn>
              <a:cxn ang="f958">
                <a:pos x="f1395" y="f1247"/>
              </a:cxn>
              <a:cxn ang="f958">
                <a:pos x="f1383" y="f1300"/>
              </a:cxn>
              <a:cxn ang="f958">
                <a:pos x="f1397" y="f1398"/>
              </a:cxn>
              <a:cxn ang="f958">
                <a:pos x="f1397" y="f1399"/>
              </a:cxn>
              <a:cxn ang="f958">
                <a:pos x="f1400" y="f1399"/>
              </a:cxn>
              <a:cxn ang="f958">
                <a:pos x="f1401" y="f1402"/>
              </a:cxn>
              <a:cxn ang="f958">
                <a:pos x="f1400" y="f1398"/>
              </a:cxn>
              <a:cxn ang="f958">
                <a:pos x="f1397" y="f1398"/>
              </a:cxn>
              <a:cxn ang="f958">
                <a:pos x="f1403" y="f1404"/>
              </a:cxn>
              <a:cxn ang="f958">
                <a:pos x="f1405" y="f1404"/>
              </a:cxn>
              <a:cxn ang="f958">
                <a:pos x="f1405" y="f1406"/>
              </a:cxn>
              <a:cxn ang="f958">
                <a:pos x="f1407" y="f1406"/>
              </a:cxn>
              <a:cxn ang="f958">
                <a:pos x="f1407" y="f1408"/>
              </a:cxn>
              <a:cxn ang="f958">
                <a:pos x="f1409" y="f1408"/>
              </a:cxn>
              <a:cxn ang="f958">
                <a:pos x="f1409" y="f1406"/>
              </a:cxn>
              <a:cxn ang="f958">
                <a:pos x="f1403" y="f1406"/>
              </a:cxn>
              <a:cxn ang="f958">
                <a:pos x="f1410" y="f1404"/>
              </a:cxn>
              <a:cxn ang="f958">
                <a:pos x="f1411" y="f1404"/>
              </a:cxn>
              <a:cxn ang="f958">
                <a:pos x="f1412" y="f1413"/>
              </a:cxn>
              <a:cxn ang="f958">
                <a:pos x="f1414" y="f1415"/>
              </a:cxn>
              <a:cxn ang="f958">
                <a:pos x="f1414" y="f1404"/>
              </a:cxn>
              <a:cxn ang="f958">
                <a:pos x="f1416" y="f1404"/>
              </a:cxn>
              <a:cxn ang="f958">
                <a:pos x="f1416" y="f1408"/>
              </a:cxn>
              <a:cxn ang="f958">
                <a:pos x="f1417" y="f1408"/>
              </a:cxn>
              <a:cxn ang="f958">
                <a:pos x="f1418" y="f1419"/>
              </a:cxn>
              <a:cxn ang="f958">
                <a:pos x="f1418" y="f1408"/>
              </a:cxn>
              <a:cxn ang="f958">
                <a:pos x="f1410" y="f1408"/>
              </a:cxn>
              <a:cxn ang="f958">
                <a:pos x="f1420" y="f1404"/>
              </a:cxn>
              <a:cxn ang="f958">
                <a:pos x="f1421" y="f1404"/>
              </a:cxn>
              <a:cxn ang="f958">
                <a:pos x="f1421" y="f1422"/>
              </a:cxn>
              <a:cxn ang="f958">
                <a:pos x="f1423" y="f1422"/>
              </a:cxn>
              <a:cxn ang="f958">
                <a:pos x="f1423" y="f1424"/>
              </a:cxn>
              <a:cxn ang="f958">
                <a:pos x="f1425" y="f1424"/>
              </a:cxn>
              <a:cxn ang="f958">
                <a:pos x="f1425" y="f1426"/>
              </a:cxn>
              <a:cxn ang="f958">
                <a:pos x="f1423" y="f1426"/>
              </a:cxn>
              <a:cxn ang="f958">
                <a:pos x="f1423" y="f1427"/>
              </a:cxn>
              <a:cxn ang="f958">
                <a:pos x="f1421" y="f1427"/>
              </a:cxn>
              <a:cxn ang="f958">
                <a:pos x="f1421" y="f1408"/>
              </a:cxn>
              <a:cxn ang="f958">
                <a:pos x="f1420" y="f1408"/>
              </a:cxn>
              <a:cxn ang="f958">
                <a:pos x="f1428" y="f1404"/>
              </a:cxn>
              <a:cxn ang="f958">
                <a:pos x="f1429" y="f1404"/>
              </a:cxn>
              <a:cxn ang="f958">
                <a:pos x="f1430" y="f1431"/>
              </a:cxn>
              <a:cxn ang="f958">
                <a:pos x="f1432" y="f1404"/>
              </a:cxn>
              <a:cxn ang="f958">
                <a:pos x="f1433" y="f1404"/>
              </a:cxn>
              <a:cxn ang="f958">
                <a:pos x="f1433" y="f1408"/>
              </a:cxn>
              <a:cxn ang="f958">
                <a:pos x="f1434" y="f1408"/>
              </a:cxn>
              <a:cxn ang="f958">
                <a:pos x="f1434" y="f1435"/>
              </a:cxn>
              <a:cxn ang="f958">
                <a:pos x="f1436" y="f1437"/>
              </a:cxn>
              <a:cxn ang="f958">
                <a:pos x="f1438" y="f1437"/>
              </a:cxn>
              <a:cxn ang="f958">
                <a:pos x="f1439" y="f1440"/>
              </a:cxn>
              <a:cxn ang="f958">
                <a:pos x="f1439" y="f1408"/>
              </a:cxn>
              <a:cxn ang="f958">
                <a:pos x="f1428" y="f1408"/>
              </a:cxn>
              <a:cxn ang="f958">
                <a:pos x="f1441" y="f1404"/>
              </a:cxn>
              <a:cxn ang="f958">
                <a:pos x="f1442" y="f1404"/>
              </a:cxn>
              <a:cxn ang="f958">
                <a:pos x="f1442" y="f1422"/>
              </a:cxn>
              <a:cxn ang="f958">
                <a:pos x="f1443" y="f1422"/>
              </a:cxn>
              <a:cxn ang="f958">
                <a:pos x="f1443" y="f1424"/>
              </a:cxn>
              <a:cxn ang="f958">
                <a:pos x="f1444" y="f1424"/>
              </a:cxn>
              <a:cxn ang="f958">
                <a:pos x="f1444" y="f1426"/>
              </a:cxn>
              <a:cxn ang="f958">
                <a:pos x="f1443" y="f1426"/>
              </a:cxn>
              <a:cxn ang="f958">
                <a:pos x="f1443" y="f1427"/>
              </a:cxn>
              <a:cxn ang="f958">
                <a:pos x="f1442" y="f1427"/>
              </a:cxn>
              <a:cxn ang="f958">
                <a:pos x="f1442" y="f1408"/>
              </a:cxn>
              <a:cxn ang="f958">
                <a:pos x="f1441" y="f1408"/>
              </a:cxn>
              <a:cxn ang="f958">
                <a:pos x="f1445" y="f1404"/>
              </a:cxn>
              <a:cxn ang="f958">
                <a:pos x="f1446" y="f1404"/>
              </a:cxn>
              <a:cxn ang="f958">
                <a:pos x="f1446" y="f1447"/>
              </a:cxn>
              <a:cxn ang="f958">
                <a:pos x="f1448" y="f1447"/>
              </a:cxn>
              <a:cxn ang="f958">
                <a:pos x="f1448" y="f1408"/>
              </a:cxn>
              <a:cxn ang="f958">
                <a:pos x="f1445" y="f1408"/>
              </a:cxn>
              <a:cxn ang="f958">
                <a:pos x="f1449" y="f1404"/>
              </a:cxn>
              <a:cxn ang="f958">
                <a:pos x="f1450" y="f1404"/>
              </a:cxn>
              <a:cxn ang="f958">
                <a:pos x="f1451" y="f1452"/>
              </a:cxn>
              <a:cxn ang="f958">
                <a:pos x="f1450" y="f1453"/>
              </a:cxn>
              <a:cxn ang="f958">
                <a:pos x="f1397" y="f1453"/>
              </a:cxn>
              <a:cxn ang="f958">
                <a:pos x="f1397" y="f1408"/>
              </a:cxn>
              <a:cxn ang="f958">
                <a:pos x="f1449" y="f1408"/>
              </a:cxn>
              <a:cxn ang="f958">
                <a:pos x="f1449" y="f1404"/>
              </a:cxn>
              <a:cxn ang="f958">
                <a:pos x="f1454" y="f1404"/>
              </a:cxn>
              <a:cxn ang="f958">
                <a:pos x="f1455" y="f1404"/>
              </a:cxn>
              <a:cxn ang="f958">
                <a:pos x="f1456" y="f1431"/>
              </a:cxn>
              <a:cxn ang="f958">
                <a:pos x="f1457" y="f1404"/>
              </a:cxn>
              <a:cxn ang="f958">
                <a:pos x="f1458" y="f1404"/>
              </a:cxn>
              <a:cxn ang="f958">
                <a:pos x="f1458" y="f1408"/>
              </a:cxn>
              <a:cxn ang="f958">
                <a:pos x="f1459" y="f1408"/>
              </a:cxn>
              <a:cxn ang="f958">
                <a:pos x="f1459" y="f1435"/>
              </a:cxn>
              <a:cxn ang="f958">
                <a:pos x="f1460" y="f1437"/>
              </a:cxn>
              <a:cxn ang="f958">
                <a:pos x="f1461" y="f1437"/>
              </a:cxn>
              <a:cxn ang="f958">
                <a:pos x="f1462" y="f1440"/>
              </a:cxn>
              <a:cxn ang="f958">
                <a:pos x="f1462" y="f1408"/>
              </a:cxn>
              <a:cxn ang="f958">
                <a:pos x="f1454" y="f1408"/>
              </a:cxn>
              <a:cxn ang="f958">
                <a:pos x="f1463" y="f1404"/>
              </a:cxn>
              <a:cxn ang="f958">
                <a:pos x="f1464" y="f1404"/>
              </a:cxn>
              <a:cxn ang="f958">
                <a:pos x="f1464" y="f1408"/>
              </a:cxn>
              <a:cxn ang="f958">
                <a:pos x="f1463" y="f1408"/>
              </a:cxn>
            </a:cxnLst>
            <a:rect l="f1210" t="f1213" r="f1211" b="f1212"/>
            <a:pathLst>
              <a:path w="9905999" h="2265361">
                <a:moveTo>
                  <a:pt x="f8" y="f9"/>
                </a:moveTo>
                <a:cubicBezTo>
                  <a:pt x="f8" y="f9"/>
                  <a:pt x="f8" y="f9"/>
                  <a:pt x="f10" y="f9"/>
                </a:cubicBezTo>
                <a:lnTo>
                  <a:pt x="f10" y="f7"/>
                </a:lnTo>
                <a:cubicBezTo>
                  <a:pt x="f10" y="f7"/>
                  <a:pt x="f10" y="f7"/>
                  <a:pt x="f8" y="f7"/>
                </a:cubicBezTo>
                <a:cubicBezTo>
                  <a:pt x="f8" y="f7"/>
                  <a:pt x="f8" y="f7"/>
                  <a:pt x="f8" y="f9"/>
                </a:cubicBezTo>
                <a:close/>
                <a:moveTo>
                  <a:pt x="f11" y="f12"/>
                </a:moveTo>
                <a:cubicBezTo>
                  <a:pt x="f11" y="f12"/>
                  <a:pt x="f11" y="f12"/>
                  <a:pt x="f11" y="f13"/>
                </a:cubicBezTo>
                <a:cubicBezTo>
                  <a:pt x="f11" y="f13"/>
                  <a:pt x="f11" y="f13"/>
                  <a:pt x="f14" y="f13"/>
                </a:cubicBezTo>
                <a:cubicBezTo>
                  <a:pt x="f15" y="f13"/>
                  <a:pt x="f16" y="f17"/>
                  <a:pt x="f16" y="f18"/>
                </a:cubicBezTo>
                <a:cubicBezTo>
                  <a:pt x="f16" y="f19"/>
                  <a:pt x="f20" y="f12"/>
                  <a:pt x="f14" y="f12"/>
                </a:cubicBezTo>
                <a:cubicBezTo>
                  <a:pt x="f14" y="f12"/>
                  <a:pt x="f14" y="f12"/>
                  <a:pt x="f11" y="f12"/>
                </a:cubicBezTo>
                <a:close/>
                <a:moveTo>
                  <a:pt x="f21" y="f12"/>
                </a:moveTo>
                <a:cubicBezTo>
                  <a:pt x="f21" y="f12"/>
                  <a:pt x="f21" y="f12"/>
                  <a:pt x="f21" y="f22"/>
                </a:cubicBezTo>
                <a:cubicBezTo>
                  <a:pt x="f21" y="f22"/>
                  <a:pt x="f21" y="f22"/>
                  <a:pt x="f23" y="f22"/>
                </a:cubicBezTo>
                <a:cubicBezTo>
                  <a:pt x="f24" y="f22"/>
                  <a:pt x="f25" y="f26"/>
                  <a:pt x="f25" y="f27"/>
                </a:cubicBezTo>
                <a:cubicBezTo>
                  <a:pt x="f25" y="f28"/>
                  <a:pt x="f24" y="f12"/>
                  <a:pt x="f23" y="f12"/>
                </a:cubicBezTo>
                <a:cubicBezTo>
                  <a:pt x="f23" y="f12"/>
                  <a:pt x="f23" y="f12"/>
                  <a:pt x="f21" y="f12"/>
                </a:cubicBezTo>
                <a:close/>
                <a:moveTo>
                  <a:pt x="f29" y="f30"/>
                </a:moveTo>
                <a:cubicBezTo>
                  <a:pt x="f31" y="f30"/>
                  <a:pt x="f32" y="f33"/>
                  <a:pt x="f34" y="f19"/>
                </a:cubicBezTo>
                <a:cubicBezTo>
                  <a:pt x="f35" y="f36"/>
                  <a:pt x="f37" y="f38"/>
                  <a:pt x="f37" y="f39"/>
                </a:cubicBezTo>
                <a:cubicBezTo>
                  <a:pt x="f37" y="f40"/>
                  <a:pt x="f35" y="f41"/>
                  <a:pt x="f34" y="f42"/>
                </a:cubicBezTo>
                <a:cubicBezTo>
                  <a:pt x="f32" y="f43"/>
                  <a:pt x="f31" y="f44"/>
                  <a:pt x="f29" y="f44"/>
                </a:cubicBezTo>
                <a:cubicBezTo>
                  <a:pt x="f45" y="f44"/>
                  <a:pt x="f46" y="f43"/>
                  <a:pt x="f47" y="f42"/>
                </a:cubicBezTo>
                <a:cubicBezTo>
                  <a:pt x="f48" y="f41"/>
                  <a:pt x="f49" y="f40"/>
                  <a:pt x="f49" y="f39"/>
                </a:cubicBezTo>
                <a:cubicBezTo>
                  <a:pt x="f49" y="f38"/>
                  <a:pt x="f48" y="f36"/>
                  <a:pt x="f47" y="f19"/>
                </a:cubicBezTo>
                <a:cubicBezTo>
                  <a:pt x="f46" y="f33"/>
                  <a:pt x="f45" y="f30"/>
                  <a:pt x="f29" y="f30"/>
                </a:cubicBezTo>
                <a:close/>
                <a:moveTo>
                  <a:pt x="f50" y="f30"/>
                </a:moveTo>
                <a:cubicBezTo>
                  <a:pt x="f51" y="f30"/>
                  <a:pt x="f52" y="f33"/>
                  <a:pt x="f53" y="f19"/>
                </a:cubicBezTo>
                <a:cubicBezTo>
                  <a:pt x="f54" y="f36"/>
                  <a:pt x="f55" y="f38"/>
                  <a:pt x="f55" y="f39"/>
                </a:cubicBezTo>
                <a:cubicBezTo>
                  <a:pt x="f55" y="f40"/>
                  <a:pt x="f54" y="f41"/>
                  <a:pt x="f53" y="f42"/>
                </a:cubicBezTo>
                <a:cubicBezTo>
                  <a:pt x="f52" y="f43"/>
                  <a:pt x="f51" y="f44"/>
                  <a:pt x="f50" y="f44"/>
                </a:cubicBezTo>
                <a:cubicBezTo>
                  <a:pt x="f56" y="f44"/>
                  <a:pt x="f57" y="f43"/>
                  <a:pt x="f58" y="f42"/>
                </a:cubicBezTo>
                <a:cubicBezTo>
                  <a:pt x="f59" y="f41"/>
                  <a:pt x="f60" y="f40"/>
                  <a:pt x="f60" y="f39"/>
                </a:cubicBezTo>
                <a:cubicBezTo>
                  <a:pt x="f60" y="f38"/>
                  <a:pt x="f59" y="f36"/>
                  <a:pt x="f58" y="f19"/>
                </a:cubicBezTo>
                <a:cubicBezTo>
                  <a:pt x="f57" y="f33"/>
                  <a:pt x="f56" y="f30"/>
                  <a:pt x="f50" y="f30"/>
                </a:cubicBezTo>
                <a:close/>
                <a:moveTo>
                  <a:pt x="f61" y="f62"/>
                </a:moveTo>
                <a:cubicBezTo>
                  <a:pt x="f61" y="f62"/>
                  <a:pt x="f61" y="f62"/>
                  <a:pt x="f14" y="f62"/>
                </a:cubicBezTo>
                <a:cubicBezTo>
                  <a:pt x="f63" y="f62"/>
                  <a:pt x="f16" y="f64"/>
                  <a:pt x="f65" y="f66"/>
                </a:cubicBezTo>
                <a:cubicBezTo>
                  <a:pt x="f67" y="f68"/>
                  <a:pt x="f69" y="f70"/>
                  <a:pt x="f69" y="f18"/>
                </a:cubicBezTo>
                <a:cubicBezTo>
                  <a:pt x="f69" y="f71"/>
                  <a:pt x="f67" y="f72"/>
                  <a:pt x="f73" y="f74"/>
                </a:cubicBezTo>
                <a:cubicBezTo>
                  <a:pt x="f75" y="f76"/>
                  <a:pt x="f77" y="f78"/>
                  <a:pt x="f79" y="f78"/>
                </a:cubicBezTo>
                <a:cubicBezTo>
                  <a:pt x="f79" y="f78"/>
                  <a:pt x="f79" y="f78"/>
                  <a:pt x="f11" y="f78"/>
                </a:cubicBezTo>
                <a:cubicBezTo>
                  <a:pt x="f11" y="f78"/>
                  <a:pt x="f11" y="f78"/>
                  <a:pt x="f11" y="f9"/>
                </a:cubicBezTo>
                <a:cubicBezTo>
                  <a:pt x="f11" y="f9"/>
                  <a:pt x="f11" y="f9"/>
                  <a:pt x="f61" y="f9"/>
                </a:cubicBezTo>
                <a:cubicBezTo>
                  <a:pt x="f61" y="f9"/>
                  <a:pt x="f61" y="f9"/>
                  <a:pt x="f61" y="f62"/>
                </a:cubicBezTo>
                <a:close/>
                <a:moveTo>
                  <a:pt x="f80" y="f62"/>
                </a:moveTo>
                <a:cubicBezTo>
                  <a:pt x="f80" y="f62"/>
                  <a:pt x="f80" y="f62"/>
                  <a:pt x="f81" y="f62"/>
                </a:cubicBezTo>
                <a:cubicBezTo>
                  <a:pt x="f81" y="f62"/>
                  <a:pt x="f81" y="f62"/>
                  <a:pt x="f81" y="f82"/>
                </a:cubicBezTo>
                <a:cubicBezTo>
                  <a:pt x="f81" y="f83"/>
                  <a:pt x="f84" y="f85"/>
                  <a:pt x="f86" y="f85"/>
                </a:cubicBezTo>
                <a:cubicBezTo>
                  <a:pt x="f87" y="f85"/>
                  <a:pt x="f88" y="f83"/>
                  <a:pt x="f88" y="f82"/>
                </a:cubicBezTo>
                <a:cubicBezTo>
                  <a:pt x="f88" y="f82"/>
                  <a:pt x="f88" y="f82"/>
                  <a:pt x="f88" y="f62"/>
                </a:cubicBezTo>
                <a:cubicBezTo>
                  <a:pt x="f88" y="f62"/>
                  <a:pt x="f88" y="f62"/>
                  <a:pt x="f89" y="f62"/>
                </a:cubicBezTo>
                <a:cubicBezTo>
                  <a:pt x="f89" y="f62"/>
                  <a:pt x="f89" y="f62"/>
                  <a:pt x="f89" y="f82"/>
                </a:cubicBezTo>
                <a:cubicBezTo>
                  <a:pt x="f89" y="f90"/>
                  <a:pt x="f91" y="f92"/>
                  <a:pt x="f86" y="f92"/>
                </a:cubicBezTo>
                <a:cubicBezTo>
                  <a:pt x="f93" y="f92"/>
                  <a:pt x="f80" y="f90"/>
                  <a:pt x="f80" y="f82"/>
                </a:cubicBezTo>
                <a:cubicBezTo>
                  <a:pt x="f80" y="f82"/>
                  <a:pt x="f80" y="f82"/>
                  <a:pt x="f80" y="f62"/>
                </a:cubicBezTo>
                <a:close/>
                <a:moveTo>
                  <a:pt x="f94" y="f62"/>
                </a:moveTo>
                <a:cubicBezTo>
                  <a:pt x="f94" y="f62"/>
                  <a:pt x="f94" y="f62"/>
                  <a:pt x="f23" y="f62"/>
                </a:cubicBezTo>
                <a:cubicBezTo>
                  <a:pt x="f24" y="f62"/>
                  <a:pt x="f95" y="f64"/>
                  <a:pt x="f96" y="f66"/>
                </a:cubicBezTo>
                <a:cubicBezTo>
                  <a:pt x="f97" y="f68"/>
                  <a:pt x="f98" y="f99"/>
                  <a:pt x="f98" y="f27"/>
                </a:cubicBezTo>
                <a:cubicBezTo>
                  <a:pt x="f98" y="f100"/>
                  <a:pt x="f97" y="f101"/>
                  <a:pt x="f96" y="f102"/>
                </a:cubicBezTo>
                <a:cubicBezTo>
                  <a:pt x="f103" y="f104"/>
                  <a:pt x="f105" y="f106"/>
                  <a:pt x="f107" y="f108"/>
                </a:cubicBezTo>
                <a:cubicBezTo>
                  <a:pt x="f107" y="f108"/>
                  <a:pt x="f107" y="f108"/>
                  <a:pt x="f109" y="f9"/>
                </a:cubicBezTo>
                <a:lnTo>
                  <a:pt x="f95" y="f9"/>
                </a:lnTo>
                <a:cubicBezTo>
                  <a:pt x="f95" y="f9"/>
                  <a:pt x="f95" y="f9"/>
                  <a:pt x="f110" y="f111"/>
                </a:cubicBezTo>
                <a:cubicBezTo>
                  <a:pt x="f110" y="f111"/>
                  <a:pt x="f110" y="f111"/>
                  <a:pt x="f21" y="f111"/>
                </a:cubicBezTo>
                <a:cubicBezTo>
                  <a:pt x="f21" y="f111"/>
                  <a:pt x="f21" y="f111"/>
                  <a:pt x="f21" y="f9"/>
                </a:cubicBezTo>
                <a:cubicBezTo>
                  <a:pt x="f21" y="f9"/>
                  <a:pt x="f21" y="f9"/>
                  <a:pt x="f94" y="f9"/>
                </a:cubicBezTo>
                <a:cubicBezTo>
                  <a:pt x="f94" y="f9"/>
                  <a:pt x="f94" y="f9"/>
                  <a:pt x="f94" y="f62"/>
                </a:cubicBezTo>
                <a:close/>
                <a:moveTo>
                  <a:pt x="f112" y="f62"/>
                </a:moveTo>
                <a:cubicBezTo>
                  <a:pt x="f112" y="f62"/>
                  <a:pt x="f112" y="f62"/>
                  <a:pt x="f113" y="f62"/>
                </a:cubicBezTo>
                <a:cubicBezTo>
                  <a:pt x="f113" y="f62"/>
                  <a:pt x="f113" y="f62"/>
                  <a:pt x="f114" y="f115"/>
                </a:cubicBezTo>
                <a:cubicBezTo>
                  <a:pt x="f114" y="f115"/>
                  <a:pt x="f114" y="f115"/>
                  <a:pt x="f114" y="f62"/>
                </a:cubicBezTo>
                <a:cubicBezTo>
                  <a:pt x="f114" y="f62"/>
                  <a:pt x="f114" y="f62"/>
                  <a:pt x="f116" y="f62"/>
                </a:cubicBezTo>
                <a:cubicBezTo>
                  <a:pt x="f116" y="f62"/>
                  <a:pt x="f116" y="f62"/>
                  <a:pt x="f116" y="f9"/>
                </a:cubicBezTo>
                <a:lnTo>
                  <a:pt x="f117" y="f9"/>
                </a:lnTo>
                <a:cubicBezTo>
                  <a:pt x="f117" y="f9"/>
                  <a:pt x="f117" y="f9"/>
                  <a:pt x="f118" y="f119"/>
                </a:cubicBezTo>
                <a:cubicBezTo>
                  <a:pt x="f118" y="f119"/>
                  <a:pt x="f118" y="f119"/>
                  <a:pt x="f118" y="f9"/>
                </a:cubicBezTo>
                <a:cubicBezTo>
                  <a:pt x="f118" y="f9"/>
                  <a:pt x="f118" y="f9"/>
                  <a:pt x="f112" y="f9"/>
                </a:cubicBezTo>
                <a:cubicBezTo>
                  <a:pt x="f112" y="f9"/>
                  <a:pt x="f112" y="f9"/>
                  <a:pt x="f112" y="f62"/>
                </a:cubicBezTo>
                <a:close/>
                <a:moveTo>
                  <a:pt x="f120" y="f62"/>
                </a:moveTo>
                <a:cubicBezTo>
                  <a:pt x="f120" y="f62"/>
                  <a:pt x="f120" y="f62"/>
                  <a:pt x="f121" y="f62"/>
                </a:cubicBezTo>
                <a:lnTo>
                  <a:pt x="f121" y="f9"/>
                </a:lnTo>
                <a:cubicBezTo>
                  <a:pt x="f121" y="f9"/>
                  <a:pt x="f121" y="f9"/>
                  <a:pt x="f120" y="f9"/>
                </a:cubicBezTo>
                <a:cubicBezTo>
                  <a:pt x="f120" y="f9"/>
                  <a:pt x="f120" y="f9"/>
                  <a:pt x="f120" y="f62"/>
                </a:cubicBezTo>
                <a:close/>
                <a:moveTo>
                  <a:pt x="f122" y="f62"/>
                </a:moveTo>
                <a:cubicBezTo>
                  <a:pt x="f122" y="f62"/>
                  <a:pt x="f122" y="f62"/>
                  <a:pt x="f123" y="f62"/>
                </a:cubicBezTo>
                <a:cubicBezTo>
                  <a:pt x="f123" y="f62"/>
                  <a:pt x="f123" y="f62"/>
                  <a:pt x="f123" y="f12"/>
                </a:cubicBezTo>
                <a:lnTo>
                  <a:pt x="f124" y="f12"/>
                </a:lnTo>
                <a:cubicBezTo>
                  <a:pt x="f124" y="f12"/>
                  <a:pt x="f124" y="f12"/>
                  <a:pt x="f124" y="f9"/>
                </a:cubicBezTo>
                <a:cubicBezTo>
                  <a:pt x="f124" y="f9"/>
                  <a:pt x="f124" y="f9"/>
                  <a:pt x="f125" y="f9"/>
                </a:cubicBezTo>
                <a:cubicBezTo>
                  <a:pt x="f125" y="f9"/>
                  <a:pt x="f125" y="f9"/>
                  <a:pt x="f125" y="f12"/>
                </a:cubicBezTo>
                <a:cubicBezTo>
                  <a:pt x="f125" y="f12"/>
                  <a:pt x="f125" y="f12"/>
                  <a:pt x="f122" y="f12"/>
                </a:cubicBezTo>
                <a:cubicBezTo>
                  <a:pt x="f122" y="f12"/>
                  <a:pt x="f122" y="f12"/>
                  <a:pt x="f122" y="f62"/>
                </a:cubicBezTo>
                <a:close/>
                <a:moveTo>
                  <a:pt x="f126" y="f62"/>
                </a:moveTo>
                <a:cubicBezTo>
                  <a:pt x="f126" y="f62"/>
                  <a:pt x="f126" y="f62"/>
                  <a:pt x="f127" y="f62"/>
                </a:cubicBezTo>
                <a:cubicBezTo>
                  <a:pt x="f127" y="f62"/>
                  <a:pt x="f127" y="f62"/>
                  <a:pt x="f127" y="f90"/>
                </a:cubicBezTo>
                <a:cubicBezTo>
                  <a:pt x="f127" y="f90"/>
                  <a:pt x="f127" y="f90"/>
                  <a:pt x="f128" y="f90"/>
                </a:cubicBezTo>
                <a:cubicBezTo>
                  <a:pt x="f128" y="f90"/>
                  <a:pt x="f128" y="f90"/>
                  <a:pt x="f128" y="f9"/>
                </a:cubicBezTo>
                <a:lnTo>
                  <a:pt x="f126" y="f9"/>
                </a:lnTo>
                <a:cubicBezTo>
                  <a:pt x="f126" y="f9"/>
                  <a:pt x="f126" y="f9"/>
                  <a:pt x="f126" y="f62"/>
                </a:cubicBezTo>
                <a:close/>
                <a:moveTo>
                  <a:pt x="f129" y="f62"/>
                </a:moveTo>
                <a:cubicBezTo>
                  <a:pt x="f129" y="f62"/>
                  <a:pt x="f129" y="f62"/>
                  <a:pt x="f130" y="f62"/>
                </a:cubicBezTo>
                <a:cubicBezTo>
                  <a:pt x="f130" y="f62"/>
                  <a:pt x="f130" y="f62"/>
                  <a:pt x="f130" y="f82"/>
                </a:cubicBezTo>
                <a:cubicBezTo>
                  <a:pt x="f130" y="f83"/>
                  <a:pt x="f131" y="f85"/>
                  <a:pt x="f132" y="f85"/>
                </a:cubicBezTo>
                <a:cubicBezTo>
                  <a:pt x="f133" y="f85"/>
                  <a:pt x="f134" y="f83"/>
                  <a:pt x="f134" y="f82"/>
                </a:cubicBezTo>
                <a:cubicBezTo>
                  <a:pt x="f134" y="f82"/>
                  <a:pt x="f134" y="f82"/>
                  <a:pt x="f134" y="f62"/>
                </a:cubicBezTo>
                <a:cubicBezTo>
                  <a:pt x="f134" y="f62"/>
                  <a:pt x="f134" y="f62"/>
                  <a:pt x="f135" y="f62"/>
                </a:cubicBezTo>
                <a:cubicBezTo>
                  <a:pt x="f135" y="f62"/>
                  <a:pt x="f135" y="f62"/>
                  <a:pt x="f135" y="f82"/>
                </a:cubicBezTo>
                <a:cubicBezTo>
                  <a:pt x="f135" y="f90"/>
                  <a:pt x="f136" y="f92"/>
                  <a:pt x="f132" y="f92"/>
                </a:cubicBezTo>
                <a:cubicBezTo>
                  <a:pt x="f137" y="f92"/>
                  <a:pt x="f129" y="f90"/>
                  <a:pt x="f129" y="f82"/>
                </a:cubicBezTo>
                <a:cubicBezTo>
                  <a:pt x="f129" y="f82"/>
                  <a:pt x="f129" y="f82"/>
                  <a:pt x="f129" y="f62"/>
                </a:cubicBezTo>
                <a:close/>
                <a:moveTo>
                  <a:pt x="f138" y="f62"/>
                </a:moveTo>
                <a:cubicBezTo>
                  <a:pt x="f138" y="f62"/>
                  <a:pt x="f138" y="f62"/>
                  <a:pt x="f139" y="f62"/>
                </a:cubicBezTo>
                <a:cubicBezTo>
                  <a:pt x="f139" y="f62"/>
                  <a:pt x="f139" y="f62"/>
                  <a:pt x="f140" y="f115"/>
                </a:cubicBezTo>
                <a:cubicBezTo>
                  <a:pt x="f140" y="f115"/>
                  <a:pt x="f140" y="f115"/>
                  <a:pt x="f140" y="f62"/>
                </a:cubicBezTo>
                <a:cubicBezTo>
                  <a:pt x="f140" y="f62"/>
                  <a:pt x="f140" y="f62"/>
                  <a:pt x="f141" y="f62"/>
                </a:cubicBezTo>
                <a:cubicBezTo>
                  <a:pt x="f141" y="f62"/>
                  <a:pt x="f141" y="f62"/>
                  <a:pt x="f141" y="f9"/>
                </a:cubicBezTo>
                <a:lnTo>
                  <a:pt x="f142" y="f9"/>
                </a:lnTo>
                <a:cubicBezTo>
                  <a:pt x="f142" y="f9"/>
                  <a:pt x="f142" y="f9"/>
                  <a:pt x="f143" y="f119"/>
                </a:cubicBezTo>
                <a:cubicBezTo>
                  <a:pt x="f143" y="f119"/>
                  <a:pt x="f143" y="f119"/>
                  <a:pt x="f143" y="f9"/>
                </a:cubicBezTo>
                <a:cubicBezTo>
                  <a:pt x="f143" y="f9"/>
                  <a:pt x="f143" y="f9"/>
                  <a:pt x="f138" y="f9"/>
                </a:cubicBezTo>
                <a:cubicBezTo>
                  <a:pt x="f138" y="f9"/>
                  <a:pt x="f138" y="f9"/>
                  <a:pt x="f138" y="f62"/>
                </a:cubicBezTo>
                <a:close/>
                <a:moveTo>
                  <a:pt x="f29" y="f144"/>
                </a:moveTo>
                <a:cubicBezTo>
                  <a:pt x="f145" y="f144"/>
                  <a:pt x="f146" y="f147"/>
                  <a:pt x="f148" y="f66"/>
                </a:cubicBezTo>
                <a:cubicBezTo>
                  <a:pt x="f149" y="f119"/>
                  <a:pt x="f150" y="f151"/>
                  <a:pt x="f150" y="f39"/>
                </a:cubicBezTo>
                <a:cubicBezTo>
                  <a:pt x="f150" y="f152"/>
                  <a:pt x="f149" y="f115"/>
                  <a:pt x="f148" y="f153"/>
                </a:cubicBezTo>
                <a:cubicBezTo>
                  <a:pt x="f146" y="f154"/>
                  <a:pt x="f145" y="f155"/>
                  <a:pt x="f29" y="f155"/>
                </a:cubicBezTo>
                <a:cubicBezTo>
                  <a:pt x="f156" y="f155"/>
                  <a:pt x="f157" y="f154"/>
                  <a:pt x="f37" y="f153"/>
                </a:cubicBezTo>
                <a:cubicBezTo>
                  <a:pt x="f158" y="f115"/>
                  <a:pt x="f159" y="f152"/>
                  <a:pt x="f159" y="f39"/>
                </a:cubicBezTo>
                <a:cubicBezTo>
                  <a:pt x="f159" y="f151"/>
                  <a:pt x="f158" y="f119"/>
                  <a:pt x="f37" y="f66"/>
                </a:cubicBezTo>
                <a:cubicBezTo>
                  <a:pt x="f157" y="f147"/>
                  <a:pt x="f156" y="f144"/>
                  <a:pt x="f29" y="f144"/>
                </a:cubicBezTo>
                <a:close/>
                <a:moveTo>
                  <a:pt x="f160" y="f144"/>
                </a:moveTo>
                <a:cubicBezTo>
                  <a:pt x="f161" y="f144"/>
                  <a:pt x="f162" y="f163"/>
                  <a:pt x="f164" y="f165"/>
                </a:cubicBezTo>
                <a:cubicBezTo>
                  <a:pt x="f166" y="f167"/>
                  <a:pt x="f168" y="f169"/>
                  <a:pt x="f170" y="f27"/>
                </a:cubicBezTo>
                <a:cubicBezTo>
                  <a:pt x="f170" y="f27"/>
                  <a:pt x="f170" y="f27"/>
                  <a:pt x="f171" y="f27"/>
                </a:cubicBezTo>
                <a:cubicBezTo>
                  <a:pt x="f172" y="f173"/>
                  <a:pt x="f174" y="f175"/>
                  <a:pt x="f176" y="f177"/>
                </a:cubicBezTo>
                <a:cubicBezTo>
                  <a:pt x="f178" y="f179"/>
                  <a:pt x="f180" y="f30"/>
                  <a:pt x="f160" y="f30"/>
                </a:cubicBezTo>
                <a:cubicBezTo>
                  <a:pt x="f181" y="f30"/>
                  <a:pt x="f182" y="f33"/>
                  <a:pt x="f183" y="f19"/>
                </a:cubicBezTo>
                <a:cubicBezTo>
                  <a:pt x="f184" y="f36"/>
                  <a:pt x="f185" y="f38"/>
                  <a:pt x="f185" y="f39"/>
                </a:cubicBezTo>
                <a:cubicBezTo>
                  <a:pt x="f185" y="f186"/>
                  <a:pt x="f184" y="f187"/>
                  <a:pt x="f188" y="f189"/>
                </a:cubicBezTo>
                <a:cubicBezTo>
                  <a:pt x="f190" y="f191"/>
                  <a:pt x="f181" y="f85"/>
                  <a:pt x="f160" y="f85"/>
                </a:cubicBezTo>
                <a:cubicBezTo>
                  <a:pt x="f192" y="f85"/>
                  <a:pt x="f193" y="f43"/>
                  <a:pt x="f194" y="f195"/>
                </a:cubicBezTo>
                <a:cubicBezTo>
                  <a:pt x="f196" y="f197"/>
                  <a:pt x="f198" y="f199"/>
                  <a:pt x="f198" y="f200"/>
                </a:cubicBezTo>
                <a:cubicBezTo>
                  <a:pt x="f198" y="f200"/>
                  <a:pt x="f198" y="f200"/>
                  <a:pt x="f160" y="f200"/>
                </a:cubicBezTo>
                <a:cubicBezTo>
                  <a:pt x="f160" y="f200"/>
                  <a:pt x="f160" y="f200"/>
                  <a:pt x="f160" y="f201"/>
                </a:cubicBezTo>
                <a:cubicBezTo>
                  <a:pt x="f160" y="f201"/>
                  <a:pt x="f160" y="f201"/>
                  <a:pt x="f202" y="f201"/>
                </a:cubicBezTo>
                <a:cubicBezTo>
                  <a:pt x="f202" y="f201"/>
                  <a:pt x="f202" y="f201"/>
                  <a:pt x="f202" y="f9"/>
                </a:cubicBezTo>
                <a:lnTo>
                  <a:pt x="f203" y="f9"/>
                </a:lnTo>
                <a:cubicBezTo>
                  <a:pt x="f203" y="f9"/>
                  <a:pt x="f203" y="f9"/>
                  <a:pt x="f204" y="f191"/>
                </a:cubicBezTo>
                <a:cubicBezTo>
                  <a:pt x="f174" y="f205"/>
                  <a:pt x="f161" y="f155"/>
                  <a:pt x="f160" y="f155"/>
                </a:cubicBezTo>
                <a:cubicBezTo>
                  <a:pt x="f206" y="f155"/>
                  <a:pt x="f207" y="f208"/>
                  <a:pt x="f185" y="f209"/>
                </a:cubicBezTo>
                <a:cubicBezTo>
                  <a:pt x="f210" y="f211"/>
                  <a:pt x="f212" y="f213"/>
                  <a:pt x="f212" y="f39"/>
                </a:cubicBezTo>
                <a:cubicBezTo>
                  <a:pt x="f212" y="f151"/>
                  <a:pt x="f214" y="f119"/>
                  <a:pt x="f185" y="f66"/>
                </a:cubicBezTo>
                <a:cubicBezTo>
                  <a:pt x="f207" y="f147"/>
                  <a:pt x="f206" y="f144"/>
                  <a:pt x="f160" y="f144"/>
                </a:cubicBezTo>
                <a:close/>
                <a:moveTo>
                  <a:pt x="f215" y="f144"/>
                </a:moveTo>
                <a:cubicBezTo>
                  <a:pt x="f216" y="f144"/>
                  <a:pt x="f217" y="f163"/>
                  <a:pt x="f218" y="f165"/>
                </a:cubicBezTo>
                <a:cubicBezTo>
                  <a:pt x="f219" y="f167"/>
                  <a:pt x="f220" y="f169"/>
                  <a:pt x="f221" y="f27"/>
                </a:cubicBezTo>
                <a:cubicBezTo>
                  <a:pt x="f221" y="f27"/>
                  <a:pt x="f221" y="f27"/>
                  <a:pt x="f222" y="f27"/>
                </a:cubicBezTo>
                <a:cubicBezTo>
                  <a:pt x="f223" y="f173"/>
                  <a:pt x="f224" y="f175"/>
                  <a:pt x="f225" y="f177"/>
                </a:cubicBezTo>
                <a:cubicBezTo>
                  <a:pt x="f226" y="f179"/>
                  <a:pt x="f227" y="f30"/>
                  <a:pt x="f215" y="f30"/>
                </a:cubicBezTo>
                <a:cubicBezTo>
                  <a:pt x="f228" y="f30"/>
                  <a:pt x="f229" y="f33"/>
                  <a:pt x="f230" y="f19"/>
                </a:cubicBezTo>
                <a:cubicBezTo>
                  <a:pt x="f231" y="f36"/>
                  <a:pt x="f232" y="f38"/>
                  <a:pt x="f232" y="f39"/>
                </a:cubicBezTo>
                <a:cubicBezTo>
                  <a:pt x="f232" y="f186"/>
                  <a:pt x="f231" y="f187"/>
                  <a:pt x="f230" y="f189"/>
                </a:cubicBezTo>
                <a:cubicBezTo>
                  <a:pt x="f229" y="f191"/>
                  <a:pt x="f228" y="f85"/>
                  <a:pt x="f215" y="f85"/>
                </a:cubicBezTo>
                <a:cubicBezTo>
                  <a:pt x="f233" y="f85"/>
                  <a:pt x="f234" y="f43"/>
                  <a:pt x="f235" y="f195"/>
                </a:cubicBezTo>
                <a:cubicBezTo>
                  <a:pt x="f236" y="f197"/>
                  <a:pt x="f237" y="f199"/>
                  <a:pt x="f237" y="f200"/>
                </a:cubicBezTo>
                <a:cubicBezTo>
                  <a:pt x="f237" y="f200"/>
                  <a:pt x="f237" y="f200"/>
                  <a:pt x="f215" y="f200"/>
                </a:cubicBezTo>
                <a:cubicBezTo>
                  <a:pt x="f215" y="f200"/>
                  <a:pt x="f215" y="f200"/>
                  <a:pt x="f215" y="f201"/>
                </a:cubicBezTo>
                <a:cubicBezTo>
                  <a:pt x="f215" y="f201"/>
                  <a:pt x="f215" y="f201"/>
                  <a:pt x="f238" y="f201"/>
                </a:cubicBezTo>
                <a:cubicBezTo>
                  <a:pt x="f238" y="f201"/>
                  <a:pt x="f238" y="f201"/>
                  <a:pt x="f238" y="f9"/>
                </a:cubicBezTo>
                <a:lnTo>
                  <a:pt x="f239" y="f9"/>
                </a:lnTo>
                <a:cubicBezTo>
                  <a:pt x="f239" y="f9"/>
                  <a:pt x="f239" y="f9"/>
                  <a:pt x="f240" y="f191"/>
                </a:cubicBezTo>
                <a:cubicBezTo>
                  <a:pt x="f241" y="f205"/>
                  <a:pt x="f216" y="f155"/>
                  <a:pt x="f215" y="f155"/>
                </a:cubicBezTo>
                <a:cubicBezTo>
                  <a:pt x="f242" y="f155"/>
                  <a:pt x="f243" y="f208"/>
                  <a:pt x="f232" y="f209"/>
                </a:cubicBezTo>
                <a:cubicBezTo>
                  <a:pt x="f244" y="f211"/>
                  <a:pt x="f245" y="f213"/>
                  <a:pt x="f245" y="f39"/>
                </a:cubicBezTo>
                <a:cubicBezTo>
                  <a:pt x="f245" y="f151"/>
                  <a:pt x="f246" y="f119"/>
                  <a:pt x="f232" y="f66"/>
                </a:cubicBezTo>
                <a:cubicBezTo>
                  <a:pt x="f243" y="f147"/>
                  <a:pt x="f242" y="f144"/>
                  <a:pt x="f215" y="f144"/>
                </a:cubicBezTo>
                <a:close/>
                <a:moveTo>
                  <a:pt x="f247" y="f144"/>
                </a:moveTo>
                <a:cubicBezTo>
                  <a:pt x="f248" y="f144"/>
                  <a:pt x="f249" y="f250"/>
                  <a:pt x="f251" y="f252"/>
                </a:cubicBezTo>
                <a:cubicBezTo>
                  <a:pt x="f253" y="f254"/>
                  <a:pt x="f255" y="f169"/>
                  <a:pt x="f256" y="f27"/>
                </a:cubicBezTo>
                <a:cubicBezTo>
                  <a:pt x="f256" y="f27"/>
                  <a:pt x="f256" y="f27"/>
                  <a:pt x="f257" y="f27"/>
                </a:cubicBezTo>
                <a:cubicBezTo>
                  <a:pt x="f258" y="f173"/>
                  <a:pt x="f259" y="f260"/>
                  <a:pt x="f261" y="f262"/>
                </a:cubicBezTo>
                <a:cubicBezTo>
                  <a:pt x="f263" y="f179"/>
                  <a:pt x="f264" y="f265"/>
                  <a:pt x="f266" y="f265"/>
                </a:cubicBezTo>
                <a:cubicBezTo>
                  <a:pt x="f267" y="f265"/>
                  <a:pt x="f268" y="f12"/>
                  <a:pt x="f269" y="f262"/>
                </a:cubicBezTo>
                <a:cubicBezTo>
                  <a:pt x="f270" y="f119"/>
                  <a:pt x="f271" y="f272"/>
                  <a:pt x="f271" y="f273"/>
                </a:cubicBezTo>
                <a:cubicBezTo>
                  <a:pt x="f271" y="f274"/>
                  <a:pt x="f275" y="f276"/>
                  <a:pt x="f277" y="f278"/>
                </a:cubicBezTo>
                <a:cubicBezTo>
                  <a:pt x="f279" y="f280"/>
                  <a:pt x="f281" y="f282"/>
                  <a:pt x="f248" y="f101"/>
                </a:cubicBezTo>
                <a:cubicBezTo>
                  <a:pt x="f251" y="f22"/>
                  <a:pt x="f283" y="f284"/>
                  <a:pt x="f283" y="f285"/>
                </a:cubicBezTo>
                <a:cubicBezTo>
                  <a:pt x="f283" y="f286"/>
                  <a:pt x="f287" y="f288"/>
                  <a:pt x="f289" y="f290"/>
                </a:cubicBezTo>
                <a:cubicBezTo>
                  <a:pt x="f258" y="f208"/>
                  <a:pt x="f291" y="f92"/>
                  <a:pt x="f292" y="f92"/>
                </a:cubicBezTo>
                <a:cubicBezTo>
                  <a:pt x="f293" y="f92"/>
                  <a:pt x="f294" y="f208"/>
                  <a:pt x="f295" y="f296"/>
                </a:cubicBezTo>
                <a:cubicBezTo>
                  <a:pt x="f297" y="f298"/>
                  <a:pt x="f299" y="f300"/>
                  <a:pt x="f299" y="f301"/>
                </a:cubicBezTo>
                <a:cubicBezTo>
                  <a:pt x="f299" y="f301"/>
                  <a:pt x="f299" y="f301"/>
                  <a:pt x="f302" y="f301"/>
                </a:cubicBezTo>
                <a:cubicBezTo>
                  <a:pt x="f302" y="f187"/>
                  <a:pt x="f303" y="f304"/>
                  <a:pt x="f305" y="f306"/>
                </a:cubicBezTo>
                <a:cubicBezTo>
                  <a:pt x="f307" y="f90"/>
                  <a:pt x="f308" y="f85"/>
                  <a:pt x="f292" y="f85"/>
                </a:cubicBezTo>
                <a:cubicBezTo>
                  <a:pt x="f309" y="f85"/>
                  <a:pt x="f310" y="f311"/>
                  <a:pt x="f312" y="f313"/>
                </a:cubicBezTo>
                <a:cubicBezTo>
                  <a:pt x="f258" y="f211"/>
                  <a:pt x="f314" y="f300"/>
                  <a:pt x="f314" y="f285"/>
                </a:cubicBezTo>
                <a:cubicBezTo>
                  <a:pt x="f314" y="f315"/>
                  <a:pt x="f249" y="f111"/>
                  <a:pt x="f264" y="f284"/>
                </a:cubicBezTo>
                <a:cubicBezTo>
                  <a:pt x="f264" y="f284"/>
                  <a:pt x="f264" y="f284"/>
                  <a:pt x="f316" y="f317"/>
                </a:cubicBezTo>
                <a:cubicBezTo>
                  <a:pt x="f318" y="f104"/>
                  <a:pt x="f319" y="f17"/>
                  <a:pt x="f319" y="f320"/>
                </a:cubicBezTo>
                <a:cubicBezTo>
                  <a:pt x="f319" y="f99"/>
                  <a:pt x="f321" y="f322"/>
                  <a:pt x="f323" y="f324"/>
                </a:cubicBezTo>
                <a:cubicBezTo>
                  <a:pt x="f325" y="f250"/>
                  <a:pt x="f326" y="f144"/>
                  <a:pt x="f247" y="f144"/>
                </a:cubicBezTo>
                <a:close/>
                <a:moveTo>
                  <a:pt x="f50" y="f144"/>
                </a:moveTo>
                <a:cubicBezTo>
                  <a:pt x="f327" y="f144"/>
                  <a:pt x="f328" y="f147"/>
                  <a:pt x="f60" y="f66"/>
                </a:cubicBezTo>
                <a:cubicBezTo>
                  <a:pt x="f329" y="f119"/>
                  <a:pt x="f330" y="f151"/>
                  <a:pt x="f330" y="f39"/>
                </a:cubicBezTo>
                <a:cubicBezTo>
                  <a:pt x="f330" y="f152"/>
                  <a:pt x="f329" y="f115"/>
                  <a:pt x="f60" y="f153"/>
                </a:cubicBezTo>
                <a:cubicBezTo>
                  <a:pt x="f328" y="f154"/>
                  <a:pt x="f327" y="f155"/>
                  <a:pt x="f50" y="f155"/>
                </a:cubicBezTo>
                <a:cubicBezTo>
                  <a:pt x="f331" y="f155"/>
                  <a:pt x="f332" y="f154"/>
                  <a:pt x="f333" y="f153"/>
                </a:cubicBezTo>
                <a:cubicBezTo>
                  <a:pt x="f334" y="f115"/>
                  <a:pt x="f335" y="f152"/>
                  <a:pt x="f335" y="f39"/>
                </a:cubicBezTo>
                <a:cubicBezTo>
                  <a:pt x="f335" y="f151"/>
                  <a:pt x="f334" y="f119"/>
                  <a:pt x="f333" y="f66"/>
                </a:cubicBezTo>
                <a:cubicBezTo>
                  <a:pt x="f332" y="f147"/>
                  <a:pt x="f331" y="f144"/>
                  <a:pt x="f50" y="f144"/>
                </a:cubicBezTo>
                <a:close/>
                <a:moveTo>
                  <a:pt x="f336" y="f144"/>
                </a:moveTo>
                <a:cubicBezTo>
                  <a:pt x="f337" y="f144"/>
                  <a:pt x="f338" y="f163"/>
                  <a:pt x="f339" y="f340"/>
                </a:cubicBezTo>
                <a:cubicBezTo>
                  <a:pt x="f341" y="f68"/>
                  <a:pt x="f342" y="f343"/>
                  <a:pt x="f344" y="f345"/>
                </a:cubicBezTo>
                <a:cubicBezTo>
                  <a:pt x="f344" y="f345"/>
                  <a:pt x="f344" y="f345"/>
                  <a:pt x="f346" y="f345"/>
                </a:cubicBezTo>
                <a:cubicBezTo>
                  <a:pt x="f347" y="f348"/>
                  <a:pt x="f349" y="f175"/>
                  <a:pt x="f350" y="f351"/>
                </a:cubicBezTo>
                <a:cubicBezTo>
                  <a:pt x="f352" y="f33"/>
                  <a:pt x="f353" y="f30"/>
                  <a:pt x="f336" y="f30"/>
                </a:cubicBezTo>
                <a:cubicBezTo>
                  <a:pt x="f354" y="f30"/>
                  <a:pt x="f355" y="f33"/>
                  <a:pt x="f356" y="f19"/>
                </a:cubicBezTo>
                <a:cubicBezTo>
                  <a:pt x="f357" y="f36"/>
                  <a:pt x="f357" y="f38"/>
                  <a:pt x="f357" y="f39"/>
                </a:cubicBezTo>
                <a:cubicBezTo>
                  <a:pt x="f357" y="f40"/>
                  <a:pt x="f357" y="f41"/>
                  <a:pt x="f356" y="f42"/>
                </a:cubicBezTo>
                <a:cubicBezTo>
                  <a:pt x="f355" y="f43"/>
                  <a:pt x="f354" y="f85"/>
                  <a:pt x="f336" y="f85"/>
                </a:cubicBezTo>
                <a:cubicBezTo>
                  <a:pt x="f353" y="f85"/>
                  <a:pt x="f358" y="f359"/>
                  <a:pt x="f360" y="f42"/>
                </a:cubicBezTo>
                <a:cubicBezTo>
                  <a:pt x="f349" y="f361"/>
                  <a:pt x="f346" y="f362"/>
                  <a:pt x="f346" y="f301"/>
                </a:cubicBezTo>
                <a:cubicBezTo>
                  <a:pt x="f346" y="f301"/>
                  <a:pt x="f346" y="f301"/>
                  <a:pt x="f363" y="f301"/>
                </a:cubicBezTo>
                <a:cubicBezTo>
                  <a:pt x="f344" y="f364"/>
                  <a:pt x="f341" y="f365"/>
                  <a:pt x="f339" y="f153"/>
                </a:cubicBezTo>
                <a:cubicBezTo>
                  <a:pt x="f338" y="f366"/>
                  <a:pt x="f337" y="f155"/>
                  <a:pt x="f336" y="f155"/>
                </a:cubicBezTo>
                <a:cubicBezTo>
                  <a:pt x="f367" y="f155"/>
                  <a:pt x="f368" y="f154"/>
                  <a:pt x="f369" y="f153"/>
                </a:cubicBezTo>
                <a:cubicBezTo>
                  <a:pt x="f370" y="f115"/>
                  <a:pt x="f5" y="f152"/>
                  <a:pt x="f5" y="f39"/>
                </a:cubicBezTo>
                <a:cubicBezTo>
                  <a:pt x="f5" y="f151"/>
                  <a:pt x="f370" y="f119"/>
                  <a:pt x="f369" y="f66"/>
                </a:cubicBezTo>
                <a:cubicBezTo>
                  <a:pt x="f368" y="f147"/>
                  <a:pt x="f367" y="f144"/>
                  <a:pt x="f336" y="f144"/>
                </a:cubicBezTo>
                <a:close/>
                <a:moveTo>
                  <a:pt x="f371" y="f372"/>
                </a:moveTo>
                <a:cubicBezTo>
                  <a:pt x="f371" y="f372"/>
                  <a:pt x="f371" y="f372"/>
                  <a:pt x="f371" y="f373"/>
                </a:cubicBezTo>
                <a:cubicBezTo>
                  <a:pt x="f371" y="f373"/>
                  <a:pt x="f371" y="f373"/>
                  <a:pt x="f374" y="f373"/>
                </a:cubicBezTo>
                <a:cubicBezTo>
                  <a:pt x="f375" y="f373"/>
                  <a:pt x="f376" y="f377"/>
                  <a:pt x="f376" y="f378"/>
                </a:cubicBezTo>
                <a:cubicBezTo>
                  <a:pt x="f376" y="f379"/>
                  <a:pt x="f375" y="f372"/>
                  <a:pt x="f374" y="f372"/>
                </a:cubicBezTo>
                <a:cubicBezTo>
                  <a:pt x="f374" y="f372"/>
                  <a:pt x="f374" y="f372"/>
                  <a:pt x="f371" y="f372"/>
                </a:cubicBezTo>
                <a:close/>
                <a:moveTo>
                  <a:pt x="f380" y="f5"/>
                </a:moveTo>
                <a:lnTo>
                  <a:pt x="f6" y="f5"/>
                </a:lnTo>
                <a:lnTo>
                  <a:pt x="f6" y="f381"/>
                </a:lnTo>
                <a:lnTo>
                  <a:pt x="f382" y="f381"/>
                </a:lnTo>
                <a:lnTo>
                  <a:pt x="f382" y="f383"/>
                </a:lnTo>
                <a:lnTo>
                  <a:pt x="f384" y="f383"/>
                </a:lnTo>
                <a:lnTo>
                  <a:pt x="f384" y="f381"/>
                </a:lnTo>
                <a:lnTo>
                  <a:pt x="f380" y="f381"/>
                </a:lnTo>
                <a:close/>
                <a:moveTo>
                  <a:pt x="f385" y="f5"/>
                </a:moveTo>
                <a:lnTo>
                  <a:pt x="f386" y="f5"/>
                </a:lnTo>
                <a:lnTo>
                  <a:pt x="f387" y="f388"/>
                </a:lnTo>
                <a:lnTo>
                  <a:pt x="f389" y="f390"/>
                </a:lnTo>
                <a:lnTo>
                  <a:pt x="f389" y="f5"/>
                </a:lnTo>
                <a:lnTo>
                  <a:pt x="f391" y="f5"/>
                </a:lnTo>
                <a:lnTo>
                  <a:pt x="f391" y="f383"/>
                </a:lnTo>
                <a:lnTo>
                  <a:pt x="f392" y="f383"/>
                </a:lnTo>
                <a:lnTo>
                  <a:pt x="f393" y="f394"/>
                </a:lnTo>
                <a:lnTo>
                  <a:pt x="f393" y="f383"/>
                </a:lnTo>
                <a:lnTo>
                  <a:pt x="f385" y="f383"/>
                </a:lnTo>
                <a:close/>
                <a:moveTo>
                  <a:pt x="f395" y="f5"/>
                </a:moveTo>
                <a:lnTo>
                  <a:pt x="f396" y="f5"/>
                </a:lnTo>
                <a:lnTo>
                  <a:pt x="f396" y="f397"/>
                </a:lnTo>
                <a:lnTo>
                  <a:pt x="f398" y="f397"/>
                </a:lnTo>
                <a:lnTo>
                  <a:pt x="f398" y="f399"/>
                </a:lnTo>
                <a:lnTo>
                  <a:pt x="f400" y="f399"/>
                </a:lnTo>
                <a:lnTo>
                  <a:pt x="f400" y="f401"/>
                </a:lnTo>
                <a:lnTo>
                  <a:pt x="f398" y="f401"/>
                </a:lnTo>
                <a:lnTo>
                  <a:pt x="f398" y="f402"/>
                </a:lnTo>
                <a:lnTo>
                  <a:pt x="f396" y="f402"/>
                </a:lnTo>
                <a:lnTo>
                  <a:pt x="f396" y="f383"/>
                </a:lnTo>
                <a:lnTo>
                  <a:pt x="f395" y="f383"/>
                </a:lnTo>
                <a:close/>
                <a:moveTo>
                  <a:pt x="f403" y="f5"/>
                </a:moveTo>
                <a:lnTo>
                  <a:pt x="f404" y="f5"/>
                </a:lnTo>
                <a:lnTo>
                  <a:pt x="f405" y="f406"/>
                </a:lnTo>
                <a:lnTo>
                  <a:pt x="f407" y="f5"/>
                </a:lnTo>
                <a:lnTo>
                  <a:pt x="f408" y="f5"/>
                </a:lnTo>
                <a:lnTo>
                  <a:pt x="f408" y="f383"/>
                </a:lnTo>
                <a:lnTo>
                  <a:pt x="f409" y="f383"/>
                </a:lnTo>
                <a:lnTo>
                  <a:pt x="f409" y="f410"/>
                </a:lnTo>
                <a:lnTo>
                  <a:pt x="f411" y="f412"/>
                </a:lnTo>
                <a:lnTo>
                  <a:pt x="f413" y="f412"/>
                </a:lnTo>
                <a:lnTo>
                  <a:pt x="f414" y="f415"/>
                </a:lnTo>
                <a:lnTo>
                  <a:pt x="f414" y="f383"/>
                </a:lnTo>
                <a:lnTo>
                  <a:pt x="f403" y="f383"/>
                </a:lnTo>
                <a:close/>
                <a:moveTo>
                  <a:pt x="f416" y="f5"/>
                </a:moveTo>
                <a:lnTo>
                  <a:pt x="f417" y="f5"/>
                </a:lnTo>
                <a:lnTo>
                  <a:pt x="f417" y="f397"/>
                </a:lnTo>
                <a:lnTo>
                  <a:pt x="f418" y="f397"/>
                </a:lnTo>
                <a:lnTo>
                  <a:pt x="f418" y="f399"/>
                </a:lnTo>
                <a:lnTo>
                  <a:pt x="f419" y="f399"/>
                </a:lnTo>
                <a:lnTo>
                  <a:pt x="f419" y="f401"/>
                </a:lnTo>
                <a:lnTo>
                  <a:pt x="f418" y="f401"/>
                </a:lnTo>
                <a:lnTo>
                  <a:pt x="f418" y="f402"/>
                </a:lnTo>
                <a:lnTo>
                  <a:pt x="f417" y="f402"/>
                </a:lnTo>
                <a:lnTo>
                  <a:pt x="f417" y="f383"/>
                </a:lnTo>
                <a:lnTo>
                  <a:pt x="f416" y="f383"/>
                </a:lnTo>
                <a:close/>
                <a:moveTo>
                  <a:pt x="f420" y="f5"/>
                </a:moveTo>
                <a:lnTo>
                  <a:pt x="f421" y="f5"/>
                </a:lnTo>
                <a:lnTo>
                  <a:pt x="f421" y="f422"/>
                </a:lnTo>
                <a:lnTo>
                  <a:pt x="f423" y="f422"/>
                </a:lnTo>
                <a:lnTo>
                  <a:pt x="f423" y="f383"/>
                </a:lnTo>
                <a:lnTo>
                  <a:pt x="f420" y="f383"/>
                </a:lnTo>
                <a:close/>
                <a:moveTo>
                  <a:pt x="f424" y="f5"/>
                </a:moveTo>
                <a:cubicBezTo>
                  <a:pt x="f424" y="f5"/>
                  <a:pt x="f424" y="f5"/>
                  <a:pt x="f425" y="f5"/>
                </a:cubicBezTo>
                <a:cubicBezTo>
                  <a:pt x="f426" y="f5"/>
                  <a:pt x="f427" y="f428"/>
                  <a:pt x="f427" y="f429"/>
                </a:cubicBezTo>
                <a:cubicBezTo>
                  <a:pt x="f427" y="f430"/>
                  <a:pt x="f426" y="f431"/>
                  <a:pt x="f425" y="f431"/>
                </a:cubicBezTo>
                <a:cubicBezTo>
                  <a:pt x="f425" y="f431"/>
                  <a:pt x="f425" y="f431"/>
                  <a:pt x="f371" y="f431"/>
                </a:cubicBezTo>
                <a:cubicBezTo>
                  <a:pt x="f371" y="f431"/>
                  <a:pt x="f371" y="f431"/>
                  <a:pt x="f371" y="f383"/>
                </a:cubicBezTo>
                <a:cubicBezTo>
                  <a:pt x="f371" y="f383"/>
                  <a:pt x="f371" y="f383"/>
                  <a:pt x="f424" y="f383"/>
                </a:cubicBezTo>
                <a:cubicBezTo>
                  <a:pt x="f424" y="f383"/>
                  <a:pt x="f424" y="f383"/>
                  <a:pt x="f424" y="f5"/>
                </a:cubicBezTo>
                <a:close/>
                <a:moveTo>
                  <a:pt x="f432" y="f5"/>
                </a:moveTo>
                <a:lnTo>
                  <a:pt x="f433" y="f5"/>
                </a:lnTo>
                <a:lnTo>
                  <a:pt x="f434" y="f406"/>
                </a:lnTo>
                <a:lnTo>
                  <a:pt x="f435" y="f5"/>
                </a:lnTo>
                <a:lnTo>
                  <a:pt x="f436" y="f5"/>
                </a:lnTo>
                <a:lnTo>
                  <a:pt x="f436" y="f383"/>
                </a:lnTo>
                <a:lnTo>
                  <a:pt x="f437" y="f383"/>
                </a:lnTo>
                <a:lnTo>
                  <a:pt x="f437" y="f410"/>
                </a:lnTo>
                <a:lnTo>
                  <a:pt x="f438" y="f412"/>
                </a:lnTo>
                <a:lnTo>
                  <a:pt x="f439" y="f412"/>
                </a:lnTo>
                <a:lnTo>
                  <a:pt x="f440" y="f415"/>
                </a:lnTo>
                <a:lnTo>
                  <a:pt x="f440" y="f383"/>
                </a:lnTo>
                <a:lnTo>
                  <a:pt x="f432" y="f383"/>
                </a:lnTo>
                <a:close/>
                <a:moveTo>
                  <a:pt x="f441" y="f5"/>
                </a:moveTo>
                <a:lnTo>
                  <a:pt x="f442" y="f5"/>
                </a:lnTo>
                <a:lnTo>
                  <a:pt x="f442" y="f383"/>
                </a:lnTo>
                <a:lnTo>
                  <a:pt x="f441" y="f383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1F2023"/>
                </a:solidFill>
                <a:uFillTx/>
                <a:latin typeface="Arial"/>
              </a:rPr>
              <a:t> </a:t>
            </a:r>
          </a:p>
        </p:txBody>
      </p:sp>
      <p:sp>
        <p:nvSpPr>
          <p:cNvPr id="9" name="Date_GeneralDate" hidden="1">
            <a:extLst>
              <a:ext uri="{FF2B5EF4-FFF2-40B4-BE49-F238E27FC236}">
                <a16:creationId xmlns:a16="http://schemas.microsoft.com/office/drawing/2014/main" id="{6845F917-8CA4-4853-AFB7-AF61C4E368AF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94E997D5-BE3D-4C84-AEDD-9AA7117DD43F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10" name="FLD_PresentationTitle" hidden="1">
            <a:extLst>
              <a:ext uri="{FF2B5EF4-FFF2-40B4-BE49-F238E27FC236}">
                <a16:creationId xmlns:a16="http://schemas.microsoft.com/office/drawing/2014/main" id="{9CB7F880-1B63-4263-9D83-0F22C48FC357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5184003"/>
            <a:ext cx="0" cy="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GB"/>
              <a:t>Footer</a:t>
            </a:r>
          </a:p>
        </p:txBody>
      </p:sp>
      <p:sp>
        <p:nvSpPr>
          <p:cNvPr id="11" name="Slide Number Placeholder 5" hidden="1">
            <a:extLst>
              <a:ext uri="{FF2B5EF4-FFF2-40B4-BE49-F238E27FC236}">
                <a16:creationId xmlns:a16="http://schemas.microsoft.com/office/drawing/2014/main" id="{A5A894E5-D321-4B3B-A791-C2FBCB307E7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5184003"/>
            <a:ext cx="0" cy="0"/>
          </a:xfrm>
        </p:spPr>
        <p:txBody>
          <a:bodyPr anchor="t"/>
          <a:lstStyle>
            <a:lvl1pPr>
              <a:defRPr sz="108">
                <a:solidFill>
                  <a:srgbClr val="000000"/>
                </a:solidFill>
              </a:defRPr>
            </a:lvl1pPr>
          </a:lstStyle>
          <a:p>
            <a:pPr lvl="0"/>
            <a:fld id="{97038049-DFC3-491A-8DC0-84973810B8CE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4901968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9EAB75E4-0C76-41ED-8736-52A1982E41A8}"/>
              </a:ext>
            </a:extLst>
          </p:cNvPr>
          <p:cNvSpPr/>
          <p:nvPr/>
        </p:nvSpPr>
        <p:spPr>
          <a:xfrm>
            <a:off x="6619874" y="0"/>
            <a:ext cx="2524123" cy="5143500"/>
          </a:xfrm>
          <a:custGeom>
            <a:avLst/>
            <a:gdLst>
              <a:gd name="f0" fmla="val w"/>
              <a:gd name="f1" fmla="val h"/>
              <a:gd name="f2" fmla="val 0"/>
              <a:gd name="f3" fmla="val 20104100"/>
              <a:gd name="f4" fmla="val 11308715"/>
              <a:gd name="f5" fmla="val 11308556"/>
              <a:gd name="f6" fmla="val 20104099"/>
              <a:gd name="f7" fmla="*/ f0 1 20104100"/>
              <a:gd name="f8" fmla="*/ f1 1 11308715"/>
              <a:gd name="f9" fmla="+- f4 0 f2"/>
              <a:gd name="f10" fmla="+- f3 0 f2"/>
              <a:gd name="f11" fmla="*/ f10 1 20104100"/>
              <a:gd name="f12" fmla="*/ f9 1 11308715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20104100" h="11308715">
                <a:moveTo>
                  <a:pt x="f2" y="f5"/>
                </a:moveTo>
                <a:lnTo>
                  <a:pt x="f6" y="f5"/>
                </a:lnTo>
                <a:lnTo>
                  <a:pt x="f6" y="f2"/>
                </a:lnTo>
                <a:lnTo>
                  <a:pt x="f2" y="f2"/>
                </a:lnTo>
                <a:lnTo>
                  <a:pt x="f2" y="f5"/>
                </a:lnTo>
                <a:close/>
              </a:path>
            </a:pathLst>
          </a:custGeom>
          <a:solidFill>
            <a:srgbClr val="E4B73B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3" name="Rectangle 23">
            <a:extLst>
              <a:ext uri="{FF2B5EF4-FFF2-40B4-BE49-F238E27FC236}">
                <a16:creationId xmlns:a16="http://schemas.microsoft.com/office/drawing/2014/main" id="{54EF1F3E-4792-43A1-BB86-8F8A84896B1D}"/>
              </a:ext>
            </a:extLst>
          </p:cNvPr>
          <p:cNvSpPr/>
          <p:nvPr/>
        </p:nvSpPr>
        <p:spPr>
          <a:xfrm>
            <a:off x="0" y="0"/>
            <a:ext cx="6619873" cy="1224612"/>
          </a:xfrm>
          <a:prstGeom prst="rect">
            <a:avLst/>
          </a:prstGeom>
          <a:solidFill>
            <a:srgbClr val="F8F5E7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marL="0" marR="0" lvl="0" indent="0" algn="ctr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4" name="object 3">
            <a:extLst>
              <a:ext uri="{FF2B5EF4-FFF2-40B4-BE49-F238E27FC236}">
                <a16:creationId xmlns:a16="http://schemas.microsoft.com/office/drawing/2014/main" id="{23F5C242-82A2-4850-A105-D008CD152BF2}"/>
              </a:ext>
            </a:extLst>
          </p:cNvPr>
          <p:cNvSpPr/>
          <p:nvPr/>
        </p:nvSpPr>
        <p:spPr>
          <a:xfrm>
            <a:off x="0" y="1016795"/>
            <a:ext cx="7896836" cy="4126705"/>
          </a:xfrm>
          <a:custGeom>
            <a:avLst/>
            <a:gdLst>
              <a:gd name="f0" fmla="val w"/>
              <a:gd name="f1" fmla="val h"/>
              <a:gd name="f2" fmla="val 0"/>
              <a:gd name="f3" fmla="val 16670019"/>
              <a:gd name="f4" fmla="val 10303510"/>
              <a:gd name="f5" fmla="val 10303351"/>
              <a:gd name="f6" fmla="val 16669649"/>
              <a:gd name="f7" fmla="*/ f0 1 16670019"/>
              <a:gd name="f8" fmla="*/ f1 1 10303510"/>
              <a:gd name="f9" fmla="+- f4 0 f2"/>
              <a:gd name="f10" fmla="+- f3 0 f2"/>
              <a:gd name="f11" fmla="*/ f10 1 16670019"/>
              <a:gd name="f12" fmla="*/ f9 1 10303510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16670019" h="10303510">
                <a:moveTo>
                  <a:pt x="f2" y="f5"/>
                </a:moveTo>
                <a:lnTo>
                  <a:pt x="f6" y="f5"/>
                </a:lnTo>
                <a:lnTo>
                  <a:pt x="f6" y="f2"/>
                </a:lnTo>
                <a:lnTo>
                  <a:pt x="f2" y="f2"/>
                </a:lnTo>
                <a:lnTo>
                  <a:pt x="f2" y="f5"/>
                </a:lnTo>
                <a:close/>
              </a:path>
            </a:pathLst>
          </a:custGeom>
          <a:solidFill>
            <a:srgbClr val="E2DED9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B36A544-ECB3-4E21-A880-BC9966F77DB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49909" y="1604223"/>
            <a:ext cx="5393350" cy="1668661"/>
          </a:xfrm>
        </p:spPr>
        <p:txBody>
          <a:bodyPr/>
          <a:lstStyle>
            <a:lvl1pPr>
              <a:lnSpc>
                <a:spcPct val="83000"/>
              </a:lnSpc>
              <a:defRPr lang="en-GB" sz="4875" cap="all">
                <a:solidFill>
                  <a:srgbClr val="30373B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78F37672-F930-4129-B494-763B17FE1AE1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249235" y="4097346"/>
            <a:ext cx="5393350" cy="647656"/>
          </a:xfrm>
        </p:spPr>
        <p:txBody>
          <a:bodyPr anchor="b"/>
          <a:lstStyle>
            <a:lvl1pPr>
              <a:defRPr lang="en-GB" sz="675"/>
            </a:lvl1pPr>
          </a:lstStyle>
          <a:p>
            <a:pPr lvl="0"/>
            <a:r>
              <a:rPr lang="en-GB"/>
              <a:t>Click to edit Master subtitle style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63AE4E0A-B594-41EC-A33A-8E799849C4C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235" y="4790264"/>
            <a:ext cx="5393350" cy="157974"/>
          </a:xfrm>
        </p:spPr>
        <p:txBody>
          <a:bodyPr rIns="0" anchor="b"/>
          <a:lstStyle>
            <a:lvl1pPr>
              <a:defRPr lang="en-GB" sz="675"/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B0B16C79-97C3-4D57-B9C8-7EAEE26E388C}"/>
              </a:ext>
            </a:extLst>
          </p:cNvPr>
          <p:cNvSpPr/>
          <p:nvPr/>
        </p:nvSpPr>
        <p:spPr>
          <a:xfrm rot="5400013">
            <a:off x="8288464" y="566493"/>
            <a:ext cx="944168" cy="265744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9905999"/>
              <a:gd name="f7" fmla="val 2265361"/>
              <a:gd name="f8" fmla="val 6778122"/>
              <a:gd name="f9" fmla="val 2222531"/>
              <a:gd name="f10" fmla="val 7135812"/>
              <a:gd name="f11" fmla="val 6449676"/>
              <a:gd name="f12" fmla="val 1769427"/>
              <a:gd name="f13" fmla="val 1965546"/>
              <a:gd name="f14" fmla="val 6575655"/>
              <a:gd name="f15" fmla="val 6643144"/>
              <a:gd name="f16" fmla="val 6679138"/>
              <a:gd name="f17" fmla="val 1933987"/>
              <a:gd name="f18" fmla="val 1864105"/>
              <a:gd name="f19" fmla="val 1800986"/>
              <a:gd name="f20" fmla="val 6638645"/>
              <a:gd name="f21" fmla="val 5021164"/>
              <a:gd name="f22" fmla="val 1949767"/>
              <a:gd name="f23" fmla="val 5158391"/>
              <a:gd name="f24" fmla="val 5219131"/>
              <a:gd name="f25" fmla="val 5261874"/>
              <a:gd name="f26" fmla="val 1924970"/>
              <a:gd name="f27" fmla="val 1859597"/>
              <a:gd name="f28" fmla="val 1794223"/>
              <a:gd name="f29" fmla="val 5597068"/>
              <a:gd name="f30" fmla="val 1762664"/>
              <a:gd name="f31" fmla="val 5563324"/>
              <a:gd name="f32" fmla="val 5529579"/>
              <a:gd name="f33" fmla="val 1776189"/>
              <a:gd name="f34" fmla="val 5504834"/>
              <a:gd name="f35" fmla="val 5462091"/>
              <a:gd name="f36" fmla="val 1843817"/>
              <a:gd name="f37" fmla="val 5459841"/>
              <a:gd name="f38" fmla="val 1913699"/>
              <a:gd name="f39" fmla="val 1967800"/>
              <a:gd name="f40" fmla="val 2019648"/>
              <a:gd name="f41" fmla="val 2089530"/>
              <a:gd name="f42" fmla="val 2132361"/>
              <a:gd name="f43" fmla="val 2159412"/>
              <a:gd name="f44" fmla="val 2170683"/>
              <a:gd name="f45" fmla="val 5633062"/>
              <a:gd name="f46" fmla="val 5666807"/>
              <a:gd name="f47" fmla="val 5691552"/>
              <a:gd name="f48" fmla="val 5732046"/>
              <a:gd name="f49" fmla="val 5734295"/>
              <a:gd name="f50" fmla="val 654642"/>
              <a:gd name="f51" fmla="val 618647"/>
              <a:gd name="f52" fmla="val 584903"/>
              <a:gd name="f53" fmla="val 560157"/>
              <a:gd name="f54" fmla="val 519664"/>
              <a:gd name="f55" fmla="val 517414"/>
              <a:gd name="f56" fmla="val 688386"/>
              <a:gd name="f57" fmla="val 722130"/>
              <a:gd name="f58" fmla="val 746876"/>
              <a:gd name="f59" fmla="val 789619"/>
              <a:gd name="f60" fmla="val 791868"/>
              <a:gd name="f61" fmla="val 6386687"/>
              <a:gd name="f62" fmla="val 1710816"/>
              <a:gd name="f63" fmla="val 6636395"/>
              <a:gd name="f64" fmla="val 1726596"/>
              <a:gd name="f65" fmla="val 6706134"/>
              <a:gd name="f66" fmla="val 1755901"/>
              <a:gd name="f67" fmla="val 6730880"/>
              <a:gd name="f68" fmla="val 1782952"/>
              <a:gd name="f69" fmla="val 6744377"/>
              <a:gd name="f70" fmla="val 1821274"/>
              <a:gd name="f71" fmla="val 1915953"/>
              <a:gd name="f72" fmla="val 1954275"/>
              <a:gd name="f73" fmla="val 6701634"/>
              <a:gd name="f74" fmla="val 1981326"/>
              <a:gd name="f75" fmla="val 6674639"/>
              <a:gd name="f76" fmla="val 2008377"/>
              <a:gd name="f77" fmla="val 6634146"/>
              <a:gd name="f78" fmla="val 2024157"/>
              <a:gd name="f79" fmla="val 6577905"/>
              <a:gd name="f80" fmla="val 5889520"/>
              <a:gd name="f81" fmla="val 5954759"/>
              <a:gd name="f82" fmla="val 2035428"/>
              <a:gd name="f83" fmla="val 2118835"/>
              <a:gd name="f84" fmla="val 5988503"/>
              <a:gd name="f85" fmla="val 2172937"/>
              <a:gd name="f86" fmla="val 6076239"/>
              <a:gd name="f87" fmla="val 6166224"/>
              <a:gd name="f88" fmla="val 6199968"/>
              <a:gd name="f89" fmla="val 6262957"/>
              <a:gd name="f90" fmla="val 2163920"/>
              <a:gd name="f91" fmla="val 6190969"/>
              <a:gd name="f92" fmla="val 2231547"/>
              <a:gd name="f93" fmla="val 5961508"/>
              <a:gd name="f94" fmla="val 4958174"/>
              <a:gd name="f95" fmla="val 5259624"/>
              <a:gd name="f96" fmla="val 5288869"/>
              <a:gd name="f97" fmla="val 5313615"/>
              <a:gd name="f98" fmla="val 5329363"/>
              <a:gd name="f99" fmla="val 1814512"/>
              <a:gd name="f100" fmla="val 1904682"/>
              <a:gd name="f101" fmla="val 1936241"/>
              <a:gd name="f102" fmla="val 1961038"/>
              <a:gd name="f103" fmla="val 5275372"/>
              <a:gd name="f104" fmla="val 1976817"/>
              <a:gd name="f105" fmla="val 5252875"/>
              <a:gd name="f106" fmla="val 1990343"/>
              <a:gd name="f107" fmla="val 5228130"/>
              <a:gd name="f108" fmla="val 1997106"/>
              <a:gd name="f109" fmla="val 5331612"/>
              <a:gd name="f110" fmla="val 5162890"/>
              <a:gd name="f111" fmla="val 2010631"/>
              <a:gd name="f112" fmla="val 3309199"/>
              <a:gd name="f113" fmla="val 3381187"/>
              <a:gd name="f114" fmla="val 3633145"/>
              <a:gd name="f115" fmla="val 2123344"/>
              <a:gd name="f116" fmla="val 3693885"/>
              <a:gd name="f117" fmla="val 3621897"/>
              <a:gd name="f118" fmla="val 3372188"/>
              <a:gd name="f119" fmla="val 1810003"/>
              <a:gd name="f120" fmla="val 3106732"/>
              <a:gd name="f121" fmla="val 3171971"/>
              <a:gd name="f122" fmla="val 2663557"/>
              <a:gd name="f123" fmla="val 3032495"/>
              <a:gd name="f124" fmla="val 2879521"/>
              <a:gd name="f125" fmla="val 2814282"/>
              <a:gd name="f126" fmla="val 2416099"/>
              <a:gd name="f127" fmla="val 2481338"/>
              <a:gd name="f128" fmla="val 2726547"/>
              <a:gd name="f129" fmla="val 1918931"/>
              <a:gd name="f130" fmla="val 1984171"/>
              <a:gd name="f131" fmla="val 2017916"/>
              <a:gd name="f132" fmla="val 2105651"/>
              <a:gd name="f133" fmla="val 2195636"/>
              <a:gd name="f134" fmla="val 2229380"/>
              <a:gd name="f135" fmla="val 2292369"/>
              <a:gd name="f136" fmla="val 2220382"/>
              <a:gd name="f137" fmla="val 1990920"/>
              <a:gd name="f138" fmla="val 960591"/>
              <a:gd name="f139" fmla="val 1032578"/>
              <a:gd name="f140" fmla="val 1284537"/>
              <a:gd name="f141" fmla="val 1345276"/>
              <a:gd name="f142" fmla="val 1273289"/>
              <a:gd name="f143" fmla="val 1023580"/>
              <a:gd name="f144" fmla="val 1701799"/>
              <a:gd name="f145" fmla="val 5648810"/>
              <a:gd name="f146" fmla="val 5698301"/>
              <a:gd name="f147" fmla="val 1719833"/>
              <a:gd name="f148" fmla="val 5736545"/>
              <a:gd name="f149" fmla="val 5790536"/>
              <a:gd name="f150" fmla="val 5801784"/>
              <a:gd name="f151" fmla="val 1884393"/>
              <a:gd name="f152" fmla="val 2048953"/>
              <a:gd name="f153" fmla="val 2177446"/>
              <a:gd name="f154" fmla="val 2213514"/>
              <a:gd name="f155" fmla="val 2233802"/>
              <a:gd name="f156" fmla="val 5547576"/>
              <a:gd name="f157" fmla="val 5495835"/>
              <a:gd name="f158" fmla="val 5403600"/>
              <a:gd name="f159" fmla="val 5394602"/>
              <a:gd name="f160" fmla="val 4645477"/>
              <a:gd name="f161" fmla="val 4701717"/>
              <a:gd name="f162" fmla="val 4755708"/>
              <a:gd name="f163" fmla="val 1722087"/>
              <a:gd name="f164" fmla="val 4791702"/>
              <a:gd name="f165" fmla="val 1758155"/>
              <a:gd name="f166" fmla="val 4816448"/>
              <a:gd name="f167" fmla="val 1785206"/>
              <a:gd name="f168" fmla="val 4832195"/>
              <a:gd name="f169" fmla="val 1816766"/>
              <a:gd name="f170" fmla="val 4834445"/>
              <a:gd name="f171" fmla="val 4766956"/>
              <a:gd name="f172" fmla="val 4764707"/>
              <a:gd name="f173" fmla="val 1834800"/>
              <a:gd name="f174" fmla="val 4757958"/>
              <a:gd name="f175" fmla="val 1819020"/>
              <a:gd name="f176" fmla="val 4744460"/>
              <a:gd name="f177" fmla="val 1803240"/>
              <a:gd name="f178" fmla="val 4721964"/>
              <a:gd name="f179" fmla="val 1773935"/>
              <a:gd name="f180" fmla="val 4685970"/>
              <a:gd name="f181" fmla="val 4609482"/>
              <a:gd name="f182" fmla="val 4575738"/>
              <a:gd name="f183" fmla="val 4550992"/>
              <a:gd name="f184" fmla="val 4510499"/>
              <a:gd name="f185" fmla="val 4506000"/>
              <a:gd name="f186" fmla="val 2017394"/>
              <a:gd name="f187" fmla="val 2091784"/>
              <a:gd name="f188" fmla="val 4553242"/>
              <a:gd name="f189" fmla="val 2134615"/>
              <a:gd name="f190" fmla="val 4577988"/>
              <a:gd name="f191" fmla="val 2161666"/>
              <a:gd name="f192" fmla="val 4681471"/>
              <a:gd name="f193" fmla="val 4715215"/>
              <a:gd name="f194" fmla="val 4737711"/>
              <a:gd name="f195" fmla="val 2136869"/>
              <a:gd name="f196" fmla="val 4771456"/>
              <a:gd name="f197" fmla="val 2103055"/>
              <a:gd name="f198" fmla="val 4780454"/>
              <a:gd name="f199" fmla="val 2053462"/>
              <a:gd name="f200" fmla="val 2006123"/>
              <a:gd name="f201" fmla="val 1947512"/>
              <a:gd name="f202" fmla="val 4838944"/>
              <a:gd name="f203" fmla="val 4793952"/>
              <a:gd name="f204" fmla="val 4782704"/>
              <a:gd name="f205" fmla="val 2204497"/>
              <a:gd name="f206" fmla="val 4593735"/>
              <a:gd name="f207" fmla="val 4544243"/>
              <a:gd name="f208" fmla="val 2215768"/>
              <a:gd name="f209" fmla="val 2179700"/>
              <a:gd name="f210" fmla="val 4454258"/>
              <a:gd name="f211" fmla="val 2130106"/>
              <a:gd name="f212" fmla="val 4440761"/>
              <a:gd name="f213" fmla="val 2057970"/>
              <a:gd name="f214" fmla="val 4452009"/>
              <a:gd name="f215" fmla="val 4002083"/>
              <a:gd name="f216" fmla="val 4060574"/>
              <a:gd name="f217" fmla="val 4112315"/>
              <a:gd name="f218" fmla="val 4148309"/>
              <a:gd name="f219" fmla="val 4173055"/>
              <a:gd name="f220" fmla="val 4191052"/>
              <a:gd name="f221" fmla="val 4193302"/>
              <a:gd name="f222" fmla="val 4125813"/>
              <a:gd name="f223" fmla="val 4123563"/>
              <a:gd name="f224" fmla="val 4114565"/>
              <a:gd name="f225" fmla="val 4103317"/>
              <a:gd name="f226" fmla="val 4078571"/>
              <a:gd name="f227" fmla="val 4044826"/>
              <a:gd name="f228" fmla="val 3968339"/>
              <a:gd name="f229" fmla="val 3934595"/>
              <a:gd name="f230" fmla="val 3909849"/>
              <a:gd name="f231" fmla="val 3867106"/>
              <a:gd name="f232" fmla="val 3864856"/>
              <a:gd name="f233" fmla="val 4038077"/>
              <a:gd name="f234" fmla="val 4071822"/>
              <a:gd name="f235" fmla="val 4094318"/>
              <a:gd name="f236" fmla="val 4130312"/>
              <a:gd name="f237" fmla="val 4139311"/>
              <a:gd name="f238" fmla="val 4197801"/>
              <a:gd name="f239" fmla="val 4152808"/>
              <a:gd name="f240" fmla="val 4141560"/>
              <a:gd name="f241" fmla="val 4116814"/>
              <a:gd name="f242" fmla="val 3950342"/>
              <a:gd name="f243" fmla="val 3900850"/>
              <a:gd name="f244" fmla="val 3813115"/>
              <a:gd name="f245" fmla="val 3797367"/>
              <a:gd name="f246" fmla="val 3808616"/>
              <a:gd name="f247" fmla="val 1642228"/>
              <a:gd name="f248" fmla="val 1691719"/>
              <a:gd name="f249" fmla="val 1741211"/>
              <a:gd name="f250" fmla="val 1717579"/>
              <a:gd name="f251" fmla="val 1774955"/>
              <a:gd name="f252" fmla="val 1749138"/>
              <a:gd name="f253" fmla="val 1806450"/>
              <a:gd name="f254" fmla="val 1780698"/>
              <a:gd name="f255" fmla="val 1822198"/>
              <a:gd name="f256" fmla="val 1824447"/>
              <a:gd name="f257" fmla="val 1756958"/>
              <a:gd name="f258" fmla="val 1754708"/>
              <a:gd name="f259" fmla="val 1745710"/>
              <a:gd name="f260" fmla="val 1812257"/>
              <a:gd name="f261" fmla="val 1732212"/>
              <a:gd name="f262" fmla="val 1796478"/>
              <a:gd name="f263" fmla="val 1711966"/>
              <a:gd name="f264" fmla="val 1680471"/>
              <a:gd name="f265" fmla="val 1760410"/>
              <a:gd name="f266" fmla="val 1639978"/>
              <a:gd name="f267" fmla="val 1603983"/>
              <a:gd name="f268" fmla="val 1572489"/>
              <a:gd name="f269" fmla="val 1549993"/>
              <a:gd name="f270" fmla="val 1536494"/>
              <a:gd name="f271" fmla="val 1529746"/>
              <a:gd name="f272" fmla="val 1828037"/>
              <a:gd name="f273" fmla="val 1850580"/>
              <a:gd name="f274" fmla="val 1897919"/>
              <a:gd name="f275" fmla="val 1567989"/>
              <a:gd name="f276" fmla="val 1918207"/>
              <a:gd name="f277" fmla="val 1606234"/>
              <a:gd name="f278" fmla="val 1922716"/>
              <a:gd name="f279" fmla="val 1635478"/>
              <a:gd name="f280" fmla="val 1927224"/>
              <a:gd name="f281" fmla="val 1662474"/>
              <a:gd name="f282" fmla="val 1931733"/>
              <a:gd name="f283" fmla="val 1833445"/>
              <a:gd name="f284" fmla="val 2001614"/>
              <a:gd name="f285" fmla="val 2082767"/>
              <a:gd name="f286" fmla="val 2125598"/>
              <a:gd name="f287" fmla="val 1815448"/>
              <a:gd name="f288" fmla="val 2157157"/>
              <a:gd name="f289" fmla="val 1790703"/>
              <a:gd name="f290" fmla="val 2181954"/>
              <a:gd name="f291" fmla="val 1698468"/>
              <a:gd name="f292" fmla="val 1644477"/>
              <a:gd name="f293" fmla="val 1581488"/>
              <a:gd name="f294" fmla="val 1531996"/>
              <a:gd name="f295" fmla="val 1498251"/>
              <a:gd name="f296" fmla="val 2184208"/>
              <a:gd name="f297" fmla="val 1466757"/>
              <a:gd name="f298" fmla="val 2152649"/>
              <a:gd name="f299" fmla="val 1444260"/>
              <a:gd name="f300" fmla="val 2109818"/>
              <a:gd name="f301" fmla="val 2060225"/>
              <a:gd name="f302" fmla="val 1509499"/>
              <a:gd name="f303" fmla="val 1525247"/>
              <a:gd name="f304" fmla="val 2121089"/>
              <a:gd name="f305" fmla="val 1545494"/>
              <a:gd name="f306" fmla="val 2141378"/>
              <a:gd name="f307" fmla="val 1570239"/>
              <a:gd name="f308" fmla="val 1608483"/>
              <a:gd name="f309" fmla="val 1682720"/>
              <a:gd name="f310" fmla="val 1716465"/>
              <a:gd name="f311" fmla="val 2166174"/>
              <a:gd name="f312" fmla="val 1738962"/>
              <a:gd name="f313" fmla="val 2143632"/>
              <a:gd name="f314" fmla="val 1765956"/>
              <a:gd name="f315" fmla="val 2044445"/>
              <a:gd name="f316" fmla="val 1599484"/>
              <a:gd name="f317" fmla="val 1988089"/>
              <a:gd name="f318" fmla="val 1522997"/>
              <a:gd name="f319" fmla="val 1462257"/>
              <a:gd name="f320" fmla="val 1852834"/>
              <a:gd name="f321" fmla="val 1480254"/>
              <a:gd name="f322" fmla="val 1778444"/>
              <a:gd name="f323" fmla="val 1507249"/>
              <a:gd name="f324" fmla="val 1751393"/>
              <a:gd name="f325" fmla="val 1543244"/>
              <a:gd name="f326" fmla="val 1588236"/>
              <a:gd name="f327" fmla="val 704133"/>
              <a:gd name="f328" fmla="val 755874"/>
              <a:gd name="f329" fmla="val 848110"/>
              <a:gd name="f330" fmla="val 857108"/>
              <a:gd name="f331" fmla="val 602900"/>
              <a:gd name="f332" fmla="val 553408"/>
              <a:gd name="f333" fmla="val 515164"/>
              <a:gd name="f334" fmla="val 461173"/>
              <a:gd name="f335" fmla="val 449925"/>
              <a:gd name="f336" fmla="val 202466"/>
              <a:gd name="f337" fmla="val 258707"/>
              <a:gd name="f338" fmla="val 308199"/>
              <a:gd name="f339" fmla="val 339693"/>
              <a:gd name="f340" fmla="val 1753647"/>
              <a:gd name="f341" fmla="val 368939"/>
              <a:gd name="f342" fmla="val 386936"/>
              <a:gd name="f343" fmla="val 1823529"/>
              <a:gd name="f344" fmla="val 389185"/>
              <a:gd name="f345" fmla="val 1870868"/>
              <a:gd name="f346" fmla="val 323946"/>
              <a:gd name="f347" fmla="val 321697"/>
              <a:gd name="f348" fmla="val 1841563"/>
              <a:gd name="f349" fmla="val 312698"/>
              <a:gd name="f350" fmla="val 294701"/>
              <a:gd name="f351" fmla="val 1798732"/>
              <a:gd name="f352" fmla="val 274454"/>
              <a:gd name="f353" fmla="val 240710"/>
              <a:gd name="f354" fmla="val 168722"/>
              <a:gd name="f355" fmla="val 134978"/>
              <a:gd name="f356" fmla="val 110232"/>
              <a:gd name="f357" fmla="val 67489"/>
              <a:gd name="f358" fmla="val 276704"/>
              <a:gd name="f359" fmla="val 2154903"/>
              <a:gd name="f360" fmla="val 296951"/>
              <a:gd name="f361" fmla="val 2114327"/>
              <a:gd name="f362" fmla="val 2087276"/>
              <a:gd name="f363" fmla="val 391435"/>
              <a:gd name="f364" fmla="val 2107564"/>
              <a:gd name="f365" fmla="val 2148140"/>
              <a:gd name="f366" fmla="val 2209005"/>
              <a:gd name="f367" fmla="val 150725"/>
              <a:gd name="f368" fmla="val 101233"/>
              <a:gd name="f369" fmla="val 65239"/>
              <a:gd name="f370" fmla="val 8999"/>
              <a:gd name="f371" fmla="val 2227389"/>
              <a:gd name="f372" fmla="val 214047"/>
              <a:gd name="f373" fmla="val 574548"/>
              <a:gd name="f374" fmla="val 2456649"/>
              <a:gd name="f375" fmla="val 2584765"/>
              <a:gd name="f376" fmla="val 2654442"/>
              <a:gd name="f377" fmla="val 509207"/>
              <a:gd name="f378" fmla="val 394298"/>
              <a:gd name="f379" fmla="val 277135"/>
              <a:gd name="f380" fmla="val 8961436"/>
              <a:gd name="f381" fmla="val 225425"/>
              <a:gd name="f382" fmla="val 9555161"/>
              <a:gd name="f383" fmla="val 1214437"/>
              <a:gd name="f384" fmla="val 9315449"/>
              <a:gd name="f385" fmla="val 7785099"/>
              <a:gd name="f386" fmla="val 8035924"/>
              <a:gd name="f387" fmla="val 8037512"/>
              <a:gd name="f388" fmla="val 3175"/>
              <a:gd name="f389" fmla="val 8523286"/>
              <a:gd name="f390" fmla="val 774700"/>
              <a:gd name="f391" fmla="val 8759824"/>
              <a:gd name="f392" fmla="val 8518524"/>
              <a:gd name="f393" fmla="val 8024812"/>
              <a:gd name="f394" fmla="val 425450"/>
              <a:gd name="f395" fmla="val 6665911"/>
              <a:gd name="f396" fmla="val 7535861"/>
              <a:gd name="f397" fmla="val 220663"/>
              <a:gd name="f398" fmla="val 6905624"/>
              <a:gd name="f399" fmla="val 473075"/>
              <a:gd name="f400" fmla="val 7459661"/>
              <a:gd name="f401" fmla="val 690562"/>
              <a:gd name="f402" fmla="val 993775"/>
              <a:gd name="f403" fmla="val 5221286"/>
              <a:gd name="f404" fmla="val 5534024"/>
              <a:gd name="f405" fmla="val 5835649"/>
              <a:gd name="f406" fmla="val 823912"/>
              <a:gd name="f407" fmla="val 6142037"/>
              <a:gd name="f408" fmla="val 6438899"/>
              <a:gd name="f409" fmla="val 6203949"/>
              <a:gd name="f410" fmla="val 419100"/>
              <a:gd name="f411" fmla="val 5916612"/>
              <a:gd name="f412" fmla="val 1196975"/>
              <a:gd name="f413" fmla="val 5740399"/>
              <a:gd name="f414" fmla="val 5454649"/>
              <a:gd name="f415" fmla="val 409575"/>
              <a:gd name="f416" fmla="val 4098924"/>
              <a:gd name="f417" fmla="val 4968874"/>
              <a:gd name="f418" fmla="val 4340224"/>
              <a:gd name="f419" fmla="val 4895849"/>
              <a:gd name="f420" fmla="val 3079749"/>
              <a:gd name="f421" fmla="val 3321049"/>
              <a:gd name="f422" fmla="val 984250"/>
              <a:gd name="f423" fmla="val 3871912"/>
              <a:gd name="f424" fmla="val 1989138"/>
              <a:gd name="f425" fmla="val 2465639"/>
              <a:gd name="f426" fmla="val 2735357"/>
              <a:gd name="f427" fmla="val 2897188"/>
              <a:gd name="f428" fmla="val 146454"/>
              <a:gd name="f429" fmla="val 392045"/>
              <a:gd name="f430" fmla="val 639889"/>
              <a:gd name="f431" fmla="val 786342"/>
              <a:gd name="f432" fmla="val 520699"/>
              <a:gd name="f433" fmla="val 833436"/>
              <a:gd name="f434" fmla="val 1135061"/>
              <a:gd name="f435" fmla="val 1439862"/>
              <a:gd name="f436" fmla="val 1736724"/>
              <a:gd name="f437" fmla="val 1503362"/>
              <a:gd name="f438" fmla="val 1216024"/>
              <a:gd name="f439" fmla="val 1039812"/>
              <a:gd name="f440" fmla="val 754062"/>
              <a:gd name="f441" fmla="val 25400"/>
              <a:gd name="f442" fmla="val 268288"/>
              <a:gd name="f443" fmla="+- 0 0 -90"/>
              <a:gd name="f444" fmla="*/ f3 1 9905999"/>
              <a:gd name="f445" fmla="*/ f4 1 2265361"/>
              <a:gd name="f446" fmla="+- f7 0 f5"/>
              <a:gd name="f447" fmla="+- f6 0 f5"/>
              <a:gd name="f448" fmla="*/ f443 f0 1"/>
              <a:gd name="f449" fmla="*/ f447 1 9905999"/>
              <a:gd name="f450" fmla="*/ f446 1 2265361"/>
              <a:gd name="f451" fmla="*/ 6778122 f447 1"/>
              <a:gd name="f452" fmla="*/ 2222531 f446 1"/>
              <a:gd name="f453" fmla="*/ 7135812 f447 1"/>
              <a:gd name="f454" fmla="*/ 2265361 f446 1"/>
              <a:gd name="f455" fmla="*/ 6449676 f447 1"/>
              <a:gd name="f456" fmla="*/ 1769427 f446 1"/>
              <a:gd name="f457" fmla="*/ 1965546 f446 1"/>
              <a:gd name="f458" fmla="*/ 6575655 f447 1"/>
              <a:gd name="f459" fmla="*/ 6679138 f447 1"/>
              <a:gd name="f460" fmla="*/ 1864105 f446 1"/>
              <a:gd name="f461" fmla="*/ 5021164 f447 1"/>
              <a:gd name="f462" fmla="*/ 1949767 f446 1"/>
              <a:gd name="f463" fmla="*/ 5158391 f447 1"/>
              <a:gd name="f464" fmla="*/ 5261874 f447 1"/>
              <a:gd name="f465" fmla="*/ 1859597 f446 1"/>
              <a:gd name="f466" fmla="*/ 5597068 f447 1"/>
              <a:gd name="f467" fmla="*/ 1762664 f446 1"/>
              <a:gd name="f468" fmla="*/ 5504834 f447 1"/>
              <a:gd name="f469" fmla="*/ 1800986 f446 1"/>
              <a:gd name="f470" fmla="*/ 5459841 f447 1"/>
              <a:gd name="f471" fmla="*/ 1967800 f446 1"/>
              <a:gd name="f472" fmla="*/ 2132361 f446 1"/>
              <a:gd name="f473" fmla="*/ 2170683 f446 1"/>
              <a:gd name="f474" fmla="*/ 5691552 f447 1"/>
              <a:gd name="f475" fmla="*/ 5734295 f447 1"/>
              <a:gd name="f476" fmla="*/ 654642 f447 1"/>
              <a:gd name="f477" fmla="*/ 560157 f447 1"/>
              <a:gd name="f478" fmla="*/ 517414 f447 1"/>
              <a:gd name="f479" fmla="*/ 746876 f447 1"/>
              <a:gd name="f480" fmla="*/ 791868 f447 1"/>
              <a:gd name="f481" fmla="*/ 6386687 f447 1"/>
              <a:gd name="f482" fmla="*/ 1710816 f446 1"/>
              <a:gd name="f483" fmla="*/ 6706134 f447 1"/>
              <a:gd name="f484" fmla="*/ 1755901 f446 1"/>
              <a:gd name="f485" fmla="*/ 6744377 f447 1"/>
              <a:gd name="f486" fmla="*/ 6701634 f447 1"/>
              <a:gd name="f487" fmla="*/ 1981326 f446 1"/>
              <a:gd name="f488" fmla="*/ 6577905 f447 1"/>
              <a:gd name="f489" fmla="*/ 2024157 f446 1"/>
              <a:gd name="f490" fmla="*/ 5889520 f447 1"/>
              <a:gd name="f491" fmla="*/ 5954759 f447 1"/>
              <a:gd name="f492" fmla="*/ 2035428 f446 1"/>
              <a:gd name="f493" fmla="*/ 6076239 f447 1"/>
              <a:gd name="f494" fmla="*/ 2172937 f446 1"/>
              <a:gd name="f495" fmla="*/ 6199968 f447 1"/>
              <a:gd name="f496" fmla="*/ 6262957 f447 1"/>
              <a:gd name="f497" fmla="*/ 2231547 f446 1"/>
              <a:gd name="f498" fmla="*/ 4958174 f447 1"/>
              <a:gd name="f499" fmla="*/ 5288869 f447 1"/>
              <a:gd name="f500" fmla="*/ 5329363 f447 1"/>
              <a:gd name="f501" fmla="*/ 1961038 f446 1"/>
              <a:gd name="f502" fmla="*/ 5228130 f447 1"/>
              <a:gd name="f503" fmla="*/ 1997106 f446 1"/>
              <a:gd name="f504" fmla="*/ 5331612 f447 1"/>
              <a:gd name="f505" fmla="*/ 5259624 f447 1"/>
              <a:gd name="f506" fmla="*/ 5162890 f447 1"/>
              <a:gd name="f507" fmla="*/ 2010631 f446 1"/>
              <a:gd name="f508" fmla="*/ 3309199 f447 1"/>
              <a:gd name="f509" fmla="*/ 3381187 f447 1"/>
              <a:gd name="f510" fmla="*/ 3633145 f447 1"/>
              <a:gd name="f511" fmla="*/ 2123344 f446 1"/>
              <a:gd name="f512" fmla="*/ 3693885 f447 1"/>
              <a:gd name="f513" fmla="*/ 3621897 f447 1"/>
              <a:gd name="f514" fmla="*/ 3372188 f447 1"/>
              <a:gd name="f515" fmla="*/ 1810003 f446 1"/>
              <a:gd name="f516" fmla="*/ 3106732 f447 1"/>
              <a:gd name="f517" fmla="*/ 3171971 f447 1"/>
              <a:gd name="f518" fmla="*/ 2663557 f447 1"/>
              <a:gd name="f519" fmla="*/ 3032495 f447 1"/>
              <a:gd name="f520" fmla="*/ 2879521 f447 1"/>
              <a:gd name="f521" fmla="*/ 2814282 f447 1"/>
              <a:gd name="f522" fmla="*/ 2416099 f447 1"/>
              <a:gd name="f523" fmla="*/ 2481338 f447 1"/>
              <a:gd name="f524" fmla="*/ 2163920 f446 1"/>
              <a:gd name="f525" fmla="*/ 2726547 f447 1"/>
              <a:gd name="f526" fmla="*/ 1918931 f447 1"/>
              <a:gd name="f527" fmla="*/ 1984171 f447 1"/>
              <a:gd name="f528" fmla="*/ 2105651 f447 1"/>
              <a:gd name="f529" fmla="*/ 2229380 f447 1"/>
              <a:gd name="f530" fmla="*/ 2292369 f447 1"/>
              <a:gd name="f531" fmla="*/ 960591 f447 1"/>
              <a:gd name="f532" fmla="*/ 1032578 f447 1"/>
              <a:gd name="f533" fmla="*/ 1284537 f447 1"/>
              <a:gd name="f534" fmla="*/ 1345276 f447 1"/>
              <a:gd name="f535" fmla="*/ 1273289 f447 1"/>
              <a:gd name="f536" fmla="*/ 1023580 f447 1"/>
              <a:gd name="f537" fmla="*/ 1701799 f446 1"/>
              <a:gd name="f538" fmla="*/ 5736545 f447 1"/>
              <a:gd name="f539" fmla="*/ 5801784 f447 1"/>
              <a:gd name="f540" fmla="*/ 2177446 f446 1"/>
              <a:gd name="f541" fmla="*/ 2233802 f446 1"/>
              <a:gd name="f542" fmla="*/ 5394602 f447 1"/>
              <a:gd name="f543" fmla="*/ 4645477 f447 1"/>
              <a:gd name="f544" fmla="*/ 4791702 f447 1"/>
              <a:gd name="f545" fmla="*/ 1758155 f446 1"/>
              <a:gd name="f546" fmla="*/ 4834445 f447 1"/>
              <a:gd name="f547" fmla="*/ 4766956 f447 1"/>
              <a:gd name="f548" fmla="*/ 4744460 f447 1"/>
              <a:gd name="f549" fmla="*/ 1803240 f446 1"/>
              <a:gd name="f550" fmla="*/ 4550992 f447 1"/>
              <a:gd name="f551" fmla="*/ 4506000 f447 1"/>
              <a:gd name="f552" fmla="*/ 4553242 f447 1"/>
              <a:gd name="f553" fmla="*/ 2134615 f446 1"/>
              <a:gd name="f554" fmla="*/ 4737711 f447 1"/>
              <a:gd name="f555" fmla="*/ 2136869 f446 1"/>
              <a:gd name="f556" fmla="*/ 4780454 f447 1"/>
              <a:gd name="f557" fmla="*/ 2006123 f446 1"/>
              <a:gd name="f558" fmla="*/ 1947512 f446 1"/>
              <a:gd name="f559" fmla="*/ 4838944 f447 1"/>
              <a:gd name="f560" fmla="*/ 4793952 f447 1"/>
              <a:gd name="f561" fmla="*/ 4782704 f447 1"/>
              <a:gd name="f562" fmla="*/ 2161666 f446 1"/>
              <a:gd name="f563" fmla="*/ 2179700 f446 1"/>
              <a:gd name="f564" fmla="*/ 4440761 f447 1"/>
              <a:gd name="f565" fmla="*/ 4002083 f447 1"/>
              <a:gd name="f566" fmla="*/ 4148309 f447 1"/>
              <a:gd name="f567" fmla="*/ 4193302 f447 1"/>
              <a:gd name="f568" fmla="*/ 4125813 f447 1"/>
              <a:gd name="f569" fmla="*/ 4103317 f447 1"/>
              <a:gd name="f570" fmla="*/ 3909849 f447 1"/>
              <a:gd name="f571" fmla="*/ 3864856 f447 1"/>
              <a:gd name="f572" fmla="*/ 4094318 f447 1"/>
              <a:gd name="f573" fmla="*/ 4139311 f447 1"/>
              <a:gd name="f574" fmla="*/ 4197801 f447 1"/>
              <a:gd name="f575" fmla="*/ 4152808 f447 1"/>
              <a:gd name="f576" fmla="*/ 4141560 f447 1"/>
              <a:gd name="f577" fmla="*/ 3797367 f447 1"/>
              <a:gd name="f578" fmla="*/ 1642228 f447 1"/>
              <a:gd name="f579" fmla="*/ 1774955 f447 1"/>
              <a:gd name="f580" fmla="*/ 1749138 f446 1"/>
              <a:gd name="f581" fmla="*/ 1824447 f447 1"/>
              <a:gd name="f582" fmla="*/ 1756958 f447 1"/>
              <a:gd name="f583" fmla="*/ 1732212 f447 1"/>
              <a:gd name="f584" fmla="*/ 1796478 f446 1"/>
              <a:gd name="f585" fmla="*/ 1639978 f447 1"/>
              <a:gd name="f586" fmla="*/ 1760410 f446 1"/>
              <a:gd name="f587" fmla="*/ 1549993 f447 1"/>
              <a:gd name="f588" fmla="*/ 1529746 f447 1"/>
              <a:gd name="f589" fmla="*/ 1850580 f446 1"/>
              <a:gd name="f590" fmla="*/ 1606234 f447 1"/>
              <a:gd name="f591" fmla="*/ 1922716 f446 1"/>
              <a:gd name="f592" fmla="*/ 1691719 f447 1"/>
              <a:gd name="f593" fmla="*/ 1936241 f446 1"/>
              <a:gd name="f594" fmla="*/ 1833445 f447 1"/>
              <a:gd name="f595" fmla="*/ 2082767 f446 1"/>
              <a:gd name="f596" fmla="*/ 1790703 f447 1"/>
              <a:gd name="f597" fmla="*/ 2181954 f446 1"/>
              <a:gd name="f598" fmla="*/ 1644477 f447 1"/>
              <a:gd name="f599" fmla="*/ 1498251 f447 1"/>
              <a:gd name="f600" fmla="*/ 2184208 f446 1"/>
              <a:gd name="f601" fmla="*/ 1444260 f447 1"/>
              <a:gd name="f602" fmla="*/ 2060225 f446 1"/>
              <a:gd name="f603" fmla="*/ 1509499 f447 1"/>
              <a:gd name="f604" fmla="*/ 1545494 f447 1"/>
              <a:gd name="f605" fmla="*/ 2141378 f446 1"/>
              <a:gd name="f606" fmla="*/ 1738962 f447 1"/>
              <a:gd name="f607" fmla="*/ 2143632 f446 1"/>
              <a:gd name="f608" fmla="*/ 1765956 f447 1"/>
              <a:gd name="f609" fmla="*/ 1680471 f447 1"/>
              <a:gd name="f610" fmla="*/ 2001614 f446 1"/>
              <a:gd name="f611" fmla="*/ 1599484 f447 1"/>
              <a:gd name="f612" fmla="*/ 1988089 f446 1"/>
              <a:gd name="f613" fmla="*/ 1462257 f447 1"/>
              <a:gd name="f614" fmla="*/ 1852834 f446 1"/>
              <a:gd name="f615" fmla="*/ 1507249 f447 1"/>
              <a:gd name="f616" fmla="*/ 1751393 f446 1"/>
              <a:gd name="f617" fmla="*/ 857108 f447 1"/>
              <a:gd name="f618" fmla="*/ 515164 f447 1"/>
              <a:gd name="f619" fmla="*/ 449925 f447 1"/>
              <a:gd name="f620" fmla="*/ 202466 f447 1"/>
              <a:gd name="f621" fmla="*/ 339693 f447 1"/>
              <a:gd name="f622" fmla="*/ 1753647 f446 1"/>
              <a:gd name="f623" fmla="*/ 389185 f447 1"/>
              <a:gd name="f624" fmla="*/ 1870868 f446 1"/>
              <a:gd name="f625" fmla="*/ 323946 f447 1"/>
              <a:gd name="f626" fmla="*/ 294701 f447 1"/>
              <a:gd name="f627" fmla="*/ 1798732 f446 1"/>
              <a:gd name="f628" fmla="*/ 110232 f447 1"/>
              <a:gd name="f629" fmla="*/ 67489 f447 1"/>
              <a:gd name="f630" fmla="*/ 296951 f447 1"/>
              <a:gd name="f631" fmla="*/ 391435 f447 1"/>
              <a:gd name="f632" fmla="*/ 65239 f447 1"/>
              <a:gd name="f633" fmla="*/ 0 f447 1"/>
              <a:gd name="f634" fmla="*/ 2227389 f447 1"/>
              <a:gd name="f635" fmla="*/ 214047 f446 1"/>
              <a:gd name="f636" fmla="*/ 574548 f446 1"/>
              <a:gd name="f637" fmla="*/ 2456649 f447 1"/>
              <a:gd name="f638" fmla="*/ 2654442 f447 1"/>
              <a:gd name="f639" fmla="*/ 394298 f446 1"/>
              <a:gd name="f640" fmla="*/ 8961436 f447 1"/>
              <a:gd name="f641" fmla="*/ 0 f446 1"/>
              <a:gd name="f642" fmla="*/ 9905999 f447 1"/>
              <a:gd name="f643" fmla="*/ 225425 f446 1"/>
              <a:gd name="f644" fmla="*/ 9555161 f447 1"/>
              <a:gd name="f645" fmla="*/ 1214437 f446 1"/>
              <a:gd name="f646" fmla="*/ 9315449 f447 1"/>
              <a:gd name="f647" fmla="*/ 7785099 f447 1"/>
              <a:gd name="f648" fmla="*/ 8035924 f447 1"/>
              <a:gd name="f649" fmla="*/ 8037512 f447 1"/>
              <a:gd name="f650" fmla="*/ 3175 f446 1"/>
              <a:gd name="f651" fmla="*/ 8523286 f447 1"/>
              <a:gd name="f652" fmla="*/ 774700 f446 1"/>
              <a:gd name="f653" fmla="*/ 8759824 f447 1"/>
              <a:gd name="f654" fmla="*/ 8518524 f447 1"/>
              <a:gd name="f655" fmla="*/ 8024812 f447 1"/>
              <a:gd name="f656" fmla="*/ 425450 f446 1"/>
              <a:gd name="f657" fmla="*/ 6665911 f447 1"/>
              <a:gd name="f658" fmla="*/ 7535861 f447 1"/>
              <a:gd name="f659" fmla="*/ 220663 f446 1"/>
              <a:gd name="f660" fmla="*/ 6905624 f447 1"/>
              <a:gd name="f661" fmla="*/ 473075 f446 1"/>
              <a:gd name="f662" fmla="*/ 7459661 f447 1"/>
              <a:gd name="f663" fmla="*/ 690562 f446 1"/>
              <a:gd name="f664" fmla="*/ 993775 f446 1"/>
              <a:gd name="f665" fmla="*/ 5221286 f447 1"/>
              <a:gd name="f666" fmla="*/ 5534024 f447 1"/>
              <a:gd name="f667" fmla="*/ 5835649 f447 1"/>
              <a:gd name="f668" fmla="*/ 823912 f446 1"/>
              <a:gd name="f669" fmla="*/ 6142037 f447 1"/>
              <a:gd name="f670" fmla="*/ 6438899 f447 1"/>
              <a:gd name="f671" fmla="*/ 6203949 f447 1"/>
              <a:gd name="f672" fmla="*/ 419100 f446 1"/>
              <a:gd name="f673" fmla="*/ 5916612 f447 1"/>
              <a:gd name="f674" fmla="*/ 1196975 f446 1"/>
              <a:gd name="f675" fmla="*/ 5740399 f447 1"/>
              <a:gd name="f676" fmla="*/ 5454649 f447 1"/>
              <a:gd name="f677" fmla="*/ 409575 f446 1"/>
              <a:gd name="f678" fmla="*/ 4098924 f447 1"/>
              <a:gd name="f679" fmla="*/ 4968874 f447 1"/>
              <a:gd name="f680" fmla="*/ 4340224 f447 1"/>
              <a:gd name="f681" fmla="*/ 4895849 f447 1"/>
              <a:gd name="f682" fmla="*/ 3079749 f447 1"/>
              <a:gd name="f683" fmla="*/ 3321049 f447 1"/>
              <a:gd name="f684" fmla="*/ 984250 f446 1"/>
              <a:gd name="f685" fmla="*/ 3871912 f447 1"/>
              <a:gd name="f686" fmla="*/ 1989138 f447 1"/>
              <a:gd name="f687" fmla="*/ 2465639 f447 1"/>
              <a:gd name="f688" fmla="*/ 2897188 f447 1"/>
              <a:gd name="f689" fmla="*/ 392045 f446 1"/>
              <a:gd name="f690" fmla="*/ 786342 f446 1"/>
              <a:gd name="f691" fmla="*/ 520699 f447 1"/>
              <a:gd name="f692" fmla="*/ 833436 f447 1"/>
              <a:gd name="f693" fmla="*/ 1135061 f447 1"/>
              <a:gd name="f694" fmla="*/ 1439862 f447 1"/>
              <a:gd name="f695" fmla="*/ 1736724 f447 1"/>
              <a:gd name="f696" fmla="*/ 1503362 f447 1"/>
              <a:gd name="f697" fmla="*/ 1216024 f447 1"/>
              <a:gd name="f698" fmla="*/ 1039812 f447 1"/>
              <a:gd name="f699" fmla="*/ 754062 f447 1"/>
              <a:gd name="f700" fmla="*/ 25400 f447 1"/>
              <a:gd name="f701" fmla="*/ 268288 f447 1"/>
              <a:gd name="f702" fmla="*/ f448 1 f2"/>
              <a:gd name="f703" fmla="*/ f451 1 9905999"/>
              <a:gd name="f704" fmla="*/ f452 1 2265361"/>
              <a:gd name="f705" fmla="*/ f453 1 9905999"/>
              <a:gd name="f706" fmla="*/ f454 1 2265361"/>
              <a:gd name="f707" fmla="*/ f455 1 9905999"/>
              <a:gd name="f708" fmla="*/ f456 1 2265361"/>
              <a:gd name="f709" fmla="*/ f457 1 2265361"/>
              <a:gd name="f710" fmla="*/ f458 1 9905999"/>
              <a:gd name="f711" fmla="*/ f459 1 9905999"/>
              <a:gd name="f712" fmla="*/ f460 1 2265361"/>
              <a:gd name="f713" fmla="*/ f461 1 9905999"/>
              <a:gd name="f714" fmla="*/ f462 1 2265361"/>
              <a:gd name="f715" fmla="*/ f463 1 9905999"/>
              <a:gd name="f716" fmla="*/ f464 1 9905999"/>
              <a:gd name="f717" fmla="*/ f465 1 2265361"/>
              <a:gd name="f718" fmla="*/ f466 1 9905999"/>
              <a:gd name="f719" fmla="*/ f467 1 2265361"/>
              <a:gd name="f720" fmla="*/ f468 1 9905999"/>
              <a:gd name="f721" fmla="*/ f469 1 2265361"/>
              <a:gd name="f722" fmla="*/ f470 1 9905999"/>
              <a:gd name="f723" fmla="*/ f471 1 2265361"/>
              <a:gd name="f724" fmla="*/ f472 1 2265361"/>
              <a:gd name="f725" fmla="*/ f473 1 2265361"/>
              <a:gd name="f726" fmla="*/ f474 1 9905999"/>
              <a:gd name="f727" fmla="*/ f475 1 9905999"/>
              <a:gd name="f728" fmla="*/ f476 1 9905999"/>
              <a:gd name="f729" fmla="*/ f477 1 9905999"/>
              <a:gd name="f730" fmla="*/ f478 1 9905999"/>
              <a:gd name="f731" fmla="*/ f479 1 9905999"/>
              <a:gd name="f732" fmla="*/ f480 1 9905999"/>
              <a:gd name="f733" fmla="*/ f481 1 9905999"/>
              <a:gd name="f734" fmla="*/ f482 1 2265361"/>
              <a:gd name="f735" fmla="*/ f483 1 9905999"/>
              <a:gd name="f736" fmla="*/ f484 1 2265361"/>
              <a:gd name="f737" fmla="*/ f485 1 9905999"/>
              <a:gd name="f738" fmla="*/ f486 1 9905999"/>
              <a:gd name="f739" fmla="*/ f487 1 2265361"/>
              <a:gd name="f740" fmla="*/ f488 1 9905999"/>
              <a:gd name="f741" fmla="*/ f489 1 2265361"/>
              <a:gd name="f742" fmla="*/ f490 1 9905999"/>
              <a:gd name="f743" fmla="*/ f491 1 9905999"/>
              <a:gd name="f744" fmla="*/ f492 1 2265361"/>
              <a:gd name="f745" fmla="*/ f493 1 9905999"/>
              <a:gd name="f746" fmla="*/ f494 1 2265361"/>
              <a:gd name="f747" fmla="*/ f495 1 9905999"/>
              <a:gd name="f748" fmla="*/ f496 1 9905999"/>
              <a:gd name="f749" fmla="*/ f497 1 2265361"/>
              <a:gd name="f750" fmla="*/ f498 1 9905999"/>
              <a:gd name="f751" fmla="*/ f499 1 9905999"/>
              <a:gd name="f752" fmla="*/ f500 1 9905999"/>
              <a:gd name="f753" fmla="*/ f501 1 2265361"/>
              <a:gd name="f754" fmla="*/ f502 1 9905999"/>
              <a:gd name="f755" fmla="*/ f503 1 2265361"/>
              <a:gd name="f756" fmla="*/ f504 1 9905999"/>
              <a:gd name="f757" fmla="*/ f505 1 9905999"/>
              <a:gd name="f758" fmla="*/ f506 1 9905999"/>
              <a:gd name="f759" fmla="*/ f507 1 2265361"/>
              <a:gd name="f760" fmla="*/ f508 1 9905999"/>
              <a:gd name="f761" fmla="*/ f509 1 9905999"/>
              <a:gd name="f762" fmla="*/ f510 1 9905999"/>
              <a:gd name="f763" fmla="*/ f511 1 2265361"/>
              <a:gd name="f764" fmla="*/ f512 1 9905999"/>
              <a:gd name="f765" fmla="*/ f513 1 9905999"/>
              <a:gd name="f766" fmla="*/ f514 1 9905999"/>
              <a:gd name="f767" fmla="*/ f515 1 2265361"/>
              <a:gd name="f768" fmla="*/ f516 1 9905999"/>
              <a:gd name="f769" fmla="*/ f517 1 9905999"/>
              <a:gd name="f770" fmla="*/ f518 1 9905999"/>
              <a:gd name="f771" fmla="*/ f519 1 9905999"/>
              <a:gd name="f772" fmla="*/ f520 1 9905999"/>
              <a:gd name="f773" fmla="*/ f521 1 9905999"/>
              <a:gd name="f774" fmla="*/ f522 1 9905999"/>
              <a:gd name="f775" fmla="*/ f523 1 9905999"/>
              <a:gd name="f776" fmla="*/ f524 1 2265361"/>
              <a:gd name="f777" fmla="*/ f525 1 9905999"/>
              <a:gd name="f778" fmla="*/ f526 1 9905999"/>
              <a:gd name="f779" fmla="*/ f527 1 9905999"/>
              <a:gd name="f780" fmla="*/ f528 1 9905999"/>
              <a:gd name="f781" fmla="*/ f529 1 9905999"/>
              <a:gd name="f782" fmla="*/ f530 1 9905999"/>
              <a:gd name="f783" fmla="*/ f531 1 9905999"/>
              <a:gd name="f784" fmla="*/ f532 1 9905999"/>
              <a:gd name="f785" fmla="*/ f533 1 9905999"/>
              <a:gd name="f786" fmla="*/ f534 1 9905999"/>
              <a:gd name="f787" fmla="*/ f535 1 9905999"/>
              <a:gd name="f788" fmla="*/ f536 1 9905999"/>
              <a:gd name="f789" fmla="*/ f537 1 2265361"/>
              <a:gd name="f790" fmla="*/ f538 1 9905999"/>
              <a:gd name="f791" fmla="*/ f539 1 9905999"/>
              <a:gd name="f792" fmla="*/ f540 1 2265361"/>
              <a:gd name="f793" fmla="*/ f541 1 2265361"/>
              <a:gd name="f794" fmla="*/ f542 1 9905999"/>
              <a:gd name="f795" fmla="*/ f543 1 9905999"/>
              <a:gd name="f796" fmla="*/ f544 1 9905999"/>
              <a:gd name="f797" fmla="*/ f545 1 2265361"/>
              <a:gd name="f798" fmla="*/ f546 1 9905999"/>
              <a:gd name="f799" fmla="*/ f547 1 9905999"/>
              <a:gd name="f800" fmla="*/ f548 1 9905999"/>
              <a:gd name="f801" fmla="*/ f549 1 2265361"/>
              <a:gd name="f802" fmla="*/ f550 1 9905999"/>
              <a:gd name="f803" fmla="*/ f551 1 9905999"/>
              <a:gd name="f804" fmla="*/ f552 1 9905999"/>
              <a:gd name="f805" fmla="*/ f553 1 2265361"/>
              <a:gd name="f806" fmla="*/ f554 1 9905999"/>
              <a:gd name="f807" fmla="*/ f555 1 2265361"/>
              <a:gd name="f808" fmla="*/ f556 1 9905999"/>
              <a:gd name="f809" fmla="*/ f557 1 2265361"/>
              <a:gd name="f810" fmla="*/ f558 1 2265361"/>
              <a:gd name="f811" fmla="*/ f559 1 9905999"/>
              <a:gd name="f812" fmla="*/ f560 1 9905999"/>
              <a:gd name="f813" fmla="*/ f561 1 9905999"/>
              <a:gd name="f814" fmla="*/ f562 1 2265361"/>
              <a:gd name="f815" fmla="*/ f563 1 2265361"/>
              <a:gd name="f816" fmla="*/ f564 1 9905999"/>
              <a:gd name="f817" fmla="*/ f565 1 9905999"/>
              <a:gd name="f818" fmla="*/ f566 1 9905999"/>
              <a:gd name="f819" fmla="*/ f567 1 9905999"/>
              <a:gd name="f820" fmla="*/ f568 1 9905999"/>
              <a:gd name="f821" fmla="*/ f569 1 9905999"/>
              <a:gd name="f822" fmla="*/ f570 1 9905999"/>
              <a:gd name="f823" fmla="*/ f571 1 9905999"/>
              <a:gd name="f824" fmla="*/ f572 1 9905999"/>
              <a:gd name="f825" fmla="*/ f573 1 9905999"/>
              <a:gd name="f826" fmla="*/ f574 1 9905999"/>
              <a:gd name="f827" fmla="*/ f575 1 9905999"/>
              <a:gd name="f828" fmla="*/ f576 1 9905999"/>
              <a:gd name="f829" fmla="*/ f577 1 9905999"/>
              <a:gd name="f830" fmla="*/ f578 1 9905999"/>
              <a:gd name="f831" fmla="*/ f579 1 9905999"/>
              <a:gd name="f832" fmla="*/ f580 1 2265361"/>
              <a:gd name="f833" fmla="*/ f581 1 9905999"/>
              <a:gd name="f834" fmla="*/ f582 1 9905999"/>
              <a:gd name="f835" fmla="*/ f583 1 9905999"/>
              <a:gd name="f836" fmla="*/ f584 1 2265361"/>
              <a:gd name="f837" fmla="*/ f585 1 9905999"/>
              <a:gd name="f838" fmla="*/ f586 1 2265361"/>
              <a:gd name="f839" fmla="*/ f587 1 9905999"/>
              <a:gd name="f840" fmla="*/ f588 1 9905999"/>
              <a:gd name="f841" fmla="*/ f589 1 2265361"/>
              <a:gd name="f842" fmla="*/ f590 1 9905999"/>
              <a:gd name="f843" fmla="*/ f591 1 2265361"/>
              <a:gd name="f844" fmla="*/ f592 1 9905999"/>
              <a:gd name="f845" fmla="*/ f593 1 2265361"/>
              <a:gd name="f846" fmla="*/ f594 1 9905999"/>
              <a:gd name="f847" fmla="*/ f595 1 2265361"/>
              <a:gd name="f848" fmla="*/ f596 1 9905999"/>
              <a:gd name="f849" fmla="*/ f597 1 2265361"/>
              <a:gd name="f850" fmla="*/ f598 1 9905999"/>
              <a:gd name="f851" fmla="*/ f599 1 9905999"/>
              <a:gd name="f852" fmla="*/ f600 1 2265361"/>
              <a:gd name="f853" fmla="*/ f601 1 9905999"/>
              <a:gd name="f854" fmla="*/ f602 1 2265361"/>
              <a:gd name="f855" fmla="*/ f603 1 9905999"/>
              <a:gd name="f856" fmla="*/ f604 1 9905999"/>
              <a:gd name="f857" fmla="*/ f605 1 2265361"/>
              <a:gd name="f858" fmla="*/ f606 1 9905999"/>
              <a:gd name="f859" fmla="*/ f607 1 2265361"/>
              <a:gd name="f860" fmla="*/ f608 1 9905999"/>
              <a:gd name="f861" fmla="*/ f609 1 9905999"/>
              <a:gd name="f862" fmla="*/ f610 1 2265361"/>
              <a:gd name="f863" fmla="*/ f611 1 9905999"/>
              <a:gd name="f864" fmla="*/ f612 1 2265361"/>
              <a:gd name="f865" fmla="*/ f613 1 9905999"/>
              <a:gd name="f866" fmla="*/ f614 1 2265361"/>
              <a:gd name="f867" fmla="*/ f615 1 9905999"/>
              <a:gd name="f868" fmla="*/ f616 1 2265361"/>
              <a:gd name="f869" fmla="*/ f617 1 9905999"/>
              <a:gd name="f870" fmla="*/ f618 1 9905999"/>
              <a:gd name="f871" fmla="*/ f619 1 9905999"/>
              <a:gd name="f872" fmla="*/ f620 1 9905999"/>
              <a:gd name="f873" fmla="*/ f621 1 9905999"/>
              <a:gd name="f874" fmla="*/ f622 1 2265361"/>
              <a:gd name="f875" fmla="*/ f623 1 9905999"/>
              <a:gd name="f876" fmla="*/ f624 1 2265361"/>
              <a:gd name="f877" fmla="*/ f625 1 9905999"/>
              <a:gd name="f878" fmla="*/ f626 1 9905999"/>
              <a:gd name="f879" fmla="*/ f627 1 2265361"/>
              <a:gd name="f880" fmla="*/ f628 1 9905999"/>
              <a:gd name="f881" fmla="*/ f629 1 9905999"/>
              <a:gd name="f882" fmla="*/ f630 1 9905999"/>
              <a:gd name="f883" fmla="*/ f631 1 9905999"/>
              <a:gd name="f884" fmla="*/ f632 1 9905999"/>
              <a:gd name="f885" fmla="*/ f633 1 9905999"/>
              <a:gd name="f886" fmla="*/ f634 1 9905999"/>
              <a:gd name="f887" fmla="*/ f635 1 2265361"/>
              <a:gd name="f888" fmla="*/ f636 1 2265361"/>
              <a:gd name="f889" fmla="*/ f637 1 9905999"/>
              <a:gd name="f890" fmla="*/ f638 1 9905999"/>
              <a:gd name="f891" fmla="*/ f639 1 2265361"/>
              <a:gd name="f892" fmla="*/ f640 1 9905999"/>
              <a:gd name="f893" fmla="*/ f641 1 2265361"/>
              <a:gd name="f894" fmla="*/ f642 1 9905999"/>
              <a:gd name="f895" fmla="*/ f643 1 2265361"/>
              <a:gd name="f896" fmla="*/ f644 1 9905999"/>
              <a:gd name="f897" fmla="*/ f645 1 2265361"/>
              <a:gd name="f898" fmla="*/ f646 1 9905999"/>
              <a:gd name="f899" fmla="*/ f647 1 9905999"/>
              <a:gd name="f900" fmla="*/ f648 1 9905999"/>
              <a:gd name="f901" fmla="*/ f649 1 9905999"/>
              <a:gd name="f902" fmla="*/ f650 1 2265361"/>
              <a:gd name="f903" fmla="*/ f651 1 9905999"/>
              <a:gd name="f904" fmla="*/ f652 1 2265361"/>
              <a:gd name="f905" fmla="*/ f653 1 9905999"/>
              <a:gd name="f906" fmla="*/ f654 1 9905999"/>
              <a:gd name="f907" fmla="*/ f655 1 9905999"/>
              <a:gd name="f908" fmla="*/ f656 1 2265361"/>
              <a:gd name="f909" fmla="*/ f657 1 9905999"/>
              <a:gd name="f910" fmla="*/ f658 1 9905999"/>
              <a:gd name="f911" fmla="*/ f659 1 2265361"/>
              <a:gd name="f912" fmla="*/ f660 1 9905999"/>
              <a:gd name="f913" fmla="*/ f661 1 2265361"/>
              <a:gd name="f914" fmla="*/ f662 1 9905999"/>
              <a:gd name="f915" fmla="*/ f663 1 2265361"/>
              <a:gd name="f916" fmla="*/ f664 1 2265361"/>
              <a:gd name="f917" fmla="*/ f665 1 9905999"/>
              <a:gd name="f918" fmla="*/ f666 1 9905999"/>
              <a:gd name="f919" fmla="*/ f667 1 9905999"/>
              <a:gd name="f920" fmla="*/ f668 1 2265361"/>
              <a:gd name="f921" fmla="*/ f669 1 9905999"/>
              <a:gd name="f922" fmla="*/ f670 1 9905999"/>
              <a:gd name="f923" fmla="*/ f671 1 9905999"/>
              <a:gd name="f924" fmla="*/ f672 1 2265361"/>
              <a:gd name="f925" fmla="*/ f673 1 9905999"/>
              <a:gd name="f926" fmla="*/ f674 1 2265361"/>
              <a:gd name="f927" fmla="*/ f675 1 9905999"/>
              <a:gd name="f928" fmla="*/ f676 1 9905999"/>
              <a:gd name="f929" fmla="*/ f677 1 2265361"/>
              <a:gd name="f930" fmla="*/ f678 1 9905999"/>
              <a:gd name="f931" fmla="*/ f679 1 9905999"/>
              <a:gd name="f932" fmla="*/ f680 1 9905999"/>
              <a:gd name="f933" fmla="*/ f681 1 9905999"/>
              <a:gd name="f934" fmla="*/ f682 1 9905999"/>
              <a:gd name="f935" fmla="*/ f683 1 9905999"/>
              <a:gd name="f936" fmla="*/ f684 1 2265361"/>
              <a:gd name="f937" fmla="*/ f685 1 9905999"/>
              <a:gd name="f938" fmla="*/ f686 1 9905999"/>
              <a:gd name="f939" fmla="*/ f687 1 9905999"/>
              <a:gd name="f940" fmla="*/ f688 1 9905999"/>
              <a:gd name="f941" fmla="*/ f689 1 2265361"/>
              <a:gd name="f942" fmla="*/ f690 1 2265361"/>
              <a:gd name="f943" fmla="*/ f691 1 9905999"/>
              <a:gd name="f944" fmla="*/ f692 1 9905999"/>
              <a:gd name="f945" fmla="*/ f693 1 9905999"/>
              <a:gd name="f946" fmla="*/ f694 1 9905999"/>
              <a:gd name="f947" fmla="*/ f695 1 9905999"/>
              <a:gd name="f948" fmla="*/ f696 1 9905999"/>
              <a:gd name="f949" fmla="*/ f697 1 9905999"/>
              <a:gd name="f950" fmla="*/ f698 1 9905999"/>
              <a:gd name="f951" fmla="*/ f699 1 9905999"/>
              <a:gd name="f952" fmla="*/ f700 1 9905999"/>
              <a:gd name="f953" fmla="*/ f701 1 9905999"/>
              <a:gd name="f954" fmla="*/ f5 1 f449"/>
              <a:gd name="f955" fmla="*/ f6 1 f449"/>
              <a:gd name="f956" fmla="*/ f5 1 f450"/>
              <a:gd name="f957" fmla="*/ f7 1 f450"/>
              <a:gd name="f958" fmla="+- f702 0 f1"/>
              <a:gd name="f959" fmla="*/ f703 1 f449"/>
              <a:gd name="f960" fmla="*/ f704 1 f450"/>
              <a:gd name="f961" fmla="*/ f705 1 f449"/>
              <a:gd name="f962" fmla="*/ f706 1 f450"/>
              <a:gd name="f963" fmla="*/ f707 1 f449"/>
              <a:gd name="f964" fmla="*/ f708 1 f450"/>
              <a:gd name="f965" fmla="*/ f709 1 f450"/>
              <a:gd name="f966" fmla="*/ f710 1 f449"/>
              <a:gd name="f967" fmla="*/ f711 1 f449"/>
              <a:gd name="f968" fmla="*/ f712 1 f450"/>
              <a:gd name="f969" fmla="*/ f713 1 f449"/>
              <a:gd name="f970" fmla="*/ f714 1 f450"/>
              <a:gd name="f971" fmla="*/ f715 1 f449"/>
              <a:gd name="f972" fmla="*/ f716 1 f449"/>
              <a:gd name="f973" fmla="*/ f717 1 f450"/>
              <a:gd name="f974" fmla="*/ f718 1 f449"/>
              <a:gd name="f975" fmla="*/ f719 1 f450"/>
              <a:gd name="f976" fmla="*/ f720 1 f449"/>
              <a:gd name="f977" fmla="*/ f721 1 f450"/>
              <a:gd name="f978" fmla="*/ f722 1 f449"/>
              <a:gd name="f979" fmla="*/ f723 1 f450"/>
              <a:gd name="f980" fmla="*/ f724 1 f450"/>
              <a:gd name="f981" fmla="*/ f725 1 f450"/>
              <a:gd name="f982" fmla="*/ f726 1 f449"/>
              <a:gd name="f983" fmla="*/ f727 1 f449"/>
              <a:gd name="f984" fmla="*/ f728 1 f449"/>
              <a:gd name="f985" fmla="*/ f729 1 f449"/>
              <a:gd name="f986" fmla="*/ f730 1 f449"/>
              <a:gd name="f987" fmla="*/ f731 1 f449"/>
              <a:gd name="f988" fmla="*/ f732 1 f449"/>
              <a:gd name="f989" fmla="*/ f733 1 f449"/>
              <a:gd name="f990" fmla="*/ f734 1 f450"/>
              <a:gd name="f991" fmla="*/ f735 1 f449"/>
              <a:gd name="f992" fmla="*/ f736 1 f450"/>
              <a:gd name="f993" fmla="*/ f737 1 f449"/>
              <a:gd name="f994" fmla="*/ f738 1 f449"/>
              <a:gd name="f995" fmla="*/ f739 1 f450"/>
              <a:gd name="f996" fmla="*/ f740 1 f449"/>
              <a:gd name="f997" fmla="*/ f741 1 f450"/>
              <a:gd name="f998" fmla="*/ f742 1 f449"/>
              <a:gd name="f999" fmla="*/ f743 1 f449"/>
              <a:gd name="f1000" fmla="*/ f744 1 f450"/>
              <a:gd name="f1001" fmla="*/ f745 1 f449"/>
              <a:gd name="f1002" fmla="*/ f746 1 f450"/>
              <a:gd name="f1003" fmla="*/ f747 1 f449"/>
              <a:gd name="f1004" fmla="*/ f748 1 f449"/>
              <a:gd name="f1005" fmla="*/ f749 1 f450"/>
              <a:gd name="f1006" fmla="*/ f750 1 f449"/>
              <a:gd name="f1007" fmla="*/ f751 1 f449"/>
              <a:gd name="f1008" fmla="*/ f752 1 f449"/>
              <a:gd name="f1009" fmla="*/ f753 1 f450"/>
              <a:gd name="f1010" fmla="*/ f754 1 f449"/>
              <a:gd name="f1011" fmla="*/ f755 1 f450"/>
              <a:gd name="f1012" fmla="*/ f756 1 f449"/>
              <a:gd name="f1013" fmla="*/ f757 1 f449"/>
              <a:gd name="f1014" fmla="*/ f758 1 f449"/>
              <a:gd name="f1015" fmla="*/ f759 1 f450"/>
              <a:gd name="f1016" fmla="*/ f760 1 f449"/>
              <a:gd name="f1017" fmla="*/ f761 1 f449"/>
              <a:gd name="f1018" fmla="*/ f762 1 f449"/>
              <a:gd name="f1019" fmla="*/ f763 1 f450"/>
              <a:gd name="f1020" fmla="*/ f764 1 f449"/>
              <a:gd name="f1021" fmla="*/ f765 1 f449"/>
              <a:gd name="f1022" fmla="*/ f766 1 f449"/>
              <a:gd name="f1023" fmla="*/ f767 1 f450"/>
              <a:gd name="f1024" fmla="*/ f768 1 f449"/>
              <a:gd name="f1025" fmla="*/ f769 1 f449"/>
              <a:gd name="f1026" fmla="*/ f770 1 f449"/>
              <a:gd name="f1027" fmla="*/ f771 1 f449"/>
              <a:gd name="f1028" fmla="*/ f772 1 f449"/>
              <a:gd name="f1029" fmla="*/ f773 1 f449"/>
              <a:gd name="f1030" fmla="*/ f774 1 f449"/>
              <a:gd name="f1031" fmla="*/ f775 1 f449"/>
              <a:gd name="f1032" fmla="*/ f776 1 f450"/>
              <a:gd name="f1033" fmla="*/ f777 1 f449"/>
              <a:gd name="f1034" fmla="*/ f778 1 f449"/>
              <a:gd name="f1035" fmla="*/ f779 1 f449"/>
              <a:gd name="f1036" fmla="*/ f780 1 f449"/>
              <a:gd name="f1037" fmla="*/ f781 1 f449"/>
              <a:gd name="f1038" fmla="*/ f782 1 f449"/>
              <a:gd name="f1039" fmla="*/ f783 1 f449"/>
              <a:gd name="f1040" fmla="*/ f784 1 f449"/>
              <a:gd name="f1041" fmla="*/ f785 1 f449"/>
              <a:gd name="f1042" fmla="*/ f786 1 f449"/>
              <a:gd name="f1043" fmla="*/ f787 1 f449"/>
              <a:gd name="f1044" fmla="*/ f788 1 f449"/>
              <a:gd name="f1045" fmla="*/ f789 1 f450"/>
              <a:gd name="f1046" fmla="*/ f790 1 f449"/>
              <a:gd name="f1047" fmla="*/ f791 1 f449"/>
              <a:gd name="f1048" fmla="*/ f792 1 f450"/>
              <a:gd name="f1049" fmla="*/ f793 1 f450"/>
              <a:gd name="f1050" fmla="*/ f794 1 f449"/>
              <a:gd name="f1051" fmla="*/ f795 1 f449"/>
              <a:gd name="f1052" fmla="*/ f796 1 f449"/>
              <a:gd name="f1053" fmla="*/ f797 1 f450"/>
              <a:gd name="f1054" fmla="*/ f798 1 f449"/>
              <a:gd name="f1055" fmla="*/ f799 1 f449"/>
              <a:gd name="f1056" fmla="*/ f800 1 f449"/>
              <a:gd name="f1057" fmla="*/ f801 1 f450"/>
              <a:gd name="f1058" fmla="*/ f802 1 f449"/>
              <a:gd name="f1059" fmla="*/ f803 1 f449"/>
              <a:gd name="f1060" fmla="*/ f804 1 f449"/>
              <a:gd name="f1061" fmla="*/ f805 1 f450"/>
              <a:gd name="f1062" fmla="*/ f806 1 f449"/>
              <a:gd name="f1063" fmla="*/ f807 1 f450"/>
              <a:gd name="f1064" fmla="*/ f808 1 f449"/>
              <a:gd name="f1065" fmla="*/ f809 1 f450"/>
              <a:gd name="f1066" fmla="*/ f810 1 f450"/>
              <a:gd name="f1067" fmla="*/ f811 1 f449"/>
              <a:gd name="f1068" fmla="*/ f812 1 f449"/>
              <a:gd name="f1069" fmla="*/ f813 1 f449"/>
              <a:gd name="f1070" fmla="*/ f814 1 f450"/>
              <a:gd name="f1071" fmla="*/ f815 1 f450"/>
              <a:gd name="f1072" fmla="*/ f816 1 f449"/>
              <a:gd name="f1073" fmla="*/ f817 1 f449"/>
              <a:gd name="f1074" fmla="*/ f818 1 f449"/>
              <a:gd name="f1075" fmla="*/ f819 1 f449"/>
              <a:gd name="f1076" fmla="*/ f820 1 f449"/>
              <a:gd name="f1077" fmla="*/ f821 1 f449"/>
              <a:gd name="f1078" fmla="*/ f822 1 f449"/>
              <a:gd name="f1079" fmla="*/ f823 1 f449"/>
              <a:gd name="f1080" fmla="*/ f824 1 f449"/>
              <a:gd name="f1081" fmla="*/ f825 1 f449"/>
              <a:gd name="f1082" fmla="*/ f826 1 f449"/>
              <a:gd name="f1083" fmla="*/ f827 1 f449"/>
              <a:gd name="f1084" fmla="*/ f828 1 f449"/>
              <a:gd name="f1085" fmla="*/ f829 1 f449"/>
              <a:gd name="f1086" fmla="*/ f830 1 f449"/>
              <a:gd name="f1087" fmla="*/ f831 1 f449"/>
              <a:gd name="f1088" fmla="*/ f832 1 f450"/>
              <a:gd name="f1089" fmla="*/ f833 1 f449"/>
              <a:gd name="f1090" fmla="*/ f834 1 f449"/>
              <a:gd name="f1091" fmla="*/ f835 1 f449"/>
              <a:gd name="f1092" fmla="*/ f836 1 f450"/>
              <a:gd name="f1093" fmla="*/ f837 1 f449"/>
              <a:gd name="f1094" fmla="*/ f838 1 f450"/>
              <a:gd name="f1095" fmla="*/ f839 1 f449"/>
              <a:gd name="f1096" fmla="*/ f840 1 f449"/>
              <a:gd name="f1097" fmla="*/ f841 1 f450"/>
              <a:gd name="f1098" fmla="*/ f842 1 f449"/>
              <a:gd name="f1099" fmla="*/ f843 1 f450"/>
              <a:gd name="f1100" fmla="*/ f844 1 f449"/>
              <a:gd name="f1101" fmla="*/ f845 1 f450"/>
              <a:gd name="f1102" fmla="*/ f846 1 f449"/>
              <a:gd name="f1103" fmla="*/ f847 1 f450"/>
              <a:gd name="f1104" fmla="*/ f848 1 f449"/>
              <a:gd name="f1105" fmla="*/ f849 1 f450"/>
              <a:gd name="f1106" fmla="*/ f850 1 f449"/>
              <a:gd name="f1107" fmla="*/ f851 1 f449"/>
              <a:gd name="f1108" fmla="*/ f852 1 f450"/>
              <a:gd name="f1109" fmla="*/ f853 1 f449"/>
              <a:gd name="f1110" fmla="*/ f854 1 f450"/>
              <a:gd name="f1111" fmla="*/ f855 1 f449"/>
              <a:gd name="f1112" fmla="*/ f856 1 f449"/>
              <a:gd name="f1113" fmla="*/ f857 1 f450"/>
              <a:gd name="f1114" fmla="*/ f858 1 f449"/>
              <a:gd name="f1115" fmla="*/ f859 1 f450"/>
              <a:gd name="f1116" fmla="*/ f860 1 f449"/>
              <a:gd name="f1117" fmla="*/ f861 1 f449"/>
              <a:gd name="f1118" fmla="*/ f862 1 f450"/>
              <a:gd name="f1119" fmla="*/ f863 1 f449"/>
              <a:gd name="f1120" fmla="*/ f864 1 f450"/>
              <a:gd name="f1121" fmla="*/ f865 1 f449"/>
              <a:gd name="f1122" fmla="*/ f866 1 f450"/>
              <a:gd name="f1123" fmla="*/ f867 1 f449"/>
              <a:gd name="f1124" fmla="*/ f868 1 f450"/>
              <a:gd name="f1125" fmla="*/ f869 1 f449"/>
              <a:gd name="f1126" fmla="*/ f870 1 f449"/>
              <a:gd name="f1127" fmla="*/ f871 1 f449"/>
              <a:gd name="f1128" fmla="*/ f872 1 f449"/>
              <a:gd name="f1129" fmla="*/ f873 1 f449"/>
              <a:gd name="f1130" fmla="*/ f874 1 f450"/>
              <a:gd name="f1131" fmla="*/ f875 1 f449"/>
              <a:gd name="f1132" fmla="*/ f876 1 f450"/>
              <a:gd name="f1133" fmla="*/ f877 1 f449"/>
              <a:gd name="f1134" fmla="*/ f878 1 f449"/>
              <a:gd name="f1135" fmla="*/ f879 1 f450"/>
              <a:gd name="f1136" fmla="*/ f880 1 f449"/>
              <a:gd name="f1137" fmla="*/ f881 1 f449"/>
              <a:gd name="f1138" fmla="*/ f882 1 f449"/>
              <a:gd name="f1139" fmla="*/ f883 1 f449"/>
              <a:gd name="f1140" fmla="*/ f884 1 f449"/>
              <a:gd name="f1141" fmla="*/ f885 1 f449"/>
              <a:gd name="f1142" fmla="*/ f886 1 f449"/>
              <a:gd name="f1143" fmla="*/ f887 1 f450"/>
              <a:gd name="f1144" fmla="*/ f888 1 f450"/>
              <a:gd name="f1145" fmla="*/ f889 1 f449"/>
              <a:gd name="f1146" fmla="*/ f890 1 f449"/>
              <a:gd name="f1147" fmla="*/ f891 1 f450"/>
              <a:gd name="f1148" fmla="*/ f892 1 f449"/>
              <a:gd name="f1149" fmla="*/ f893 1 f450"/>
              <a:gd name="f1150" fmla="*/ f894 1 f449"/>
              <a:gd name="f1151" fmla="*/ f895 1 f450"/>
              <a:gd name="f1152" fmla="*/ f896 1 f449"/>
              <a:gd name="f1153" fmla="*/ f897 1 f450"/>
              <a:gd name="f1154" fmla="*/ f898 1 f449"/>
              <a:gd name="f1155" fmla="*/ f899 1 f449"/>
              <a:gd name="f1156" fmla="*/ f900 1 f449"/>
              <a:gd name="f1157" fmla="*/ f901 1 f449"/>
              <a:gd name="f1158" fmla="*/ f902 1 f450"/>
              <a:gd name="f1159" fmla="*/ f903 1 f449"/>
              <a:gd name="f1160" fmla="*/ f904 1 f450"/>
              <a:gd name="f1161" fmla="*/ f905 1 f449"/>
              <a:gd name="f1162" fmla="*/ f906 1 f449"/>
              <a:gd name="f1163" fmla="*/ f907 1 f449"/>
              <a:gd name="f1164" fmla="*/ f908 1 f450"/>
              <a:gd name="f1165" fmla="*/ f909 1 f449"/>
              <a:gd name="f1166" fmla="*/ f910 1 f449"/>
              <a:gd name="f1167" fmla="*/ f911 1 f450"/>
              <a:gd name="f1168" fmla="*/ f912 1 f449"/>
              <a:gd name="f1169" fmla="*/ f913 1 f450"/>
              <a:gd name="f1170" fmla="*/ f914 1 f449"/>
              <a:gd name="f1171" fmla="*/ f915 1 f450"/>
              <a:gd name="f1172" fmla="*/ f916 1 f450"/>
              <a:gd name="f1173" fmla="*/ f917 1 f449"/>
              <a:gd name="f1174" fmla="*/ f918 1 f449"/>
              <a:gd name="f1175" fmla="*/ f919 1 f449"/>
              <a:gd name="f1176" fmla="*/ f920 1 f450"/>
              <a:gd name="f1177" fmla="*/ f921 1 f449"/>
              <a:gd name="f1178" fmla="*/ f922 1 f449"/>
              <a:gd name="f1179" fmla="*/ f923 1 f449"/>
              <a:gd name="f1180" fmla="*/ f924 1 f450"/>
              <a:gd name="f1181" fmla="*/ f925 1 f449"/>
              <a:gd name="f1182" fmla="*/ f926 1 f450"/>
              <a:gd name="f1183" fmla="*/ f927 1 f449"/>
              <a:gd name="f1184" fmla="*/ f928 1 f449"/>
              <a:gd name="f1185" fmla="*/ f929 1 f450"/>
              <a:gd name="f1186" fmla="*/ f930 1 f449"/>
              <a:gd name="f1187" fmla="*/ f931 1 f449"/>
              <a:gd name="f1188" fmla="*/ f932 1 f449"/>
              <a:gd name="f1189" fmla="*/ f933 1 f449"/>
              <a:gd name="f1190" fmla="*/ f934 1 f449"/>
              <a:gd name="f1191" fmla="*/ f935 1 f449"/>
              <a:gd name="f1192" fmla="*/ f936 1 f450"/>
              <a:gd name="f1193" fmla="*/ f937 1 f449"/>
              <a:gd name="f1194" fmla="*/ f938 1 f449"/>
              <a:gd name="f1195" fmla="*/ f939 1 f449"/>
              <a:gd name="f1196" fmla="*/ f940 1 f449"/>
              <a:gd name="f1197" fmla="*/ f941 1 f450"/>
              <a:gd name="f1198" fmla="*/ f942 1 f450"/>
              <a:gd name="f1199" fmla="*/ f943 1 f449"/>
              <a:gd name="f1200" fmla="*/ f944 1 f449"/>
              <a:gd name="f1201" fmla="*/ f945 1 f449"/>
              <a:gd name="f1202" fmla="*/ f946 1 f449"/>
              <a:gd name="f1203" fmla="*/ f947 1 f449"/>
              <a:gd name="f1204" fmla="*/ f948 1 f449"/>
              <a:gd name="f1205" fmla="*/ f949 1 f449"/>
              <a:gd name="f1206" fmla="*/ f950 1 f449"/>
              <a:gd name="f1207" fmla="*/ f951 1 f449"/>
              <a:gd name="f1208" fmla="*/ f952 1 f449"/>
              <a:gd name="f1209" fmla="*/ f953 1 f449"/>
              <a:gd name="f1210" fmla="*/ f954 f444 1"/>
              <a:gd name="f1211" fmla="*/ f955 f444 1"/>
              <a:gd name="f1212" fmla="*/ f957 f445 1"/>
              <a:gd name="f1213" fmla="*/ f956 f445 1"/>
              <a:gd name="f1214" fmla="*/ f959 f444 1"/>
              <a:gd name="f1215" fmla="*/ f960 f445 1"/>
              <a:gd name="f1216" fmla="*/ f961 f444 1"/>
              <a:gd name="f1217" fmla="*/ f962 f445 1"/>
              <a:gd name="f1218" fmla="*/ f963 f444 1"/>
              <a:gd name="f1219" fmla="*/ f964 f445 1"/>
              <a:gd name="f1220" fmla="*/ f965 f445 1"/>
              <a:gd name="f1221" fmla="*/ f966 f444 1"/>
              <a:gd name="f1222" fmla="*/ f967 f444 1"/>
              <a:gd name="f1223" fmla="*/ f968 f445 1"/>
              <a:gd name="f1224" fmla="*/ f969 f444 1"/>
              <a:gd name="f1225" fmla="*/ f970 f445 1"/>
              <a:gd name="f1226" fmla="*/ f971 f444 1"/>
              <a:gd name="f1227" fmla="*/ f972 f444 1"/>
              <a:gd name="f1228" fmla="*/ f973 f445 1"/>
              <a:gd name="f1229" fmla="*/ f974 f444 1"/>
              <a:gd name="f1230" fmla="*/ f975 f445 1"/>
              <a:gd name="f1231" fmla="*/ f976 f444 1"/>
              <a:gd name="f1232" fmla="*/ f977 f445 1"/>
              <a:gd name="f1233" fmla="*/ f978 f444 1"/>
              <a:gd name="f1234" fmla="*/ f979 f445 1"/>
              <a:gd name="f1235" fmla="*/ f980 f445 1"/>
              <a:gd name="f1236" fmla="*/ f981 f445 1"/>
              <a:gd name="f1237" fmla="*/ f982 f444 1"/>
              <a:gd name="f1238" fmla="*/ f983 f444 1"/>
              <a:gd name="f1239" fmla="*/ f984 f444 1"/>
              <a:gd name="f1240" fmla="*/ f985 f444 1"/>
              <a:gd name="f1241" fmla="*/ f986 f444 1"/>
              <a:gd name="f1242" fmla="*/ f987 f444 1"/>
              <a:gd name="f1243" fmla="*/ f988 f444 1"/>
              <a:gd name="f1244" fmla="*/ f989 f444 1"/>
              <a:gd name="f1245" fmla="*/ f990 f445 1"/>
              <a:gd name="f1246" fmla="*/ f991 f444 1"/>
              <a:gd name="f1247" fmla="*/ f992 f445 1"/>
              <a:gd name="f1248" fmla="*/ f993 f444 1"/>
              <a:gd name="f1249" fmla="*/ f994 f444 1"/>
              <a:gd name="f1250" fmla="*/ f995 f445 1"/>
              <a:gd name="f1251" fmla="*/ f996 f444 1"/>
              <a:gd name="f1252" fmla="*/ f997 f445 1"/>
              <a:gd name="f1253" fmla="*/ f998 f444 1"/>
              <a:gd name="f1254" fmla="*/ f999 f444 1"/>
              <a:gd name="f1255" fmla="*/ f1000 f445 1"/>
              <a:gd name="f1256" fmla="*/ f1001 f444 1"/>
              <a:gd name="f1257" fmla="*/ f1002 f445 1"/>
              <a:gd name="f1258" fmla="*/ f1003 f444 1"/>
              <a:gd name="f1259" fmla="*/ f1004 f444 1"/>
              <a:gd name="f1260" fmla="*/ f1005 f445 1"/>
              <a:gd name="f1261" fmla="*/ f1006 f444 1"/>
              <a:gd name="f1262" fmla="*/ f1007 f444 1"/>
              <a:gd name="f1263" fmla="*/ f1008 f444 1"/>
              <a:gd name="f1264" fmla="*/ f1009 f445 1"/>
              <a:gd name="f1265" fmla="*/ f1010 f444 1"/>
              <a:gd name="f1266" fmla="*/ f1011 f445 1"/>
              <a:gd name="f1267" fmla="*/ f1012 f444 1"/>
              <a:gd name="f1268" fmla="*/ f1013 f444 1"/>
              <a:gd name="f1269" fmla="*/ f1014 f444 1"/>
              <a:gd name="f1270" fmla="*/ f1015 f445 1"/>
              <a:gd name="f1271" fmla="*/ f1016 f444 1"/>
              <a:gd name="f1272" fmla="*/ f1017 f444 1"/>
              <a:gd name="f1273" fmla="*/ f1018 f444 1"/>
              <a:gd name="f1274" fmla="*/ f1019 f445 1"/>
              <a:gd name="f1275" fmla="*/ f1020 f444 1"/>
              <a:gd name="f1276" fmla="*/ f1021 f444 1"/>
              <a:gd name="f1277" fmla="*/ f1022 f444 1"/>
              <a:gd name="f1278" fmla="*/ f1023 f445 1"/>
              <a:gd name="f1279" fmla="*/ f1024 f444 1"/>
              <a:gd name="f1280" fmla="*/ f1025 f444 1"/>
              <a:gd name="f1281" fmla="*/ f1026 f444 1"/>
              <a:gd name="f1282" fmla="*/ f1027 f444 1"/>
              <a:gd name="f1283" fmla="*/ f1028 f444 1"/>
              <a:gd name="f1284" fmla="*/ f1029 f444 1"/>
              <a:gd name="f1285" fmla="*/ f1030 f444 1"/>
              <a:gd name="f1286" fmla="*/ f1031 f444 1"/>
              <a:gd name="f1287" fmla="*/ f1032 f445 1"/>
              <a:gd name="f1288" fmla="*/ f1033 f444 1"/>
              <a:gd name="f1289" fmla="*/ f1034 f444 1"/>
              <a:gd name="f1290" fmla="*/ f1035 f444 1"/>
              <a:gd name="f1291" fmla="*/ f1036 f444 1"/>
              <a:gd name="f1292" fmla="*/ f1037 f444 1"/>
              <a:gd name="f1293" fmla="*/ f1038 f444 1"/>
              <a:gd name="f1294" fmla="*/ f1039 f444 1"/>
              <a:gd name="f1295" fmla="*/ f1040 f444 1"/>
              <a:gd name="f1296" fmla="*/ f1041 f444 1"/>
              <a:gd name="f1297" fmla="*/ f1042 f444 1"/>
              <a:gd name="f1298" fmla="*/ f1043 f444 1"/>
              <a:gd name="f1299" fmla="*/ f1044 f444 1"/>
              <a:gd name="f1300" fmla="*/ f1045 f445 1"/>
              <a:gd name="f1301" fmla="*/ f1046 f444 1"/>
              <a:gd name="f1302" fmla="*/ f1047 f444 1"/>
              <a:gd name="f1303" fmla="*/ f1048 f445 1"/>
              <a:gd name="f1304" fmla="*/ f1049 f445 1"/>
              <a:gd name="f1305" fmla="*/ f1050 f444 1"/>
              <a:gd name="f1306" fmla="*/ f1051 f444 1"/>
              <a:gd name="f1307" fmla="*/ f1052 f444 1"/>
              <a:gd name="f1308" fmla="*/ f1053 f445 1"/>
              <a:gd name="f1309" fmla="*/ f1054 f444 1"/>
              <a:gd name="f1310" fmla="*/ f1055 f444 1"/>
              <a:gd name="f1311" fmla="*/ f1056 f444 1"/>
              <a:gd name="f1312" fmla="*/ f1057 f445 1"/>
              <a:gd name="f1313" fmla="*/ f1058 f444 1"/>
              <a:gd name="f1314" fmla="*/ f1059 f444 1"/>
              <a:gd name="f1315" fmla="*/ f1060 f444 1"/>
              <a:gd name="f1316" fmla="*/ f1061 f445 1"/>
              <a:gd name="f1317" fmla="*/ f1062 f444 1"/>
              <a:gd name="f1318" fmla="*/ f1063 f445 1"/>
              <a:gd name="f1319" fmla="*/ f1064 f444 1"/>
              <a:gd name="f1320" fmla="*/ f1065 f445 1"/>
              <a:gd name="f1321" fmla="*/ f1066 f445 1"/>
              <a:gd name="f1322" fmla="*/ f1067 f444 1"/>
              <a:gd name="f1323" fmla="*/ f1068 f444 1"/>
              <a:gd name="f1324" fmla="*/ f1069 f444 1"/>
              <a:gd name="f1325" fmla="*/ f1070 f445 1"/>
              <a:gd name="f1326" fmla="*/ f1071 f445 1"/>
              <a:gd name="f1327" fmla="*/ f1072 f444 1"/>
              <a:gd name="f1328" fmla="*/ f1073 f444 1"/>
              <a:gd name="f1329" fmla="*/ f1074 f444 1"/>
              <a:gd name="f1330" fmla="*/ f1075 f444 1"/>
              <a:gd name="f1331" fmla="*/ f1076 f444 1"/>
              <a:gd name="f1332" fmla="*/ f1077 f444 1"/>
              <a:gd name="f1333" fmla="*/ f1078 f444 1"/>
              <a:gd name="f1334" fmla="*/ f1079 f444 1"/>
              <a:gd name="f1335" fmla="*/ f1080 f444 1"/>
              <a:gd name="f1336" fmla="*/ f1081 f444 1"/>
              <a:gd name="f1337" fmla="*/ f1082 f444 1"/>
              <a:gd name="f1338" fmla="*/ f1083 f444 1"/>
              <a:gd name="f1339" fmla="*/ f1084 f444 1"/>
              <a:gd name="f1340" fmla="*/ f1085 f444 1"/>
              <a:gd name="f1341" fmla="*/ f1086 f444 1"/>
              <a:gd name="f1342" fmla="*/ f1087 f444 1"/>
              <a:gd name="f1343" fmla="*/ f1088 f445 1"/>
              <a:gd name="f1344" fmla="*/ f1089 f444 1"/>
              <a:gd name="f1345" fmla="*/ f1090 f444 1"/>
              <a:gd name="f1346" fmla="*/ f1091 f444 1"/>
              <a:gd name="f1347" fmla="*/ f1092 f445 1"/>
              <a:gd name="f1348" fmla="*/ f1093 f444 1"/>
              <a:gd name="f1349" fmla="*/ f1094 f445 1"/>
              <a:gd name="f1350" fmla="*/ f1095 f444 1"/>
              <a:gd name="f1351" fmla="*/ f1096 f444 1"/>
              <a:gd name="f1352" fmla="*/ f1097 f445 1"/>
              <a:gd name="f1353" fmla="*/ f1098 f444 1"/>
              <a:gd name="f1354" fmla="*/ f1099 f445 1"/>
              <a:gd name="f1355" fmla="*/ f1100 f444 1"/>
              <a:gd name="f1356" fmla="*/ f1101 f445 1"/>
              <a:gd name="f1357" fmla="*/ f1102 f444 1"/>
              <a:gd name="f1358" fmla="*/ f1103 f445 1"/>
              <a:gd name="f1359" fmla="*/ f1104 f444 1"/>
              <a:gd name="f1360" fmla="*/ f1105 f445 1"/>
              <a:gd name="f1361" fmla="*/ f1106 f444 1"/>
              <a:gd name="f1362" fmla="*/ f1107 f444 1"/>
              <a:gd name="f1363" fmla="*/ f1108 f445 1"/>
              <a:gd name="f1364" fmla="*/ f1109 f444 1"/>
              <a:gd name="f1365" fmla="*/ f1110 f445 1"/>
              <a:gd name="f1366" fmla="*/ f1111 f444 1"/>
              <a:gd name="f1367" fmla="*/ f1112 f444 1"/>
              <a:gd name="f1368" fmla="*/ f1113 f445 1"/>
              <a:gd name="f1369" fmla="*/ f1114 f444 1"/>
              <a:gd name="f1370" fmla="*/ f1115 f445 1"/>
              <a:gd name="f1371" fmla="*/ f1116 f444 1"/>
              <a:gd name="f1372" fmla="*/ f1117 f444 1"/>
              <a:gd name="f1373" fmla="*/ f1118 f445 1"/>
              <a:gd name="f1374" fmla="*/ f1119 f444 1"/>
              <a:gd name="f1375" fmla="*/ f1120 f445 1"/>
              <a:gd name="f1376" fmla="*/ f1121 f444 1"/>
              <a:gd name="f1377" fmla="*/ f1122 f445 1"/>
              <a:gd name="f1378" fmla="*/ f1123 f444 1"/>
              <a:gd name="f1379" fmla="*/ f1124 f445 1"/>
              <a:gd name="f1380" fmla="*/ f1125 f444 1"/>
              <a:gd name="f1381" fmla="*/ f1126 f444 1"/>
              <a:gd name="f1382" fmla="*/ f1127 f444 1"/>
              <a:gd name="f1383" fmla="*/ f1128 f444 1"/>
              <a:gd name="f1384" fmla="*/ f1129 f444 1"/>
              <a:gd name="f1385" fmla="*/ f1130 f445 1"/>
              <a:gd name="f1386" fmla="*/ f1131 f444 1"/>
              <a:gd name="f1387" fmla="*/ f1132 f445 1"/>
              <a:gd name="f1388" fmla="*/ f1133 f444 1"/>
              <a:gd name="f1389" fmla="*/ f1134 f444 1"/>
              <a:gd name="f1390" fmla="*/ f1135 f445 1"/>
              <a:gd name="f1391" fmla="*/ f1136 f444 1"/>
              <a:gd name="f1392" fmla="*/ f1137 f444 1"/>
              <a:gd name="f1393" fmla="*/ f1138 f444 1"/>
              <a:gd name="f1394" fmla="*/ f1139 f444 1"/>
              <a:gd name="f1395" fmla="*/ f1140 f444 1"/>
              <a:gd name="f1396" fmla="*/ f1141 f444 1"/>
              <a:gd name="f1397" fmla="*/ f1142 f444 1"/>
              <a:gd name="f1398" fmla="*/ f1143 f445 1"/>
              <a:gd name="f1399" fmla="*/ f1144 f445 1"/>
              <a:gd name="f1400" fmla="*/ f1145 f444 1"/>
              <a:gd name="f1401" fmla="*/ f1146 f444 1"/>
              <a:gd name="f1402" fmla="*/ f1147 f445 1"/>
              <a:gd name="f1403" fmla="*/ f1148 f444 1"/>
              <a:gd name="f1404" fmla="*/ f1149 f445 1"/>
              <a:gd name="f1405" fmla="*/ f1150 f444 1"/>
              <a:gd name="f1406" fmla="*/ f1151 f445 1"/>
              <a:gd name="f1407" fmla="*/ f1152 f444 1"/>
              <a:gd name="f1408" fmla="*/ f1153 f445 1"/>
              <a:gd name="f1409" fmla="*/ f1154 f444 1"/>
              <a:gd name="f1410" fmla="*/ f1155 f444 1"/>
              <a:gd name="f1411" fmla="*/ f1156 f444 1"/>
              <a:gd name="f1412" fmla="*/ f1157 f444 1"/>
              <a:gd name="f1413" fmla="*/ f1158 f445 1"/>
              <a:gd name="f1414" fmla="*/ f1159 f444 1"/>
              <a:gd name="f1415" fmla="*/ f1160 f445 1"/>
              <a:gd name="f1416" fmla="*/ f1161 f444 1"/>
              <a:gd name="f1417" fmla="*/ f1162 f444 1"/>
              <a:gd name="f1418" fmla="*/ f1163 f444 1"/>
              <a:gd name="f1419" fmla="*/ f1164 f445 1"/>
              <a:gd name="f1420" fmla="*/ f1165 f444 1"/>
              <a:gd name="f1421" fmla="*/ f1166 f444 1"/>
              <a:gd name="f1422" fmla="*/ f1167 f445 1"/>
              <a:gd name="f1423" fmla="*/ f1168 f444 1"/>
              <a:gd name="f1424" fmla="*/ f1169 f445 1"/>
              <a:gd name="f1425" fmla="*/ f1170 f444 1"/>
              <a:gd name="f1426" fmla="*/ f1171 f445 1"/>
              <a:gd name="f1427" fmla="*/ f1172 f445 1"/>
              <a:gd name="f1428" fmla="*/ f1173 f444 1"/>
              <a:gd name="f1429" fmla="*/ f1174 f444 1"/>
              <a:gd name="f1430" fmla="*/ f1175 f444 1"/>
              <a:gd name="f1431" fmla="*/ f1176 f445 1"/>
              <a:gd name="f1432" fmla="*/ f1177 f444 1"/>
              <a:gd name="f1433" fmla="*/ f1178 f444 1"/>
              <a:gd name="f1434" fmla="*/ f1179 f444 1"/>
              <a:gd name="f1435" fmla="*/ f1180 f445 1"/>
              <a:gd name="f1436" fmla="*/ f1181 f444 1"/>
              <a:gd name="f1437" fmla="*/ f1182 f445 1"/>
              <a:gd name="f1438" fmla="*/ f1183 f444 1"/>
              <a:gd name="f1439" fmla="*/ f1184 f444 1"/>
              <a:gd name="f1440" fmla="*/ f1185 f445 1"/>
              <a:gd name="f1441" fmla="*/ f1186 f444 1"/>
              <a:gd name="f1442" fmla="*/ f1187 f444 1"/>
              <a:gd name="f1443" fmla="*/ f1188 f444 1"/>
              <a:gd name="f1444" fmla="*/ f1189 f444 1"/>
              <a:gd name="f1445" fmla="*/ f1190 f444 1"/>
              <a:gd name="f1446" fmla="*/ f1191 f444 1"/>
              <a:gd name="f1447" fmla="*/ f1192 f445 1"/>
              <a:gd name="f1448" fmla="*/ f1193 f444 1"/>
              <a:gd name="f1449" fmla="*/ f1194 f444 1"/>
              <a:gd name="f1450" fmla="*/ f1195 f444 1"/>
              <a:gd name="f1451" fmla="*/ f1196 f444 1"/>
              <a:gd name="f1452" fmla="*/ f1197 f445 1"/>
              <a:gd name="f1453" fmla="*/ f1198 f445 1"/>
              <a:gd name="f1454" fmla="*/ f1199 f444 1"/>
              <a:gd name="f1455" fmla="*/ f1200 f444 1"/>
              <a:gd name="f1456" fmla="*/ f1201 f444 1"/>
              <a:gd name="f1457" fmla="*/ f1202 f444 1"/>
              <a:gd name="f1458" fmla="*/ f1203 f444 1"/>
              <a:gd name="f1459" fmla="*/ f1204 f444 1"/>
              <a:gd name="f1460" fmla="*/ f1205 f444 1"/>
              <a:gd name="f1461" fmla="*/ f1206 f444 1"/>
              <a:gd name="f1462" fmla="*/ f1207 f444 1"/>
              <a:gd name="f1463" fmla="*/ f1208 f444 1"/>
              <a:gd name="f1464" fmla="*/ f1209 f44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958">
                <a:pos x="f1214" y="f1215"/>
              </a:cxn>
              <a:cxn ang="f958">
                <a:pos x="f1216" y="f1215"/>
              </a:cxn>
              <a:cxn ang="f958">
                <a:pos x="f1216" y="f1217"/>
              </a:cxn>
              <a:cxn ang="f958">
                <a:pos x="f1214" y="f1217"/>
              </a:cxn>
              <a:cxn ang="f958">
                <a:pos x="f1214" y="f1215"/>
              </a:cxn>
              <a:cxn ang="f958">
                <a:pos x="f1218" y="f1219"/>
              </a:cxn>
              <a:cxn ang="f958">
                <a:pos x="f1218" y="f1220"/>
              </a:cxn>
              <a:cxn ang="f958">
                <a:pos x="f1221" y="f1220"/>
              </a:cxn>
              <a:cxn ang="f958">
                <a:pos x="f1222" y="f1223"/>
              </a:cxn>
              <a:cxn ang="f958">
                <a:pos x="f1221" y="f1219"/>
              </a:cxn>
              <a:cxn ang="f958">
                <a:pos x="f1218" y="f1219"/>
              </a:cxn>
              <a:cxn ang="f958">
                <a:pos x="f1224" y="f1219"/>
              </a:cxn>
              <a:cxn ang="f958">
                <a:pos x="f1224" y="f1225"/>
              </a:cxn>
              <a:cxn ang="f958">
                <a:pos x="f1226" y="f1225"/>
              </a:cxn>
              <a:cxn ang="f958">
                <a:pos x="f1227" y="f1228"/>
              </a:cxn>
              <a:cxn ang="f958">
                <a:pos x="f1226" y="f1219"/>
              </a:cxn>
              <a:cxn ang="f958">
                <a:pos x="f1224" y="f1219"/>
              </a:cxn>
              <a:cxn ang="f958">
                <a:pos x="f1229" y="f1230"/>
              </a:cxn>
              <a:cxn ang="f958">
                <a:pos x="f1231" y="f1232"/>
              </a:cxn>
              <a:cxn ang="f958">
                <a:pos x="f1233" y="f1234"/>
              </a:cxn>
              <a:cxn ang="f958">
                <a:pos x="f1231" y="f1235"/>
              </a:cxn>
              <a:cxn ang="f958">
                <a:pos x="f1229" y="f1236"/>
              </a:cxn>
              <a:cxn ang="f958">
                <a:pos x="f1237" y="f1235"/>
              </a:cxn>
              <a:cxn ang="f958">
                <a:pos x="f1238" y="f1234"/>
              </a:cxn>
              <a:cxn ang="f958">
                <a:pos x="f1237" y="f1232"/>
              </a:cxn>
              <a:cxn ang="f958">
                <a:pos x="f1229" y="f1230"/>
              </a:cxn>
              <a:cxn ang="f958">
                <a:pos x="f1239" y="f1230"/>
              </a:cxn>
              <a:cxn ang="f958">
                <a:pos x="f1240" y="f1232"/>
              </a:cxn>
              <a:cxn ang="f958">
                <a:pos x="f1241" y="f1234"/>
              </a:cxn>
              <a:cxn ang="f958">
                <a:pos x="f1240" y="f1235"/>
              </a:cxn>
              <a:cxn ang="f958">
                <a:pos x="f1239" y="f1236"/>
              </a:cxn>
              <a:cxn ang="f958">
                <a:pos x="f1242" y="f1235"/>
              </a:cxn>
              <a:cxn ang="f958">
                <a:pos x="f1243" y="f1234"/>
              </a:cxn>
              <a:cxn ang="f958">
                <a:pos x="f1242" y="f1232"/>
              </a:cxn>
              <a:cxn ang="f958">
                <a:pos x="f1239" y="f1230"/>
              </a:cxn>
              <a:cxn ang="f958">
                <a:pos x="f1244" y="f1245"/>
              </a:cxn>
              <a:cxn ang="f958">
                <a:pos x="f1221" y="f1245"/>
              </a:cxn>
              <a:cxn ang="f958">
                <a:pos x="f1246" y="f1247"/>
              </a:cxn>
              <a:cxn ang="f958">
                <a:pos x="f1248" y="f1223"/>
              </a:cxn>
              <a:cxn ang="f958">
                <a:pos x="f1249" y="f1250"/>
              </a:cxn>
              <a:cxn ang="f958">
                <a:pos x="f1251" y="f1252"/>
              </a:cxn>
              <a:cxn ang="f958">
                <a:pos x="f1218" y="f1252"/>
              </a:cxn>
              <a:cxn ang="f958">
                <a:pos x="f1218" y="f1215"/>
              </a:cxn>
              <a:cxn ang="f958">
                <a:pos x="f1244" y="f1215"/>
              </a:cxn>
              <a:cxn ang="f958">
                <a:pos x="f1244" y="f1245"/>
              </a:cxn>
              <a:cxn ang="f958">
                <a:pos x="f1253" y="f1245"/>
              </a:cxn>
              <a:cxn ang="f958">
                <a:pos x="f1254" y="f1245"/>
              </a:cxn>
              <a:cxn ang="f958">
                <a:pos x="f1254" y="f1255"/>
              </a:cxn>
              <a:cxn ang="f958">
                <a:pos x="f1256" y="f1257"/>
              </a:cxn>
              <a:cxn ang="f958">
                <a:pos x="f1258" y="f1255"/>
              </a:cxn>
              <a:cxn ang="f958">
                <a:pos x="f1258" y="f1245"/>
              </a:cxn>
              <a:cxn ang="f958">
                <a:pos x="f1259" y="f1245"/>
              </a:cxn>
              <a:cxn ang="f958">
                <a:pos x="f1259" y="f1255"/>
              </a:cxn>
              <a:cxn ang="f958">
                <a:pos x="f1256" y="f1260"/>
              </a:cxn>
              <a:cxn ang="f958">
                <a:pos x="f1253" y="f1255"/>
              </a:cxn>
              <a:cxn ang="f958">
                <a:pos x="f1253" y="f1245"/>
              </a:cxn>
              <a:cxn ang="f958">
                <a:pos x="f1261" y="f1245"/>
              </a:cxn>
              <a:cxn ang="f958">
                <a:pos x="f1226" y="f1245"/>
              </a:cxn>
              <a:cxn ang="f958">
                <a:pos x="f1262" y="f1247"/>
              </a:cxn>
              <a:cxn ang="f958">
                <a:pos x="f1263" y="f1228"/>
              </a:cxn>
              <a:cxn ang="f958">
                <a:pos x="f1262" y="f1264"/>
              </a:cxn>
              <a:cxn ang="f958">
                <a:pos x="f1265" y="f1266"/>
              </a:cxn>
              <a:cxn ang="f958">
                <a:pos x="f1267" y="f1215"/>
              </a:cxn>
              <a:cxn ang="f958">
                <a:pos x="f1268" y="f1215"/>
              </a:cxn>
              <a:cxn ang="f958">
                <a:pos x="f1269" y="f1270"/>
              </a:cxn>
              <a:cxn ang="f958">
                <a:pos x="f1224" y="f1270"/>
              </a:cxn>
              <a:cxn ang="f958">
                <a:pos x="f1224" y="f1215"/>
              </a:cxn>
              <a:cxn ang="f958">
                <a:pos x="f1261" y="f1215"/>
              </a:cxn>
              <a:cxn ang="f958">
                <a:pos x="f1261" y="f1245"/>
              </a:cxn>
              <a:cxn ang="f958">
                <a:pos x="f1271" y="f1245"/>
              </a:cxn>
              <a:cxn ang="f958">
                <a:pos x="f1272" y="f1245"/>
              </a:cxn>
              <a:cxn ang="f958">
                <a:pos x="f1273" y="f1274"/>
              </a:cxn>
              <a:cxn ang="f958">
                <a:pos x="f1273" y="f1245"/>
              </a:cxn>
              <a:cxn ang="f958">
                <a:pos x="f1275" y="f1245"/>
              </a:cxn>
              <a:cxn ang="f958">
                <a:pos x="f1275" y="f1215"/>
              </a:cxn>
              <a:cxn ang="f958">
                <a:pos x="f1276" y="f1215"/>
              </a:cxn>
              <a:cxn ang="f958">
                <a:pos x="f1277" y="f1278"/>
              </a:cxn>
              <a:cxn ang="f958">
                <a:pos x="f1277" y="f1215"/>
              </a:cxn>
              <a:cxn ang="f958">
                <a:pos x="f1271" y="f1215"/>
              </a:cxn>
              <a:cxn ang="f958">
                <a:pos x="f1271" y="f1245"/>
              </a:cxn>
              <a:cxn ang="f958">
                <a:pos x="f1279" y="f1245"/>
              </a:cxn>
              <a:cxn ang="f958">
                <a:pos x="f1280" y="f1245"/>
              </a:cxn>
              <a:cxn ang="f958">
                <a:pos x="f1280" y="f1215"/>
              </a:cxn>
              <a:cxn ang="f958">
                <a:pos x="f1279" y="f1215"/>
              </a:cxn>
              <a:cxn ang="f958">
                <a:pos x="f1279" y="f1245"/>
              </a:cxn>
              <a:cxn ang="f958">
                <a:pos x="f1281" y="f1245"/>
              </a:cxn>
              <a:cxn ang="f958">
                <a:pos x="f1282" y="f1245"/>
              </a:cxn>
              <a:cxn ang="f958">
                <a:pos x="f1282" y="f1219"/>
              </a:cxn>
              <a:cxn ang="f958">
                <a:pos x="f1283" y="f1219"/>
              </a:cxn>
              <a:cxn ang="f958">
                <a:pos x="f1283" y="f1215"/>
              </a:cxn>
              <a:cxn ang="f958">
                <a:pos x="f1284" y="f1215"/>
              </a:cxn>
              <a:cxn ang="f958">
                <a:pos x="f1284" y="f1219"/>
              </a:cxn>
              <a:cxn ang="f958">
                <a:pos x="f1281" y="f1219"/>
              </a:cxn>
              <a:cxn ang="f958">
                <a:pos x="f1281" y="f1245"/>
              </a:cxn>
              <a:cxn ang="f958">
                <a:pos x="f1285" y="f1245"/>
              </a:cxn>
              <a:cxn ang="f958">
                <a:pos x="f1286" y="f1245"/>
              </a:cxn>
              <a:cxn ang="f958">
                <a:pos x="f1286" y="f1287"/>
              </a:cxn>
              <a:cxn ang="f958">
                <a:pos x="f1288" y="f1287"/>
              </a:cxn>
              <a:cxn ang="f958">
                <a:pos x="f1288" y="f1215"/>
              </a:cxn>
              <a:cxn ang="f958">
                <a:pos x="f1285" y="f1215"/>
              </a:cxn>
              <a:cxn ang="f958">
                <a:pos x="f1285" y="f1245"/>
              </a:cxn>
              <a:cxn ang="f958">
                <a:pos x="f1289" y="f1245"/>
              </a:cxn>
              <a:cxn ang="f958">
                <a:pos x="f1290" y="f1245"/>
              </a:cxn>
              <a:cxn ang="f958">
                <a:pos x="f1290" y="f1255"/>
              </a:cxn>
              <a:cxn ang="f958">
                <a:pos x="f1291" y="f1257"/>
              </a:cxn>
              <a:cxn ang="f958">
                <a:pos x="f1292" y="f1255"/>
              </a:cxn>
              <a:cxn ang="f958">
                <a:pos x="f1292" y="f1245"/>
              </a:cxn>
              <a:cxn ang="f958">
                <a:pos x="f1293" y="f1245"/>
              </a:cxn>
              <a:cxn ang="f958">
                <a:pos x="f1293" y="f1255"/>
              </a:cxn>
              <a:cxn ang="f958">
                <a:pos x="f1291" y="f1260"/>
              </a:cxn>
              <a:cxn ang="f958">
                <a:pos x="f1289" y="f1255"/>
              </a:cxn>
              <a:cxn ang="f958">
                <a:pos x="f1289" y="f1245"/>
              </a:cxn>
              <a:cxn ang="f958">
                <a:pos x="f1294" y="f1245"/>
              </a:cxn>
              <a:cxn ang="f958">
                <a:pos x="f1295" y="f1245"/>
              </a:cxn>
              <a:cxn ang="f958">
                <a:pos x="f1296" y="f1274"/>
              </a:cxn>
              <a:cxn ang="f958">
                <a:pos x="f1296" y="f1245"/>
              </a:cxn>
              <a:cxn ang="f958">
                <a:pos x="f1297" y="f1245"/>
              </a:cxn>
              <a:cxn ang="f958">
                <a:pos x="f1297" y="f1215"/>
              </a:cxn>
              <a:cxn ang="f958">
                <a:pos x="f1298" y="f1215"/>
              </a:cxn>
              <a:cxn ang="f958">
                <a:pos x="f1299" y="f1278"/>
              </a:cxn>
              <a:cxn ang="f958">
                <a:pos x="f1299" y="f1215"/>
              </a:cxn>
              <a:cxn ang="f958">
                <a:pos x="f1294" y="f1215"/>
              </a:cxn>
              <a:cxn ang="f958">
                <a:pos x="f1294" y="f1245"/>
              </a:cxn>
              <a:cxn ang="f958">
                <a:pos x="f1229" y="f1300"/>
              </a:cxn>
              <a:cxn ang="f958">
                <a:pos x="f1301" y="f1247"/>
              </a:cxn>
              <a:cxn ang="f958">
                <a:pos x="f1302" y="f1234"/>
              </a:cxn>
              <a:cxn ang="f958">
                <a:pos x="f1301" y="f1303"/>
              </a:cxn>
              <a:cxn ang="f958">
                <a:pos x="f1229" y="f1304"/>
              </a:cxn>
              <a:cxn ang="f958">
                <a:pos x="f1233" y="f1303"/>
              </a:cxn>
              <a:cxn ang="f958">
                <a:pos x="f1305" y="f1234"/>
              </a:cxn>
              <a:cxn ang="f958">
                <a:pos x="f1233" y="f1247"/>
              </a:cxn>
              <a:cxn ang="f958">
                <a:pos x="f1229" y="f1300"/>
              </a:cxn>
              <a:cxn ang="f958">
                <a:pos x="f1306" y="f1300"/>
              </a:cxn>
              <a:cxn ang="f958">
                <a:pos x="f1307" y="f1308"/>
              </a:cxn>
              <a:cxn ang="f958">
                <a:pos x="f1309" y="f1228"/>
              </a:cxn>
              <a:cxn ang="f958">
                <a:pos x="f1310" y="f1228"/>
              </a:cxn>
              <a:cxn ang="f958">
                <a:pos x="f1311" y="f1312"/>
              </a:cxn>
              <a:cxn ang="f958">
                <a:pos x="f1306" y="f1230"/>
              </a:cxn>
              <a:cxn ang="f958">
                <a:pos x="f1313" y="f1232"/>
              </a:cxn>
              <a:cxn ang="f958">
                <a:pos x="f1314" y="f1234"/>
              </a:cxn>
              <a:cxn ang="f958">
                <a:pos x="f1315" y="f1316"/>
              </a:cxn>
              <a:cxn ang="f958">
                <a:pos x="f1306" y="f1257"/>
              </a:cxn>
              <a:cxn ang="f958">
                <a:pos x="f1317" y="f1318"/>
              </a:cxn>
              <a:cxn ang="f958">
                <a:pos x="f1319" y="f1320"/>
              </a:cxn>
              <a:cxn ang="f958">
                <a:pos x="f1306" y="f1320"/>
              </a:cxn>
              <a:cxn ang="f958">
                <a:pos x="f1306" y="f1321"/>
              </a:cxn>
              <a:cxn ang="f958">
                <a:pos x="f1322" y="f1321"/>
              </a:cxn>
              <a:cxn ang="f958">
                <a:pos x="f1322" y="f1215"/>
              </a:cxn>
              <a:cxn ang="f958">
                <a:pos x="f1323" y="f1215"/>
              </a:cxn>
              <a:cxn ang="f958">
                <a:pos x="f1324" y="f1325"/>
              </a:cxn>
              <a:cxn ang="f958">
                <a:pos x="f1306" y="f1304"/>
              </a:cxn>
              <a:cxn ang="f958">
                <a:pos x="f1314" y="f1326"/>
              </a:cxn>
              <a:cxn ang="f958">
                <a:pos x="f1327" y="f1234"/>
              </a:cxn>
              <a:cxn ang="f958">
                <a:pos x="f1314" y="f1247"/>
              </a:cxn>
              <a:cxn ang="f958">
                <a:pos x="f1306" y="f1300"/>
              </a:cxn>
              <a:cxn ang="f958">
                <a:pos x="f1328" y="f1300"/>
              </a:cxn>
              <a:cxn ang="f958">
                <a:pos x="f1329" y="f1308"/>
              </a:cxn>
              <a:cxn ang="f958">
                <a:pos x="f1330" y="f1228"/>
              </a:cxn>
              <a:cxn ang="f958">
                <a:pos x="f1331" y="f1228"/>
              </a:cxn>
              <a:cxn ang="f958">
                <a:pos x="f1332" y="f1312"/>
              </a:cxn>
              <a:cxn ang="f958">
                <a:pos x="f1328" y="f1230"/>
              </a:cxn>
              <a:cxn ang="f958">
                <a:pos x="f1333" y="f1232"/>
              </a:cxn>
              <a:cxn ang="f958">
                <a:pos x="f1334" y="f1234"/>
              </a:cxn>
              <a:cxn ang="f958">
                <a:pos x="f1333" y="f1316"/>
              </a:cxn>
              <a:cxn ang="f958">
                <a:pos x="f1328" y="f1257"/>
              </a:cxn>
              <a:cxn ang="f958">
                <a:pos x="f1335" y="f1318"/>
              </a:cxn>
              <a:cxn ang="f958">
                <a:pos x="f1336" y="f1320"/>
              </a:cxn>
              <a:cxn ang="f958">
                <a:pos x="f1328" y="f1320"/>
              </a:cxn>
              <a:cxn ang="f958">
                <a:pos x="f1328" y="f1321"/>
              </a:cxn>
              <a:cxn ang="f958">
                <a:pos x="f1337" y="f1321"/>
              </a:cxn>
              <a:cxn ang="f958">
                <a:pos x="f1337" y="f1215"/>
              </a:cxn>
              <a:cxn ang="f958">
                <a:pos x="f1338" y="f1215"/>
              </a:cxn>
              <a:cxn ang="f958">
                <a:pos x="f1339" y="f1325"/>
              </a:cxn>
              <a:cxn ang="f958">
                <a:pos x="f1328" y="f1304"/>
              </a:cxn>
              <a:cxn ang="f958">
                <a:pos x="f1334" y="f1326"/>
              </a:cxn>
              <a:cxn ang="f958">
                <a:pos x="f1340" y="f1234"/>
              </a:cxn>
              <a:cxn ang="f958">
                <a:pos x="f1334" y="f1247"/>
              </a:cxn>
              <a:cxn ang="f958">
                <a:pos x="f1328" y="f1300"/>
              </a:cxn>
              <a:cxn ang="f958">
                <a:pos x="f1341" y="f1300"/>
              </a:cxn>
              <a:cxn ang="f958">
                <a:pos x="f1342" y="f1343"/>
              </a:cxn>
              <a:cxn ang="f958">
                <a:pos x="f1344" y="f1228"/>
              </a:cxn>
              <a:cxn ang="f958">
                <a:pos x="f1345" y="f1228"/>
              </a:cxn>
              <a:cxn ang="f958">
                <a:pos x="f1346" y="f1347"/>
              </a:cxn>
              <a:cxn ang="f958">
                <a:pos x="f1348" y="f1349"/>
              </a:cxn>
              <a:cxn ang="f958">
                <a:pos x="f1350" y="f1347"/>
              </a:cxn>
              <a:cxn ang="f958">
                <a:pos x="f1351" y="f1352"/>
              </a:cxn>
              <a:cxn ang="f958">
                <a:pos x="f1353" y="f1354"/>
              </a:cxn>
              <a:cxn ang="f958">
                <a:pos x="f1355" y="f1356"/>
              </a:cxn>
              <a:cxn ang="f958">
                <a:pos x="f1357" y="f1358"/>
              </a:cxn>
              <a:cxn ang="f958">
                <a:pos x="f1359" y="f1360"/>
              </a:cxn>
              <a:cxn ang="f958">
                <a:pos x="f1361" y="f1260"/>
              </a:cxn>
              <a:cxn ang="f958">
                <a:pos x="f1362" y="f1363"/>
              </a:cxn>
              <a:cxn ang="f958">
                <a:pos x="f1364" y="f1365"/>
              </a:cxn>
              <a:cxn ang="f958">
                <a:pos x="f1366" y="f1365"/>
              </a:cxn>
              <a:cxn ang="f958">
                <a:pos x="f1367" y="f1368"/>
              </a:cxn>
              <a:cxn ang="f958">
                <a:pos x="f1361" y="f1257"/>
              </a:cxn>
              <a:cxn ang="f958">
                <a:pos x="f1369" y="f1370"/>
              </a:cxn>
              <a:cxn ang="f958">
                <a:pos x="f1371" y="f1358"/>
              </a:cxn>
              <a:cxn ang="f958">
                <a:pos x="f1372" y="f1373"/>
              </a:cxn>
              <a:cxn ang="f958">
                <a:pos x="f1374" y="f1375"/>
              </a:cxn>
              <a:cxn ang="f958">
                <a:pos x="f1376" y="f1377"/>
              </a:cxn>
              <a:cxn ang="f958">
                <a:pos x="f1378" y="f1379"/>
              </a:cxn>
              <a:cxn ang="f958">
                <a:pos x="f1341" y="f1300"/>
              </a:cxn>
              <a:cxn ang="f958">
                <a:pos x="f1239" y="f1300"/>
              </a:cxn>
              <a:cxn ang="f958">
                <a:pos x="f1243" y="f1247"/>
              </a:cxn>
              <a:cxn ang="f958">
                <a:pos x="f1380" y="f1234"/>
              </a:cxn>
              <a:cxn ang="f958">
                <a:pos x="f1243" y="f1303"/>
              </a:cxn>
              <a:cxn ang="f958">
                <a:pos x="f1239" y="f1304"/>
              </a:cxn>
              <a:cxn ang="f958">
                <a:pos x="f1381" y="f1303"/>
              </a:cxn>
              <a:cxn ang="f958">
                <a:pos x="f1382" y="f1234"/>
              </a:cxn>
              <a:cxn ang="f958">
                <a:pos x="f1381" y="f1247"/>
              </a:cxn>
              <a:cxn ang="f958">
                <a:pos x="f1239" y="f1300"/>
              </a:cxn>
              <a:cxn ang="f958">
                <a:pos x="f1383" y="f1300"/>
              </a:cxn>
              <a:cxn ang="f958">
                <a:pos x="f1384" y="f1385"/>
              </a:cxn>
              <a:cxn ang="f958">
                <a:pos x="f1386" y="f1387"/>
              </a:cxn>
              <a:cxn ang="f958">
                <a:pos x="f1388" y="f1387"/>
              </a:cxn>
              <a:cxn ang="f958">
                <a:pos x="f1389" y="f1390"/>
              </a:cxn>
              <a:cxn ang="f958">
                <a:pos x="f1383" y="f1230"/>
              </a:cxn>
              <a:cxn ang="f958">
                <a:pos x="f1391" y="f1232"/>
              </a:cxn>
              <a:cxn ang="f958">
                <a:pos x="f1392" y="f1234"/>
              </a:cxn>
              <a:cxn ang="f958">
                <a:pos x="f1391" y="f1235"/>
              </a:cxn>
              <a:cxn ang="f958">
                <a:pos x="f1383" y="f1257"/>
              </a:cxn>
              <a:cxn ang="f958">
                <a:pos x="f1393" y="f1235"/>
              </a:cxn>
              <a:cxn ang="f958">
                <a:pos x="f1388" y="f1365"/>
              </a:cxn>
              <a:cxn ang="f958">
                <a:pos x="f1394" y="f1365"/>
              </a:cxn>
              <a:cxn ang="f958">
                <a:pos x="f1384" y="f1303"/>
              </a:cxn>
              <a:cxn ang="f958">
                <a:pos x="f1383" y="f1304"/>
              </a:cxn>
              <a:cxn ang="f958">
                <a:pos x="f1395" y="f1303"/>
              </a:cxn>
              <a:cxn ang="f958">
                <a:pos x="f1396" y="f1234"/>
              </a:cxn>
              <a:cxn ang="f958">
                <a:pos x="f1395" y="f1247"/>
              </a:cxn>
              <a:cxn ang="f958">
                <a:pos x="f1383" y="f1300"/>
              </a:cxn>
              <a:cxn ang="f958">
                <a:pos x="f1397" y="f1398"/>
              </a:cxn>
              <a:cxn ang="f958">
                <a:pos x="f1397" y="f1399"/>
              </a:cxn>
              <a:cxn ang="f958">
                <a:pos x="f1400" y="f1399"/>
              </a:cxn>
              <a:cxn ang="f958">
                <a:pos x="f1401" y="f1402"/>
              </a:cxn>
              <a:cxn ang="f958">
                <a:pos x="f1400" y="f1398"/>
              </a:cxn>
              <a:cxn ang="f958">
                <a:pos x="f1397" y="f1398"/>
              </a:cxn>
              <a:cxn ang="f958">
                <a:pos x="f1403" y="f1404"/>
              </a:cxn>
              <a:cxn ang="f958">
                <a:pos x="f1405" y="f1404"/>
              </a:cxn>
              <a:cxn ang="f958">
                <a:pos x="f1405" y="f1406"/>
              </a:cxn>
              <a:cxn ang="f958">
                <a:pos x="f1407" y="f1406"/>
              </a:cxn>
              <a:cxn ang="f958">
                <a:pos x="f1407" y="f1408"/>
              </a:cxn>
              <a:cxn ang="f958">
                <a:pos x="f1409" y="f1408"/>
              </a:cxn>
              <a:cxn ang="f958">
                <a:pos x="f1409" y="f1406"/>
              </a:cxn>
              <a:cxn ang="f958">
                <a:pos x="f1403" y="f1406"/>
              </a:cxn>
              <a:cxn ang="f958">
                <a:pos x="f1410" y="f1404"/>
              </a:cxn>
              <a:cxn ang="f958">
                <a:pos x="f1411" y="f1404"/>
              </a:cxn>
              <a:cxn ang="f958">
                <a:pos x="f1412" y="f1413"/>
              </a:cxn>
              <a:cxn ang="f958">
                <a:pos x="f1414" y="f1415"/>
              </a:cxn>
              <a:cxn ang="f958">
                <a:pos x="f1414" y="f1404"/>
              </a:cxn>
              <a:cxn ang="f958">
                <a:pos x="f1416" y="f1404"/>
              </a:cxn>
              <a:cxn ang="f958">
                <a:pos x="f1416" y="f1408"/>
              </a:cxn>
              <a:cxn ang="f958">
                <a:pos x="f1417" y="f1408"/>
              </a:cxn>
              <a:cxn ang="f958">
                <a:pos x="f1418" y="f1419"/>
              </a:cxn>
              <a:cxn ang="f958">
                <a:pos x="f1418" y="f1408"/>
              </a:cxn>
              <a:cxn ang="f958">
                <a:pos x="f1410" y="f1408"/>
              </a:cxn>
              <a:cxn ang="f958">
                <a:pos x="f1420" y="f1404"/>
              </a:cxn>
              <a:cxn ang="f958">
                <a:pos x="f1421" y="f1404"/>
              </a:cxn>
              <a:cxn ang="f958">
                <a:pos x="f1421" y="f1422"/>
              </a:cxn>
              <a:cxn ang="f958">
                <a:pos x="f1423" y="f1422"/>
              </a:cxn>
              <a:cxn ang="f958">
                <a:pos x="f1423" y="f1424"/>
              </a:cxn>
              <a:cxn ang="f958">
                <a:pos x="f1425" y="f1424"/>
              </a:cxn>
              <a:cxn ang="f958">
                <a:pos x="f1425" y="f1426"/>
              </a:cxn>
              <a:cxn ang="f958">
                <a:pos x="f1423" y="f1426"/>
              </a:cxn>
              <a:cxn ang="f958">
                <a:pos x="f1423" y="f1427"/>
              </a:cxn>
              <a:cxn ang="f958">
                <a:pos x="f1421" y="f1427"/>
              </a:cxn>
              <a:cxn ang="f958">
                <a:pos x="f1421" y="f1408"/>
              </a:cxn>
              <a:cxn ang="f958">
                <a:pos x="f1420" y="f1408"/>
              </a:cxn>
              <a:cxn ang="f958">
                <a:pos x="f1428" y="f1404"/>
              </a:cxn>
              <a:cxn ang="f958">
                <a:pos x="f1429" y="f1404"/>
              </a:cxn>
              <a:cxn ang="f958">
                <a:pos x="f1430" y="f1431"/>
              </a:cxn>
              <a:cxn ang="f958">
                <a:pos x="f1432" y="f1404"/>
              </a:cxn>
              <a:cxn ang="f958">
                <a:pos x="f1433" y="f1404"/>
              </a:cxn>
              <a:cxn ang="f958">
                <a:pos x="f1433" y="f1408"/>
              </a:cxn>
              <a:cxn ang="f958">
                <a:pos x="f1434" y="f1408"/>
              </a:cxn>
              <a:cxn ang="f958">
                <a:pos x="f1434" y="f1435"/>
              </a:cxn>
              <a:cxn ang="f958">
                <a:pos x="f1436" y="f1437"/>
              </a:cxn>
              <a:cxn ang="f958">
                <a:pos x="f1438" y="f1437"/>
              </a:cxn>
              <a:cxn ang="f958">
                <a:pos x="f1439" y="f1440"/>
              </a:cxn>
              <a:cxn ang="f958">
                <a:pos x="f1439" y="f1408"/>
              </a:cxn>
              <a:cxn ang="f958">
                <a:pos x="f1428" y="f1408"/>
              </a:cxn>
              <a:cxn ang="f958">
                <a:pos x="f1441" y="f1404"/>
              </a:cxn>
              <a:cxn ang="f958">
                <a:pos x="f1442" y="f1404"/>
              </a:cxn>
              <a:cxn ang="f958">
                <a:pos x="f1442" y="f1422"/>
              </a:cxn>
              <a:cxn ang="f958">
                <a:pos x="f1443" y="f1422"/>
              </a:cxn>
              <a:cxn ang="f958">
                <a:pos x="f1443" y="f1424"/>
              </a:cxn>
              <a:cxn ang="f958">
                <a:pos x="f1444" y="f1424"/>
              </a:cxn>
              <a:cxn ang="f958">
                <a:pos x="f1444" y="f1426"/>
              </a:cxn>
              <a:cxn ang="f958">
                <a:pos x="f1443" y="f1426"/>
              </a:cxn>
              <a:cxn ang="f958">
                <a:pos x="f1443" y="f1427"/>
              </a:cxn>
              <a:cxn ang="f958">
                <a:pos x="f1442" y="f1427"/>
              </a:cxn>
              <a:cxn ang="f958">
                <a:pos x="f1442" y="f1408"/>
              </a:cxn>
              <a:cxn ang="f958">
                <a:pos x="f1441" y="f1408"/>
              </a:cxn>
              <a:cxn ang="f958">
                <a:pos x="f1445" y="f1404"/>
              </a:cxn>
              <a:cxn ang="f958">
                <a:pos x="f1446" y="f1404"/>
              </a:cxn>
              <a:cxn ang="f958">
                <a:pos x="f1446" y="f1447"/>
              </a:cxn>
              <a:cxn ang="f958">
                <a:pos x="f1448" y="f1447"/>
              </a:cxn>
              <a:cxn ang="f958">
                <a:pos x="f1448" y="f1408"/>
              </a:cxn>
              <a:cxn ang="f958">
                <a:pos x="f1445" y="f1408"/>
              </a:cxn>
              <a:cxn ang="f958">
                <a:pos x="f1449" y="f1404"/>
              </a:cxn>
              <a:cxn ang="f958">
                <a:pos x="f1450" y="f1404"/>
              </a:cxn>
              <a:cxn ang="f958">
                <a:pos x="f1451" y="f1452"/>
              </a:cxn>
              <a:cxn ang="f958">
                <a:pos x="f1450" y="f1453"/>
              </a:cxn>
              <a:cxn ang="f958">
                <a:pos x="f1397" y="f1453"/>
              </a:cxn>
              <a:cxn ang="f958">
                <a:pos x="f1397" y="f1408"/>
              </a:cxn>
              <a:cxn ang="f958">
                <a:pos x="f1449" y="f1408"/>
              </a:cxn>
              <a:cxn ang="f958">
                <a:pos x="f1449" y="f1404"/>
              </a:cxn>
              <a:cxn ang="f958">
                <a:pos x="f1454" y="f1404"/>
              </a:cxn>
              <a:cxn ang="f958">
                <a:pos x="f1455" y="f1404"/>
              </a:cxn>
              <a:cxn ang="f958">
                <a:pos x="f1456" y="f1431"/>
              </a:cxn>
              <a:cxn ang="f958">
                <a:pos x="f1457" y="f1404"/>
              </a:cxn>
              <a:cxn ang="f958">
                <a:pos x="f1458" y="f1404"/>
              </a:cxn>
              <a:cxn ang="f958">
                <a:pos x="f1458" y="f1408"/>
              </a:cxn>
              <a:cxn ang="f958">
                <a:pos x="f1459" y="f1408"/>
              </a:cxn>
              <a:cxn ang="f958">
                <a:pos x="f1459" y="f1435"/>
              </a:cxn>
              <a:cxn ang="f958">
                <a:pos x="f1460" y="f1437"/>
              </a:cxn>
              <a:cxn ang="f958">
                <a:pos x="f1461" y="f1437"/>
              </a:cxn>
              <a:cxn ang="f958">
                <a:pos x="f1462" y="f1440"/>
              </a:cxn>
              <a:cxn ang="f958">
                <a:pos x="f1462" y="f1408"/>
              </a:cxn>
              <a:cxn ang="f958">
                <a:pos x="f1454" y="f1408"/>
              </a:cxn>
              <a:cxn ang="f958">
                <a:pos x="f1463" y="f1404"/>
              </a:cxn>
              <a:cxn ang="f958">
                <a:pos x="f1464" y="f1404"/>
              </a:cxn>
              <a:cxn ang="f958">
                <a:pos x="f1464" y="f1408"/>
              </a:cxn>
              <a:cxn ang="f958">
                <a:pos x="f1463" y="f1408"/>
              </a:cxn>
            </a:cxnLst>
            <a:rect l="f1210" t="f1213" r="f1211" b="f1212"/>
            <a:pathLst>
              <a:path w="9905999" h="2265361">
                <a:moveTo>
                  <a:pt x="f8" y="f9"/>
                </a:moveTo>
                <a:cubicBezTo>
                  <a:pt x="f8" y="f9"/>
                  <a:pt x="f8" y="f9"/>
                  <a:pt x="f10" y="f9"/>
                </a:cubicBezTo>
                <a:lnTo>
                  <a:pt x="f10" y="f7"/>
                </a:lnTo>
                <a:cubicBezTo>
                  <a:pt x="f10" y="f7"/>
                  <a:pt x="f10" y="f7"/>
                  <a:pt x="f8" y="f7"/>
                </a:cubicBezTo>
                <a:cubicBezTo>
                  <a:pt x="f8" y="f7"/>
                  <a:pt x="f8" y="f7"/>
                  <a:pt x="f8" y="f9"/>
                </a:cubicBezTo>
                <a:close/>
                <a:moveTo>
                  <a:pt x="f11" y="f12"/>
                </a:moveTo>
                <a:cubicBezTo>
                  <a:pt x="f11" y="f12"/>
                  <a:pt x="f11" y="f12"/>
                  <a:pt x="f11" y="f13"/>
                </a:cubicBezTo>
                <a:cubicBezTo>
                  <a:pt x="f11" y="f13"/>
                  <a:pt x="f11" y="f13"/>
                  <a:pt x="f14" y="f13"/>
                </a:cubicBezTo>
                <a:cubicBezTo>
                  <a:pt x="f15" y="f13"/>
                  <a:pt x="f16" y="f17"/>
                  <a:pt x="f16" y="f18"/>
                </a:cubicBezTo>
                <a:cubicBezTo>
                  <a:pt x="f16" y="f19"/>
                  <a:pt x="f20" y="f12"/>
                  <a:pt x="f14" y="f12"/>
                </a:cubicBezTo>
                <a:cubicBezTo>
                  <a:pt x="f14" y="f12"/>
                  <a:pt x="f14" y="f12"/>
                  <a:pt x="f11" y="f12"/>
                </a:cubicBezTo>
                <a:close/>
                <a:moveTo>
                  <a:pt x="f21" y="f12"/>
                </a:moveTo>
                <a:cubicBezTo>
                  <a:pt x="f21" y="f12"/>
                  <a:pt x="f21" y="f12"/>
                  <a:pt x="f21" y="f22"/>
                </a:cubicBezTo>
                <a:cubicBezTo>
                  <a:pt x="f21" y="f22"/>
                  <a:pt x="f21" y="f22"/>
                  <a:pt x="f23" y="f22"/>
                </a:cubicBezTo>
                <a:cubicBezTo>
                  <a:pt x="f24" y="f22"/>
                  <a:pt x="f25" y="f26"/>
                  <a:pt x="f25" y="f27"/>
                </a:cubicBezTo>
                <a:cubicBezTo>
                  <a:pt x="f25" y="f28"/>
                  <a:pt x="f24" y="f12"/>
                  <a:pt x="f23" y="f12"/>
                </a:cubicBezTo>
                <a:cubicBezTo>
                  <a:pt x="f23" y="f12"/>
                  <a:pt x="f23" y="f12"/>
                  <a:pt x="f21" y="f12"/>
                </a:cubicBezTo>
                <a:close/>
                <a:moveTo>
                  <a:pt x="f29" y="f30"/>
                </a:moveTo>
                <a:cubicBezTo>
                  <a:pt x="f31" y="f30"/>
                  <a:pt x="f32" y="f33"/>
                  <a:pt x="f34" y="f19"/>
                </a:cubicBezTo>
                <a:cubicBezTo>
                  <a:pt x="f35" y="f36"/>
                  <a:pt x="f37" y="f38"/>
                  <a:pt x="f37" y="f39"/>
                </a:cubicBezTo>
                <a:cubicBezTo>
                  <a:pt x="f37" y="f40"/>
                  <a:pt x="f35" y="f41"/>
                  <a:pt x="f34" y="f42"/>
                </a:cubicBezTo>
                <a:cubicBezTo>
                  <a:pt x="f32" y="f43"/>
                  <a:pt x="f31" y="f44"/>
                  <a:pt x="f29" y="f44"/>
                </a:cubicBezTo>
                <a:cubicBezTo>
                  <a:pt x="f45" y="f44"/>
                  <a:pt x="f46" y="f43"/>
                  <a:pt x="f47" y="f42"/>
                </a:cubicBezTo>
                <a:cubicBezTo>
                  <a:pt x="f48" y="f41"/>
                  <a:pt x="f49" y="f40"/>
                  <a:pt x="f49" y="f39"/>
                </a:cubicBezTo>
                <a:cubicBezTo>
                  <a:pt x="f49" y="f38"/>
                  <a:pt x="f48" y="f36"/>
                  <a:pt x="f47" y="f19"/>
                </a:cubicBezTo>
                <a:cubicBezTo>
                  <a:pt x="f46" y="f33"/>
                  <a:pt x="f45" y="f30"/>
                  <a:pt x="f29" y="f30"/>
                </a:cubicBezTo>
                <a:close/>
                <a:moveTo>
                  <a:pt x="f50" y="f30"/>
                </a:moveTo>
                <a:cubicBezTo>
                  <a:pt x="f51" y="f30"/>
                  <a:pt x="f52" y="f33"/>
                  <a:pt x="f53" y="f19"/>
                </a:cubicBezTo>
                <a:cubicBezTo>
                  <a:pt x="f54" y="f36"/>
                  <a:pt x="f55" y="f38"/>
                  <a:pt x="f55" y="f39"/>
                </a:cubicBezTo>
                <a:cubicBezTo>
                  <a:pt x="f55" y="f40"/>
                  <a:pt x="f54" y="f41"/>
                  <a:pt x="f53" y="f42"/>
                </a:cubicBezTo>
                <a:cubicBezTo>
                  <a:pt x="f52" y="f43"/>
                  <a:pt x="f51" y="f44"/>
                  <a:pt x="f50" y="f44"/>
                </a:cubicBezTo>
                <a:cubicBezTo>
                  <a:pt x="f56" y="f44"/>
                  <a:pt x="f57" y="f43"/>
                  <a:pt x="f58" y="f42"/>
                </a:cubicBezTo>
                <a:cubicBezTo>
                  <a:pt x="f59" y="f41"/>
                  <a:pt x="f60" y="f40"/>
                  <a:pt x="f60" y="f39"/>
                </a:cubicBezTo>
                <a:cubicBezTo>
                  <a:pt x="f60" y="f38"/>
                  <a:pt x="f59" y="f36"/>
                  <a:pt x="f58" y="f19"/>
                </a:cubicBezTo>
                <a:cubicBezTo>
                  <a:pt x="f57" y="f33"/>
                  <a:pt x="f56" y="f30"/>
                  <a:pt x="f50" y="f30"/>
                </a:cubicBezTo>
                <a:close/>
                <a:moveTo>
                  <a:pt x="f61" y="f62"/>
                </a:moveTo>
                <a:cubicBezTo>
                  <a:pt x="f61" y="f62"/>
                  <a:pt x="f61" y="f62"/>
                  <a:pt x="f14" y="f62"/>
                </a:cubicBezTo>
                <a:cubicBezTo>
                  <a:pt x="f63" y="f62"/>
                  <a:pt x="f16" y="f64"/>
                  <a:pt x="f65" y="f66"/>
                </a:cubicBezTo>
                <a:cubicBezTo>
                  <a:pt x="f67" y="f68"/>
                  <a:pt x="f69" y="f70"/>
                  <a:pt x="f69" y="f18"/>
                </a:cubicBezTo>
                <a:cubicBezTo>
                  <a:pt x="f69" y="f71"/>
                  <a:pt x="f67" y="f72"/>
                  <a:pt x="f73" y="f74"/>
                </a:cubicBezTo>
                <a:cubicBezTo>
                  <a:pt x="f75" y="f76"/>
                  <a:pt x="f77" y="f78"/>
                  <a:pt x="f79" y="f78"/>
                </a:cubicBezTo>
                <a:cubicBezTo>
                  <a:pt x="f79" y="f78"/>
                  <a:pt x="f79" y="f78"/>
                  <a:pt x="f11" y="f78"/>
                </a:cubicBezTo>
                <a:cubicBezTo>
                  <a:pt x="f11" y="f78"/>
                  <a:pt x="f11" y="f78"/>
                  <a:pt x="f11" y="f9"/>
                </a:cubicBezTo>
                <a:cubicBezTo>
                  <a:pt x="f11" y="f9"/>
                  <a:pt x="f11" y="f9"/>
                  <a:pt x="f61" y="f9"/>
                </a:cubicBezTo>
                <a:cubicBezTo>
                  <a:pt x="f61" y="f9"/>
                  <a:pt x="f61" y="f9"/>
                  <a:pt x="f61" y="f62"/>
                </a:cubicBezTo>
                <a:close/>
                <a:moveTo>
                  <a:pt x="f80" y="f62"/>
                </a:moveTo>
                <a:cubicBezTo>
                  <a:pt x="f80" y="f62"/>
                  <a:pt x="f80" y="f62"/>
                  <a:pt x="f81" y="f62"/>
                </a:cubicBezTo>
                <a:cubicBezTo>
                  <a:pt x="f81" y="f62"/>
                  <a:pt x="f81" y="f62"/>
                  <a:pt x="f81" y="f82"/>
                </a:cubicBezTo>
                <a:cubicBezTo>
                  <a:pt x="f81" y="f83"/>
                  <a:pt x="f84" y="f85"/>
                  <a:pt x="f86" y="f85"/>
                </a:cubicBezTo>
                <a:cubicBezTo>
                  <a:pt x="f87" y="f85"/>
                  <a:pt x="f88" y="f83"/>
                  <a:pt x="f88" y="f82"/>
                </a:cubicBezTo>
                <a:cubicBezTo>
                  <a:pt x="f88" y="f82"/>
                  <a:pt x="f88" y="f82"/>
                  <a:pt x="f88" y="f62"/>
                </a:cubicBezTo>
                <a:cubicBezTo>
                  <a:pt x="f88" y="f62"/>
                  <a:pt x="f88" y="f62"/>
                  <a:pt x="f89" y="f62"/>
                </a:cubicBezTo>
                <a:cubicBezTo>
                  <a:pt x="f89" y="f62"/>
                  <a:pt x="f89" y="f62"/>
                  <a:pt x="f89" y="f82"/>
                </a:cubicBezTo>
                <a:cubicBezTo>
                  <a:pt x="f89" y="f90"/>
                  <a:pt x="f91" y="f92"/>
                  <a:pt x="f86" y="f92"/>
                </a:cubicBezTo>
                <a:cubicBezTo>
                  <a:pt x="f93" y="f92"/>
                  <a:pt x="f80" y="f90"/>
                  <a:pt x="f80" y="f82"/>
                </a:cubicBezTo>
                <a:cubicBezTo>
                  <a:pt x="f80" y="f82"/>
                  <a:pt x="f80" y="f82"/>
                  <a:pt x="f80" y="f62"/>
                </a:cubicBezTo>
                <a:close/>
                <a:moveTo>
                  <a:pt x="f94" y="f62"/>
                </a:moveTo>
                <a:cubicBezTo>
                  <a:pt x="f94" y="f62"/>
                  <a:pt x="f94" y="f62"/>
                  <a:pt x="f23" y="f62"/>
                </a:cubicBezTo>
                <a:cubicBezTo>
                  <a:pt x="f24" y="f62"/>
                  <a:pt x="f95" y="f64"/>
                  <a:pt x="f96" y="f66"/>
                </a:cubicBezTo>
                <a:cubicBezTo>
                  <a:pt x="f97" y="f68"/>
                  <a:pt x="f98" y="f99"/>
                  <a:pt x="f98" y="f27"/>
                </a:cubicBezTo>
                <a:cubicBezTo>
                  <a:pt x="f98" y="f100"/>
                  <a:pt x="f97" y="f101"/>
                  <a:pt x="f96" y="f102"/>
                </a:cubicBezTo>
                <a:cubicBezTo>
                  <a:pt x="f103" y="f104"/>
                  <a:pt x="f105" y="f106"/>
                  <a:pt x="f107" y="f108"/>
                </a:cubicBezTo>
                <a:cubicBezTo>
                  <a:pt x="f107" y="f108"/>
                  <a:pt x="f107" y="f108"/>
                  <a:pt x="f109" y="f9"/>
                </a:cubicBezTo>
                <a:lnTo>
                  <a:pt x="f95" y="f9"/>
                </a:lnTo>
                <a:cubicBezTo>
                  <a:pt x="f95" y="f9"/>
                  <a:pt x="f95" y="f9"/>
                  <a:pt x="f110" y="f111"/>
                </a:cubicBezTo>
                <a:cubicBezTo>
                  <a:pt x="f110" y="f111"/>
                  <a:pt x="f110" y="f111"/>
                  <a:pt x="f21" y="f111"/>
                </a:cubicBezTo>
                <a:cubicBezTo>
                  <a:pt x="f21" y="f111"/>
                  <a:pt x="f21" y="f111"/>
                  <a:pt x="f21" y="f9"/>
                </a:cubicBezTo>
                <a:cubicBezTo>
                  <a:pt x="f21" y="f9"/>
                  <a:pt x="f21" y="f9"/>
                  <a:pt x="f94" y="f9"/>
                </a:cubicBezTo>
                <a:cubicBezTo>
                  <a:pt x="f94" y="f9"/>
                  <a:pt x="f94" y="f9"/>
                  <a:pt x="f94" y="f62"/>
                </a:cubicBezTo>
                <a:close/>
                <a:moveTo>
                  <a:pt x="f112" y="f62"/>
                </a:moveTo>
                <a:cubicBezTo>
                  <a:pt x="f112" y="f62"/>
                  <a:pt x="f112" y="f62"/>
                  <a:pt x="f113" y="f62"/>
                </a:cubicBezTo>
                <a:cubicBezTo>
                  <a:pt x="f113" y="f62"/>
                  <a:pt x="f113" y="f62"/>
                  <a:pt x="f114" y="f115"/>
                </a:cubicBezTo>
                <a:cubicBezTo>
                  <a:pt x="f114" y="f115"/>
                  <a:pt x="f114" y="f115"/>
                  <a:pt x="f114" y="f62"/>
                </a:cubicBezTo>
                <a:cubicBezTo>
                  <a:pt x="f114" y="f62"/>
                  <a:pt x="f114" y="f62"/>
                  <a:pt x="f116" y="f62"/>
                </a:cubicBezTo>
                <a:cubicBezTo>
                  <a:pt x="f116" y="f62"/>
                  <a:pt x="f116" y="f62"/>
                  <a:pt x="f116" y="f9"/>
                </a:cubicBezTo>
                <a:lnTo>
                  <a:pt x="f117" y="f9"/>
                </a:lnTo>
                <a:cubicBezTo>
                  <a:pt x="f117" y="f9"/>
                  <a:pt x="f117" y="f9"/>
                  <a:pt x="f118" y="f119"/>
                </a:cubicBezTo>
                <a:cubicBezTo>
                  <a:pt x="f118" y="f119"/>
                  <a:pt x="f118" y="f119"/>
                  <a:pt x="f118" y="f9"/>
                </a:cubicBezTo>
                <a:cubicBezTo>
                  <a:pt x="f118" y="f9"/>
                  <a:pt x="f118" y="f9"/>
                  <a:pt x="f112" y="f9"/>
                </a:cubicBezTo>
                <a:cubicBezTo>
                  <a:pt x="f112" y="f9"/>
                  <a:pt x="f112" y="f9"/>
                  <a:pt x="f112" y="f62"/>
                </a:cubicBezTo>
                <a:close/>
                <a:moveTo>
                  <a:pt x="f120" y="f62"/>
                </a:moveTo>
                <a:cubicBezTo>
                  <a:pt x="f120" y="f62"/>
                  <a:pt x="f120" y="f62"/>
                  <a:pt x="f121" y="f62"/>
                </a:cubicBezTo>
                <a:lnTo>
                  <a:pt x="f121" y="f9"/>
                </a:lnTo>
                <a:cubicBezTo>
                  <a:pt x="f121" y="f9"/>
                  <a:pt x="f121" y="f9"/>
                  <a:pt x="f120" y="f9"/>
                </a:cubicBezTo>
                <a:cubicBezTo>
                  <a:pt x="f120" y="f9"/>
                  <a:pt x="f120" y="f9"/>
                  <a:pt x="f120" y="f62"/>
                </a:cubicBezTo>
                <a:close/>
                <a:moveTo>
                  <a:pt x="f122" y="f62"/>
                </a:moveTo>
                <a:cubicBezTo>
                  <a:pt x="f122" y="f62"/>
                  <a:pt x="f122" y="f62"/>
                  <a:pt x="f123" y="f62"/>
                </a:cubicBezTo>
                <a:cubicBezTo>
                  <a:pt x="f123" y="f62"/>
                  <a:pt x="f123" y="f62"/>
                  <a:pt x="f123" y="f12"/>
                </a:cubicBezTo>
                <a:lnTo>
                  <a:pt x="f124" y="f12"/>
                </a:lnTo>
                <a:cubicBezTo>
                  <a:pt x="f124" y="f12"/>
                  <a:pt x="f124" y="f12"/>
                  <a:pt x="f124" y="f9"/>
                </a:cubicBezTo>
                <a:cubicBezTo>
                  <a:pt x="f124" y="f9"/>
                  <a:pt x="f124" y="f9"/>
                  <a:pt x="f125" y="f9"/>
                </a:cubicBezTo>
                <a:cubicBezTo>
                  <a:pt x="f125" y="f9"/>
                  <a:pt x="f125" y="f9"/>
                  <a:pt x="f125" y="f12"/>
                </a:cubicBezTo>
                <a:cubicBezTo>
                  <a:pt x="f125" y="f12"/>
                  <a:pt x="f125" y="f12"/>
                  <a:pt x="f122" y="f12"/>
                </a:cubicBezTo>
                <a:cubicBezTo>
                  <a:pt x="f122" y="f12"/>
                  <a:pt x="f122" y="f12"/>
                  <a:pt x="f122" y="f62"/>
                </a:cubicBezTo>
                <a:close/>
                <a:moveTo>
                  <a:pt x="f126" y="f62"/>
                </a:moveTo>
                <a:cubicBezTo>
                  <a:pt x="f126" y="f62"/>
                  <a:pt x="f126" y="f62"/>
                  <a:pt x="f127" y="f62"/>
                </a:cubicBezTo>
                <a:cubicBezTo>
                  <a:pt x="f127" y="f62"/>
                  <a:pt x="f127" y="f62"/>
                  <a:pt x="f127" y="f90"/>
                </a:cubicBezTo>
                <a:cubicBezTo>
                  <a:pt x="f127" y="f90"/>
                  <a:pt x="f127" y="f90"/>
                  <a:pt x="f128" y="f90"/>
                </a:cubicBezTo>
                <a:cubicBezTo>
                  <a:pt x="f128" y="f90"/>
                  <a:pt x="f128" y="f90"/>
                  <a:pt x="f128" y="f9"/>
                </a:cubicBezTo>
                <a:lnTo>
                  <a:pt x="f126" y="f9"/>
                </a:lnTo>
                <a:cubicBezTo>
                  <a:pt x="f126" y="f9"/>
                  <a:pt x="f126" y="f9"/>
                  <a:pt x="f126" y="f62"/>
                </a:cubicBezTo>
                <a:close/>
                <a:moveTo>
                  <a:pt x="f129" y="f62"/>
                </a:moveTo>
                <a:cubicBezTo>
                  <a:pt x="f129" y="f62"/>
                  <a:pt x="f129" y="f62"/>
                  <a:pt x="f130" y="f62"/>
                </a:cubicBezTo>
                <a:cubicBezTo>
                  <a:pt x="f130" y="f62"/>
                  <a:pt x="f130" y="f62"/>
                  <a:pt x="f130" y="f82"/>
                </a:cubicBezTo>
                <a:cubicBezTo>
                  <a:pt x="f130" y="f83"/>
                  <a:pt x="f131" y="f85"/>
                  <a:pt x="f132" y="f85"/>
                </a:cubicBezTo>
                <a:cubicBezTo>
                  <a:pt x="f133" y="f85"/>
                  <a:pt x="f134" y="f83"/>
                  <a:pt x="f134" y="f82"/>
                </a:cubicBezTo>
                <a:cubicBezTo>
                  <a:pt x="f134" y="f82"/>
                  <a:pt x="f134" y="f82"/>
                  <a:pt x="f134" y="f62"/>
                </a:cubicBezTo>
                <a:cubicBezTo>
                  <a:pt x="f134" y="f62"/>
                  <a:pt x="f134" y="f62"/>
                  <a:pt x="f135" y="f62"/>
                </a:cubicBezTo>
                <a:cubicBezTo>
                  <a:pt x="f135" y="f62"/>
                  <a:pt x="f135" y="f62"/>
                  <a:pt x="f135" y="f82"/>
                </a:cubicBezTo>
                <a:cubicBezTo>
                  <a:pt x="f135" y="f90"/>
                  <a:pt x="f136" y="f92"/>
                  <a:pt x="f132" y="f92"/>
                </a:cubicBezTo>
                <a:cubicBezTo>
                  <a:pt x="f137" y="f92"/>
                  <a:pt x="f129" y="f90"/>
                  <a:pt x="f129" y="f82"/>
                </a:cubicBezTo>
                <a:cubicBezTo>
                  <a:pt x="f129" y="f82"/>
                  <a:pt x="f129" y="f82"/>
                  <a:pt x="f129" y="f62"/>
                </a:cubicBezTo>
                <a:close/>
                <a:moveTo>
                  <a:pt x="f138" y="f62"/>
                </a:moveTo>
                <a:cubicBezTo>
                  <a:pt x="f138" y="f62"/>
                  <a:pt x="f138" y="f62"/>
                  <a:pt x="f139" y="f62"/>
                </a:cubicBezTo>
                <a:cubicBezTo>
                  <a:pt x="f139" y="f62"/>
                  <a:pt x="f139" y="f62"/>
                  <a:pt x="f140" y="f115"/>
                </a:cubicBezTo>
                <a:cubicBezTo>
                  <a:pt x="f140" y="f115"/>
                  <a:pt x="f140" y="f115"/>
                  <a:pt x="f140" y="f62"/>
                </a:cubicBezTo>
                <a:cubicBezTo>
                  <a:pt x="f140" y="f62"/>
                  <a:pt x="f140" y="f62"/>
                  <a:pt x="f141" y="f62"/>
                </a:cubicBezTo>
                <a:cubicBezTo>
                  <a:pt x="f141" y="f62"/>
                  <a:pt x="f141" y="f62"/>
                  <a:pt x="f141" y="f9"/>
                </a:cubicBezTo>
                <a:lnTo>
                  <a:pt x="f142" y="f9"/>
                </a:lnTo>
                <a:cubicBezTo>
                  <a:pt x="f142" y="f9"/>
                  <a:pt x="f142" y="f9"/>
                  <a:pt x="f143" y="f119"/>
                </a:cubicBezTo>
                <a:cubicBezTo>
                  <a:pt x="f143" y="f119"/>
                  <a:pt x="f143" y="f119"/>
                  <a:pt x="f143" y="f9"/>
                </a:cubicBezTo>
                <a:cubicBezTo>
                  <a:pt x="f143" y="f9"/>
                  <a:pt x="f143" y="f9"/>
                  <a:pt x="f138" y="f9"/>
                </a:cubicBezTo>
                <a:cubicBezTo>
                  <a:pt x="f138" y="f9"/>
                  <a:pt x="f138" y="f9"/>
                  <a:pt x="f138" y="f62"/>
                </a:cubicBezTo>
                <a:close/>
                <a:moveTo>
                  <a:pt x="f29" y="f144"/>
                </a:moveTo>
                <a:cubicBezTo>
                  <a:pt x="f145" y="f144"/>
                  <a:pt x="f146" y="f147"/>
                  <a:pt x="f148" y="f66"/>
                </a:cubicBezTo>
                <a:cubicBezTo>
                  <a:pt x="f149" y="f119"/>
                  <a:pt x="f150" y="f151"/>
                  <a:pt x="f150" y="f39"/>
                </a:cubicBezTo>
                <a:cubicBezTo>
                  <a:pt x="f150" y="f152"/>
                  <a:pt x="f149" y="f115"/>
                  <a:pt x="f148" y="f153"/>
                </a:cubicBezTo>
                <a:cubicBezTo>
                  <a:pt x="f146" y="f154"/>
                  <a:pt x="f145" y="f155"/>
                  <a:pt x="f29" y="f155"/>
                </a:cubicBezTo>
                <a:cubicBezTo>
                  <a:pt x="f156" y="f155"/>
                  <a:pt x="f157" y="f154"/>
                  <a:pt x="f37" y="f153"/>
                </a:cubicBezTo>
                <a:cubicBezTo>
                  <a:pt x="f158" y="f115"/>
                  <a:pt x="f159" y="f152"/>
                  <a:pt x="f159" y="f39"/>
                </a:cubicBezTo>
                <a:cubicBezTo>
                  <a:pt x="f159" y="f151"/>
                  <a:pt x="f158" y="f119"/>
                  <a:pt x="f37" y="f66"/>
                </a:cubicBezTo>
                <a:cubicBezTo>
                  <a:pt x="f157" y="f147"/>
                  <a:pt x="f156" y="f144"/>
                  <a:pt x="f29" y="f144"/>
                </a:cubicBezTo>
                <a:close/>
                <a:moveTo>
                  <a:pt x="f160" y="f144"/>
                </a:moveTo>
                <a:cubicBezTo>
                  <a:pt x="f161" y="f144"/>
                  <a:pt x="f162" y="f163"/>
                  <a:pt x="f164" y="f165"/>
                </a:cubicBezTo>
                <a:cubicBezTo>
                  <a:pt x="f166" y="f167"/>
                  <a:pt x="f168" y="f169"/>
                  <a:pt x="f170" y="f27"/>
                </a:cubicBezTo>
                <a:cubicBezTo>
                  <a:pt x="f170" y="f27"/>
                  <a:pt x="f170" y="f27"/>
                  <a:pt x="f171" y="f27"/>
                </a:cubicBezTo>
                <a:cubicBezTo>
                  <a:pt x="f172" y="f173"/>
                  <a:pt x="f174" y="f175"/>
                  <a:pt x="f176" y="f177"/>
                </a:cubicBezTo>
                <a:cubicBezTo>
                  <a:pt x="f178" y="f179"/>
                  <a:pt x="f180" y="f30"/>
                  <a:pt x="f160" y="f30"/>
                </a:cubicBezTo>
                <a:cubicBezTo>
                  <a:pt x="f181" y="f30"/>
                  <a:pt x="f182" y="f33"/>
                  <a:pt x="f183" y="f19"/>
                </a:cubicBezTo>
                <a:cubicBezTo>
                  <a:pt x="f184" y="f36"/>
                  <a:pt x="f185" y="f38"/>
                  <a:pt x="f185" y="f39"/>
                </a:cubicBezTo>
                <a:cubicBezTo>
                  <a:pt x="f185" y="f186"/>
                  <a:pt x="f184" y="f187"/>
                  <a:pt x="f188" y="f189"/>
                </a:cubicBezTo>
                <a:cubicBezTo>
                  <a:pt x="f190" y="f191"/>
                  <a:pt x="f181" y="f85"/>
                  <a:pt x="f160" y="f85"/>
                </a:cubicBezTo>
                <a:cubicBezTo>
                  <a:pt x="f192" y="f85"/>
                  <a:pt x="f193" y="f43"/>
                  <a:pt x="f194" y="f195"/>
                </a:cubicBezTo>
                <a:cubicBezTo>
                  <a:pt x="f196" y="f197"/>
                  <a:pt x="f198" y="f199"/>
                  <a:pt x="f198" y="f200"/>
                </a:cubicBezTo>
                <a:cubicBezTo>
                  <a:pt x="f198" y="f200"/>
                  <a:pt x="f198" y="f200"/>
                  <a:pt x="f160" y="f200"/>
                </a:cubicBezTo>
                <a:cubicBezTo>
                  <a:pt x="f160" y="f200"/>
                  <a:pt x="f160" y="f200"/>
                  <a:pt x="f160" y="f201"/>
                </a:cubicBezTo>
                <a:cubicBezTo>
                  <a:pt x="f160" y="f201"/>
                  <a:pt x="f160" y="f201"/>
                  <a:pt x="f202" y="f201"/>
                </a:cubicBezTo>
                <a:cubicBezTo>
                  <a:pt x="f202" y="f201"/>
                  <a:pt x="f202" y="f201"/>
                  <a:pt x="f202" y="f9"/>
                </a:cubicBezTo>
                <a:lnTo>
                  <a:pt x="f203" y="f9"/>
                </a:lnTo>
                <a:cubicBezTo>
                  <a:pt x="f203" y="f9"/>
                  <a:pt x="f203" y="f9"/>
                  <a:pt x="f204" y="f191"/>
                </a:cubicBezTo>
                <a:cubicBezTo>
                  <a:pt x="f174" y="f205"/>
                  <a:pt x="f161" y="f155"/>
                  <a:pt x="f160" y="f155"/>
                </a:cubicBezTo>
                <a:cubicBezTo>
                  <a:pt x="f206" y="f155"/>
                  <a:pt x="f207" y="f208"/>
                  <a:pt x="f185" y="f209"/>
                </a:cubicBezTo>
                <a:cubicBezTo>
                  <a:pt x="f210" y="f211"/>
                  <a:pt x="f212" y="f213"/>
                  <a:pt x="f212" y="f39"/>
                </a:cubicBezTo>
                <a:cubicBezTo>
                  <a:pt x="f212" y="f151"/>
                  <a:pt x="f214" y="f119"/>
                  <a:pt x="f185" y="f66"/>
                </a:cubicBezTo>
                <a:cubicBezTo>
                  <a:pt x="f207" y="f147"/>
                  <a:pt x="f206" y="f144"/>
                  <a:pt x="f160" y="f144"/>
                </a:cubicBezTo>
                <a:close/>
                <a:moveTo>
                  <a:pt x="f215" y="f144"/>
                </a:moveTo>
                <a:cubicBezTo>
                  <a:pt x="f216" y="f144"/>
                  <a:pt x="f217" y="f163"/>
                  <a:pt x="f218" y="f165"/>
                </a:cubicBezTo>
                <a:cubicBezTo>
                  <a:pt x="f219" y="f167"/>
                  <a:pt x="f220" y="f169"/>
                  <a:pt x="f221" y="f27"/>
                </a:cubicBezTo>
                <a:cubicBezTo>
                  <a:pt x="f221" y="f27"/>
                  <a:pt x="f221" y="f27"/>
                  <a:pt x="f222" y="f27"/>
                </a:cubicBezTo>
                <a:cubicBezTo>
                  <a:pt x="f223" y="f173"/>
                  <a:pt x="f224" y="f175"/>
                  <a:pt x="f225" y="f177"/>
                </a:cubicBezTo>
                <a:cubicBezTo>
                  <a:pt x="f226" y="f179"/>
                  <a:pt x="f227" y="f30"/>
                  <a:pt x="f215" y="f30"/>
                </a:cubicBezTo>
                <a:cubicBezTo>
                  <a:pt x="f228" y="f30"/>
                  <a:pt x="f229" y="f33"/>
                  <a:pt x="f230" y="f19"/>
                </a:cubicBezTo>
                <a:cubicBezTo>
                  <a:pt x="f231" y="f36"/>
                  <a:pt x="f232" y="f38"/>
                  <a:pt x="f232" y="f39"/>
                </a:cubicBezTo>
                <a:cubicBezTo>
                  <a:pt x="f232" y="f186"/>
                  <a:pt x="f231" y="f187"/>
                  <a:pt x="f230" y="f189"/>
                </a:cubicBezTo>
                <a:cubicBezTo>
                  <a:pt x="f229" y="f191"/>
                  <a:pt x="f228" y="f85"/>
                  <a:pt x="f215" y="f85"/>
                </a:cubicBezTo>
                <a:cubicBezTo>
                  <a:pt x="f233" y="f85"/>
                  <a:pt x="f234" y="f43"/>
                  <a:pt x="f235" y="f195"/>
                </a:cubicBezTo>
                <a:cubicBezTo>
                  <a:pt x="f236" y="f197"/>
                  <a:pt x="f237" y="f199"/>
                  <a:pt x="f237" y="f200"/>
                </a:cubicBezTo>
                <a:cubicBezTo>
                  <a:pt x="f237" y="f200"/>
                  <a:pt x="f237" y="f200"/>
                  <a:pt x="f215" y="f200"/>
                </a:cubicBezTo>
                <a:cubicBezTo>
                  <a:pt x="f215" y="f200"/>
                  <a:pt x="f215" y="f200"/>
                  <a:pt x="f215" y="f201"/>
                </a:cubicBezTo>
                <a:cubicBezTo>
                  <a:pt x="f215" y="f201"/>
                  <a:pt x="f215" y="f201"/>
                  <a:pt x="f238" y="f201"/>
                </a:cubicBezTo>
                <a:cubicBezTo>
                  <a:pt x="f238" y="f201"/>
                  <a:pt x="f238" y="f201"/>
                  <a:pt x="f238" y="f9"/>
                </a:cubicBezTo>
                <a:lnTo>
                  <a:pt x="f239" y="f9"/>
                </a:lnTo>
                <a:cubicBezTo>
                  <a:pt x="f239" y="f9"/>
                  <a:pt x="f239" y="f9"/>
                  <a:pt x="f240" y="f191"/>
                </a:cubicBezTo>
                <a:cubicBezTo>
                  <a:pt x="f241" y="f205"/>
                  <a:pt x="f216" y="f155"/>
                  <a:pt x="f215" y="f155"/>
                </a:cubicBezTo>
                <a:cubicBezTo>
                  <a:pt x="f242" y="f155"/>
                  <a:pt x="f243" y="f208"/>
                  <a:pt x="f232" y="f209"/>
                </a:cubicBezTo>
                <a:cubicBezTo>
                  <a:pt x="f244" y="f211"/>
                  <a:pt x="f245" y="f213"/>
                  <a:pt x="f245" y="f39"/>
                </a:cubicBezTo>
                <a:cubicBezTo>
                  <a:pt x="f245" y="f151"/>
                  <a:pt x="f246" y="f119"/>
                  <a:pt x="f232" y="f66"/>
                </a:cubicBezTo>
                <a:cubicBezTo>
                  <a:pt x="f243" y="f147"/>
                  <a:pt x="f242" y="f144"/>
                  <a:pt x="f215" y="f144"/>
                </a:cubicBezTo>
                <a:close/>
                <a:moveTo>
                  <a:pt x="f247" y="f144"/>
                </a:moveTo>
                <a:cubicBezTo>
                  <a:pt x="f248" y="f144"/>
                  <a:pt x="f249" y="f250"/>
                  <a:pt x="f251" y="f252"/>
                </a:cubicBezTo>
                <a:cubicBezTo>
                  <a:pt x="f253" y="f254"/>
                  <a:pt x="f255" y="f169"/>
                  <a:pt x="f256" y="f27"/>
                </a:cubicBezTo>
                <a:cubicBezTo>
                  <a:pt x="f256" y="f27"/>
                  <a:pt x="f256" y="f27"/>
                  <a:pt x="f257" y="f27"/>
                </a:cubicBezTo>
                <a:cubicBezTo>
                  <a:pt x="f258" y="f173"/>
                  <a:pt x="f259" y="f260"/>
                  <a:pt x="f261" y="f262"/>
                </a:cubicBezTo>
                <a:cubicBezTo>
                  <a:pt x="f263" y="f179"/>
                  <a:pt x="f264" y="f265"/>
                  <a:pt x="f266" y="f265"/>
                </a:cubicBezTo>
                <a:cubicBezTo>
                  <a:pt x="f267" y="f265"/>
                  <a:pt x="f268" y="f12"/>
                  <a:pt x="f269" y="f262"/>
                </a:cubicBezTo>
                <a:cubicBezTo>
                  <a:pt x="f270" y="f119"/>
                  <a:pt x="f271" y="f272"/>
                  <a:pt x="f271" y="f273"/>
                </a:cubicBezTo>
                <a:cubicBezTo>
                  <a:pt x="f271" y="f274"/>
                  <a:pt x="f275" y="f276"/>
                  <a:pt x="f277" y="f278"/>
                </a:cubicBezTo>
                <a:cubicBezTo>
                  <a:pt x="f279" y="f280"/>
                  <a:pt x="f281" y="f282"/>
                  <a:pt x="f248" y="f101"/>
                </a:cubicBezTo>
                <a:cubicBezTo>
                  <a:pt x="f251" y="f22"/>
                  <a:pt x="f283" y="f284"/>
                  <a:pt x="f283" y="f285"/>
                </a:cubicBezTo>
                <a:cubicBezTo>
                  <a:pt x="f283" y="f286"/>
                  <a:pt x="f287" y="f288"/>
                  <a:pt x="f289" y="f290"/>
                </a:cubicBezTo>
                <a:cubicBezTo>
                  <a:pt x="f258" y="f208"/>
                  <a:pt x="f291" y="f92"/>
                  <a:pt x="f292" y="f92"/>
                </a:cubicBezTo>
                <a:cubicBezTo>
                  <a:pt x="f293" y="f92"/>
                  <a:pt x="f294" y="f208"/>
                  <a:pt x="f295" y="f296"/>
                </a:cubicBezTo>
                <a:cubicBezTo>
                  <a:pt x="f297" y="f298"/>
                  <a:pt x="f299" y="f300"/>
                  <a:pt x="f299" y="f301"/>
                </a:cubicBezTo>
                <a:cubicBezTo>
                  <a:pt x="f299" y="f301"/>
                  <a:pt x="f299" y="f301"/>
                  <a:pt x="f302" y="f301"/>
                </a:cubicBezTo>
                <a:cubicBezTo>
                  <a:pt x="f302" y="f187"/>
                  <a:pt x="f303" y="f304"/>
                  <a:pt x="f305" y="f306"/>
                </a:cubicBezTo>
                <a:cubicBezTo>
                  <a:pt x="f307" y="f90"/>
                  <a:pt x="f308" y="f85"/>
                  <a:pt x="f292" y="f85"/>
                </a:cubicBezTo>
                <a:cubicBezTo>
                  <a:pt x="f309" y="f85"/>
                  <a:pt x="f310" y="f311"/>
                  <a:pt x="f312" y="f313"/>
                </a:cubicBezTo>
                <a:cubicBezTo>
                  <a:pt x="f258" y="f211"/>
                  <a:pt x="f314" y="f300"/>
                  <a:pt x="f314" y="f285"/>
                </a:cubicBezTo>
                <a:cubicBezTo>
                  <a:pt x="f314" y="f315"/>
                  <a:pt x="f249" y="f111"/>
                  <a:pt x="f264" y="f284"/>
                </a:cubicBezTo>
                <a:cubicBezTo>
                  <a:pt x="f264" y="f284"/>
                  <a:pt x="f264" y="f284"/>
                  <a:pt x="f316" y="f317"/>
                </a:cubicBezTo>
                <a:cubicBezTo>
                  <a:pt x="f318" y="f104"/>
                  <a:pt x="f319" y="f17"/>
                  <a:pt x="f319" y="f320"/>
                </a:cubicBezTo>
                <a:cubicBezTo>
                  <a:pt x="f319" y="f99"/>
                  <a:pt x="f321" y="f322"/>
                  <a:pt x="f323" y="f324"/>
                </a:cubicBezTo>
                <a:cubicBezTo>
                  <a:pt x="f325" y="f250"/>
                  <a:pt x="f326" y="f144"/>
                  <a:pt x="f247" y="f144"/>
                </a:cubicBezTo>
                <a:close/>
                <a:moveTo>
                  <a:pt x="f50" y="f144"/>
                </a:moveTo>
                <a:cubicBezTo>
                  <a:pt x="f327" y="f144"/>
                  <a:pt x="f328" y="f147"/>
                  <a:pt x="f60" y="f66"/>
                </a:cubicBezTo>
                <a:cubicBezTo>
                  <a:pt x="f329" y="f119"/>
                  <a:pt x="f330" y="f151"/>
                  <a:pt x="f330" y="f39"/>
                </a:cubicBezTo>
                <a:cubicBezTo>
                  <a:pt x="f330" y="f152"/>
                  <a:pt x="f329" y="f115"/>
                  <a:pt x="f60" y="f153"/>
                </a:cubicBezTo>
                <a:cubicBezTo>
                  <a:pt x="f328" y="f154"/>
                  <a:pt x="f327" y="f155"/>
                  <a:pt x="f50" y="f155"/>
                </a:cubicBezTo>
                <a:cubicBezTo>
                  <a:pt x="f331" y="f155"/>
                  <a:pt x="f332" y="f154"/>
                  <a:pt x="f333" y="f153"/>
                </a:cubicBezTo>
                <a:cubicBezTo>
                  <a:pt x="f334" y="f115"/>
                  <a:pt x="f335" y="f152"/>
                  <a:pt x="f335" y="f39"/>
                </a:cubicBezTo>
                <a:cubicBezTo>
                  <a:pt x="f335" y="f151"/>
                  <a:pt x="f334" y="f119"/>
                  <a:pt x="f333" y="f66"/>
                </a:cubicBezTo>
                <a:cubicBezTo>
                  <a:pt x="f332" y="f147"/>
                  <a:pt x="f331" y="f144"/>
                  <a:pt x="f50" y="f144"/>
                </a:cubicBezTo>
                <a:close/>
                <a:moveTo>
                  <a:pt x="f336" y="f144"/>
                </a:moveTo>
                <a:cubicBezTo>
                  <a:pt x="f337" y="f144"/>
                  <a:pt x="f338" y="f163"/>
                  <a:pt x="f339" y="f340"/>
                </a:cubicBezTo>
                <a:cubicBezTo>
                  <a:pt x="f341" y="f68"/>
                  <a:pt x="f342" y="f343"/>
                  <a:pt x="f344" y="f345"/>
                </a:cubicBezTo>
                <a:cubicBezTo>
                  <a:pt x="f344" y="f345"/>
                  <a:pt x="f344" y="f345"/>
                  <a:pt x="f346" y="f345"/>
                </a:cubicBezTo>
                <a:cubicBezTo>
                  <a:pt x="f347" y="f348"/>
                  <a:pt x="f349" y="f175"/>
                  <a:pt x="f350" y="f351"/>
                </a:cubicBezTo>
                <a:cubicBezTo>
                  <a:pt x="f352" y="f33"/>
                  <a:pt x="f353" y="f30"/>
                  <a:pt x="f336" y="f30"/>
                </a:cubicBezTo>
                <a:cubicBezTo>
                  <a:pt x="f354" y="f30"/>
                  <a:pt x="f355" y="f33"/>
                  <a:pt x="f356" y="f19"/>
                </a:cubicBezTo>
                <a:cubicBezTo>
                  <a:pt x="f357" y="f36"/>
                  <a:pt x="f357" y="f38"/>
                  <a:pt x="f357" y="f39"/>
                </a:cubicBezTo>
                <a:cubicBezTo>
                  <a:pt x="f357" y="f40"/>
                  <a:pt x="f357" y="f41"/>
                  <a:pt x="f356" y="f42"/>
                </a:cubicBezTo>
                <a:cubicBezTo>
                  <a:pt x="f355" y="f43"/>
                  <a:pt x="f354" y="f85"/>
                  <a:pt x="f336" y="f85"/>
                </a:cubicBezTo>
                <a:cubicBezTo>
                  <a:pt x="f353" y="f85"/>
                  <a:pt x="f358" y="f359"/>
                  <a:pt x="f360" y="f42"/>
                </a:cubicBezTo>
                <a:cubicBezTo>
                  <a:pt x="f349" y="f361"/>
                  <a:pt x="f346" y="f362"/>
                  <a:pt x="f346" y="f301"/>
                </a:cubicBezTo>
                <a:cubicBezTo>
                  <a:pt x="f346" y="f301"/>
                  <a:pt x="f346" y="f301"/>
                  <a:pt x="f363" y="f301"/>
                </a:cubicBezTo>
                <a:cubicBezTo>
                  <a:pt x="f344" y="f364"/>
                  <a:pt x="f341" y="f365"/>
                  <a:pt x="f339" y="f153"/>
                </a:cubicBezTo>
                <a:cubicBezTo>
                  <a:pt x="f338" y="f366"/>
                  <a:pt x="f337" y="f155"/>
                  <a:pt x="f336" y="f155"/>
                </a:cubicBezTo>
                <a:cubicBezTo>
                  <a:pt x="f367" y="f155"/>
                  <a:pt x="f368" y="f154"/>
                  <a:pt x="f369" y="f153"/>
                </a:cubicBezTo>
                <a:cubicBezTo>
                  <a:pt x="f370" y="f115"/>
                  <a:pt x="f5" y="f152"/>
                  <a:pt x="f5" y="f39"/>
                </a:cubicBezTo>
                <a:cubicBezTo>
                  <a:pt x="f5" y="f151"/>
                  <a:pt x="f370" y="f119"/>
                  <a:pt x="f369" y="f66"/>
                </a:cubicBezTo>
                <a:cubicBezTo>
                  <a:pt x="f368" y="f147"/>
                  <a:pt x="f367" y="f144"/>
                  <a:pt x="f336" y="f144"/>
                </a:cubicBezTo>
                <a:close/>
                <a:moveTo>
                  <a:pt x="f371" y="f372"/>
                </a:moveTo>
                <a:cubicBezTo>
                  <a:pt x="f371" y="f372"/>
                  <a:pt x="f371" y="f372"/>
                  <a:pt x="f371" y="f373"/>
                </a:cubicBezTo>
                <a:cubicBezTo>
                  <a:pt x="f371" y="f373"/>
                  <a:pt x="f371" y="f373"/>
                  <a:pt x="f374" y="f373"/>
                </a:cubicBezTo>
                <a:cubicBezTo>
                  <a:pt x="f375" y="f373"/>
                  <a:pt x="f376" y="f377"/>
                  <a:pt x="f376" y="f378"/>
                </a:cubicBezTo>
                <a:cubicBezTo>
                  <a:pt x="f376" y="f379"/>
                  <a:pt x="f375" y="f372"/>
                  <a:pt x="f374" y="f372"/>
                </a:cubicBezTo>
                <a:cubicBezTo>
                  <a:pt x="f374" y="f372"/>
                  <a:pt x="f374" y="f372"/>
                  <a:pt x="f371" y="f372"/>
                </a:cubicBezTo>
                <a:close/>
                <a:moveTo>
                  <a:pt x="f380" y="f5"/>
                </a:moveTo>
                <a:lnTo>
                  <a:pt x="f6" y="f5"/>
                </a:lnTo>
                <a:lnTo>
                  <a:pt x="f6" y="f381"/>
                </a:lnTo>
                <a:lnTo>
                  <a:pt x="f382" y="f381"/>
                </a:lnTo>
                <a:lnTo>
                  <a:pt x="f382" y="f383"/>
                </a:lnTo>
                <a:lnTo>
                  <a:pt x="f384" y="f383"/>
                </a:lnTo>
                <a:lnTo>
                  <a:pt x="f384" y="f381"/>
                </a:lnTo>
                <a:lnTo>
                  <a:pt x="f380" y="f381"/>
                </a:lnTo>
                <a:close/>
                <a:moveTo>
                  <a:pt x="f385" y="f5"/>
                </a:moveTo>
                <a:lnTo>
                  <a:pt x="f386" y="f5"/>
                </a:lnTo>
                <a:lnTo>
                  <a:pt x="f387" y="f388"/>
                </a:lnTo>
                <a:lnTo>
                  <a:pt x="f389" y="f390"/>
                </a:lnTo>
                <a:lnTo>
                  <a:pt x="f389" y="f5"/>
                </a:lnTo>
                <a:lnTo>
                  <a:pt x="f391" y="f5"/>
                </a:lnTo>
                <a:lnTo>
                  <a:pt x="f391" y="f383"/>
                </a:lnTo>
                <a:lnTo>
                  <a:pt x="f392" y="f383"/>
                </a:lnTo>
                <a:lnTo>
                  <a:pt x="f393" y="f394"/>
                </a:lnTo>
                <a:lnTo>
                  <a:pt x="f393" y="f383"/>
                </a:lnTo>
                <a:lnTo>
                  <a:pt x="f385" y="f383"/>
                </a:lnTo>
                <a:close/>
                <a:moveTo>
                  <a:pt x="f395" y="f5"/>
                </a:moveTo>
                <a:lnTo>
                  <a:pt x="f396" y="f5"/>
                </a:lnTo>
                <a:lnTo>
                  <a:pt x="f396" y="f397"/>
                </a:lnTo>
                <a:lnTo>
                  <a:pt x="f398" y="f397"/>
                </a:lnTo>
                <a:lnTo>
                  <a:pt x="f398" y="f399"/>
                </a:lnTo>
                <a:lnTo>
                  <a:pt x="f400" y="f399"/>
                </a:lnTo>
                <a:lnTo>
                  <a:pt x="f400" y="f401"/>
                </a:lnTo>
                <a:lnTo>
                  <a:pt x="f398" y="f401"/>
                </a:lnTo>
                <a:lnTo>
                  <a:pt x="f398" y="f402"/>
                </a:lnTo>
                <a:lnTo>
                  <a:pt x="f396" y="f402"/>
                </a:lnTo>
                <a:lnTo>
                  <a:pt x="f396" y="f383"/>
                </a:lnTo>
                <a:lnTo>
                  <a:pt x="f395" y="f383"/>
                </a:lnTo>
                <a:close/>
                <a:moveTo>
                  <a:pt x="f403" y="f5"/>
                </a:moveTo>
                <a:lnTo>
                  <a:pt x="f404" y="f5"/>
                </a:lnTo>
                <a:lnTo>
                  <a:pt x="f405" y="f406"/>
                </a:lnTo>
                <a:lnTo>
                  <a:pt x="f407" y="f5"/>
                </a:lnTo>
                <a:lnTo>
                  <a:pt x="f408" y="f5"/>
                </a:lnTo>
                <a:lnTo>
                  <a:pt x="f408" y="f383"/>
                </a:lnTo>
                <a:lnTo>
                  <a:pt x="f409" y="f383"/>
                </a:lnTo>
                <a:lnTo>
                  <a:pt x="f409" y="f410"/>
                </a:lnTo>
                <a:lnTo>
                  <a:pt x="f411" y="f412"/>
                </a:lnTo>
                <a:lnTo>
                  <a:pt x="f413" y="f412"/>
                </a:lnTo>
                <a:lnTo>
                  <a:pt x="f414" y="f415"/>
                </a:lnTo>
                <a:lnTo>
                  <a:pt x="f414" y="f383"/>
                </a:lnTo>
                <a:lnTo>
                  <a:pt x="f403" y="f383"/>
                </a:lnTo>
                <a:close/>
                <a:moveTo>
                  <a:pt x="f416" y="f5"/>
                </a:moveTo>
                <a:lnTo>
                  <a:pt x="f417" y="f5"/>
                </a:lnTo>
                <a:lnTo>
                  <a:pt x="f417" y="f397"/>
                </a:lnTo>
                <a:lnTo>
                  <a:pt x="f418" y="f397"/>
                </a:lnTo>
                <a:lnTo>
                  <a:pt x="f418" y="f399"/>
                </a:lnTo>
                <a:lnTo>
                  <a:pt x="f419" y="f399"/>
                </a:lnTo>
                <a:lnTo>
                  <a:pt x="f419" y="f401"/>
                </a:lnTo>
                <a:lnTo>
                  <a:pt x="f418" y="f401"/>
                </a:lnTo>
                <a:lnTo>
                  <a:pt x="f418" y="f402"/>
                </a:lnTo>
                <a:lnTo>
                  <a:pt x="f417" y="f402"/>
                </a:lnTo>
                <a:lnTo>
                  <a:pt x="f417" y="f383"/>
                </a:lnTo>
                <a:lnTo>
                  <a:pt x="f416" y="f383"/>
                </a:lnTo>
                <a:close/>
                <a:moveTo>
                  <a:pt x="f420" y="f5"/>
                </a:moveTo>
                <a:lnTo>
                  <a:pt x="f421" y="f5"/>
                </a:lnTo>
                <a:lnTo>
                  <a:pt x="f421" y="f422"/>
                </a:lnTo>
                <a:lnTo>
                  <a:pt x="f423" y="f422"/>
                </a:lnTo>
                <a:lnTo>
                  <a:pt x="f423" y="f383"/>
                </a:lnTo>
                <a:lnTo>
                  <a:pt x="f420" y="f383"/>
                </a:lnTo>
                <a:close/>
                <a:moveTo>
                  <a:pt x="f424" y="f5"/>
                </a:moveTo>
                <a:cubicBezTo>
                  <a:pt x="f424" y="f5"/>
                  <a:pt x="f424" y="f5"/>
                  <a:pt x="f425" y="f5"/>
                </a:cubicBezTo>
                <a:cubicBezTo>
                  <a:pt x="f426" y="f5"/>
                  <a:pt x="f427" y="f428"/>
                  <a:pt x="f427" y="f429"/>
                </a:cubicBezTo>
                <a:cubicBezTo>
                  <a:pt x="f427" y="f430"/>
                  <a:pt x="f426" y="f431"/>
                  <a:pt x="f425" y="f431"/>
                </a:cubicBezTo>
                <a:cubicBezTo>
                  <a:pt x="f425" y="f431"/>
                  <a:pt x="f425" y="f431"/>
                  <a:pt x="f371" y="f431"/>
                </a:cubicBezTo>
                <a:cubicBezTo>
                  <a:pt x="f371" y="f431"/>
                  <a:pt x="f371" y="f431"/>
                  <a:pt x="f371" y="f383"/>
                </a:cubicBezTo>
                <a:cubicBezTo>
                  <a:pt x="f371" y="f383"/>
                  <a:pt x="f371" y="f383"/>
                  <a:pt x="f424" y="f383"/>
                </a:cubicBezTo>
                <a:cubicBezTo>
                  <a:pt x="f424" y="f383"/>
                  <a:pt x="f424" y="f383"/>
                  <a:pt x="f424" y="f5"/>
                </a:cubicBezTo>
                <a:close/>
                <a:moveTo>
                  <a:pt x="f432" y="f5"/>
                </a:moveTo>
                <a:lnTo>
                  <a:pt x="f433" y="f5"/>
                </a:lnTo>
                <a:lnTo>
                  <a:pt x="f434" y="f406"/>
                </a:lnTo>
                <a:lnTo>
                  <a:pt x="f435" y="f5"/>
                </a:lnTo>
                <a:lnTo>
                  <a:pt x="f436" y="f5"/>
                </a:lnTo>
                <a:lnTo>
                  <a:pt x="f436" y="f383"/>
                </a:lnTo>
                <a:lnTo>
                  <a:pt x="f437" y="f383"/>
                </a:lnTo>
                <a:lnTo>
                  <a:pt x="f437" y="f410"/>
                </a:lnTo>
                <a:lnTo>
                  <a:pt x="f438" y="f412"/>
                </a:lnTo>
                <a:lnTo>
                  <a:pt x="f439" y="f412"/>
                </a:lnTo>
                <a:lnTo>
                  <a:pt x="f440" y="f415"/>
                </a:lnTo>
                <a:lnTo>
                  <a:pt x="f440" y="f383"/>
                </a:lnTo>
                <a:lnTo>
                  <a:pt x="f432" y="f383"/>
                </a:lnTo>
                <a:close/>
                <a:moveTo>
                  <a:pt x="f441" y="f5"/>
                </a:moveTo>
                <a:lnTo>
                  <a:pt x="f442" y="f5"/>
                </a:lnTo>
                <a:lnTo>
                  <a:pt x="f442" y="f383"/>
                </a:lnTo>
                <a:lnTo>
                  <a:pt x="f441" y="f383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1F2023"/>
                </a:solidFill>
                <a:uFillTx/>
                <a:latin typeface="Arial"/>
              </a:rPr>
              <a:t> </a:t>
            </a:r>
          </a:p>
        </p:txBody>
      </p:sp>
      <p:sp>
        <p:nvSpPr>
          <p:cNvPr id="9" name="Date_GeneralDate" hidden="1">
            <a:extLst>
              <a:ext uri="{FF2B5EF4-FFF2-40B4-BE49-F238E27FC236}">
                <a16:creationId xmlns:a16="http://schemas.microsoft.com/office/drawing/2014/main" id="{9E7A406D-EA62-45DA-9CDC-3D650F93DBC1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11E6B1A9-CEFD-4BB5-B62A-B7A5F9002F6D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10" name="FLD_PresentationTitle" hidden="1">
            <a:extLst>
              <a:ext uri="{FF2B5EF4-FFF2-40B4-BE49-F238E27FC236}">
                <a16:creationId xmlns:a16="http://schemas.microsoft.com/office/drawing/2014/main" id="{4315B2FC-BAFC-4106-8FD9-2811193FC65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5184003"/>
            <a:ext cx="0" cy="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GB"/>
              <a:t>Footer</a:t>
            </a:r>
          </a:p>
        </p:txBody>
      </p:sp>
      <p:sp>
        <p:nvSpPr>
          <p:cNvPr id="11" name="Slide Number Placeholder 5" hidden="1">
            <a:extLst>
              <a:ext uri="{FF2B5EF4-FFF2-40B4-BE49-F238E27FC236}">
                <a16:creationId xmlns:a16="http://schemas.microsoft.com/office/drawing/2014/main" id="{B946FE96-57A2-407C-8E2C-A4104B9BA63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5184003"/>
            <a:ext cx="0" cy="0"/>
          </a:xfrm>
        </p:spPr>
        <p:txBody>
          <a:bodyPr anchor="t"/>
          <a:lstStyle>
            <a:lvl1pPr>
              <a:defRPr sz="108">
                <a:solidFill>
                  <a:srgbClr val="000000"/>
                </a:solidFill>
              </a:defRPr>
            </a:lvl1pPr>
          </a:lstStyle>
          <a:p>
            <a:pPr lvl="0"/>
            <a:fld id="{7DC56FC1-A4CA-4032-BF34-327E6BF8C65C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9319644"/>
      </p:ext>
    </p:extLst>
  </p:cSld>
  <p:clrMapOvr>
    <a:masterClrMapping/>
  </p:clrMapOvr>
  <p:transition spd="med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ogo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>
            <a:extLst>
              <a:ext uri="{FF2B5EF4-FFF2-40B4-BE49-F238E27FC236}">
                <a16:creationId xmlns:a16="http://schemas.microsoft.com/office/drawing/2014/main" id="{061B3996-81A7-45F5-89B3-A2B5B83C73B5}"/>
              </a:ext>
            </a:extLst>
          </p:cNvPr>
          <p:cNvSpPr/>
          <p:nvPr/>
        </p:nvSpPr>
        <p:spPr>
          <a:xfrm>
            <a:off x="3186568" y="0"/>
            <a:ext cx="5957428" cy="5143500"/>
          </a:xfrm>
          <a:custGeom>
            <a:avLst/>
            <a:gdLst>
              <a:gd name="f0" fmla="val w"/>
              <a:gd name="f1" fmla="val h"/>
              <a:gd name="f2" fmla="val 0"/>
              <a:gd name="f3" fmla="val 20104100"/>
              <a:gd name="f4" fmla="val 11308715"/>
              <a:gd name="f5" fmla="val 11308556"/>
              <a:gd name="f6" fmla="val 20104099"/>
              <a:gd name="f7" fmla="*/ f0 1 20104100"/>
              <a:gd name="f8" fmla="*/ f1 1 11308715"/>
              <a:gd name="f9" fmla="+- f4 0 f2"/>
              <a:gd name="f10" fmla="+- f3 0 f2"/>
              <a:gd name="f11" fmla="*/ f10 1 20104100"/>
              <a:gd name="f12" fmla="*/ f9 1 11308715"/>
              <a:gd name="f13" fmla="*/ f2 1 f11"/>
              <a:gd name="f14" fmla="*/ f3 1 f11"/>
              <a:gd name="f15" fmla="*/ f2 1 f12"/>
              <a:gd name="f16" fmla="*/ f4 1 f12"/>
              <a:gd name="f17" fmla="*/ f13 f7 1"/>
              <a:gd name="f18" fmla="*/ f14 f7 1"/>
              <a:gd name="f19" fmla="*/ f16 f8 1"/>
              <a:gd name="f20" fmla="*/ f15 f8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</a:cxnLst>
            <a:rect l="f17" t="f20" r="f18" b="f19"/>
            <a:pathLst>
              <a:path w="20104100" h="11308715">
                <a:moveTo>
                  <a:pt x="f2" y="f5"/>
                </a:moveTo>
                <a:lnTo>
                  <a:pt x="f6" y="f5"/>
                </a:lnTo>
                <a:lnTo>
                  <a:pt x="f6" y="f2"/>
                </a:lnTo>
                <a:lnTo>
                  <a:pt x="f2" y="f2"/>
                </a:lnTo>
                <a:lnTo>
                  <a:pt x="f2" y="f5"/>
                </a:lnTo>
                <a:close/>
              </a:path>
            </a:pathLst>
          </a:custGeom>
          <a:solidFill>
            <a:srgbClr val="8AA299"/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3" name="Rectangle 16">
            <a:extLst>
              <a:ext uri="{FF2B5EF4-FFF2-40B4-BE49-F238E27FC236}">
                <a16:creationId xmlns:a16="http://schemas.microsoft.com/office/drawing/2014/main" id="{2D19DE24-8A20-45E1-A294-7C4893A5FC7B}"/>
              </a:ext>
            </a:extLst>
          </p:cNvPr>
          <p:cNvSpPr/>
          <p:nvPr/>
        </p:nvSpPr>
        <p:spPr>
          <a:xfrm>
            <a:off x="0" y="0"/>
            <a:ext cx="7896836" cy="4126705"/>
          </a:xfrm>
          <a:prstGeom prst="rect">
            <a:avLst/>
          </a:prstGeom>
          <a:solidFill>
            <a:srgbClr val="F8F5E7"/>
          </a:solidFill>
          <a:ln cap="flat">
            <a:noFill/>
            <a:prstDash val="solid"/>
          </a:ln>
        </p:spPr>
        <p:txBody>
          <a:bodyPr vert="horz" wrap="square" lIns="26999" tIns="26999" rIns="26999" bIns="26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0E65451-4E76-4775-85D5-64EDE272256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404815"/>
            <a:ext cx="5392438" cy="2395547"/>
          </a:xfrm>
        </p:spPr>
        <p:txBody>
          <a:bodyPr/>
          <a:lstStyle>
            <a:lvl1pPr>
              <a:lnSpc>
                <a:spcPct val="83000"/>
              </a:lnSpc>
              <a:defRPr lang="en-GB" sz="4875" cap="all">
                <a:solidFill>
                  <a:srgbClr val="30373B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2B0772C-CCF5-4855-B1DD-E99730B545B8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251311" y="3008338"/>
            <a:ext cx="2599590" cy="913862"/>
          </a:xfrm>
        </p:spPr>
        <p:txBody>
          <a:bodyPr/>
          <a:lstStyle>
            <a:lvl1pPr>
              <a:defRPr lang="en-GB" sz="731"/>
            </a:lvl1pPr>
          </a:lstStyle>
          <a:p>
            <a:pPr lvl="0"/>
            <a:r>
              <a:rPr lang="en-GB"/>
              <a:t>Click to edit Master subtitle style</a:t>
            </a:r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89930CC-E309-48D2-88F7-A7DAEDD4011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3760756"/>
            <a:ext cx="2599590" cy="157974"/>
          </a:xfrm>
        </p:spPr>
        <p:txBody>
          <a:bodyPr rIns="0" anchor="b"/>
          <a:lstStyle>
            <a:lvl1pPr>
              <a:defRPr lang="en-GB" sz="675"/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7" name="Picture Placeholder 13">
            <a:extLst>
              <a:ext uri="{FF2B5EF4-FFF2-40B4-BE49-F238E27FC236}">
                <a16:creationId xmlns:a16="http://schemas.microsoft.com/office/drawing/2014/main" id="{B07B3C49-F8DB-481A-BFBC-3812858D7230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3186568" y="3008338"/>
            <a:ext cx="5957428" cy="2135162"/>
          </a:xfrm>
          <a:solidFill>
            <a:srgbClr val="F3F2F0"/>
          </a:solidFill>
        </p:spPr>
        <p:txBody>
          <a:bodyPr rIns="0" anchor="ctr" anchorCtr="1"/>
          <a:lstStyle>
            <a:lvl1pPr algn="ctr">
              <a:buNone/>
              <a:defRPr lang="en-GB"/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2A355084-D6DE-45EE-B67E-1F3B4C4BD07E}"/>
              </a:ext>
            </a:extLst>
          </p:cNvPr>
          <p:cNvSpPr/>
          <p:nvPr/>
        </p:nvSpPr>
        <p:spPr>
          <a:xfrm rot="5400013">
            <a:off x="8288464" y="566493"/>
            <a:ext cx="944168" cy="265744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9905999"/>
              <a:gd name="f7" fmla="val 2265361"/>
              <a:gd name="f8" fmla="val 6778122"/>
              <a:gd name="f9" fmla="val 2222531"/>
              <a:gd name="f10" fmla="val 7135812"/>
              <a:gd name="f11" fmla="val 6449676"/>
              <a:gd name="f12" fmla="val 1769427"/>
              <a:gd name="f13" fmla="val 1965546"/>
              <a:gd name="f14" fmla="val 6575655"/>
              <a:gd name="f15" fmla="val 6643144"/>
              <a:gd name="f16" fmla="val 6679138"/>
              <a:gd name="f17" fmla="val 1933987"/>
              <a:gd name="f18" fmla="val 1864105"/>
              <a:gd name="f19" fmla="val 1800986"/>
              <a:gd name="f20" fmla="val 6638645"/>
              <a:gd name="f21" fmla="val 5021164"/>
              <a:gd name="f22" fmla="val 1949767"/>
              <a:gd name="f23" fmla="val 5158391"/>
              <a:gd name="f24" fmla="val 5219131"/>
              <a:gd name="f25" fmla="val 5261874"/>
              <a:gd name="f26" fmla="val 1924970"/>
              <a:gd name="f27" fmla="val 1859597"/>
              <a:gd name="f28" fmla="val 1794223"/>
              <a:gd name="f29" fmla="val 5597068"/>
              <a:gd name="f30" fmla="val 1762664"/>
              <a:gd name="f31" fmla="val 5563324"/>
              <a:gd name="f32" fmla="val 5529579"/>
              <a:gd name="f33" fmla="val 1776189"/>
              <a:gd name="f34" fmla="val 5504834"/>
              <a:gd name="f35" fmla="val 5462091"/>
              <a:gd name="f36" fmla="val 1843817"/>
              <a:gd name="f37" fmla="val 5459841"/>
              <a:gd name="f38" fmla="val 1913699"/>
              <a:gd name="f39" fmla="val 1967800"/>
              <a:gd name="f40" fmla="val 2019648"/>
              <a:gd name="f41" fmla="val 2089530"/>
              <a:gd name="f42" fmla="val 2132361"/>
              <a:gd name="f43" fmla="val 2159412"/>
              <a:gd name="f44" fmla="val 2170683"/>
              <a:gd name="f45" fmla="val 5633062"/>
              <a:gd name="f46" fmla="val 5666807"/>
              <a:gd name="f47" fmla="val 5691552"/>
              <a:gd name="f48" fmla="val 5732046"/>
              <a:gd name="f49" fmla="val 5734295"/>
              <a:gd name="f50" fmla="val 654642"/>
              <a:gd name="f51" fmla="val 618647"/>
              <a:gd name="f52" fmla="val 584903"/>
              <a:gd name="f53" fmla="val 560157"/>
              <a:gd name="f54" fmla="val 519664"/>
              <a:gd name="f55" fmla="val 517414"/>
              <a:gd name="f56" fmla="val 688386"/>
              <a:gd name="f57" fmla="val 722130"/>
              <a:gd name="f58" fmla="val 746876"/>
              <a:gd name="f59" fmla="val 789619"/>
              <a:gd name="f60" fmla="val 791868"/>
              <a:gd name="f61" fmla="val 6386687"/>
              <a:gd name="f62" fmla="val 1710816"/>
              <a:gd name="f63" fmla="val 6636395"/>
              <a:gd name="f64" fmla="val 1726596"/>
              <a:gd name="f65" fmla="val 6706134"/>
              <a:gd name="f66" fmla="val 1755901"/>
              <a:gd name="f67" fmla="val 6730880"/>
              <a:gd name="f68" fmla="val 1782952"/>
              <a:gd name="f69" fmla="val 6744377"/>
              <a:gd name="f70" fmla="val 1821274"/>
              <a:gd name="f71" fmla="val 1915953"/>
              <a:gd name="f72" fmla="val 1954275"/>
              <a:gd name="f73" fmla="val 6701634"/>
              <a:gd name="f74" fmla="val 1981326"/>
              <a:gd name="f75" fmla="val 6674639"/>
              <a:gd name="f76" fmla="val 2008377"/>
              <a:gd name="f77" fmla="val 6634146"/>
              <a:gd name="f78" fmla="val 2024157"/>
              <a:gd name="f79" fmla="val 6577905"/>
              <a:gd name="f80" fmla="val 5889520"/>
              <a:gd name="f81" fmla="val 5954759"/>
              <a:gd name="f82" fmla="val 2035428"/>
              <a:gd name="f83" fmla="val 2118835"/>
              <a:gd name="f84" fmla="val 5988503"/>
              <a:gd name="f85" fmla="val 2172937"/>
              <a:gd name="f86" fmla="val 6076239"/>
              <a:gd name="f87" fmla="val 6166224"/>
              <a:gd name="f88" fmla="val 6199968"/>
              <a:gd name="f89" fmla="val 6262957"/>
              <a:gd name="f90" fmla="val 2163920"/>
              <a:gd name="f91" fmla="val 6190969"/>
              <a:gd name="f92" fmla="val 2231547"/>
              <a:gd name="f93" fmla="val 5961508"/>
              <a:gd name="f94" fmla="val 4958174"/>
              <a:gd name="f95" fmla="val 5259624"/>
              <a:gd name="f96" fmla="val 5288869"/>
              <a:gd name="f97" fmla="val 5313615"/>
              <a:gd name="f98" fmla="val 5329363"/>
              <a:gd name="f99" fmla="val 1814512"/>
              <a:gd name="f100" fmla="val 1904682"/>
              <a:gd name="f101" fmla="val 1936241"/>
              <a:gd name="f102" fmla="val 1961038"/>
              <a:gd name="f103" fmla="val 5275372"/>
              <a:gd name="f104" fmla="val 1976817"/>
              <a:gd name="f105" fmla="val 5252875"/>
              <a:gd name="f106" fmla="val 1990343"/>
              <a:gd name="f107" fmla="val 5228130"/>
              <a:gd name="f108" fmla="val 1997106"/>
              <a:gd name="f109" fmla="val 5331612"/>
              <a:gd name="f110" fmla="val 5162890"/>
              <a:gd name="f111" fmla="val 2010631"/>
              <a:gd name="f112" fmla="val 3309199"/>
              <a:gd name="f113" fmla="val 3381187"/>
              <a:gd name="f114" fmla="val 3633145"/>
              <a:gd name="f115" fmla="val 2123344"/>
              <a:gd name="f116" fmla="val 3693885"/>
              <a:gd name="f117" fmla="val 3621897"/>
              <a:gd name="f118" fmla="val 3372188"/>
              <a:gd name="f119" fmla="val 1810003"/>
              <a:gd name="f120" fmla="val 3106732"/>
              <a:gd name="f121" fmla="val 3171971"/>
              <a:gd name="f122" fmla="val 2663557"/>
              <a:gd name="f123" fmla="val 3032495"/>
              <a:gd name="f124" fmla="val 2879521"/>
              <a:gd name="f125" fmla="val 2814282"/>
              <a:gd name="f126" fmla="val 2416099"/>
              <a:gd name="f127" fmla="val 2481338"/>
              <a:gd name="f128" fmla="val 2726547"/>
              <a:gd name="f129" fmla="val 1918931"/>
              <a:gd name="f130" fmla="val 1984171"/>
              <a:gd name="f131" fmla="val 2017916"/>
              <a:gd name="f132" fmla="val 2105651"/>
              <a:gd name="f133" fmla="val 2195636"/>
              <a:gd name="f134" fmla="val 2229380"/>
              <a:gd name="f135" fmla="val 2292369"/>
              <a:gd name="f136" fmla="val 2220382"/>
              <a:gd name="f137" fmla="val 1990920"/>
              <a:gd name="f138" fmla="val 960591"/>
              <a:gd name="f139" fmla="val 1032578"/>
              <a:gd name="f140" fmla="val 1284537"/>
              <a:gd name="f141" fmla="val 1345276"/>
              <a:gd name="f142" fmla="val 1273289"/>
              <a:gd name="f143" fmla="val 1023580"/>
              <a:gd name="f144" fmla="val 1701799"/>
              <a:gd name="f145" fmla="val 5648810"/>
              <a:gd name="f146" fmla="val 5698301"/>
              <a:gd name="f147" fmla="val 1719833"/>
              <a:gd name="f148" fmla="val 5736545"/>
              <a:gd name="f149" fmla="val 5790536"/>
              <a:gd name="f150" fmla="val 5801784"/>
              <a:gd name="f151" fmla="val 1884393"/>
              <a:gd name="f152" fmla="val 2048953"/>
              <a:gd name="f153" fmla="val 2177446"/>
              <a:gd name="f154" fmla="val 2213514"/>
              <a:gd name="f155" fmla="val 2233802"/>
              <a:gd name="f156" fmla="val 5547576"/>
              <a:gd name="f157" fmla="val 5495835"/>
              <a:gd name="f158" fmla="val 5403600"/>
              <a:gd name="f159" fmla="val 5394602"/>
              <a:gd name="f160" fmla="val 4645477"/>
              <a:gd name="f161" fmla="val 4701717"/>
              <a:gd name="f162" fmla="val 4755708"/>
              <a:gd name="f163" fmla="val 1722087"/>
              <a:gd name="f164" fmla="val 4791702"/>
              <a:gd name="f165" fmla="val 1758155"/>
              <a:gd name="f166" fmla="val 4816448"/>
              <a:gd name="f167" fmla="val 1785206"/>
              <a:gd name="f168" fmla="val 4832195"/>
              <a:gd name="f169" fmla="val 1816766"/>
              <a:gd name="f170" fmla="val 4834445"/>
              <a:gd name="f171" fmla="val 4766956"/>
              <a:gd name="f172" fmla="val 4764707"/>
              <a:gd name="f173" fmla="val 1834800"/>
              <a:gd name="f174" fmla="val 4757958"/>
              <a:gd name="f175" fmla="val 1819020"/>
              <a:gd name="f176" fmla="val 4744460"/>
              <a:gd name="f177" fmla="val 1803240"/>
              <a:gd name="f178" fmla="val 4721964"/>
              <a:gd name="f179" fmla="val 1773935"/>
              <a:gd name="f180" fmla="val 4685970"/>
              <a:gd name="f181" fmla="val 4609482"/>
              <a:gd name="f182" fmla="val 4575738"/>
              <a:gd name="f183" fmla="val 4550992"/>
              <a:gd name="f184" fmla="val 4510499"/>
              <a:gd name="f185" fmla="val 4506000"/>
              <a:gd name="f186" fmla="val 2017394"/>
              <a:gd name="f187" fmla="val 2091784"/>
              <a:gd name="f188" fmla="val 4553242"/>
              <a:gd name="f189" fmla="val 2134615"/>
              <a:gd name="f190" fmla="val 4577988"/>
              <a:gd name="f191" fmla="val 2161666"/>
              <a:gd name="f192" fmla="val 4681471"/>
              <a:gd name="f193" fmla="val 4715215"/>
              <a:gd name="f194" fmla="val 4737711"/>
              <a:gd name="f195" fmla="val 2136869"/>
              <a:gd name="f196" fmla="val 4771456"/>
              <a:gd name="f197" fmla="val 2103055"/>
              <a:gd name="f198" fmla="val 4780454"/>
              <a:gd name="f199" fmla="val 2053462"/>
              <a:gd name="f200" fmla="val 2006123"/>
              <a:gd name="f201" fmla="val 1947512"/>
              <a:gd name="f202" fmla="val 4838944"/>
              <a:gd name="f203" fmla="val 4793952"/>
              <a:gd name="f204" fmla="val 4782704"/>
              <a:gd name="f205" fmla="val 2204497"/>
              <a:gd name="f206" fmla="val 4593735"/>
              <a:gd name="f207" fmla="val 4544243"/>
              <a:gd name="f208" fmla="val 2215768"/>
              <a:gd name="f209" fmla="val 2179700"/>
              <a:gd name="f210" fmla="val 4454258"/>
              <a:gd name="f211" fmla="val 2130106"/>
              <a:gd name="f212" fmla="val 4440761"/>
              <a:gd name="f213" fmla="val 2057970"/>
              <a:gd name="f214" fmla="val 4452009"/>
              <a:gd name="f215" fmla="val 4002083"/>
              <a:gd name="f216" fmla="val 4060574"/>
              <a:gd name="f217" fmla="val 4112315"/>
              <a:gd name="f218" fmla="val 4148309"/>
              <a:gd name="f219" fmla="val 4173055"/>
              <a:gd name="f220" fmla="val 4191052"/>
              <a:gd name="f221" fmla="val 4193302"/>
              <a:gd name="f222" fmla="val 4125813"/>
              <a:gd name="f223" fmla="val 4123563"/>
              <a:gd name="f224" fmla="val 4114565"/>
              <a:gd name="f225" fmla="val 4103317"/>
              <a:gd name="f226" fmla="val 4078571"/>
              <a:gd name="f227" fmla="val 4044826"/>
              <a:gd name="f228" fmla="val 3968339"/>
              <a:gd name="f229" fmla="val 3934595"/>
              <a:gd name="f230" fmla="val 3909849"/>
              <a:gd name="f231" fmla="val 3867106"/>
              <a:gd name="f232" fmla="val 3864856"/>
              <a:gd name="f233" fmla="val 4038077"/>
              <a:gd name="f234" fmla="val 4071822"/>
              <a:gd name="f235" fmla="val 4094318"/>
              <a:gd name="f236" fmla="val 4130312"/>
              <a:gd name="f237" fmla="val 4139311"/>
              <a:gd name="f238" fmla="val 4197801"/>
              <a:gd name="f239" fmla="val 4152808"/>
              <a:gd name="f240" fmla="val 4141560"/>
              <a:gd name="f241" fmla="val 4116814"/>
              <a:gd name="f242" fmla="val 3950342"/>
              <a:gd name="f243" fmla="val 3900850"/>
              <a:gd name="f244" fmla="val 3813115"/>
              <a:gd name="f245" fmla="val 3797367"/>
              <a:gd name="f246" fmla="val 3808616"/>
              <a:gd name="f247" fmla="val 1642228"/>
              <a:gd name="f248" fmla="val 1691719"/>
              <a:gd name="f249" fmla="val 1741211"/>
              <a:gd name="f250" fmla="val 1717579"/>
              <a:gd name="f251" fmla="val 1774955"/>
              <a:gd name="f252" fmla="val 1749138"/>
              <a:gd name="f253" fmla="val 1806450"/>
              <a:gd name="f254" fmla="val 1780698"/>
              <a:gd name="f255" fmla="val 1822198"/>
              <a:gd name="f256" fmla="val 1824447"/>
              <a:gd name="f257" fmla="val 1756958"/>
              <a:gd name="f258" fmla="val 1754708"/>
              <a:gd name="f259" fmla="val 1745710"/>
              <a:gd name="f260" fmla="val 1812257"/>
              <a:gd name="f261" fmla="val 1732212"/>
              <a:gd name="f262" fmla="val 1796478"/>
              <a:gd name="f263" fmla="val 1711966"/>
              <a:gd name="f264" fmla="val 1680471"/>
              <a:gd name="f265" fmla="val 1760410"/>
              <a:gd name="f266" fmla="val 1639978"/>
              <a:gd name="f267" fmla="val 1603983"/>
              <a:gd name="f268" fmla="val 1572489"/>
              <a:gd name="f269" fmla="val 1549993"/>
              <a:gd name="f270" fmla="val 1536494"/>
              <a:gd name="f271" fmla="val 1529746"/>
              <a:gd name="f272" fmla="val 1828037"/>
              <a:gd name="f273" fmla="val 1850580"/>
              <a:gd name="f274" fmla="val 1897919"/>
              <a:gd name="f275" fmla="val 1567989"/>
              <a:gd name="f276" fmla="val 1918207"/>
              <a:gd name="f277" fmla="val 1606234"/>
              <a:gd name="f278" fmla="val 1922716"/>
              <a:gd name="f279" fmla="val 1635478"/>
              <a:gd name="f280" fmla="val 1927224"/>
              <a:gd name="f281" fmla="val 1662474"/>
              <a:gd name="f282" fmla="val 1931733"/>
              <a:gd name="f283" fmla="val 1833445"/>
              <a:gd name="f284" fmla="val 2001614"/>
              <a:gd name="f285" fmla="val 2082767"/>
              <a:gd name="f286" fmla="val 2125598"/>
              <a:gd name="f287" fmla="val 1815448"/>
              <a:gd name="f288" fmla="val 2157157"/>
              <a:gd name="f289" fmla="val 1790703"/>
              <a:gd name="f290" fmla="val 2181954"/>
              <a:gd name="f291" fmla="val 1698468"/>
              <a:gd name="f292" fmla="val 1644477"/>
              <a:gd name="f293" fmla="val 1581488"/>
              <a:gd name="f294" fmla="val 1531996"/>
              <a:gd name="f295" fmla="val 1498251"/>
              <a:gd name="f296" fmla="val 2184208"/>
              <a:gd name="f297" fmla="val 1466757"/>
              <a:gd name="f298" fmla="val 2152649"/>
              <a:gd name="f299" fmla="val 1444260"/>
              <a:gd name="f300" fmla="val 2109818"/>
              <a:gd name="f301" fmla="val 2060225"/>
              <a:gd name="f302" fmla="val 1509499"/>
              <a:gd name="f303" fmla="val 1525247"/>
              <a:gd name="f304" fmla="val 2121089"/>
              <a:gd name="f305" fmla="val 1545494"/>
              <a:gd name="f306" fmla="val 2141378"/>
              <a:gd name="f307" fmla="val 1570239"/>
              <a:gd name="f308" fmla="val 1608483"/>
              <a:gd name="f309" fmla="val 1682720"/>
              <a:gd name="f310" fmla="val 1716465"/>
              <a:gd name="f311" fmla="val 2166174"/>
              <a:gd name="f312" fmla="val 1738962"/>
              <a:gd name="f313" fmla="val 2143632"/>
              <a:gd name="f314" fmla="val 1765956"/>
              <a:gd name="f315" fmla="val 2044445"/>
              <a:gd name="f316" fmla="val 1599484"/>
              <a:gd name="f317" fmla="val 1988089"/>
              <a:gd name="f318" fmla="val 1522997"/>
              <a:gd name="f319" fmla="val 1462257"/>
              <a:gd name="f320" fmla="val 1852834"/>
              <a:gd name="f321" fmla="val 1480254"/>
              <a:gd name="f322" fmla="val 1778444"/>
              <a:gd name="f323" fmla="val 1507249"/>
              <a:gd name="f324" fmla="val 1751393"/>
              <a:gd name="f325" fmla="val 1543244"/>
              <a:gd name="f326" fmla="val 1588236"/>
              <a:gd name="f327" fmla="val 704133"/>
              <a:gd name="f328" fmla="val 755874"/>
              <a:gd name="f329" fmla="val 848110"/>
              <a:gd name="f330" fmla="val 857108"/>
              <a:gd name="f331" fmla="val 602900"/>
              <a:gd name="f332" fmla="val 553408"/>
              <a:gd name="f333" fmla="val 515164"/>
              <a:gd name="f334" fmla="val 461173"/>
              <a:gd name="f335" fmla="val 449925"/>
              <a:gd name="f336" fmla="val 202466"/>
              <a:gd name="f337" fmla="val 258707"/>
              <a:gd name="f338" fmla="val 308199"/>
              <a:gd name="f339" fmla="val 339693"/>
              <a:gd name="f340" fmla="val 1753647"/>
              <a:gd name="f341" fmla="val 368939"/>
              <a:gd name="f342" fmla="val 386936"/>
              <a:gd name="f343" fmla="val 1823529"/>
              <a:gd name="f344" fmla="val 389185"/>
              <a:gd name="f345" fmla="val 1870868"/>
              <a:gd name="f346" fmla="val 323946"/>
              <a:gd name="f347" fmla="val 321697"/>
              <a:gd name="f348" fmla="val 1841563"/>
              <a:gd name="f349" fmla="val 312698"/>
              <a:gd name="f350" fmla="val 294701"/>
              <a:gd name="f351" fmla="val 1798732"/>
              <a:gd name="f352" fmla="val 274454"/>
              <a:gd name="f353" fmla="val 240710"/>
              <a:gd name="f354" fmla="val 168722"/>
              <a:gd name="f355" fmla="val 134978"/>
              <a:gd name="f356" fmla="val 110232"/>
              <a:gd name="f357" fmla="val 67489"/>
              <a:gd name="f358" fmla="val 276704"/>
              <a:gd name="f359" fmla="val 2154903"/>
              <a:gd name="f360" fmla="val 296951"/>
              <a:gd name="f361" fmla="val 2114327"/>
              <a:gd name="f362" fmla="val 2087276"/>
              <a:gd name="f363" fmla="val 391435"/>
              <a:gd name="f364" fmla="val 2107564"/>
              <a:gd name="f365" fmla="val 2148140"/>
              <a:gd name="f366" fmla="val 2209005"/>
              <a:gd name="f367" fmla="val 150725"/>
              <a:gd name="f368" fmla="val 101233"/>
              <a:gd name="f369" fmla="val 65239"/>
              <a:gd name="f370" fmla="val 8999"/>
              <a:gd name="f371" fmla="val 2227389"/>
              <a:gd name="f372" fmla="val 214047"/>
              <a:gd name="f373" fmla="val 574548"/>
              <a:gd name="f374" fmla="val 2456649"/>
              <a:gd name="f375" fmla="val 2584765"/>
              <a:gd name="f376" fmla="val 2654442"/>
              <a:gd name="f377" fmla="val 509207"/>
              <a:gd name="f378" fmla="val 394298"/>
              <a:gd name="f379" fmla="val 277135"/>
              <a:gd name="f380" fmla="val 8961436"/>
              <a:gd name="f381" fmla="val 225425"/>
              <a:gd name="f382" fmla="val 9555161"/>
              <a:gd name="f383" fmla="val 1214437"/>
              <a:gd name="f384" fmla="val 9315449"/>
              <a:gd name="f385" fmla="val 7785099"/>
              <a:gd name="f386" fmla="val 8035924"/>
              <a:gd name="f387" fmla="val 8037512"/>
              <a:gd name="f388" fmla="val 3175"/>
              <a:gd name="f389" fmla="val 8523286"/>
              <a:gd name="f390" fmla="val 774700"/>
              <a:gd name="f391" fmla="val 8759824"/>
              <a:gd name="f392" fmla="val 8518524"/>
              <a:gd name="f393" fmla="val 8024812"/>
              <a:gd name="f394" fmla="val 425450"/>
              <a:gd name="f395" fmla="val 6665911"/>
              <a:gd name="f396" fmla="val 7535861"/>
              <a:gd name="f397" fmla="val 220663"/>
              <a:gd name="f398" fmla="val 6905624"/>
              <a:gd name="f399" fmla="val 473075"/>
              <a:gd name="f400" fmla="val 7459661"/>
              <a:gd name="f401" fmla="val 690562"/>
              <a:gd name="f402" fmla="val 993775"/>
              <a:gd name="f403" fmla="val 5221286"/>
              <a:gd name="f404" fmla="val 5534024"/>
              <a:gd name="f405" fmla="val 5835649"/>
              <a:gd name="f406" fmla="val 823912"/>
              <a:gd name="f407" fmla="val 6142037"/>
              <a:gd name="f408" fmla="val 6438899"/>
              <a:gd name="f409" fmla="val 6203949"/>
              <a:gd name="f410" fmla="val 419100"/>
              <a:gd name="f411" fmla="val 5916612"/>
              <a:gd name="f412" fmla="val 1196975"/>
              <a:gd name="f413" fmla="val 5740399"/>
              <a:gd name="f414" fmla="val 5454649"/>
              <a:gd name="f415" fmla="val 409575"/>
              <a:gd name="f416" fmla="val 4098924"/>
              <a:gd name="f417" fmla="val 4968874"/>
              <a:gd name="f418" fmla="val 4340224"/>
              <a:gd name="f419" fmla="val 4895849"/>
              <a:gd name="f420" fmla="val 3079749"/>
              <a:gd name="f421" fmla="val 3321049"/>
              <a:gd name="f422" fmla="val 984250"/>
              <a:gd name="f423" fmla="val 3871912"/>
              <a:gd name="f424" fmla="val 1989138"/>
              <a:gd name="f425" fmla="val 2465639"/>
              <a:gd name="f426" fmla="val 2735357"/>
              <a:gd name="f427" fmla="val 2897188"/>
              <a:gd name="f428" fmla="val 146454"/>
              <a:gd name="f429" fmla="val 392045"/>
              <a:gd name="f430" fmla="val 639889"/>
              <a:gd name="f431" fmla="val 786342"/>
              <a:gd name="f432" fmla="val 520699"/>
              <a:gd name="f433" fmla="val 833436"/>
              <a:gd name="f434" fmla="val 1135061"/>
              <a:gd name="f435" fmla="val 1439862"/>
              <a:gd name="f436" fmla="val 1736724"/>
              <a:gd name="f437" fmla="val 1503362"/>
              <a:gd name="f438" fmla="val 1216024"/>
              <a:gd name="f439" fmla="val 1039812"/>
              <a:gd name="f440" fmla="val 754062"/>
              <a:gd name="f441" fmla="val 25400"/>
              <a:gd name="f442" fmla="val 268288"/>
              <a:gd name="f443" fmla="+- 0 0 -90"/>
              <a:gd name="f444" fmla="*/ f3 1 9905999"/>
              <a:gd name="f445" fmla="*/ f4 1 2265361"/>
              <a:gd name="f446" fmla="+- f7 0 f5"/>
              <a:gd name="f447" fmla="+- f6 0 f5"/>
              <a:gd name="f448" fmla="*/ f443 f0 1"/>
              <a:gd name="f449" fmla="*/ f447 1 9905999"/>
              <a:gd name="f450" fmla="*/ f446 1 2265361"/>
              <a:gd name="f451" fmla="*/ 6778122 f447 1"/>
              <a:gd name="f452" fmla="*/ 2222531 f446 1"/>
              <a:gd name="f453" fmla="*/ 7135812 f447 1"/>
              <a:gd name="f454" fmla="*/ 2265361 f446 1"/>
              <a:gd name="f455" fmla="*/ 6449676 f447 1"/>
              <a:gd name="f456" fmla="*/ 1769427 f446 1"/>
              <a:gd name="f457" fmla="*/ 1965546 f446 1"/>
              <a:gd name="f458" fmla="*/ 6575655 f447 1"/>
              <a:gd name="f459" fmla="*/ 6679138 f447 1"/>
              <a:gd name="f460" fmla="*/ 1864105 f446 1"/>
              <a:gd name="f461" fmla="*/ 5021164 f447 1"/>
              <a:gd name="f462" fmla="*/ 1949767 f446 1"/>
              <a:gd name="f463" fmla="*/ 5158391 f447 1"/>
              <a:gd name="f464" fmla="*/ 5261874 f447 1"/>
              <a:gd name="f465" fmla="*/ 1859597 f446 1"/>
              <a:gd name="f466" fmla="*/ 5597068 f447 1"/>
              <a:gd name="f467" fmla="*/ 1762664 f446 1"/>
              <a:gd name="f468" fmla="*/ 5504834 f447 1"/>
              <a:gd name="f469" fmla="*/ 1800986 f446 1"/>
              <a:gd name="f470" fmla="*/ 5459841 f447 1"/>
              <a:gd name="f471" fmla="*/ 1967800 f446 1"/>
              <a:gd name="f472" fmla="*/ 2132361 f446 1"/>
              <a:gd name="f473" fmla="*/ 2170683 f446 1"/>
              <a:gd name="f474" fmla="*/ 5691552 f447 1"/>
              <a:gd name="f475" fmla="*/ 5734295 f447 1"/>
              <a:gd name="f476" fmla="*/ 654642 f447 1"/>
              <a:gd name="f477" fmla="*/ 560157 f447 1"/>
              <a:gd name="f478" fmla="*/ 517414 f447 1"/>
              <a:gd name="f479" fmla="*/ 746876 f447 1"/>
              <a:gd name="f480" fmla="*/ 791868 f447 1"/>
              <a:gd name="f481" fmla="*/ 6386687 f447 1"/>
              <a:gd name="f482" fmla="*/ 1710816 f446 1"/>
              <a:gd name="f483" fmla="*/ 6706134 f447 1"/>
              <a:gd name="f484" fmla="*/ 1755901 f446 1"/>
              <a:gd name="f485" fmla="*/ 6744377 f447 1"/>
              <a:gd name="f486" fmla="*/ 6701634 f447 1"/>
              <a:gd name="f487" fmla="*/ 1981326 f446 1"/>
              <a:gd name="f488" fmla="*/ 6577905 f447 1"/>
              <a:gd name="f489" fmla="*/ 2024157 f446 1"/>
              <a:gd name="f490" fmla="*/ 5889520 f447 1"/>
              <a:gd name="f491" fmla="*/ 5954759 f447 1"/>
              <a:gd name="f492" fmla="*/ 2035428 f446 1"/>
              <a:gd name="f493" fmla="*/ 6076239 f447 1"/>
              <a:gd name="f494" fmla="*/ 2172937 f446 1"/>
              <a:gd name="f495" fmla="*/ 6199968 f447 1"/>
              <a:gd name="f496" fmla="*/ 6262957 f447 1"/>
              <a:gd name="f497" fmla="*/ 2231547 f446 1"/>
              <a:gd name="f498" fmla="*/ 4958174 f447 1"/>
              <a:gd name="f499" fmla="*/ 5288869 f447 1"/>
              <a:gd name="f500" fmla="*/ 5329363 f447 1"/>
              <a:gd name="f501" fmla="*/ 1961038 f446 1"/>
              <a:gd name="f502" fmla="*/ 5228130 f447 1"/>
              <a:gd name="f503" fmla="*/ 1997106 f446 1"/>
              <a:gd name="f504" fmla="*/ 5331612 f447 1"/>
              <a:gd name="f505" fmla="*/ 5259624 f447 1"/>
              <a:gd name="f506" fmla="*/ 5162890 f447 1"/>
              <a:gd name="f507" fmla="*/ 2010631 f446 1"/>
              <a:gd name="f508" fmla="*/ 3309199 f447 1"/>
              <a:gd name="f509" fmla="*/ 3381187 f447 1"/>
              <a:gd name="f510" fmla="*/ 3633145 f447 1"/>
              <a:gd name="f511" fmla="*/ 2123344 f446 1"/>
              <a:gd name="f512" fmla="*/ 3693885 f447 1"/>
              <a:gd name="f513" fmla="*/ 3621897 f447 1"/>
              <a:gd name="f514" fmla="*/ 3372188 f447 1"/>
              <a:gd name="f515" fmla="*/ 1810003 f446 1"/>
              <a:gd name="f516" fmla="*/ 3106732 f447 1"/>
              <a:gd name="f517" fmla="*/ 3171971 f447 1"/>
              <a:gd name="f518" fmla="*/ 2663557 f447 1"/>
              <a:gd name="f519" fmla="*/ 3032495 f447 1"/>
              <a:gd name="f520" fmla="*/ 2879521 f447 1"/>
              <a:gd name="f521" fmla="*/ 2814282 f447 1"/>
              <a:gd name="f522" fmla="*/ 2416099 f447 1"/>
              <a:gd name="f523" fmla="*/ 2481338 f447 1"/>
              <a:gd name="f524" fmla="*/ 2163920 f446 1"/>
              <a:gd name="f525" fmla="*/ 2726547 f447 1"/>
              <a:gd name="f526" fmla="*/ 1918931 f447 1"/>
              <a:gd name="f527" fmla="*/ 1984171 f447 1"/>
              <a:gd name="f528" fmla="*/ 2105651 f447 1"/>
              <a:gd name="f529" fmla="*/ 2229380 f447 1"/>
              <a:gd name="f530" fmla="*/ 2292369 f447 1"/>
              <a:gd name="f531" fmla="*/ 960591 f447 1"/>
              <a:gd name="f532" fmla="*/ 1032578 f447 1"/>
              <a:gd name="f533" fmla="*/ 1284537 f447 1"/>
              <a:gd name="f534" fmla="*/ 1345276 f447 1"/>
              <a:gd name="f535" fmla="*/ 1273289 f447 1"/>
              <a:gd name="f536" fmla="*/ 1023580 f447 1"/>
              <a:gd name="f537" fmla="*/ 1701799 f446 1"/>
              <a:gd name="f538" fmla="*/ 5736545 f447 1"/>
              <a:gd name="f539" fmla="*/ 5801784 f447 1"/>
              <a:gd name="f540" fmla="*/ 2177446 f446 1"/>
              <a:gd name="f541" fmla="*/ 2233802 f446 1"/>
              <a:gd name="f542" fmla="*/ 5394602 f447 1"/>
              <a:gd name="f543" fmla="*/ 4645477 f447 1"/>
              <a:gd name="f544" fmla="*/ 4791702 f447 1"/>
              <a:gd name="f545" fmla="*/ 1758155 f446 1"/>
              <a:gd name="f546" fmla="*/ 4834445 f447 1"/>
              <a:gd name="f547" fmla="*/ 4766956 f447 1"/>
              <a:gd name="f548" fmla="*/ 4744460 f447 1"/>
              <a:gd name="f549" fmla="*/ 1803240 f446 1"/>
              <a:gd name="f550" fmla="*/ 4550992 f447 1"/>
              <a:gd name="f551" fmla="*/ 4506000 f447 1"/>
              <a:gd name="f552" fmla="*/ 4553242 f447 1"/>
              <a:gd name="f553" fmla="*/ 2134615 f446 1"/>
              <a:gd name="f554" fmla="*/ 4737711 f447 1"/>
              <a:gd name="f555" fmla="*/ 2136869 f446 1"/>
              <a:gd name="f556" fmla="*/ 4780454 f447 1"/>
              <a:gd name="f557" fmla="*/ 2006123 f446 1"/>
              <a:gd name="f558" fmla="*/ 1947512 f446 1"/>
              <a:gd name="f559" fmla="*/ 4838944 f447 1"/>
              <a:gd name="f560" fmla="*/ 4793952 f447 1"/>
              <a:gd name="f561" fmla="*/ 4782704 f447 1"/>
              <a:gd name="f562" fmla="*/ 2161666 f446 1"/>
              <a:gd name="f563" fmla="*/ 2179700 f446 1"/>
              <a:gd name="f564" fmla="*/ 4440761 f447 1"/>
              <a:gd name="f565" fmla="*/ 4002083 f447 1"/>
              <a:gd name="f566" fmla="*/ 4148309 f447 1"/>
              <a:gd name="f567" fmla="*/ 4193302 f447 1"/>
              <a:gd name="f568" fmla="*/ 4125813 f447 1"/>
              <a:gd name="f569" fmla="*/ 4103317 f447 1"/>
              <a:gd name="f570" fmla="*/ 3909849 f447 1"/>
              <a:gd name="f571" fmla="*/ 3864856 f447 1"/>
              <a:gd name="f572" fmla="*/ 4094318 f447 1"/>
              <a:gd name="f573" fmla="*/ 4139311 f447 1"/>
              <a:gd name="f574" fmla="*/ 4197801 f447 1"/>
              <a:gd name="f575" fmla="*/ 4152808 f447 1"/>
              <a:gd name="f576" fmla="*/ 4141560 f447 1"/>
              <a:gd name="f577" fmla="*/ 3797367 f447 1"/>
              <a:gd name="f578" fmla="*/ 1642228 f447 1"/>
              <a:gd name="f579" fmla="*/ 1774955 f447 1"/>
              <a:gd name="f580" fmla="*/ 1749138 f446 1"/>
              <a:gd name="f581" fmla="*/ 1824447 f447 1"/>
              <a:gd name="f582" fmla="*/ 1756958 f447 1"/>
              <a:gd name="f583" fmla="*/ 1732212 f447 1"/>
              <a:gd name="f584" fmla="*/ 1796478 f446 1"/>
              <a:gd name="f585" fmla="*/ 1639978 f447 1"/>
              <a:gd name="f586" fmla="*/ 1760410 f446 1"/>
              <a:gd name="f587" fmla="*/ 1549993 f447 1"/>
              <a:gd name="f588" fmla="*/ 1529746 f447 1"/>
              <a:gd name="f589" fmla="*/ 1850580 f446 1"/>
              <a:gd name="f590" fmla="*/ 1606234 f447 1"/>
              <a:gd name="f591" fmla="*/ 1922716 f446 1"/>
              <a:gd name="f592" fmla="*/ 1691719 f447 1"/>
              <a:gd name="f593" fmla="*/ 1936241 f446 1"/>
              <a:gd name="f594" fmla="*/ 1833445 f447 1"/>
              <a:gd name="f595" fmla="*/ 2082767 f446 1"/>
              <a:gd name="f596" fmla="*/ 1790703 f447 1"/>
              <a:gd name="f597" fmla="*/ 2181954 f446 1"/>
              <a:gd name="f598" fmla="*/ 1644477 f447 1"/>
              <a:gd name="f599" fmla="*/ 1498251 f447 1"/>
              <a:gd name="f600" fmla="*/ 2184208 f446 1"/>
              <a:gd name="f601" fmla="*/ 1444260 f447 1"/>
              <a:gd name="f602" fmla="*/ 2060225 f446 1"/>
              <a:gd name="f603" fmla="*/ 1509499 f447 1"/>
              <a:gd name="f604" fmla="*/ 1545494 f447 1"/>
              <a:gd name="f605" fmla="*/ 2141378 f446 1"/>
              <a:gd name="f606" fmla="*/ 1738962 f447 1"/>
              <a:gd name="f607" fmla="*/ 2143632 f446 1"/>
              <a:gd name="f608" fmla="*/ 1765956 f447 1"/>
              <a:gd name="f609" fmla="*/ 1680471 f447 1"/>
              <a:gd name="f610" fmla="*/ 2001614 f446 1"/>
              <a:gd name="f611" fmla="*/ 1599484 f447 1"/>
              <a:gd name="f612" fmla="*/ 1988089 f446 1"/>
              <a:gd name="f613" fmla="*/ 1462257 f447 1"/>
              <a:gd name="f614" fmla="*/ 1852834 f446 1"/>
              <a:gd name="f615" fmla="*/ 1507249 f447 1"/>
              <a:gd name="f616" fmla="*/ 1751393 f446 1"/>
              <a:gd name="f617" fmla="*/ 857108 f447 1"/>
              <a:gd name="f618" fmla="*/ 515164 f447 1"/>
              <a:gd name="f619" fmla="*/ 449925 f447 1"/>
              <a:gd name="f620" fmla="*/ 202466 f447 1"/>
              <a:gd name="f621" fmla="*/ 339693 f447 1"/>
              <a:gd name="f622" fmla="*/ 1753647 f446 1"/>
              <a:gd name="f623" fmla="*/ 389185 f447 1"/>
              <a:gd name="f624" fmla="*/ 1870868 f446 1"/>
              <a:gd name="f625" fmla="*/ 323946 f447 1"/>
              <a:gd name="f626" fmla="*/ 294701 f447 1"/>
              <a:gd name="f627" fmla="*/ 1798732 f446 1"/>
              <a:gd name="f628" fmla="*/ 110232 f447 1"/>
              <a:gd name="f629" fmla="*/ 67489 f447 1"/>
              <a:gd name="f630" fmla="*/ 296951 f447 1"/>
              <a:gd name="f631" fmla="*/ 391435 f447 1"/>
              <a:gd name="f632" fmla="*/ 65239 f447 1"/>
              <a:gd name="f633" fmla="*/ 0 f447 1"/>
              <a:gd name="f634" fmla="*/ 2227389 f447 1"/>
              <a:gd name="f635" fmla="*/ 214047 f446 1"/>
              <a:gd name="f636" fmla="*/ 574548 f446 1"/>
              <a:gd name="f637" fmla="*/ 2456649 f447 1"/>
              <a:gd name="f638" fmla="*/ 2654442 f447 1"/>
              <a:gd name="f639" fmla="*/ 394298 f446 1"/>
              <a:gd name="f640" fmla="*/ 8961436 f447 1"/>
              <a:gd name="f641" fmla="*/ 0 f446 1"/>
              <a:gd name="f642" fmla="*/ 9905999 f447 1"/>
              <a:gd name="f643" fmla="*/ 225425 f446 1"/>
              <a:gd name="f644" fmla="*/ 9555161 f447 1"/>
              <a:gd name="f645" fmla="*/ 1214437 f446 1"/>
              <a:gd name="f646" fmla="*/ 9315449 f447 1"/>
              <a:gd name="f647" fmla="*/ 7785099 f447 1"/>
              <a:gd name="f648" fmla="*/ 8035924 f447 1"/>
              <a:gd name="f649" fmla="*/ 8037512 f447 1"/>
              <a:gd name="f650" fmla="*/ 3175 f446 1"/>
              <a:gd name="f651" fmla="*/ 8523286 f447 1"/>
              <a:gd name="f652" fmla="*/ 774700 f446 1"/>
              <a:gd name="f653" fmla="*/ 8759824 f447 1"/>
              <a:gd name="f654" fmla="*/ 8518524 f447 1"/>
              <a:gd name="f655" fmla="*/ 8024812 f447 1"/>
              <a:gd name="f656" fmla="*/ 425450 f446 1"/>
              <a:gd name="f657" fmla="*/ 6665911 f447 1"/>
              <a:gd name="f658" fmla="*/ 7535861 f447 1"/>
              <a:gd name="f659" fmla="*/ 220663 f446 1"/>
              <a:gd name="f660" fmla="*/ 6905624 f447 1"/>
              <a:gd name="f661" fmla="*/ 473075 f446 1"/>
              <a:gd name="f662" fmla="*/ 7459661 f447 1"/>
              <a:gd name="f663" fmla="*/ 690562 f446 1"/>
              <a:gd name="f664" fmla="*/ 993775 f446 1"/>
              <a:gd name="f665" fmla="*/ 5221286 f447 1"/>
              <a:gd name="f666" fmla="*/ 5534024 f447 1"/>
              <a:gd name="f667" fmla="*/ 5835649 f447 1"/>
              <a:gd name="f668" fmla="*/ 823912 f446 1"/>
              <a:gd name="f669" fmla="*/ 6142037 f447 1"/>
              <a:gd name="f670" fmla="*/ 6438899 f447 1"/>
              <a:gd name="f671" fmla="*/ 6203949 f447 1"/>
              <a:gd name="f672" fmla="*/ 419100 f446 1"/>
              <a:gd name="f673" fmla="*/ 5916612 f447 1"/>
              <a:gd name="f674" fmla="*/ 1196975 f446 1"/>
              <a:gd name="f675" fmla="*/ 5740399 f447 1"/>
              <a:gd name="f676" fmla="*/ 5454649 f447 1"/>
              <a:gd name="f677" fmla="*/ 409575 f446 1"/>
              <a:gd name="f678" fmla="*/ 4098924 f447 1"/>
              <a:gd name="f679" fmla="*/ 4968874 f447 1"/>
              <a:gd name="f680" fmla="*/ 4340224 f447 1"/>
              <a:gd name="f681" fmla="*/ 4895849 f447 1"/>
              <a:gd name="f682" fmla="*/ 3079749 f447 1"/>
              <a:gd name="f683" fmla="*/ 3321049 f447 1"/>
              <a:gd name="f684" fmla="*/ 984250 f446 1"/>
              <a:gd name="f685" fmla="*/ 3871912 f447 1"/>
              <a:gd name="f686" fmla="*/ 1989138 f447 1"/>
              <a:gd name="f687" fmla="*/ 2465639 f447 1"/>
              <a:gd name="f688" fmla="*/ 2897188 f447 1"/>
              <a:gd name="f689" fmla="*/ 392045 f446 1"/>
              <a:gd name="f690" fmla="*/ 786342 f446 1"/>
              <a:gd name="f691" fmla="*/ 520699 f447 1"/>
              <a:gd name="f692" fmla="*/ 833436 f447 1"/>
              <a:gd name="f693" fmla="*/ 1135061 f447 1"/>
              <a:gd name="f694" fmla="*/ 1439862 f447 1"/>
              <a:gd name="f695" fmla="*/ 1736724 f447 1"/>
              <a:gd name="f696" fmla="*/ 1503362 f447 1"/>
              <a:gd name="f697" fmla="*/ 1216024 f447 1"/>
              <a:gd name="f698" fmla="*/ 1039812 f447 1"/>
              <a:gd name="f699" fmla="*/ 754062 f447 1"/>
              <a:gd name="f700" fmla="*/ 25400 f447 1"/>
              <a:gd name="f701" fmla="*/ 268288 f447 1"/>
              <a:gd name="f702" fmla="*/ f448 1 f2"/>
              <a:gd name="f703" fmla="*/ f451 1 9905999"/>
              <a:gd name="f704" fmla="*/ f452 1 2265361"/>
              <a:gd name="f705" fmla="*/ f453 1 9905999"/>
              <a:gd name="f706" fmla="*/ f454 1 2265361"/>
              <a:gd name="f707" fmla="*/ f455 1 9905999"/>
              <a:gd name="f708" fmla="*/ f456 1 2265361"/>
              <a:gd name="f709" fmla="*/ f457 1 2265361"/>
              <a:gd name="f710" fmla="*/ f458 1 9905999"/>
              <a:gd name="f711" fmla="*/ f459 1 9905999"/>
              <a:gd name="f712" fmla="*/ f460 1 2265361"/>
              <a:gd name="f713" fmla="*/ f461 1 9905999"/>
              <a:gd name="f714" fmla="*/ f462 1 2265361"/>
              <a:gd name="f715" fmla="*/ f463 1 9905999"/>
              <a:gd name="f716" fmla="*/ f464 1 9905999"/>
              <a:gd name="f717" fmla="*/ f465 1 2265361"/>
              <a:gd name="f718" fmla="*/ f466 1 9905999"/>
              <a:gd name="f719" fmla="*/ f467 1 2265361"/>
              <a:gd name="f720" fmla="*/ f468 1 9905999"/>
              <a:gd name="f721" fmla="*/ f469 1 2265361"/>
              <a:gd name="f722" fmla="*/ f470 1 9905999"/>
              <a:gd name="f723" fmla="*/ f471 1 2265361"/>
              <a:gd name="f724" fmla="*/ f472 1 2265361"/>
              <a:gd name="f725" fmla="*/ f473 1 2265361"/>
              <a:gd name="f726" fmla="*/ f474 1 9905999"/>
              <a:gd name="f727" fmla="*/ f475 1 9905999"/>
              <a:gd name="f728" fmla="*/ f476 1 9905999"/>
              <a:gd name="f729" fmla="*/ f477 1 9905999"/>
              <a:gd name="f730" fmla="*/ f478 1 9905999"/>
              <a:gd name="f731" fmla="*/ f479 1 9905999"/>
              <a:gd name="f732" fmla="*/ f480 1 9905999"/>
              <a:gd name="f733" fmla="*/ f481 1 9905999"/>
              <a:gd name="f734" fmla="*/ f482 1 2265361"/>
              <a:gd name="f735" fmla="*/ f483 1 9905999"/>
              <a:gd name="f736" fmla="*/ f484 1 2265361"/>
              <a:gd name="f737" fmla="*/ f485 1 9905999"/>
              <a:gd name="f738" fmla="*/ f486 1 9905999"/>
              <a:gd name="f739" fmla="*/ f487 1 2265361"/>
              <a:gd name="f740" fmla="*/ f488 1 9905999"/>
              <a:gd name="f741" fmla="*/ f489 1 2265361"/>
              <a:gd name="f742" fmla="*/ f490 1 9905999"/>
              <a:gd name="f743" fmla="*/ f491 1 9905999"/>
              <a:gd name="f744" fmla="*/ f492 1 2265361"/>
              <a:gd name="f745" fmla="*/ f493 1 9905999"/>
              <a:gd name="f746" fmla="*/ f494 1 2265361"/>
              <a:gd name="f747" fmla="*/ f495 1 9905999"/>
              <a:gd name="f748" fmla="*/ f496 1 9905999"/>
              <a:gd name="f749" fmla="*/ f497 1 2265361"/>
              <a:gd name="f750" fmla="*/ f498 1 9905999"/>
              <a:gd name="f751" fmla="*/ f499 1 9905999"/>
              <a:gd name="f752" fmla="*/ f500 1 9905999"/>
              <a:gd name="f753" fmla="*/ f501 1 2265361"/>
              <a:gd name="f754" fmla="*/ f502 1 9905999"/>
              <a:gd name="f755" fmla="*/ f503 1 2265361"/>
              <a:gd name="f756" fmla="*/ f504 1 9905999"/>
              <a:gd name="f757" fmla="*/ f505 1 9905999"/>
              <a:gd name="f758" fmla="*/ f506 1 9905999"/>
              <a:gd name="f759" fmla="*/ f507 1 2265361"/>
              <a:gd name="f760" fmla="*/ f508 1 9905999"/>
              <a:gd name="f761" fmla="*/ f509 1 9905999"/>
              <a:gd name="f762" fmla="*/ f510 1 9905999"/>
              <a:gd name="f763" fmla="*/ f511 1 2265361"/>
              <a:gd name="f764" fmla="*/ f512 1 9905999"/>
              <a:gd name="f765" fmla="*/ f513 1 9905999"/>
              <a:gd name="f766" fmla="*/ f514 1 9905999"/>
              <a:gd name="f767" fmla="*/ f515 1 2265361"/>
              <a:gd name="f768" fmla="*/ f516 1 9905999"/>
              <a:gd name="f769" fmla="*/ f517 1 9905999"/>
              <a:gd name="f770" fmla="*/ f518 1 9905999"/>
              <a:gd name="f771" fmla="*/ f519 1 9905999"/>
              <a:gd name="f772" fmla="*/ f520 1 9905999"/>
              <a:gd name="f773" fmla="*/ f521 1 9905999"/>
              <a:gd name="f774" fmla="*/ f522 1 9905999"/>
              <a:gd name="f775" fmla="*/ f523 1 9905999"/>
              <a:gd name="f776" fmla="*/ f524 1 2265361"/>
              <a:gd name="f777" fmla="*/ f525 1 9905999"/>
              <a:gd name="f778" fmla="*/ f526 1 9905999"/>
              <a:gd name="f779" fmla="*/ f527 1 9905999"/>
              <a:gd name="f780" fmla="*/ f528 1 9905999"/>
              <a:gd name="f781" fmla="*/ f529 1 9905999"/>
              <a:gd name="f782" fmla="*/ f530 1 9905999"/>
              <a:gd name="f783" fmla="*/ f531 1 9905999"/>
              <a:gd name="f784" fmla="*/ f532 1 9905999"/>
              <a:gd name="f785" fmla="*/ f533 1 9905999"/>
              <a:gd name="f786" fmla="*/ f534 1 9905999"/>
              <a:gd name="f787" fmla="*/ f535 1 9905999"/>
              <a:gd name="f788" fmla="*/ f536 1 9905999"/>
              <a:gd name="f789" fmla="*/ f537 1 2265361"/>
              <a:gd name="f790" fmla="*/ f538 1 9905999"/>
              <a:gd name="f791" fmla="*/ f539 1 9905999"/>
              <a:gd name="f792" fmla="*/ f540 1 2265361"/>
              <a:gd name="f793" fmla="*/ f541 1 2265361"/>
              <a:gd name="f794" fmla="*/ f542 1 9905999"/>
              <a:gd name="f795" fmla="*/ f543 1 9905999"/>
              <a:gd name="f796" fmla="*/ f544 1 9905999"/>
              <a:gd name="f797" fmla="*/ f545 1 2265361"/>
              <a:gd name="f798" fmla="*/ f546 1 9905999"/>
              <a:gd name="f799" fmla="*/ f547 1 9905999"/>
              <a:gd name="f800" fmla="*/ f548 1 9905999"/>
              <a:gd name="f801" fmla="*/ f549 1 2265361"/>
              <a:gd name="f802" fmla="*/ f550 1 9905999"/>
              <a:gd name="f803" fmla="*/ f551 1 9905999"/>
              <a:gd name="f804" fmla="*/ f552 1 9905999"/>
              <a:gd name="f805" fmla="*/ f553 1 2265361"/>
              <a:gd name="f806" fmla="*/ f554 1 9905999"/>
              <a:gd name="f807" fmla="*/ f555 1 2265361"/>
              <a:gd name="f808" fmla="*/ f556 1 9905999"/>
              <a:gd name="f809" fmla="*/ f557 1 2265361"/>
              <a:gd name="f810" fmla="*/ f558 1 2265361"/>
              <a:gd name="f811" fmla="*/ f559 1 9905999"/>
              <a:gd name="f812" fmla="*/ f560 1 9905999"/>
              <a:gd name="f813" fmla="*/ f561 1 9905999"/>
              <a:gd name="f814" fmla="*/ f562 1 2265361"/>
              <a:gd name="f815" fmla="*/ f563 1 2265361"/>
              <a:gd name="f816" fmla="*/ f564 1 9905999"/>
              <a:gd name="f817" fmla="*/ f565 1 9905999"/>
              <a:gd name="f818" fmla="*/ f566 1 9905999"/>
              <a:gd name="f819" fmla="*/ f567 1 9905999"/>
              <a:gd name="f820" fmla="*/ f568 1 9905999"/>
              <a:gd name="f821" fmla="*/ f569 1 9905999"/>
              <a:gd name="f822" fmla="*/ f570 1 9905999"/>
              <a:gd name="f823" fmla="*/ f571 1 9905999"/>
              <a:gd name="f824" fmla="*/ f572 1 9905999"/>
              <a:gd name="f825" fmla="*/ f573 1 9905999"/>
              <a:gd name="f826" fmla="*/ f574 1 9905999"/>
              <a:gd name="f827" fmla="*/ f575 1 9905999"/>
              <a:gd name="f828" fmla="*/ f576 1 9905999"/>
              <a:gd name="f829" fmla="*/ f577 1 9905999"/>
              <a:gd name="f830" fmla="*/ f578 1 9905999"/>
              <a:gd name="f831" fmla="*/ f579 1 9905999"/>
              <a:gd name="f832" fmla="*/ f580 1 2265361"/>
              <a:gd name="f833" fmla="*/ f581 1 9905999"/>
              <a:gd name="f834" fmla="*/ f582 1 9905999"/>
              <a:gd name="f835" fmla="*/ f583 1 9905999"/>
              <a:gd name="f836" fmla="*/ f584 1 2265361"/>
              <a:gd name="f837" fmla="*/ f585 1 9905999"/>
              <a:gd name="f838" fmla="*/ f586 1 2265361"/>
              <a:gd name="f839" fmla="*/ f587 1 9905999"/>
              <a:gd name="f840" fmla="*/ f588 1 9905999"/>
              <a:gd name="f841" fmla="*/ f589 1 2265361"/>
              <a:gd name="f842" fmla="*/ f590 1 9905999"/>
              <a:gd name="f843" fmla="*/ f591 1 2265361"/>
              <a:gd name="f844" fmla="*/ f592 1 9905999"/>
              <a:gd name="f845" fmla="*/ f593 1 2265361"/>
              <a:gd name="f846" fmla="*/ f594 1 9905999"/>
              <a:gd name="f847" fmla="*/ f595 1 2265361"/>
              <a:gd name="f848" fmla="*/ f596 1 9905999"/>
              <a:gd name="f849" fmla="*/ f597 1 2265361"/>
              <a:gd name="f850" fmla="*/ f598 1 9905999"/>
              <a:gd name="f851" fmla="*/ f599 1 9905999"/>
              <a:gd name="f852" fmla="*/ f600 1 2265361"/>
              <a:gd name="f853" fmla="*/ f601 1 9905999"/>
              <a:gd name="f854" fmla="*/ f602 1 2265361"/>
              <a:gd name="f855" fmla="*/ f603 1 9905999"/>
              <a:gd name="f856" fmla="*/ f604 1 9905999"/>
              <a:gd name="f857" fmla="*/ f605 1 2265361"/>
              <a:gd name="f858" fmla="*/ f606 1 9905999"/>
              <a:gd name="f859" fmla="*/ f607 1 2265361"/>
              <a:gd name="f860" fmla="*/ f608 1 9905999"/>
              <a:gd name="f861" fmla="*/ f609 1 9905999"/>
              <a:gd name="f862" fmla="*/ f610 1 2265361"/>
              <a:gd name="f863" fmla="*/ f611 1 9905999"/>
              <a:gd name="f864" fmla="*/ f612 1 2265361"/>
              <a:gd name="f865" fmla="*/ f613 1 9905999"/>
              <a:gd name="f866" fmla="*/ f614 1 2265361"/>
              <a:gd name="f867" fmla="*/ f615 1 9905999"/>
              <a:gd name="f868" fmla="*/ f616 1 2265361"/>
              <a:gd name="f869" fmla="*/ f617 1 9905999"/>
              <a:gd name="f870" fmla="*/ f618 1 9905999"/>
              <a:gd name="f871" fmla="*/ f619 1 9905999"/>
              <a:gd name="f872" fmla="*/ f620 1 9905999"/>
              <a:gd name="f873" fmla="*/ f621 1 9905999"/>
              <a:gd name="f874" fmla="*/ f622 1 2265361"/>
              <a:gd name="f875" fmla="*/ f623 1 9905999"/>
              <a:gd name="f876" fmla="*/ f624 1 2265361"/>
              <a:gd name="f877" fmla="*/ f625 1 9905999"/>
              <a:gd name="f878" fmla="*/ f626 1 9905999"/>
              <a:gd name="f879" fmla="*/ f627 1 2265361"/>
              <a:gd name="f880" fmla="*/ f628 1 9905999"/>
              <a:gd name="f881" fmla="*/ f629 1 9905999"/>
              <a:gd name="f882" fmla="*/ f630 1 9905999"/>
              <a:gd name="f883" fmla="*/ f631 1 9905999"/>
              <a:gd name="f884" fmla="*/ f632 1 9905999"/>
              <a:gd name="f885" fmla="*/ f633 1 9905999"/>
              <a:gd name="f886" fmla="*/ f634 1 9905999"/>
              <a:gd name="f887" fmla="*/ f635 1 2265361"/>
              <a:gd name="f888" fmla="*/ f636 1 2265361"/>
              <a:gd name="f889" fmla="*/ f637 1 9905999"/>
              <a:gd name="f890" fmla="*/ f638 1 9905999"/>
              <a:gd name="f891" fmla="*/ f639 1 2265361"/>
              <a:gd name="f892" fmla="*/ f640 1 9905999"/>
              <a:gd name="f893" fmla="*/ f641 1 2265361"/>
              <a:gd name="f894" fmla="*/ f642 1 9905999"/>
              <a:gd name="f895" fmla="*/ f643 1 2265361"/>
              <a:gd name="f896" fmla="*/ f644 1 9905999"/>
              <a:gd name="f897" fmla="*/ f645 1 2265361"/>
              <a:gd name="f898" fmla="*/ f646 1 9905999"/>
              <a:gd name="f899" fmla="*/ f647 1 9905999"/>
              <a:gd name="f900" fmla="*/ f648 1 9905999"/>
              <a:gd name="f901" fmla="*/ f649 1 9905999"/>
              <a:gd name="f902" fmla="*/ f650 1 2265361"/>
              <a:gd name="f903" fmla="*/ f651 1 9905999"/>
              <a:gd name="f904" fmla="*/ f652 1 2265361"/>
              <a:gd name="f905" fmla="*/ f653 1 9905999"/>
              <a:gd name="f906" fmla="*/ f654 1 9905999"/>
              <a:gd name="f907" fmla="*/ f655 1 9905999"/>
              <a:gd name="f908" fmla="*/ f656 1 2265361"/>
              <a:gd name="f909" fmla="*/ f657 1 9905999"/>
              <a:gd name="f910" fmla="*/ f658 1 9905999"/>
              <a:gd name="f911" fmla="*/ f659 1 2265361"/>
              <a:gd name="f912" fmla="*/ f660 1 9905999"/>
              <a:gd name="f913" fmla="*/ f661 1 2265361"/>
              <a:gd name="f914" fmla="*/ f662 1 9905999"/>
              <a:gd name="f915" fmla="*/ f663 1 2265361"/>
              <a:gd name="f916" fmla="*/ f664 1 2265361"/>
              <a:gd name="f917" fmla="*/ f665 1 9905999"/>
              <a:gd name="f918" fmla="*/ f666 1 9905999"/>
              <a:gd name="f919" fmla="*/ f667 1 9905999"/>
              <a:gd name="f920" fmla="*/ f668 1 2265361"/>
              <a:gd name="f921" fmla="*/ f669 1 9905999"/>
              <a:gd name="f922" fmla="*/ f670 1 9905999"/>
              <a:gd name="f923" fmla="*/ f671 1 9905999"/>
              <a:gd name="f924" fmla="*/ f672 1 2265361"/>
              <a:gd name="f925" fmla="*/ f673 1 9905999"/>
              <a:gd name="f926" fmla="*/ f674 1 2265361"/>
              <a:gd name="f927" fmla="*/ f675 1 9905999"/>
              <a:gd name="f928" fmla="*/ f676 1 9905999"/>
              <a:gd name="f929" fmla="*/ f677 1 2265361"/>
              <a:gd name="f930" fmla="*/ f678 1 9905999"/>
              <a:gd name="f931" fmla="*/ f679 1 9905999"/>
              <a:gd name="f932" fmla="*/ f680 1 9905999"/>
              <a:gd name="f933" fmla="*/ f681 1 9905999"/>
              <a:gd name="f934" fmla="*/ f682 1 9905999"/>
              <a:gd name="f935" fmla="*/ f683 1 9905999"/>
              <a:gd name="f936" fmla="*/ f684 1 2265361"/>
              <a:gd name="f937" fmla="*/ f685 1 9905999"/>
              <a:gd name="f938" fmla="*/ f686 1 9905999"/>
              <a:gd name="f939" fmla="*/ f687 1 9905999"/>
              <a:gd name="f940" fmla="*/ f688 1 9905999"/>
              <a:gd name="f941" fmla="*/ f689 1 2265361"/>
              <a:gd name="f942" fmla="*/ f690 1 2265361"/>
              <a:gd name="f943" fmla="*/ f691 1 9905999"/>
              <a:gd name="f944" fmla="*/ f692 1 9905999"/>
              <a:gd name="f945" fmla="*/ f693 1 9905999"/>
              <a:gd name="f946" fmla="*/ f694 1 9905999"/>
              <a:gd name="f947" fmla="*/ f695 1 9905999"/>
              <a:gd name="f948" fmla="*/ f696 1 9905999"/>
              <a:gd name="f949" fmla="*/ f697 1 9905999"/>
              <a:gd name="f950" fmla="*/ f698 1 9905999"/>
              <a:gd name="f951" fmla="*/ f699 1 9905999"/>
              <a:gd name="f952" fmla="*/ f700 1 9905999"/>
              <a:gd name="f953" fmla="*/ f701 1 9905999"/>
              <a:gd name="f954" fmla="*/ f5 1 f449"/>
              <a:gd name="f955" fmla="*/ f6 1 f449"/>
              <a:gd name="f956" fmla="*/ f5 1 f450"/>
              <a:gd name="f957" fmla="*/ f7 1 f450"/>
              <a:gd name="f958" fmla="+- f702 0 f1"/>
              <a:gd name="f959" fmla="*/ f703 1 f449"/>
              <a:gd name="f960" fmla="*/ f704 1 f450"/>
              <a:gd name="f961" fmla="*/ f705 1 f449"/>
              <a:gd name="f962" fmla="*/ f706 1 f450"/>
              <a:gd name="f963" fmla="*/ f707 1 f449"/>
              <a:gd name="f964" fmla="*/ f708 1 f450"/>
              <a:gd name="f965" fmla="*/ f709 1 f450"/>
              <a:gd name="f966" fmla="*/ f710 1 f449"/>
              <a:gd name="f967" fmla="*/ f711 1 f449"/>
              <a:gd name="f968" fmla="*/ f712 1 f450"/>
              <a:gd name="f969" fmla="*/ f713 1 f449"/>
              <a:gd name="f970" fmla="*/ f714 1 f450"/>
              <a:gd name="f971" fmla="*/ f715 1 f449"/>
              <a:gd name="f972" fmla="*/ f716 1 f449"/>
              <a:gd name="f973" fmla="*/ f717 1 f450"/>
              <a:gd name="f974" fmla="*/ f718 1 f449"/>
              <a:gd name="f975" fmla="*/ f719 1 f450"/>
              <a:gd name="f976" fmla="*/ f720 1 f449"/>
              <a:gd name="f977" fmla="*/ f721 1 f450"/>
              <a:gd name="f978" fmla="*/ f722 1 f449"/>
              <a:gd name="f979" fmla="*/ f723 1 f450"/>
              <a:gd name="f980" fmla="*/ f724 1 f450"/>
              <a:gd name="f981" fmla="*/ f725 1 f450"/>
              <a:gd name="f982" fmla="*/ f726 1 f449"/>
              <a:gd name="f983" fmla="*/ f727 1 f449"/>
              <a:gd name="f984" fmla="*/ f728 1 f449"/>
              <a:gd name="f985" fmla="*/ f729 1 f449"/>
              <a:gd name="f986" fmla="*/ f730 1 f449"/>
              <a:gd name="f987" fmla="*/ f731 1 f449"/>
              <a:gd name="f988" fmla="*/ f732 1 f449"/>
              <a:gd name="f989" fmla="*/ f733 1 f449"/>
              <a:gd name="f990" fmla="*/ f734 1 f450"/>
              <a:gd name="f991" fmla="*/ f735 1 f449"/>
              <a:gd name="f992" fmla="*/ f736 1 f450"/>
              <a:gd name="f993" fmla="*/ f737 1 f449"/>
              <a:gd name="f994" fmla="*/ f738 1 f449"/>
              <a:gd name="f995" fmla="*/ f739 1 f450"/>
              <a:gd name="f996" fmla="*/ f740 1 f449"/>
              <a:gd name="f997" fmla="*/ f741 1 f450"/>
              <a:gd name="f998" fmla="*/ f742 1 f449"/>
              <a:gd name="f999" fmla="*/ f743 1 f449"/>
              <a:gd name="f1000" fmla="*/ f744 1 f450"/>
              <a:gd name="f1001" fmla="*/ f745 1 f449"/>
              <a:gd name="f1002" fmla="*/ f746 1 f450"/>
              <a:gd name="f1003" fmla="*/ f747 1 f449"/>
              <a:gd name="f1004" fmla="*/ f748 1 f449"/>
              <a:gd name="f1005" fmla="*/ f749 1 f450"/>
              <a:gd name="f1006" fmla="*/ f750 1 f449"/>
              <a:gd name="f1007" fmla="*/ f751 1 f449"/>
              <a:gd name="f1008" fmla="*/ f752 1 f449"/>
              <a:gd name="f1009" fmla="*/ f753 1 f450"/>
              <a:gd name="f1010" fmla="*/ f754 1 f449"/>
              <a:gd name="f1011" fmla="*/ f755 1 f450"/>
              <a:gd name="f1012" fmla="*/ f756 1 f449"/>
              <a:gd name="f1013" fmla="*/ f757 1 f449"/>
              <a:gd name="f1014" fmla="*/ f758 1 f449"/>
              <a:gd name="f1015" fmla="*/ f759 1 f450"/>
              <a:gd name="f1016" fmla="*/ f760 1 f449"/>
              <a:gd name="f1017" fmla="*/ f761 1 f449"/>
              <a:gd name="f1018" fmla="*/ f762 1 f449"/>
              <a:gd name="f1019" fmla="*/ f763 1 f450"/>
              <a:gd name="f1020" fmla="*/ f764 1 f449"/>
              <a:gd name="f1021" fmla="*/ f765 1 f449"/>
              <a:gd name="f1022" fmla="*/ f766 1 f449"/>
              <a:gd name="f1023" fmla="*/ f767 1 f450"/>
              <a:gd name="f1024" fmla="*/ f768 1 f449"/>
              <a:gd name="f1025" fmla="*/ f769 1 f449"/>
              <a:gd name="f1026" fmla="*/ f770 1 f449"/>
              <a:gd name="f1027" fmla="*/ f771 1 f449"/>
              <a:gd name="f1028" fmla="*/ f772 1 f449"/>
              <a:gd name="f1029" fmla="*/ f773 1 f449"/>
              <a:gd name="f1030" fmla="*/ f774 1 f449"/>
              <a:gd name="f1031" fmla="*/ f775 1 f449"/>
              <a:gd name="f1032" fmla="*/ f776 1 f450"/>
              <a:gd name="f1033" fmla="*/ f777 1 f449"/>
              <a:gd name="f1034" fmla="*/ f778 1 f449"/>
              <a:gd name="f1035" fmla="*/ f779 1 f449"/>
              <a:gd name="f1036" fmla="*/ f780 1 f449"/>
              <a:gd name="f1037" fmla="*/ f781 1 f449"/>
              <a:gd name="f1038" fmla="*/ f782 1 f449"/>
              <a:gd name="f1039" fmla="*/ f783 1 f449"/>
              <a:gd name="f1040" fmla="*/ f784 1 f449"/>
              <a:gd name="f1041" fmla="*/ f785 1 f449"/>
              <a:gd name="f1042" fmla="*/ f786 1 f449"/>
              <a:gd name="f1043" fmla="*/ f787 1 f449"/>
              <a:gd name="f1044" fmla="*/ f788 1 f449"/>
              <a:gd name="f1045" fmla="*/ f789 1 f450"/>
              <a:gd name="f1046" fmla="*/ f790 1 f449"/>
              <a:gd name="f1047" fmla="*/ f791 1 f449"/>
              <a:gd name="f1048" fmla="*/ f792 1 f450"/>
              <a:gd name="f1049" fmla="*/ f793 1 f450"/>
              <a:gd name="f1050" fmla="*/ f794 1 f449"/>
              <a:gd name="f1051" fmla="*/ f795 1 f449"/>
              <a:gd name="f1052" fmla="*/ f796 1 f449"/>
              <a:gd name="f1053" fmla="*/ f797 1 f450"/>
              <a:gd name="f1054" fmla="*/ f798 1 f449"/>
              <a:gd name="f1055" fmla="*/ f799 1 f449"/>
              <a:gd name="f1056" fmla="*/ f800 1 f449"/>
              <a:gd name="f1057" fmla="*/ f801 1 f450"/>
              <a:gd name="f1058" fmla="*/ f802 1 f449"/>
              <a:gd name="f1059" fmla="*/ f803 1 f449"/>
              <a:gd name="f1060" fmla="*/ f804 1 f449"/>
              <a:gd name="f1061" fmla="*/ f805 1 f450"/>
              <a:gd name="f1062" fmla="*/ f806 1 f449"/>
              <a:gd name="f1063" fmla="*/ f807 1 f450"/>
              <a:gd name="f1064" fmla="*/ f808 1 f449"/>
              <a:gd name="f1065" fmla="*/ f809 1 f450"/>
              <a:gd name="f1066" fmla="*/ f810 1 f450"/>
              <a:gd name="f1067" fmla="*/ f811 1 f449"/>
              <a:gd name="f1068" fmla="*/ f812 1 f449"/>
              <a:gd name="f1069" fmla="*/ f813 1 f449"/>
              <a:gd name="f1070" fmla="*/ f814 1 f450"/>
              <a:gd name="f1071" fmla="*/ f815 1 f450"/>
              <a:gd name="f1072" fmla="*/ f816 1 f449"/>
              <a:gd name="f1073" fmla="*/ f817 1 f449"/>
              <a:gd name="f1074" fmla="*/ f818 1 f449"/>
              <a:gd name="f1075" fmla="*/ f819 1 f449"/>
              <a:gd name="f1076" fmla="*/ f820 1 f449"/>
              <a:gd name="f1077" fmla="*/ f821 1 f449"/>
              <a:gd name="f1078" fmla="*/ f822 1 f449"/>
              <a:gd name="f1079" fmla="*/ f823 1 f449"/>
              <a:gd name="f1080" fmla="*/ f824 1 f449"/>
              <a:gd name="f1081" fmla="*/ f825 1 f449"/>
              <a:gd name="f1082" fmla="*/ f826 1 f449"/>
              <a:gd name="f1083" fmla="*/ f827 1 f449"/>
              <a:gd name="f1084" fmla="*/ f828 1 f449"/>
              <a:gd name="f1085" fmla="*/ f829 1 f449"/>
              <a:gd name="f1086" fmla="*/ f830 1 f449"/>
              <a:gd name="f1087" fmla="*/ f831 1 f449"/>
              <a:gd name="f1088" fmla="*/ f832 1 f450"/>
              <a:gd name="f1089" fmla="*/ f833 1 f449"/>
              <a:gd name="f1090" fmla="*/ f834 1 f449"/>
              <a:gd name="f1091" fmla="*/ f835 1 f449"/>
              <a:gd name="f1092" fmla="*/ f836 1 f450"/>
              <a:gd name="f1093" fmla="*/ f837 1 f449"/>
              <a:gd name="f1094" fmla="*/ f838 1 f450"/>
              <a:gd name="f1095" fmla="*/ f839 1 f449"/>
              <a:gd name="f1096" fmla="*/ f840 1 f449"/>
              <a:gd name="f1097" fmla="*/ f841 1 f450"/>
              <a:gd name="f1098" fmla="*/ f842 1 f449"/>
              <a:gd name="f1099" fmla="*/ f843 1 f450"/>
              <a:gd name="f1100" fmla="*/ f844 1 f449"/>
              <a:gd name="f1101" fmla="*/ f845 1 f450"/>
              <a:gd name="f1102" fmla="*/ f846 1 f449"/>
              <a:gd name="f1103" fmla="*/ f847 1 f450"/>
              <a:gd name="f1104" fmla="*/ f848 1 f449"/>
              <a:gd name="f1105" fmla="*/ f849 1 f450"/>
              <a:gd name="f1106" fmla="*/ f850 1 f449"/>
              <a:gd name="f1107" fmla="*/ f851 1 f449"/>
              <a:gd name="f1108" fmla="*/ f852 1 f450"/>
              <a:gd name="f1109" fmla="*/ f853 1 f449"/>
              <a:gd name="f1110" fmla="*/ f854 1 f450"/>
              <a:gd name="f1111" fmla="*/ f855 1 f449"/>
              <a:gd name="f1112" fmla="*/ f856 1 f449"/>
              <a:gd name="f1113" fmla="*/ f857 1 f450"/>
              <a:gd name="f1114" fmla="*/ f858 1 f449"/>
              <a:gd name="f1115" fmla="*/ f859 1 f450"/>
              <a:gd name="f1116" fmla="*/ f860 1 f449"/>
              <a:gd name="f1117" fmla="*/ f861 1 f449"/>
              <a:gd name="f1118" fmla="*/ f862 1 f450"/>
              <a:gd name="f1119" fmla="*/ f863 1 f449"/>
              <a:gd name="f1120" fmla="*/ f864 1 f450"/>
              <a:gd name="f1121" fmla="*/ f865 1 f449"/>
              <a:gd name="f1122" fmla="*/ f866 1 f450"/>
              <a:gd name="f1123" fmla="*/ f867 1 f449"/>
              <a:gd name="f1124" fmla="*/ f868 1 f450"/>
              <a:gd name="f1125" fmla="*/ f869 1 f449"/>
              <a:gd name="f1126" fmla="*/ f870 1 f449"/>
              <a:gd name="f1127" fmla="*/ f871 1 f449"/>
              <a:gd name="f1128" fmla="*/ f872 1 f449"/>
              <a:gd name="f1129" fmla="*/ f873 1 f449"/>
              <a:gd name="f1130" fmla="*/ f874 1 f450"/>
              <a:gd name="f1131" fmla="*/ f875 1 f449"/>
              <a:gd name="f1132" fmla="*/ f876 1 f450"/>
              <a:gd name="f1133" fmla="*/ f877 1 f449"/>
              <a:gd name="f1134" fmla="*/ f878 1 f449"/>
              <a:gd name="f1135" fmla="*/ f879 1 f450"/>
              <a:gd name="f1136" fmla="*/ f880 1 f449"/>
              <a:gd name="f1137" fmla="*/ f881 1 f449"/>
              <a:gd name="f1138" fmla="*/ f882 1 f449"/>
              <a:gd name="f1139" fmla="*/ f883 1 f449"/>
              <a:gd name="f1140" fmla="*/ f884 1 f449"/>
              <a:gd name="f1141" fmla="*/ f885 1 f449"/>
              <a:gd name="f1142" fmla="*/ f886 1 f449"/>
              <a:gd name="f1143" fmla="*/ f887 1 f450"/>
              <a:gd name="f1144" fmla="*/ f888 1 f450"/>
              <a:gd name="f1145" fmla="*/ f889 1 f449"/>
              <a:gd name="f1146" fmla="*/ f890 1 f449"/>
              <a:gd name="f1147" fmla="*/ f891 1 f450"/>
              <a:gd name="f1148" fmla="*/ f892 1 f449"/>
              <a:gd name="f1149" fmla="*/ f893 1 f450"/>
              <a:gd name="f1150" fmla="*/ f894 1 f449"/>
              <a:gd name="f1151" fmla="*/ f895 1 f450"/>
              <a:gd name="f1152" fmla="*/ f896 1 f449"/>
              <a:gd name="f1153" fmla="*/ f897 1 f450"/>
              <a:gd name="f1154" fmla="*/ f898 1 f449"/>
              <a:gd name="f1155" fmla="*/ f899 1 f449"/>
              <a:gd name="f1156" fmla="*/ f900 1 f449"/>
              <a:gd name="f1157" fmla="*/ f901 1 f449"/>
              <a:gd name="f1158" fmla="*/ f902 1 f450"/>
              <a:gd name="f1159" fmla="*/ f903 1 f449"/>
              <a:gd name="f1160" fmla="*/ f904 1 f450"/>
              <a:gd name="f1161" fmla="*/ f905 1 f449"/>
              <a:gd name="f1162" fmla="*/ f906 1 f449"/>
              <a:gd name="f1163" fmla="*/ f907 1 f449"/>
              <a:gd name="f1164" fmla="*/ f908 1 f450"/>
              <a:gd name="f1165" fmla="*/ f909 1 f449"/>
              <a:gd name="f1166" fmla="*/ f910 1 f449"/>
              <a:gd name="f1167" fmla="*/ f911 1 f450"/>
              <a:gd name="f1168" fmla="*/ f912 1 f449"/>
              <a:gd name="f1169" fmla="*/ f913 1 f450"/>
              <a:gd name="f1170" fmla="*/ f914 1 f449"/>
              <a:gd name="f1171" fmla="*/ f915 1 f450"/>
              <a:gd name="f1172" fmla="*/ f916 1 f450"/>
              <a:gd name="f1173" fmla="*/ f917 1 f449"/>
              <a:gd name="f1174" fmla="*/ f918 1 f449"/>
              <a:gd name="f1175" fmla="*/ f919 1 f449"/>
              <a:gd name="f1176" fmla="*/ f920 1 f450"/>
              <a:gd name="f1177" fmla="*/ f921 1 f449"/>
              <a:gd name="f1178" fmla="*/ f922 1 f449"/>
              <a:gd name="f1179" fmla="*/ f923 1 f449"/>
              <a:gd name="f1180" fmla="*/ f924 1 f450"/>
              <a:gd name="f1181" fmla="*/ f925 1 f449"/>
              <a:gd name="f1182" fmla="*/ f926 1 f450"/>
              <a:gd name="f1183" fmla="*/ f927 1 f449"/>
              <a:gd name="f1184" fmla="*/ f928 1 f449"/>
              <a:gd name="f1185" fmla="*/ f929 1 f450"/>
              <a:gd name="f1186" fmla="*/ f930 1 f449"/>
              <a:gd name="f1187" fmla="*/ f931 1 f449"/>
              <a:gd name="f1188" fmla="*/ f932 1 f449"/>
              <a:gd name="f1189" fmla="*/ f933 1 f449"/>
              <a:gd name="f1190" fmla="*/ f934 1 f449"/>
              <a:gd name="f1191" fmla="*/ f935 1 f449"/>
              <a:gd name="f1192" fmla="*/ f936 1 f450"/>
              <a:gd name="f1193" fmla="*/ f937 1 f449"/>
              <a:gd name="f1194" fmla="*/ f938 1 f449"/>
              <a:gd name="f1195" fmla="*/ f939 1 f449"/>
              <a:gd name="f1196" fmla="*/ f940 1 f449"/>
              <a:gd name="f1197" fmla="*/ f941 1 f450"/>
              <a:gd name="f1198" fmla="*/ f942 1 f450"/>
              <a:gd name="f1199" fmla="*/ f943 1 f449"/>
              <a:gd name="f1200" fmla="*/ f944 1 f449"/>
              <a:gd name="f1201" fmla="*/ f945 1 f449"/>
              <a:gd name="f1202" fmla="*/ f946 1 f449"/>
              <a:gd name="f1203" fmla="*/ f947 1 f449"/>
              <a:gd name="f1204" fmla="*/ f948 1 f449"/>
              <a:gd name="f1205" fmla="*/ f949 1 f449"/>
              <a:gd name="f1206" fmla="*/ f950 1 f449"/>
              <a:gd name="f1207" fmla="*/ f951 1 f449"/>
              <a:gd name="f1208" fmla="*/ f952 1 f449"/>
              <a:gd name="f1209" fmla="*/ f953 1 f449"/>
              <a:gd name="f1210" fmla="*/ f954 f444 1"/>
              <a:gd name="f1211" fmla="*/ f955 f444 1"/>
              <a:gd name="f1212" fmla="*/ f957 f445 1"/>
              <a:gd name="f1213" fmla="*/ f956 f445 1"/>
              <a:gd name="f1214" fmla="*/ f959 f444 1"/>
              <a:gd name="f1215" fmla="*/ f960 f445 1"/>
              <a:gd name="f1216" fmla="*/ f961 f444 1"/>
              <a:gd name="f1217" fmla="*/ f962 f445 1"/>
              <a:gd name="f1218" fmla="*/ f963 f444 1"/>
              <a:gd name="f1219" fmla="*/ f964 f445 1"/>
              <a:gd name="f1220" fmla="*/ f965 f445 1"/>
              <a:gd name="f1221" fmla="*/ f966 f444 1"/>
              <a:gd name="f1222" fmla="*/ f967 f444 1"/>
              <a:gd name="f1223" fmla="*/ f968 f445 1"/>
              <a:gd name="f1224" fmla="*/ f969 f444 1"/>
              <a:gd name="f1225" fmla="*/ f970 f445 1"/>
              <a:gd name="f1226" fmla="*/ f971 f444 1"/>
              <a:gd name="f1227" fmla="*/ f972 f444 1"/>
              <a:gd name="f1228" fmla="*/ f973 f445 1"/>
              <a:gd name="f1229" fmla="*/ f974 f444 1"/>
              <a:gd name="f1230" fmla="*/ f975 f445 1"/>
              <a:gd name="f1231" fmla="*/ f976 f444 1"/>
              <a:gd name="f1232" fmla="*/ f977 f445 1"/>
              <a:gd name="f1233" fmla="*/ f978 f444 1"/>
              <a:gd name="f1234" fmla="*/ f979 f445 1"/>
              <a:gd name="f1235" fmla="*/ f980 f445 1"/>
              <a:gd name="f1236" fmla="*/ f981 f445 1"/>
              <a:gd name="f1237" fmla="*/ f982 f444 1"/>
              <a:gd name="f1238" fmla="*/ f983 f444 1"/>
              <a:gd name="f1239" fmla="*/ f984 f444 1"/>
              <a:gd name="f1240" fmla="*/ f985 f444 1"/>
              <a:gd name="f1241" fmla="*/ f986 f444 1"/>
              <a:gd name="f1242" fmla="*/ f987 f444 1"/>
              <a:gd name="f1243" fmla="*/ f988 f444 1"/>
              <a:gd name="f1244" fmla="*/ f989 f444 1"/>
              <a:gd name="f1245" fmla="*/ f990 f445 1"/>
              <a:gd name="f1246" fmla="*/ f991 f444 1"/>
              <a:gd name="f1247" fmla="*/ f992 f445 1"/>
              <a:gd name="f1248" fmla="*/ f993 f444 1"/>
              <a:gd name="f1249" fmla="*/ f994 f444 1"/>
              <a:gd name="f1250" fmla="*/ f995 f445 1"/>
              <a:gd name="f1251" fmla="*/ f996 f444 1"/>
              <a:gd name="f1252" fmla="*/ f997 f445 1"/>
              <a:gd name="f1253" fmla="*/ f998 f444 1"/>
              <a:gd name="f1254" fmla="*/ f999 f444 1"/>
              <a:gd name="f1255" fmla="*/ f1000 f445 1"/>
              <a:gd name="f1256" fmla="*/ f1001 f444 1"/>
              <a:gd name="f1257" fmla="*/ f1002 f445 1"/>
              <a:gd name="f1258" fmla="*/ f1003 f444 1"/>
              <a:gd name="f1259" fmla="*/ f1004 f444 1"/>
              <a:gd name="f1260" fmla="*/ f1005 f445 1"/>
              <a:gd name="f1261" fmla="*/ f1006 f444 1"/>
              <a:gd name="f1262" fmla="*/ f1007 f444 1"/>
              <a:gd name="f1263" fmla="*/ f1008 f444 1"/>
              <a:gd name="f1264" fmla="*/ f1009 f445 1"/>
              <a:gd name="f1265" fmla="*/ f1010 f444 1"/>
              <a:gd name="f1266" fmla="*/ f1011 f445 1"/>
              <a:gd name="f1267" fmla="*/ f1012 f444 1"/>
              <a:gd name="f1268" fmla="*/ f1013 f444 1"/>
              <a:gd name="f1269" fmla="*/ f1014 f444 1"/>
              <a:gd name="f1270" fmla="*/ f1015 f445 1"/>
              <a:gd name="f1271" fmla="*/ f1016 f444 1"/>
              <a:gd name="f1272" fmla="*/ f1017 f444 1"/>
              <a:gd name="f1273" fmla="*/ f1018 f444 1"/>
              <a:gd name="f1274" fmla="*/ f1019 f445 1"/>
              <a:gd name="f1275" fmla="*/ f1020 f444 1"/>
              <a:gd name="f1276" fmla="*/ f1021 f444 1"/>
              <a:gd name="f1277" fmla="*/ f1022 f444 1"/>
              <a:gd name="f1278" fmla="*/ f1023 f445 1"/>
              <a:gd name="f1279" fmla="*/ f1024 f444 1"/>
              <a:gd name="f1280" fmla="*/ f1025 f444 1"/>
              <a:gd name="f1281" fmla="*/ f1026 f444 1"/>
              <a:gd name="f1282" fmla="*/ f1027 f444 1"/>
              <a:gd name="f1283" fmla="*/ f1028 f444 1"/>
              <a:gd name="f1284" fmla="*/ f1029 f444 1"/>
              <a:gd name="f1285" fmla="*/ f1030 f444 1"/>
              <a:gd name="f1286" fmla="*/ f1031 f444 1"/>
              <a:gd name="f1287" fmla="*/ f1032 f445 1"/>
              <a:gd name="f1288" fmla="*/ f1033 f444 1"/>
              <a:gd name="f1289" fmla="*/ f1034 f444 1"/>
              <a:gd name="f1290" fmla="*/ f1035 f444 1"/>
              <a:gd name="f1291" fmla="*/ f1036 f444 1"/>
              <a:gd name="f1292" fmla="*/ f1037 f444 1"/>
              <a:gd name="f1293" fmla="*/ f1038 f444 1"/>
              <a:gd name="f1294" fmla="*/ f1039 f444 1"/>
              <a:gd name="f1295" fmla="*/ f1040 f444 1"/>
              <a:gd name="f1296" fmla="*/ f1041 f444 1"/>
              <a:gd name="f1297" fmla="*/ f1042 f444 1"/>
              <a:gd name="f1298" fmla="*/ f1043 f444 1"/>
              <a:gd name="f1299" fmla="*/ f1044 f444 1"/>
              <a:gd name="f1300" fmla="*/ f1045 f445 1"/>
              <a:gd name="f1301" fmla="*/ f1046 f444 1"/>
              <a:gd name="f1302" fmla="*/ f1047 f444 1"/>
              <a:gd name="f1303" fmla="*/ f1048 f445 1"/>
              <a:gd name="f1304" fmla="*/ f1049 f445 1"/>
              <a:gd name="f1305" fmla="*/ f1050 f444 1"/>
              <a:gd name="f1306" fmla="*/ f1051 f444 1"/>
              <a:gd name="f1307" fmla="*/ f1052 f444 1"/>
              <a:gd name="f1308" fmla="*/ f1053 f445 1"/>
              <a:gd name="f1309" fmla="*/ f1054 f444 1"/>
              <a:gd name="f1310" fmla="*/ f1055 f444 1"/>
              <a:gd name="f1311" fmla="*/ f1056 f444 1"/>
              <a:gd name="f1312" fmla="*/ f1057 f445 1"/>
              <a:gd name="f1313" fmla="*/ f1058 f444 1"/>
              <a:gd name="f1314" fmla="*/ f1059 f444 1"/>
              <a:gd name="f1315" fmla="*/ f1060 f444 1"/>
              <a:gd name="f1316" fmla="*/ f1061 f445 1"/>
              <a:gd name="f1317" fmla="*/ f1062 f444 1"/>
              <a:gd name="f1318" fmla="*/ f1063 f445 1"/>
              <a:gd name="f1319" fmla="*/ f1064 f444 1"/>
              <a:gd name="f1320" fmla="*/ f1065 f445 1"/>
              <a:gd name="f1321" fmla="*/ f1066 f445 1"/>
              <a:gd name="f1322" fmla="*/ f1067 f444 1"/>
              <a:gd name="f1323" fmla="*/ f1068 f444 1"/>
              <a:gd name="f1324" fmla="*/ f1069 f444 1"/>
              <a:gd name="f1325" fmla="*/ f1070 f445 1"/>
              <a:gd name="f1326" fmla="*/ f1071 f445 1"/>
              <a:gd name="f1327" fmla="*/ f1072 f444 1"/>
              <a:gd name="f1328" fmla="*/ f1073 f444 1"/>
              <a:gd name="f1329" fmla="*/ f1074 f444 1"/>
              <a:gd name="f1330" fmla="*/ f1075 f444 1"/>
              <a:gd name="f1331" fmla="*/ f1076 f444 1"/>
              <a:gd name="f1332" fmla="*/ f1077 f444 1"/>
              <a:gd name="f1333" fmla="*/ f1078 f444 1"/>
              <a:gd name="f1334" fmla="*/ f1079 f444 1"/>
              <a:gd name="f1335" fmla="*/ f1080 f444 1"/>
              <a:gd name="f1336" fmla="*/ f1081 f444 1"/>
              <a:gd name="f1337" fmla="*/ f1082 f444 1"/>
              <a:gd name="f1338" fmla="*/ f1083 f444 1"/>
              <a:gd name="f1339" fmla="*/ f1084 f444 1"/>
              <a:gd name="f1340" fmla="*/ f1085 f444 1"/>
              <a:gd name="f1341" fmla="*/ f1086 f444 1"/>
              <a:gd name="f1342" fmla="*/ f1087 f444 1"/>
              <a:gd name="f1343" fmla="*/ f1088 f445 1"/>
              <a:gd name="f1344" fmla="*/ f1089 f444 1"/>
              <a:gd name="f1345" fmla="*/ f1090 f444 1"/>
              <a:gd name="f1346" fmla="*/ f1091 f444 1"/>
              <a:gd name="f1347" fmla="*/ f1092 f445 1"/>
              <a:gd name="f1348" fmla="*/ f1093 f444 1"/>
              <a:gd name="f1349" fmla="*/ f1094 f445 1"/>
              <a:gd name="f1350" fmla="*/ f1095 f444 1"/>
              <a:gd name="f1351" fmla="*/ f1096 f444 1"/>
              <a:gd name="f1352" fmla="*/ f1097 f445 1"/>
              <a:gd name="f1353" fmla="*/ f1098 f444 1"/>
              <a:gd name="f1354" fmla="*/ f1099 f445 1"/>
              <a:gd name="f1355" fmla="*/ f1100 f444 1"/>
              <a:gd name="f1356" fmla="*/ f1101 f445 1"/>
              <a:gd name="f1357" fmla="*/ f1102 f444 1"/>
              <a:gd name="f1358" fmla="*/ f1103 f445 1"/>
              <a:gd name="f1359" fmla="*/ f1104 f444 1"/>
              <a:gd name="f1360" fmla="*/ f1105 f445 1"/>
              <a:gd name="f1361" fmla="*/ f1106 f444 1"/>
              <a:gd name="f1362" fmla="*/ f1107 f444 1"/>
              <a:gd name="f1363" fmla="*/ f1108 f445 1"/>
              <a:gd name="f1364" fmla="*/ f1109 f444 1"/>
              <a:gd name="f1365" fmla="*/ f1110 f445 1"/>
              <a:gd name="f1366" fmla="*/ f1111 f444 1"/>
              <a:gd name="f1367" fmla="*/ f1112 f444 1"/>
              <a:gd name="f1368" fmla="*/ f1113 f445 1"/>
              <a:gd name="f1369" fmla="*/ f1114 f444 1"/>
              <a:gd name="f1370" fmla="*/ f1115 f445 1"/>
              <a:gd name="f1371" fmla="*/ f1116 f444 1"/>
              <a:gd name="f1372" fmla="*/ f1117 f444 1"/>
              <a:gd name="f1373" fmla="*/ f1118 f445 1"/>
              <a:gd name="f1374" fmla="*/ f1119 f444 1"/>
              <a:gd name="f1375" fmla="*/ f1120 f445 1"/>
              <a:gd name="f1376" fmla="*/ f1121 f444 1"/>
              <a:gd name="f1377" fmla="*/ f1122 f445 1"/>
              <a:gd name="f1378" fmla="*/ f1123 f444 1"/>
              <a:gd name="f1379" fmla="*/ f1124 f445 1"/>
              <a:gd name="f1380" fmla="*/ f1125 f444 1"/>
              <a:gd name="f1381" fmla="*/ f1126 f444 1"/>
              <a:gd name="f1382" fmla="*/ f1127 f444 1"/>
              <a:gd name="f1383" fmla="*/ f1128 f444 1"/>
              <a:gd name="f1384" fmla="*/ f1129 f444 1"/>
              <a:gd name="f1385" fmla="*/ f1130 f445 1"/>
              <a:gd name="f1386" fmla="*/ f1131 f444 1"/>
              <a:gd name="f1387" fmla="*/ f1132 f445 1"/>
              <a:gd name="f1388" fmla="*/ f1133 f444 1"/>
              <a:gd name="f1389" fmla="*/ f1134 f444 1"/>
              <a:gd name="f1390" fmla="*/ f1135 f445 1"/>
              <a:gd name="f1391" fmla="*/ f1136 f444 1"/>
              <a:gd name="f1392" fmla="*/ f1137 f444 1"/>
              <a:gd name="f1393" fmla="*/ f1138 f444 1"/>
              <a:gd name="f1394" fmla="*/ f1139 f444 1"/>
              <a:gd name="f1395" fmla="*/ f1140 f444 1"/>
              <a:gd name="f1396" fmla="*/ f1141 f444 1"/>
              <a:gd name="f1397" fmla="*/ f1142 f444 1"/>
              <a:gd name="f1398" fmla="*/ f1143 f445 1"/>
              <a:gd name="f1399" fmla="*/ f1144 f445 1"/>
              <a:gd name="f1400" fmla="*/ f1145 f444 1"/>
              <a:gd name="f1401" fmla="*/ f1146 f444 1"/>
              <a:gd name="f1402" fmla="*/ f1147 f445 1"/>
              <a:gd name="f1403" fmla="*/ f1148 f444 1"/>
              <a:gd name="f1404" fmla="*/ f1149 f445 1"/>
              <a:gd name="f1405" fmla="*/ f1150 f444 1"/>
              <a:gd name="f1406" fmla="*/ f1151 f445 1"/>
              <a:gd name="f1407" fmla="*/ f1152 f444 1"/>
              <a:gd name="f1408" fmla="*/ f1153 f445 1"/>
              <a:gd name="f1409" fmla="*/ f1154 f444 1"/>
              <a:gd name="f1410" fmla="*/ f1155 f444 1"/>
              <a:gd name="f1411" fmla="*/ f1156 f444 1"/>
              <a:gd name="f1412" fmla="*/ f1157 f444 1"/>
              <a:gd name="f1413" fmla="*/ f1158 f445 1"/>
              <a:gd name="f1414" fmla="*/ f1159 f444 1"/>
              <a:gd name="f1415" fmla="*/ f1160 f445 1"/>
              <a:gd name="f1416" fmla="*/ f1161 f444 1"/>
              <a:gd name="f1417" fmla="*/ f1162 f444 1"/>
              <a:gd name="f1418" fmla="*/ f1163 f444 1"/>
              <a:gd name="f1419" fmla="*/ f1164 f445 1"/>
              <a:gd name="f1420" fmla="*/ f1165 f444 1"/>
              <a:gd name="f1421" fmla="*/ f1166 f444 1"/>
              <a:gd name="f1422" fmla="*/ f1167 f445 1"/>
              <a:gd name="f1423" fmla="*/ f1168 f444 1"/>
              <a:gd name="f1424" fmla="*/ f1169 f445 1"/>
              <a:gd name="f1425" fmla="*/ f1170 f444 1"/>
              <a:gd name="f1426" fmla="*/ f1171 f445 1"/>
              <a:gd name="f1427" fmla="*/ f1172 f445 1"/>
              <a:gd name="f1428" fmla="*/ f1173 f444 1"/>
              <a:gd name="f1429" fmla="*/ f1174 f444 1"/>
              <a:gd name="f1430" fmla="*/ f1175 f444 1"/>
              <a:gd name="f1431" fmla="*/ f1176 f445 1"/>
              <a:gd name="f1432" fmla="*/ f1177 f444 1"/>
              <a:gd name="f1433" fmla="*/ f1178 f444 1"/>
              <a:gd name="f1434" fmla="*/ f1179 f444 1"/>
              <a:gd name="f1435" fmla="*/ f1180 f445 1"/>
              <a:gd name="f1436" fmla="*/ f1181 f444 1"/>
              <a:gd name="f1437" fmla="*/ f1182 f445 1"/>
              <a:gd name="f1438" fmla="*/ f1183 f444 1"/>
              <a:gd name="f1439" fmla="*/ f1184 f444 1"/>
              <a:gd name="f1440" fmla="*/ f1185 f445 1"/>
              <a:gd name="f1441" fmla="*/ f1186 f444 1"/>
              <a:gd name="f1442" fmla="*/ f1187 f444 1"/>
              <a:gd name="f1443" fmla="*/ f1188 f444 1"/>
              <a:gd name="f1444" fmla="*/ f1189 f444 1"/>
              <a:gd name="f1445" fmla="*/ f1190 f444 1"/>
              <a:gd name="f1446" fmla="*/ f1191 f444 1"/>
              <a:gd name="f1447" fmla="*/ f1192 f445 1"/>
              <a:gd name="f1448" fmla="*/ f1193 f444 1"/>
              <a:gd name="f1449" fmla="*/ f1194 f444 1"/>
              <a:gd name="f1450" fmla="*/ f1195 f444 1"/>
              <a:gd name="f1451" fmla="*/ f1196 f444 1"/>
              <a:gd name="f1452" fmla="*/ f1197 f445 1"/>
              <a:gd name="f1453" fmla="*/ f1198 f445 1"/>
              <a:gd name="f1454" fmla="*/ f1199 f444 1"/>
              <a:gd name="f1455" fmla="*/ f1200 f444 1"/>
              <a:gd name="f1456" fmla="*/ f1201 f444 1"/>
              <a:gd name="f1457" fmla="*/ f1202 f444 1"/>
              <a:gd name="f1458" fmla="*/ f1203 f444 1"/>
              <a:gd name="f1459" fmla="*/ f1204 f444 1"/>
              <a:gd name="f1460" fmla="*/ f1205 f444 1"/>
              <a:gd name="f1461" fmla="*/ f1206 f444 1"/>
              <a:gd name="f1462" fmla="*/ f1207 f444 1"/>
              <a:gd name="f1463" fmla="*/ f1208 f444 1"/>
              <a:gd name="f1464" fmla="*/ f1209 f44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958">
                <a:pos x="f1214" y="f1215"/>
              </a:cxn>
              <a:cxn ang="f958">
                <a:pos x="f1216" y="f1215"/>
              </a:cxn>
              <a:cxn ang="f958">
                <a:pos x="f1216" y="f1217"/>
              </a:cxn>
              <a:cxn ang="f958">
                <a:pos x="f1214" y="f1217"/>
              </a:cxn>
              <a:cxn ang="f958">
                <a:pos x="f1214" y="f1215"/>
              </a:cxn>
              <a:cxn ang="f958">
                <a:pos x="f1218" y="f1219"/>
              </a:cxn>
              <a:cxn ang="f958">
                <a:pos x="f1218" y="f1220"/>
              </a:cxn>
              <a:cxn ang="f958">
                <a:pos x="f1221" y="f1220"/>
              </a:cxn>
              <a:cxn ang="f958">
                <a:pos x="f1222" y="f1223"/>
              </a:cxn>
              <a:cxn ang="f958">
                <a:pos x="f1221" y="f1219"/>
              </a:cxn>
              <a:cxn ang="f958">
                <a:pos x="f1218" y="f1219"/>
              </a:cxn>
              <a:cxn ang="f958">
                <a:pos x="f1224" y="f1219"/>
              </a:cxn>
              <a:cxn ang="f958">
                <a:pos x="f1224" y="f1225"/>
              </a:cxn>
              <a:cxn ang="f958">
                <a:pos x="f1226" y="f1225"/>
              </a:cxn>
              <a:cxn ang="f958">
                <a:pos x="f1227" y="f1228"/>
              </a:cxn>
              <a:cxn ang="f958">
                <a:pos x="f1226" y="f1219"/>
              </a:cxn>
              <a:cxn ang="f958">
                <a:pos x="f1224" y="f1219"/>
              </a:cxn>
              <a:cxn ang="f958">
                <a:pos x="f1229" y="f1230"/>
              </a:cxn>
              <a:cxn ang="f958">
                <a:pos x="f1231" y="f1232"/>
              </a:cxn>
              <a:cxn ang="f958">
                <a:pos x="f1233" y="f1234"/>
              </a:cxn>
              <a:cxn ang="f958">
                <a:pos x="f1231" y="f1235"/>
              </a:cxn>
              <a:cxn ang="f958">
                <a:pos x="f1229" y="f1236"/>
              </a:cxn>
              <a:cxn ang="f958">
                <a:pos x="f1237" y="f1235"/>
              </a:cxn>
              <a:cxn ang="f958">
                <a:pos x="f1238" y="f1234"/>
              </a:cxn>
              <a:cxn ang="f958">
                <a:pos x="f1237" y="f1232"/>
              </a:cxn>
              <a:cxn ang="f958">
                <a:pos x="f1229" y="f1230"/>
              </a:cxn>
              <a:cxn ang="f958">
                <a:pos x="f1239" y="f1230"/>
              </a:cxn>
              <a:cxn ang="f958">
                <a:pos x="f1240" y="f1232"/>
              </a:cxn>
              <a:cxn ang="f958">
                <a:pos x="f1241" y="f1234"/>
              </a:cxn>
              <a:cxn ang="f958">
                <a:pos x="f1240" y="f1235"/>
              </a:cxn>
              <a:cxn ang="f958">
                <a:pos x="f1239" y="f1236"/>
              </a:cxn>
              <a:cxn ang="f958">
                <a:pos x="f1242" y="f1235"/>
              </a:cxn>
              <a:cxn ang="f958">
                <a:pos x="f1243" y="f1234"/>
              </a:cxn>
              <a:cxn ang="f958">
                <a:pos x="f1242" y="f1232"/>
              </a:cxn>
              <a:cxn ang="f958">
                <a:pos x="f1239" y="f1230"/>
              </a:cxn>
              <a:cxn ang="f958">
                <a:pos x="f1244" y="f1245"/>
              </a:cxn>
              <a:cxn ang="f958">
                <a:pos x="f1221" y="f1245"/>
              </a:cxn>
              <a:cxn ang="f958">
                <a:pos x="f1246" y="f1247"/>
              </a:cxn>
              <a:cxn ang="f958">
                <a:pos x="f1248" y="f1223"/>
              </a:cxn>
              <a:cxn ang="f958">
                <a:pos x="f1249" y="f1250"/>
              </a:cxn>
              <a:cxn ang="f958">
                <a:pos x="f1251" y="f1252"/>
              </a:cxn>
              <a:cxn ang="f958">
                <a:pos x="f1218" y="f1252"/>
              </a:cxn>
              <a:cxn ang="f958">
                <a:pos x="f1218" y="f1215"/>
              </a:cxn>
              <a:cxn ang="f958">
                <a:pos x="f1244" y="f1215"/>
              </a:cxn>
              <a:cxn ang="f958">
                <a:pos x="f1244" y="f1245"/>
              </a:cxn>
              <a:cxn ang="f958">
                <a:pos x="f1253" y="f1245"/>
              </a:cxn>
              <a:cxn ang="f958">
                <a:pos x="f1254" y="f1245"/>
              </a:cxn>
              <a:cxn ang="f958">
                <a:pos x="f1254" y="f1255"/>
              </a:cxn>
              <a:cxn ang="f958">
                <a:pos x="f1256" y="f1257"/>
              </a:cxn>
              <a:cxn ang="f958">
                <a:pos x="f1258" y="f1255"/>
              </a:cxn>
              <a:cxn ang="f958">
                <a:pos x="f1258" y="f1245"/>
              </a:cxn>
              <a:cxn ang="f958">
                <a:pos x="f1259" y="f1245"/>
              </a:cxn>
              <a:cxn ang="f958">
                <a:pos x="f1259" y="f1255"/>
              </a:cxn>
              <a:cxn ang="f958">
                <a:pos x="f1256" y="f1260"/>
              </a:cxn>
              <a:cxn ang="f958">
                <a:pos x="f1253" y="f1255"/>
              </a:cxn>
              <a:cxn ang="f958">
                <a:pos x="f1253" y="f1245"/>
              </a:cxn>
              <a:cxn ang="f958">
                <a:pos x="f1261" y="f1245"/>
              </a:cxn>
              <a:cxn ang="f958">
                <a:pos x="f1226" y="f1245"/>
              </a:cxn>
              <a:cxn ang="f958">
                <a:pos x="f1262" y="f1247"/>
              </a:cxn>
              <a:cxn ang="f958">
                <a:pos x="f1263" y="f1228"/>
              </a:cxn>
              <a:cxn ang="f958">
                <a:pos x="f1262" y="f1264"/>
              </a:cxn>
              <a:cxn ang="f958">
                <a:pos x="f1265" y="f1266"/>
              </a:cxn>
              <a:cxn ang="f958">
                <a:pos x="f1267" y="f1215"/>
              </a:cxn>
              <a:cxn ang="f958">
                <a:pos x="f1268" y="f1215"/>
              </a:cxn>
              <a:cxn ang="f958">
                <a:pos x="f1269" y="f1270"/>
              </a:cxn>
              <a:cxn ang="f958">
                <a:pos x="f1224" y="f1270"/>
              </a:cxn>
              <a:cxn ang="f958">
                <a:pos x="f1224" y="f1215"/>
              </a:cxn>
              <a:cxn ang="f958">
                <a:pos x="f1261" y="f1215"/>
              </a:cxn>
              <a:cxn ang="f958">
                <a:pos x="f1261" y="f1245"/>
              </a:cxn>
              <a:cxn ang="f958">
                <a:pos x="f1271" y="f1245"/>
              </a:cxn>
              <a:cxn ang="f958">
                <a:pos x="f1272" y="f1245"/>
              </a:cxn>
              <a:cxn ang="f958">
                <a:pos x="f1273" y="f1274"/>
              </a:cxn>
              <a:cxn ang="f958">
                <a:pos x="f1273" y="f1245"/>
              </a:cxn>
              <a:cxn ang="f958">
                <a:pos x="f1275" y="f1245"/>
              </a:cxn>
              <a:cxn ang="f958">
                <a:pos x="f1275" y="f1215"/>
              </a:cxn>
              <a:cxn ang="f958">
                <a:pos x="f1276" y="f1215"/>
              </a:cxn>
              <a:cxn ang="f958">
                <a:pos x="f1277" y="f1278"/>
              </a:cxn>
              <a:cxn ang="f958">
                <a:pos x="f1277" y="f1215"/>
              </a:cxn>
              <a:cxn ang="f958">
                <a:pos x="f1271" y="f1215"/>
              </a:cxn>
              <a:cxn ang="f958">
                <a:pos x="f1271" y="f1245"/>
              </a:cxn>
              <a:cxn ang="f958">
                <a:pos x="f1279" y="f1245"/>
              </a:cxn>
              <a:cxn ang="f958">
                <a:pos x="f1280" y="f1245"/>
              </a:cxn>
              <a:cxn ang="f958">
                <a:pos x="f1280" y="f1215"/>
              </a:cxn>
              <a:cxn ang="f958">
                <a:pos x="f1279" y="f1215"/>
              </a:cxn>
              <a:cxn ang="f958">
                <a:pos x="f1279" y="f1245"/>
              </a:cxn>
              <a:cxn ang="f958">
                <a:pos x="f1281" y="f1245"/>
              </a:cxn>
              <a:cxn ang="f958">
                <a:pos x="f1282" y="f1245"/>
              </a:cxn>
              <a:cxn ang="f958">
                <a:pos x="f1282" y="f1219"/>
              </a:cxn>
              <a:cxn ang="f958">
                <a:pos x="f1283" y="f1219"/>
              </a:cxn>
              <a:cxn ang="f958">
                <a:pos x="f1283" y="f1215"/>
              </a:cxn>
              <a:cxn ang="f958">
                <a:pos x="f1284" y="f1215"/>
              </a:cxn>
              <a:cxn ang="f958">
                <a:pos x="f1284" y="f1219"/>
              </a:cxn>
              <a:cxn ang="f958">
                <a:pos x="f1281" y="f1219"/>
              </a:cxn>
              <a:cxn ang="f958">
                <a:pos x="f1281" y="f1245"/>
              </a:cxn>
              <a:cxn ang="f958">
                <a:pos x="f1285" y="f1245"/>
              </a:cxn>
              <a:cxn ang="f958">
                <a:pos x="f1286" y="f1245"/>
              </a:cxn>
              <a:cxn ang="f958">
                <a:pos x="f1286" y="f1287"/>
              </a:cxn>
              <a:cxn ang="f958">
                <a:pos x="f1288" y="f1287"/>
              </a:cxn>
              <a:cxn ang="f958">
                <a:pos x="f1288" y="f1215"/>
              </a:cxn>
              <a:cxn ang="f958">
                <a:pos x="f1285" y="f1215"/>
              </a:cxn>
              <a:cxn ang="f958">
                <a:pos x="f1285" y="f1245"/>
              </a:cxn>
              <a:cxn ang="f958">
                <a:pos x="f1289" y="f1245"/>
              </a:cxn>
              <a:cxn ang="f958">
                <a:pos x="f1290" y="f1245"/>
              </a:cxn>
              <a:cxn ang="f958">
                <a:pos x="f1290" y="f1255"/>
              </a:cxn>
              <a:cxn ang="f958">
                <a:pos x="f1291" y="f1257"/>
              </a:cxn>
              <a:cxn ang="f958">
                <a:pos x="f1292" y="f1255"/>
              </a:cxn>
              <a:cxn ang="f958">
                <a:pos x="f1292" y="f1245"/>
              </a:cxn>
              <a:cxn ang="f958">
                <a:pos x="f1293" y="f1245"/>
              </a:cxn>
              <a:cxn ang="f958">
                <a:pos x="f1293" y="f1255"/>
              </a:cxn>
              <a:cxn ang="f958">
                <a:pos x="f1291" y="f1260"/>
              </a:cxn>
              <a:cxn ang="f958">
                <a:pos x="f1289" y="f1255"/>
              </a:cxn>
              <a:cxn ang="f958">
                <a:pos x="f1289" y="f1245"/>
              </a:cxn>
              <a:cxn ang="f958">
                <a:pos x="f1294" y="f1245"/>
              </a:cxn>
              <a:cxn ang="f958">
                <a:pos x="f1295" y="f1245"/>
              </a:cxn>
              <a:cxn ang="f958">
                <a:pos x="f1296" y="f1274"/>
              </a:cxn>
              <a:cxn ang="f958">
                <a:pos x="f1296" y="f1245"/>
              </a:cxn>
              <a:cxn ang="f958">
                <a:pos x="f1297" y="f1245"/>
              </a:cxn>
              <a:cxn ang="f958">
                <a:pos x="f1297" y="f1215"/>
              </a:cxn>
              <a:cxn ang="f958">
                <a:pos x="f1298" y="f1215"/>
              </a:cxn>
              <a:cxn ang="f958">
                <a:pos x="f1299" y="f1278"/>
              </a:cxn>
              <a:cxn ang="f958">
                <a:pos x="f1299" y="f1215"/>
              </a:cxn>
              <a:cxn ang="f958">
                <a:pos x="f1294" y="f1215"/>
              </a:cxn>
              <a:cxn ang="f958">
                <a:pos x="f1294" y="f1245"/>
              </a:cxn>
              <a:cxn ang="f958">
                <a:pos x="f1229" y="f1300"/>
              </a:cxn>
              <a:cxn ang="f958">
                <a:pos x="f1301" y="f1247"/>
              </a:cxn>
              <a:cxn ang="f958">
                <a:pos x="f1302" y="f1234"/>
              </a:cxn>
              <a:cxn ang="f958">
                <a:pos x="f1301" y="f1303"/>
              </a:cxn>
              <a:cxn ang="f958">
                <a:pos x="f1229" y="f1304"/>
              </a:cxn>
              <a:cxn ang="f958">
                <a:pos x="f1233" y="f1303"/>
              </a:cxn>
              <a:cxn ang="f958">
                <a:pos x="f1305" y="f1234"/>
              </a:cxn>
              <a:cxn ang="f958">
                <a:pos x="f1233" y="f1247"/>
              </a:cxn>
              <a:cxn ang="f958">
                <a:pos x="f1229" y="f1300"/>
              </a:cxn>
              <a:cxn ang="f958">
                <a:pos x="f1306" y="f1300"/>
              </a:cxn>
              <a:cxn ang="f958">
                <a:pos x="f1307" y="f1308"/>
              </a:cxn>
              <a:cxn ang="f958">
                <a:pos x="f1309" y="f1228"/>
              </a:cxn>
              <a:cxn ang="f958">
                <a:pos x="f1310" y="f1228"/>
              </a:cxn>
              <a:cxn ang="f958">
                <a:pos x="f1311" y="f1312"/>
              </a:cxn>
              <a:cxn ang="f958">
                <a:pos x="f1306" y="f1230"/>
              </a:cxn>
              <a:cxn ang="f958">
                <a:pos x="f1313" y="f1232"/>
              </a:cxn>
              <a:cxn ang="f958">
                <a:pos x="f1314" y="f1234"/>
              </a:cxn>
              <a:cxn ang="f958">
                <a:pos x="f1315" y="f1316"/>
              </a:cxn>
              <a:cxn ang="f958">
                <a:pos x="f1306" y="f1257"/>
              </a:cxn>
              <a:cxn ang="f958">
                <a:pos x="f1317" y="f1318"/>
              </a:cxn>
              <a:cxn ang="f958">
                <a:pos x="f1319" y="f1320"/>
              </a:cxn>
              <a:cxn ang="f958">
                <a:pos x="f1306" y="f1320"/>
              </a:cxn>
              <a:cxn ang="f958">
                <a:pos x="f1306" y="f1321"/>
              </a:cxn>
              <a:cxn ang="f958">
                <a:pos x="f1322" y="f1321"/>
              </a:cxn>
              <a:cxn ang="f958">
                <a:pos x="f1322" y="f1215"/>
              </a:cxn>
              <a:cxn ang="f958">
                <a:pos x="f1323" y="f1215"/>
              </a:cxn>
              <a:cxn ang="f958">
                <a:pos x="f1324" y="f1325"/>
              </a:cxn>
              <a:cxn ang="f958">
                <a:pos x="f1306" y="f1304"/>
              </a:cxn>
              <a:cxn ang="f958">
                <a:pos x="f1314" y="f1326"/>
              </a:cxn>
              <a:cxn ang="f958">
                <a:pos x="f1327" y="f1234"/>
              </a:cxn>
              <a:cxn ang="f958">
                <a:pos x="f1314" y="f1247"/>
              </a:cxn>
              <a:cxn ang="f958">
                <a:pos x="f1306" y="f1300"/>
              </a:cxn>
              <a:cxn ang="f958">
                <a:pos x="f1328" y="f1300"/>
              </a:cxn>
              <a:cxn ang="f958">
                <a:pos x="f1329" y="f1308"/>
              </a:cxn>
              <a:cxn ang="f958">
                <a:pos x="f1330" y="f1228"/>
              </a:cxn>
              <a:cxn ang="f958">
                <a:pos x="f1331" y="f1228"/>
              </a:cxn>
              <a:cxn ang="f958">
                <a:pos x="f1332" y="f1312"/>
              </a:cxn>
              <a:cxn ang="f958">
                <a:pos x="f1328" y="f1230"/>
              </a:cxn>
              <a:cxn ang="f958">
                <a:pos x="f1333" y="f1232"/>
              </a:cxn>
              <a:cxn ang="f958">
                <a:pos x="f1334" y="f1234"/>
              </a:cxn>
              <a:cxn ang="f958">
                <a:pos x="f1333" y="f1316"/>
              </a:cxn>
              <a:cxn ang="f958">
                <a:pos x="f1328" y="f1257"/>
              </a:cxn>
              <a:cxn ang="f958">
                <a:pos x="f1335" y="f1318"/>
              </a:cxn>
              <a:cxn ang="f958">
                <a:pos x="f1336" y="f1320"/>
              </a:cxn>
              <a:cxn ang="f958">
                <a:pos x="f1328" y="f1320"/>
              </a:cxn>
              <a:cxn ang="f958">
                <a:pos x="f1328" y="f1321"/>
              </a:cxn>
              <a:cxn ang="f958">
                <a:pos x="f1337" y="f1321"/>
              </a:cxn>
              <a:cxn ang="f958">
                <a:pos x="f1337" y="f1215"/>
              </a:cxn>
              <a:cxn ang="f958">
                <a:pos x="f1338" y="f1215"/>
              </a:cxn>
              <a:cxn ang="f958">
                <a:pos x="f1339" y="f1325"/>
              </a:cxn>
              <a:cxn ang="f958">
                <a:pos x="f1328" y="f1304"/>
              </a:cxn>
              <a:cxn ang="f958">
                <a:pos x="f1334" y="f1326"/>
              </a:cxn>
              <a:cxn ang="f958">
                <a:pos x="f1340" y="f1234"/>
              </a:cxn>
              <a:cxn ang="f958">
                <a:pos x="f1334" y="f1247"/>
              </a:cxn>
              <a:cxn ang="f958">
                <a:pos x="f1328" y="f1300"/>
              </a:cxn>
              <a:cxn ang="f958">
                <a:pos x="f1341" y="f1300"/>
              </a:cxn>
              <a:cxn ang="f958">
                <a:pos x="f1342" y="f1343"/>
              </a:cxn>
              <a:cxn ang="f958">
                <a:pos x="f1344" y="f1228"/>
              </a:cxn>
              <a:cxn ang="f958">
                <a:pos x="f1345" y="f1228"/>
              </a:cxn>
              <a:cxn ang="f958">
                <a:pos x="f1346" y="f1347"/>
              </a:cxn>
              <a:cxn ang="f958">
                <a:pos x="f1348" y="f1349"/>
              </a:cxn>
              <a:cxn ang="f958">
                <a:pos x="f1350" y="f1347"/>
              </a:cxn>
              <a:cxn ang="f958">
                <a:pos x="f1351" y="f1352"/>
              </a:cxn>
              <a:cxn ang="f958">
                <a:pos x="f1353" y="f1354"/>
              </a:cxn>
              <a:cxn ang="f958">
                <a:pos x="f1355" y="f1356"/>
              </a:cxn>
              <a:cxn ang="f958">
                <a:pos x="f1357" y="f1358"/>
              </a:cxn>
              <a:cxn ang="f958">
                <a:pos x="f1359" y="f1360"/>
              </a:cxn>
              <a:cxn ang="f958">
                <a:pos x="f1361" y="f1260"/>
              </a:cxn>
              <a:cxn ang="f958">
                <a:pos x="f1362" y="f1363"/>
              </a:cxn>
              <a:cxn ang="f958">
                <a:pos x="f1364" y="f1365"/>
              </a:cxn>
              <a:cxn ang="f958">
                <a:pos x="f1366" y="f1365"/>
              </a:cxn>
              <a:cxn ang="f958">
                <a:pos x="f1367" y="f1368"/>
              </a:cxn>
              <a:cxn ang="f958">
                <a:pos x="f1361" y="f1257"/>
              </a:cxn>
              <a:cxn ang="f958">
                <a:pos x="f1369" y="f1370"/>
              </a:cxn>
              <a:cxn ang="f958">
                <a:pos x="f1371" y="f1358"/>
              </a:cxn>
              <a:cxn ang="f958">
                <a:pos x="f1372" y="f1373"/>
              </a:cxn>
              <a:cxn ang="f958">
                <a:pos x="f1374" y="f1375"/>
              </a:cxn>
              <a:cxn ang="f958">
                <a:pos x="f1376" y="f1377"/>
              </a:cxn>
              <a:cxn ang="f958">
                <a:pos x="f1378" y="f1379"/>
              </a:cxn>
              <a:cxn ang="f958">
                <a:pos x="f1341" y="f1300"/>
              </a:cxn>
              <a:cxn ang="f958">
                <a:pos x="f1239" y="f1300"/>
              </a:cxn>
              <a:cxn ang="f958">
                <a:pos x="f1243" y="f1247"/>
              </a:cxn>
              <a:cxn ang="f958">
                <a:pos x="f1380" y="f1234"/>
              </a:cxn>
              <a:cxn ang="f958">
                <a:pos x="f1243" y="f1303"/>
              </a:cxn>
              <a:cxn ang="f958">
                <a:pos x="f1239" y="f1304"/>
              </a:cxn>
              <a:cxn ang="f958">
                <a:pos x="f1381" y="f1303"/>
              </a:cxn>
              <a:cxn ang="f958">
                <a:pos x="f1382" y="f1234"/>
              </a:cxn>
              <a:cxn ang="f958">
                <a:pos x="f1381" y="f1247"/>
              </a:cxn>
              <a:cxn ang="f958">
                <a:pos x="f1239" y="f1300"/>
              </a:cxn>
              <a:cxn ang="f958">
                <a:pos x="f1383" y="f1300"/>
              </a:cxn>
              <a:cxn ang="f958">
                <a:pos x="f1384" y="f1385"/>
              </a:cxn>
              <a:cxn ang="f958">
                <a:pos x="f1386" y="f1387"/>
              </a:cxn>
              <a:cxn ang="f958">
                <a:pos x="f1388" y="f1387"/>
              </a:cxn>
              <a:cxn ang="f958">
                <a:pos x="f1389" y="f1390"/>
              </a:cxn>
              <a:cxn ang="f958">
                <a:pos x="f1383" y="f1230"/>
              </a:cxn>
              <a:cxn ang="f958">
                <a:pos x="f1391" y="f1232"/>
              </a:cxn>
              <a:cxn ang="f958">
                <a:pos x="f1392" y="f1234"/>
              </a:cxn>
              <a:cxn ang="f958">
                <a:pos x="f1391" y="f1235"/>
              </a:cxn>
              <a:cxn ang="f958">
                <a:pos x="f1383" y="f1257"/>
              </a:cxn>
              <a:cxn ang="f958">
                <a:pos x="f1393" y="f1235"/>
              </a:cxn>
              <a:cxn ang="f958">
                <a:pos x="f1388" y="f1365"/>
              </a:cxn>
              <a:cxn ang="f958">
                <a:pos x="f1394" y="f1365"/>
              </a:cxn>
              <a:cxn ang="f958">
                <a:pos x="f1384" y="f1303"/>
              </a:cxn>
              <a:cxn ang="f958">
                <a:pos x="f1383" y="f1304"/>
              </a:cxn>
              <a:cxn ang="f958">
                <a:pos x="f1395" y="f1303"/>
              </a:cxn>
              <a:cxn ang="f958">
                <a:pos x="f1396" y="f1234"/>
              </a:cxn>
              <a:cxn ang="f958">
                <a:pos x="f1395" y="f1247"/>
              </a:cxn>
              <a:cxn ang="f958">
                <a:pos x="f1383" y="f1300"/>
              </a:cxn>
              <a:cxn ang="f958">
                <a:pos x="f1397" y="f1398"/>
              </a:cxn>
              <a:cxn ang="f958">
                <a:pos x="f1397" y="f1399"/>
              </a:cxn>
              <a:cxn ang="f958">
                <a:pos x="f1400" y="f1399"/>
              </a:cxn>
              <a:cxn ang="f958">
                <a:pos x="f1401" y="f1402"/>
              </a:cxn>
              <a:cxn ang="f958">
                <a:pos x="f1400" y="f1398"/>
              </a:cxn>
              <a:cxn ang="f958">
                <a:pos x="f1397" y="f1398"/>
              </a:cxn>
              <a:cxn ang="f958">
                <a:pos x="f1403" y="f1404"/>
              </a:cxn>
              <a:cxn ang="f958">
                <a:pos x="f1405" y="f1404"/>
              </a:cxn>
              <a:cxn ang="f958">
                <a:pos x="f1405" y="f1406"/>
              </a:cxn>
              <a:cxn ang="f958">
                <a:pos x="f1407" y="f1406"/>
              </a:cxn>
              <a:cxn ang="f958">
                <a:pos x="f1407" y="f1408"/>
              </a:cxn>
              <a:cxn ang="f958">
                <a:pos x="f1409" y="f1408"/>
              </a:cxn>
              <a:cxn ang="f958">
                <a:pos x="f1409" y="f1406"/>
              </a:cxn>
              <a:cxn ang="f958">
                <a:pos x="f1403" y="f1406"/>
              </a:cxn>
              <a:cxn ang="f958">
                <a:pos x="f1410" y="f1404"/>
              </a:cxn>
              <a:cxn ang="f958">
                <a:pos x="f1411" y="f1404"/>
              </a:cxn>
              <a:cxn ang="f958">
                <a:pos x="f1412" y="f1413"/>
              </a:cxn>
              <a:cxn ang="f958">
                <a:pos x="f1414" y="f1415"/>
              </a:cxn>
              <a:cxn ang="f958">
                <a:pos x="f1414" y="f1404"/>
              </a:cxn>
              <a:cxn ang="f958">
                <a:pos x="f1416" y="f1404"/>
              </a:cxn>
              <a:cxn ang="f958">
                <a:pos x="f1416" y="f1408"/>
              </a:cxn>
              <a:cxn ang="f958">
                <a:pos x="f1417" y="f1408"/>
              </a:cxn>
              <a:cxn ang="f958">
                <a:pos x="f1418" y="f1419"/>
              </a:cxn>
              <a:cxn ang="f958">
                <a:pos x="f1418" y="f1408"/>
              </a:cxn>
              <a:cxn ang="f958">
                <a:pos x="f1410" y="f1408"/>
              </a:cxn>
              <a:cxn ang="f958">
                <a:pos x="f1420" y="f1404"/>
              </a:cxn>
              <a:cxn ang="f958">
                <a:pos x="f1421" y="f1404"/>
              </a:cxn>
              <a:cxn ang="f958">
                <a:pos x="f1421" y="f1422"/>
              </a:cxn>
              <a:cxn ang="f958">
                <a:pos x="f1423" y="f1422"/>
              </a:cxn>
              <a:cxn ang="f958">
                <a:pos x="f1423" y="f1424"/>
              </a:cxn>
              <a:cxn ang="f958">
                <a:pos x="f1425" y="f1424"/>
              </a:cxn>
              <a:cxn ang="f958">
                <a:pos x="f1425" y="f1426"/>
              </a:cxn>
              <a:cxn ang="f958">
                <a:pos x="f1423" y="f1426"/>
              </a:cxn>
              <a:cxn ang="f958">
                <a:pos x="f1423" y="f1427"/>
              </a:cxn>
              <a:cxn ang="f958">
                <a:pos x="f1421" y="f1427"/>
              </a:cxn>
              <a:cxn ang="f958">
                <a:pos x="f1421" y="f1408"/>
              </a:cxn>
              <a:cxn ang="f958">
                <a:pos x="f1420" y="f1408"/>
              </a:cxn>
              <a:cxn ang="f958">
                <a:pos x="f1428" y="f1404"/>
              </a:cxn>
              <a:cxn ang="f958">
                <a:pos x="f1429" y="f1404"/>
              </a:cxn>
              <a:cxn ang="f958">
                <a:pos x="f1430" y="f1431"/>
              </a:cxn>
              <a:cxn ang="f958">
                <a:pos x="f1432" y="f1404"/>
              </a:cxn>
              <a:cxn ang="f958">
                <a:pos x="f1433" y="f1404"/>
              </a:cxn>
              <a:cxn ang="f958">
                <a:pos x="f1433" y="f1408"/>
              </a:cxn>
              <a:cxn ang="f958">
                <a:pos x="f1434" y="f1408"/>
              </a:cxn>
              <a:cxn ang="f958">
                <a:pos x="f1434" y="f1435"/>
              </a:cxn>
              <a:cxn ang="f958">
                <a:pos x="f1436" y="f1437"/>
              </a:cxn>
              <a:cxn ang="f958">
                <a:pos x="f1438" y="f1437"/>
              </a:cxn>
              <a:cxn ang="f958">
                <a:pos x="f1439" y="f1440"/>
              </a:cxn>
              <a:cxn ang="f958">
                <a:pos x="f1439" y="f1408"/>
              </a:cxn>
              <a:cxn ang="f958">
                <a:pos x="f1428" y="f1408"/>
              </a:cxn>
              <a:cxn ang="f958">
                <a:pos x="f1441" y="f1404"/>
              </a:cxn>
              <a:cxn ang="f958">
                <a:pos x="f1442" y="f1404"/>
              </a:cxn>
              <a:cxn ang="f958">
                <a:pos x="f1442" y="f1422"/>
              </a:cxn>
              <a:cxn ang="f958">
                <a:pos x="f1443" y="f1422"/>
              </a:cxn>
              <a:cxn ang="f958">
                <a:pos x="f1443" y="f1424"/>
              </a:cxn>
              <a:cxn ang="f958">
                <a:pos x="f1444" y="f1424"/>
              </a:cxn>
              <a:cxn ang="f958">
                <a:pos x="f1444" y="f1426"/>
              </a:cxn>
              <a:cxn ang="f958">
                <a:pos x="f1443" y="f1426"/>
              </a:cxn>
              <a:cxn ang="f958">
                <a:pos x="f1443" y="f1427"/>
              </a:cxn>
              <a:cxn ang="f958">
                <a:pos x="f1442" y="f1427"/>
              </a:cxn>
              <a:cxn ang="f958">
                <a:pos x="f1442" y="f1408"/>
              </a:cxn>
              <a:cxn ang="f958">
                <a:pos x="f1441" y="f1408"/>
              </a:cxn>
              <a:cxn ang="f958">
                <a:pos x="f1445" y="f1404"/>
              </a:cxn>
              <a:cxn ang="f958">
                <a:pos x="f1446" y="f1404"/>
              </a:cxn>
              <a:cxn ang="f958">
                <a:pos x="f1446" y="f1447"/>
              </a:cxn>
              <a:cxn ang="f958">
                <a:pos x="f1448" y="f1447"/>
              </a:cxn>
              <a:cxn ang="f958">
                <a:pos x="f1448" y="f1408"/>
              </a:cxn>
              <a:cxn ang="f958">
                <a:pos x="f1445" y="f1408"/>
              </a:cxn>
              <a:cxn ang="f958">
                <a:pos x="f1449" y="f1404"/>
              </a:cxn>
              <a:cxn ang="f958">
                <a:pos x="f1450" y="f1404"/>
              </a:cxn>
              <a:cxn ang="f958">
                <a:pos x="f1451" y="f1452"/>
              </a:cxn>
              <a:cxn ang="f958">
                <a:pos x="f1450" y="f1453"/>
              </a:cxn>
              <a:cxn ang="f958">
                <a:pos x="f1397" y="f1453"/>
              </a:cxn>
              <a:cxn ang="f958">
                <a:pos x="f1397" y="f1408"/>
              </a:cxn>
              <a:cxn ang="f958">
                <a:pos x="f1449" y="f1408"/>
              </a:cxn>
              <a:cxn ang="f958">
                <a:pos x="f1449" y="f1404"/>
              </a:cxn>
              <a:cxn ang="f958">
                <a:pos x="f1454" y="f1404"/>
              </a:cxn>
              <a:cxn ang="f958">
                <a:pos x="f1455" y="f1404"/>
              </a:cxn>
              <a:cxn ang="f958">
                <a:pos x="f1456" y="f1431"/>
              </a:cxn>
              <a:cxn ang="f958">
                <a:pos x="f1457" y="f1404"/>
              </a:cxn>
              <a:cxn ang="f958">
                <a:pos x="f1458" y="f1404"/>
              </a:cxn>
              <a:cxn ang="f958">
                <a:pos x="f1458" y="f1408"/>
              </a:cxn>
              <a:cxn ang="f958">
                <a:pos x="f1459" y="f1408"/>
              </a:cxn>
              <a:cxn ang="f958">
                <a:pos x="f1459" y="f1435"/>
              </a:cxn>
              <a:cxn ang="f958">
                <a:pos x="f1460" y="f1437"/>
              </a:cxn>
              <a:cxn ang="f958">
                <a:pos x="f1461" y="f1437"/>
              </a:cxn>
              <a:cxn ang="f958">
                <a:pos x="f1462" y="f1440"/>
              </a:cxn>
              <a:cxn ang="f958">
                <a:pos x="f1462" y="f1408"/>
              </a:cxn>
              <a:cxn ang="f958">
                <a:pos x="f1454" y="f1408"/>
              </a:cxn>
              <a:cxn ang="f958">
                <a:pos x="f1463" y="f1404"/>
              </a:cxn>
              <a:cxn ang="f958">
                <a:pos x="f1464" y="f1404"/>
              </a:cxn>
              <a:cxn ang="f958">
                <a:pos x="f1464" y="f1408"/>
              </a:cxn>
              <a:cxn ang="f958">
                <a:pos x="f1463" y="f1408"/>
              </a:cxn>
            </a:cxnLst>
            <a:rect l="f1210" t="f1213" r="f1211" b="f1212"/>
            <a:pathLst>
              <a:path w="9905999" h="2265361">
                <a:moveTo>
                  <a:pt x="f8" y="f9"/>
                </a:moveTo>
                <a:cubicBezTo>
                  <a:pt x="f8" y="f9"/>
                  <a:pt x="f8" y="f9"/>
                  <a:pt x="f10" y="f9"/>
                </a:cubicBezTo>
                <a:lnTo>
                  <a:pt x="f10" y="f7"/>
                </a:lnTo>
                <a:cubicBezTo>
                  <a:pt x="f10" y="f7"/>
                  <a:pt x="f10" y="f7"/>
                  <a:pt x="f8" y="f7"/>
                </a:cubicBezTo>
                <a:cubicBezTo>
                  <a:pt x="f8" y="f7"/>
                  <a:pt x="f8" y="f7"/>
                  <a:pt x="f8" y="f9"/>
                </a:cubicBezTo>
                <a:close/>
                <a:moveTo>
                  <a:pt x="f11" y="f12"/>
                </a:moveTo>
                <a:cubicBezTo>
                  <a:pt x="f11" y="f12"/>
                  <a:pt x="f11" y="f12"/>
                  <a:pt x="f11" y="f13"/>
                </a:cubicBezTo>
                <a:cubicBezTo>
                  <a:pt x="f11" y="f13"/>
                  <a:pt x="f11" y="f13"/>
                  <a:pt x="f14" y="f13"/>
                </a:cubicBezTo>
                <a:cubicBezTo>
                  <a:pt x="f15" y="f13"/>
                  <a:pt x="f16" y="f17"/>
                  <a:pt x="f16" y="f18"/>
                </a:cubicBezTo>
                <a:cubicBezTo>
                  <a:pt x="f16" y="f19"/>
                  <a:pt x="f20" y="f12"/>
                  <a:pt x="f14" y="f12"/>
                </a:cubicBezTo>
                <a:cubicBezTo>
                  <a:pt x="f14" y="f12"/>
                  <a:pt x="f14" y="f12"/>
                  <a:pt x="f11" y="f12"/>
                </a:cubicBezTo>
                <a:close/>
                <a:moveTo>
                  <a:pt x="f21" y="f12"/>
                </a:moveTo>
                <a:cubicBezTo>
                  <a:pt x="f21" y="f12"/>
                  <a:pt x="f21" y="f12"/>
                  <a:pt x="f21" y="f22"/>
                </a:cubicBezTo>
                <a:cubicBezTo>
                  <a:pt x="f21" y="f22"/>
                  <a:pt x="f21" y="f22"/>
                  <a:pt x="f23" y="f22"/>
                </a:cubicBezTo>
                <a:cubicBezTo>
                  <a:pt x="f24" y="f22"/>
                  <a:pt x="f25" y="f26"/>
                  <a:pt x="f25" y="f27"/>
                </a:cubicBezTo>
                <a:cubicBezTo>
                  <a:pt x="f25" y="f28"/>
                  <a:pt x="f24" y="f12"/>
                  <a:pt x="f23" y="f12"/>
                </a:cubicBezTo>
                <a:cubicBezTo>
                  <a:pt x="f23" y="f12"/>
                  <a:pt x="f23" y="f12"/>
                  <a:pt x="f21" y="f12"/>
                </a:cubicBezTo>
                <a:close/>
                <a:moveTo>
                  <a:pt x="f29" y="f30"/>
                </a:moveTo>
                <a:cubicBezTo>
                  <a:pt x="f31" y="f30"/>
                  <a:pt x="f32" y="f33"/>
                  <a:pt x="f34" y="f19"/>
                </a:cubicBezTo>
                <a:cubicBezTo>
                  <a:pt x="f35" y="f36"/>
                  <a:pt x="f37" y="f38"/>
                  <a:pt x="f37" y="f39"/>
                </a:cubicBezTo>
                <a:cubicBezTo>
                  <a:pt x="f37" y="f40"/>
                  <a:pt x="f35" y="f41"/>
                  <a:pt x="f34" y="f42"/>
                </a:cubicBezTo>
                <a:cubicBezTo>
                  <a:pt x="f32" y="f43"/>
                  <a:pt x="f31" y="f44"/>
                  <a:pt x="f29" y="f44"/>
                </a:cubicBezTo>
                <a:cubicBezTo>
                  <a:pt x="f45" y="f44"/>
                  <a:pt x="f46" y="f43"/>
                  <a:pt x="f47" y="f42"/>
                </a:cubicBezTo>
                <a:cubicBezTo>
                  <a:pt x="f48" y="f41"/>
                  <a:pt x="f49" y="f40"/>
                  <a:pt x="f49" y="f39"/>
                </a:cubicBezTo>
                <a:cubicBezTo>
                  <a:pt x="f49" y="f38"/>
                  <a:pt x="f48" y="f36"/>
                  <a:pt x="f47" y="f19"/>
                </a:cubicBezTo>
                <a:cubicBezTo>
                  <a:pt x="f46" y="f33"/>
                  <a:pt x="f45" y="f30"/>
                  <a:pt x="f29" y="f30"/>
                </a:cubicBezTo>
                <a:close/>
                <a:moveTo>
                  <a:pt x="f50" y="f30"/>
                </a:moveTo>
                <a:cubicBezTo>
                  <a:pt x="f51" y="f30"/>
                  <a:pt x="f52" y="f33"/>
                  <a:pt x="f53" y="f19"/>
                </a:cubicBezTo>
                <a:cubicBezTo>
                  <a:pt x="f54" y="f36"/>
                  <a:pt x="f55" y="f38"/>
                  <a:pt x="f55" y="f39"/>
                </a:cubicBezTo>
                <a:cubicBezTo>
                  <a:pt x="f55" y="f40"/>
                  <a:pt x="f54" y="f41"/>
                  <a:pt x="f53" y="f42"/>
                </a:cubicBezTo>
                <a:cubicBezTo>
                  <a:pt x="f52" y="f43"/>
                  <a:pt x="f51" y="f44"/>
                  <a:pt x="f50" y="f44"/>
                </a:cubicBezTo>
                <a:cubicBezTo>
                  <a:pt x="f56" y="f44"/>
                  <a:pt x="f57" y="f43"/>
                  <a:pt x="f58" y="f42"/>
                </a:cubicBezTo>
                <a:cubicBezTo>
                  <a:pt x="f59" y="f41"/>
                  <a:pt x="f60" y="f40"/>
                  <a:pt x="f60" y="f39"/>
                </a:cubicBezTo>
                <a:cubicBezTo>
                  <a:pt x="f60" y="f38"/>
                  <a:pt x="f59" y="f36"/>
                  <a:pt x="f58" y="f19"/>
                </a:cubicBezTo>
                <a:cubicBezTo>
                  <a:pt x="f57" y="f33"/>
                  <a:pt x="f56" y="f30"/>
                  <a:pt x="f50" y="f30"/>
                </a:cubicBezTo>
                <a:close/>
                <a:moveTo>
                  <a:pt x="f61" y="f62"/>
                </a:moveTo>
                <a:cubicBezTo>
                  <a:pt x="f61" y="f62"/>
                  <a:pt x="f61" y="f62"/>
                  <a:pt x="f14" y="f62"/>
                </a:cubicBezTo>
                <a:cubicBezTo>
                  <a:pt x="f63" y="f62"/>
                  <a:pt x="f16" y="f64"/>
                  <a:pt x="f65" y="f66"/>
                </a:cubicBezTo>
                <a:cubicBezTo>
                  <a:pt x="f67" y="f68"/>
                  <a:pt x="f69" y="f70"/>
                  <a:pt x="f69" y="f18"/>
                </a:cubicBezTo>
                <a:cubicBezTo>
                  <a:pt x="f69" y="f71"/>
                  <a:pt x="f67" y="f72"/>
                  <a:pt x="f73" y="f74"/>
                </a:cubicBezTo>
                <a:cubicBezTo>
                  <a:pt x="f75" y="f76"/>
                  <a:pt x="f77" y="f78"/>
                  <a:pt x="f79" y="f78"/>
                </a:cubicBezTo>
                <a:cubicBezTo>
                  <a:pt x="f79" y="f78"/>
                  <a:pt x="f79" y="f78"/>
                  <a:pt x="f11" y="f78"/>
                </a:cubicBezTo>
                <a:cubicBezTo>
                  <a:pt x="f11" y="f78"/>
                  <a:pt x="f11" y="f78"/>
                  <a:pt x="f11" y="f9"/>
                </a:cubicBezTo>
                <a:cubicBezTo>
                  <a:pt x="f11" y="f9"/>
                  <a:pt x="f11" y="f9"/>
                  <a:pt x="f61" y="f9"/>
                </a:cubicBezTo>
                <a:cubicBezTo>
                  <a:pt x="f61" y="f9"/>
                  <a:pt x="f61" y="f9"/>
                  <a:pt x="f61" y="f62"/>
                </a:cubicBezTo>
                <a:close/>
                <a:moveTo>
                  <a:pt x="f80" y="f62"/>
                </a:moveTo>
                <a:cubicBezTo>
                  <a:pt x="f80" y="f62"/>
                  <a:pt x="f80" y="f62"/>
                  <a:pt x="f81" y="f62"/>
                </a:cubicBezTo>
                <a:cubicBezTo>
                  <a:pt x="f81" y="f62"/>
                  <a:pt x="f81" y="f62"/>
                  <a:pt x="f81" y="f82"/>
                </a:cubicBezTo>
                <a:cubicBezTo>
                  <a:pt x="f81" y="f83"/>
                  <a:pt x="f84" y="f85"/>
                  <a:pt x="f86" y="f85"/>
                </a:cubicBezTo>
                <a:cubicBezTo>
                  <a:pt x="f87" y="f85"/>
                  <a:pt x="f88" y="f83"/>
                  <a:pt x="f88" y="f82"/>
                </a:cubicBezTo>
                <a:cubicBezTo>
                  <a:pt x="f88" y="f82"/>
                  <a:pt x="f88" y="f82"/>
                  <a:pt x="f88" y="f62"/>
                </a:cubicBezTo>
                <a:cubicBezTo>
                  <a:pt x="f88" y="f62"/>
                  <a:pt x="f88" y="f62"/>
                  <a:pt x="f89" y="f62"/>
                </a:cubicBezTo>
                <a:cubicBezTo>
                  <a:pt x="f89" y="f62"/>
                  <a:pt x="f89" y="f62"/>
                  <a:pt x="f89" y="f82"/>
                </a:cubicBezTo>
                <a:cubicBezTo>
                  <a:pt x="f89" y="f90"/>
                  <a:pt x="f91" y="f92"/>
                  <a:pt x="f86" y="f92"/>
                </a:cubicBezTo>
                <a:cubicBezTo>
                  <a:pt x="f93" y="f92"/>
                  <a:pt x="f80" y="f90"/>
                  <a:pt x="f80" y="f82"/>
                </a:cubicBezTo>
                <a:cubicBezTo>
                  <a:pt x="f80" y="f82"/>
                  <a:pt x="f80" y="f82"/>
                  <a:pt x="f80" y="f62"/>
                </a:cubicBezTo>
                <a:close/>
                <a:moveTo>
                  <a:pt x="f94" y="f62"/>
                </a:moveTo>
                <a:cubicBezTo>
                  <a:pt x="f94" y="f62"/>
                  <a:pt x="f94" y="f62"/>
                  <a:pt x="f23" y="f62"/>
                </a:cubicBezTo>
                <a:cubicBezTo>
                  <a:pt x="f24" y="f62"/>
                  <a:pt x="f95" y="f64"/>
                  <a:pt x="f96" y="f66"/>
                </a:cubicBezTo>
                <a:cubicBezTo>
                  <a:pt x="f97" y="f68"/>
                  <a:pt x="f98" y="f99"/>
                  <a:pt x="f98" y="f27"/>
                </a:cubicBezTo>
                <a:cubicBezTo>
                  <a:pt x="f98" y="f100"/>
                  <a:pt x="f97" y="f101"/>
                  <a:pt x="f96" y="f102"/>
                </a:cubicBezTo>
                <a:cubicBezTo>
                  <a:pt x="f103" y="f104"/>
                  <a:pt x="f105" y="f106"/>
                  <a:pt x="f107" y="f108"/>
                </a:cubicBezTo>
                <a:cubicBezTo>
                  <a:pt x="f107" y="f108"/>
                  <a:pt x="f107" y="f108"/>
                  <a:pt x="f109" y="f9"/>
                </a:cubicBezTo>
                <a:lnTo>
                  <a:pt x="f95" y="f9"/>
                </a:lnTo>
                <a:cubicBezTo>
                  <a:pt x="f95" y="f9"/>
                  <a:pt x="f95" y="f9"/>
                  <a:pt x="f110" y="f111"/>
                </a:cubicBezTo>
                <a:cubicBezTo>
                  <a:pt x="f110" y="f111"/>
                  <a:pt x="f110" y="f111"/>
                  <a:pt x="f21" y="f111"/>
                </a:cubicBezTo>
                <a:cubicBezTo>
                  <a:pt x="f21" y="f111"/>
                  <a:pt x="f21" y="f111"/>
                  <a:pt x="f21" y="f9"/>
                </a:cubicBezTo>
                <a:cubicBezTo>
                  <a:pt x="f21" y="f9"/>
                  <a:pt x="f21" y="f9"/>
                  <a:pt x="f94" y="f9"/>
                </a:cubicBezTo>
                <a:cubicBezTo>
                  <a:pt x="f94" y="f9"/>
                  <a:pt x="f94" y="f9"/>
                  <a:pt x="f94" y="f62"/>
                </a:cubicBezTo>
                <a:close/>
                <a:moveTo>
                  <a:pt x="f112" y="f62"/>
                </a:moveTo>
                <a:cubicBezTo>
                  <a:pt x="f112" y="f62"/>
                  <a:pt x="f112" y="f62"/>
                  <a:pt x="f113" y="f62"/>
                </a:cubicBezTo>
                <a:cubicBezTo>
                  <a:pt x="f113" y="f62"/>
                  <a:pt x="f113" y="f62"/>
                  <a:pt x="f114" y="f115"/>
                </a:cubicBezTo>
                <a:cubicBezTo>
                  <a:pt x="f114" y="f115"/>
                  <a:pt x="f114" y="f115"/>
                  <a:pt x="f114" y="f62"/>
                </a:cubicBezTo>
                <a:cubicBezTo>
                  <a:pt x="f114" y="f62"/>
                  <a:pt x="f114" y="f62"/>
                  <a:pt x="f116" y="f62"/>
                </a:cubicBezTo>
                <a:cubicBezTo>
                  <a:pt x="f116" y="f62"/>
                  <a:pt x="f116" y="f62"/>
                  <a:pt x="f116" y="f9"/>
                </a:cubicBezTo>
                <a:lnTo>
                  <a:pt x="f117" y="f9"/>
                </a:lnTo>
                <a:cubicBezTo>
                  <a:pt x="f117" y="f9"/>
                  <a:pt x="f117" y="f9"/>
                  <a:pt x="f118" y="f119"/>
                </a:cubicBezTo>
                <a:cubicBezTo>
                  <a:pt x="f118" y="f119"/>
                  <a:pt x="f118" y="f119"/>
                  <a:pt x="f118" y="f9"/>
                </a:cubicBezTo>
                <a:cubicBezTo>
                  <a:pt x="f118" y="f9"/>
                  <a:pt x="f118" y="f9"/>
                  <a:pt x="f112" y="f9"/>
                </a:cubicBezTo>
                <a:cubicBezTo>
                  <a:pt x="f112" y="f9"/>
                  <a:pt x="f112" y="f9"/>
                  <a:pt x="f112" y="f62"/>
                </a:cubicBezTo>
                <a:close/>
                <a:moveTo>
                  <a:pt x="f120" y="f62"/>
                </a:moveTo>
                <a:cubicBezTo>
                  <a:pt x="f120" y="f62"/>
                  <a:pt x="f120" y="f62"/>
                  <a:pt x="f121" y="f62"/>
                </a:cubicBezTo>
                <a:lnTo>
                  <a:pt x="f121" y="f9"/>
                </a:lnTo>
                <a:cubicBezTo>
                  <a:pt x="f121" y="f9"/>
                  <a:pt x="f121" y="f9"/>
                  <a:pt x="f120" y="f9"/>
                </a:cubicBezTo>
                <a:cubicBezTo>
                  <a:pt x="f120" y="f9"/>
                  <a:pt x="f120" y="f9"/>
                  <a:pt x="f120" y="f62"/>
                </a:cubicBezTo>
                <a:close/>
                <a:moveTo>
                  <a:pt x="f122" y="f62"/>
                </a:moveTo>
                <a:cubicBezTo>
                  <a:pt x="f122" y="f62"/>
                  <a:pt x="f122" y="f62"/>
                  <a:pt x="f123" y="f62"/>
                </a:cubicBezTo>
                <a:cubicBezTo>
                  <a:pt x="f123" y="f62"/>
                  <a:pt x="f123" y="f62"/>
                  <a:pt x="f123" y="f12"/>
                </a:cubicBezTo>
                <a:lnTo>
                  <a:pt x="f124" y="f12"/>
                </a:lnTo>
                <a:cubicBezTo>
                  <a:pt x="f124" y="f12"/>
                  <a:pt x="f124" y="f12"/>
                  <a:pt x="f124" y="f9"/>
                </a:cubicBezTo>
                <a:cubicBezTo>
                  <a:pt x="f124" y="f9"/>
                  <a:pt x="f124" y="f9"/>
                  <a:pt x="f125" y="f9"/>
                </a:cubicBezTo>
                <a:cubicBezTo>
                  <a:pt x="f125" y="f9"/>
                  <a:pt x="f125" y="f9"/>
                  <a:pt x="f125" y="f12"/>
                </a:cubicBezTo>
                <a:cubicBezTo>
                  <a:pt x="f125" y="f12"/>
                  <a:pt x="f125" y="f12"/>
                  <a:pt x="f122" y="f12"/>
                </a:cubicBezTo>
                <a:cubicBezTo>
                  <a:pt x="f122" y="f12"/>
                  <a:pt x="f122" y="f12"/>
                  <a:pt x="f122" y="f62"/>
                </a:cubicBezTo>
                <a:close/>
                <a:moveTo>
                  <a:pt x="f126" y="f62"/>
                </a:moveTo>
                <a:cubicBezTo>
                  <a:pt x="f126" y="f62"/>
                  <a:pt x="f126" y="f62"/>
                  <a:pt x="f127" y="f62"/>
                </a:cubicBezTo>
                <a:cubicBezTo>
                  <a:pt x="f127" y="f62"/>
                  <a:pt x="f127" y="f62"/>
                  <a:pt x="f127" y="f90"/>
                </a:cubicBezTo>
                <a:cubicBezTo>
                  <a:pt x="f127" y="f90"/>
                  <a:pt x="f127" y="f90"/>
                  <a:pt x="f128" y="f90"/>
                </a:cubicBezTo>
                <a:cubicBezTo>
                  <a:pt x="f128" y="f90"/>
                  <a:pt x="f128" y="f90"/>
                  <a:pt x="f128" y="f9"/>
                </a:cubicBezTo>
                <a:lnTo>
                  <a:pt x="f126" y="f9"/>
                </a:lnTo>
                <a:cubicBezTo>
                  <a:pt x="f126" y="f9"/>
                  <a:pt x="f126" y="f9"/>
                  <a:pt x="f126" y="f62"/>
                </a:cubicBezTo>
                <a:close/>
                <a:moveTo>
                  <a:pt x="f129" y="f62"/>
                </a:moveTo>
                <a:cubicBezTo>
                  <a:pt x="f129" y="f62"/>
                  <a:pt x="f129" y="f62"/>
                  <a:pt x="f130" y="f62"/>
                </a:cubicBezTo>
                <a:cubicBezTo>
                  <a:pt x="f130" y="f62"/>
                  <a:pt x="f130" y="f62"/>
                  <a:pt x="f130" y="f82"/>
                </a:cubicBezTo>
                <a:cubicBezTo>
                  <a:pt x="f130" y="f83"/>
                  <a:pt x="f131" y="f85"/>
                  <a:pt x="f132" y="f85"/>
                </a:cubicBezTo>
                <a:cubicBezTo>
                  <a:pt x="f133" y="f85"/>
                  <a:pt x="f134" y="f83"/>
                  <a:pt x="f134" y="f82"/>
                </a:cubicBezTo>
                <a:cubicBezTo>
                  <a:pt x="f134" y="f82"/>
                  <a:pt x="f134" y="f82"/>
                  <a:pt x="f134" y="f62"/>
                </a:cubicBezTo>
                <a:cubicBezTo>
                  <a:pt x="f134" y="f62"/>
                  <a:pt x="f134" y="f62"/>
                  <a:pt x="f135" y="f62"/>
                </a:cubicBezTo>
                <a:cubicBezTo>
                  <a:pt x="f135" y="f62"/>
                  <a:pt x="f135" y="f62"/>
                  <a:pt x="f135" y="f82"/>
                </a:cubicBezTo>
                <a:cubicBezTo>
                  <a:pt x="f135" y="f90"/>
                  <a:pt x="f136" y="f92"/>
                  <a:pt x="f132" y="f92"/>
                </a:cubicBezTo>
                <a:cubicBezTo>
                  <a:pt x="f137" y="f92"/>
                  <a:pt x="f129" y="f90"/>
                  <a:pt x="f129" y="f82"/>
                </a:cubicBezTo>
                <a:cubicBezTo>
                  <a:pt x="f129" y="f82"/>
                  <a:pt x="f129" y="f82"/>
                  <a:pt x="f129" y="f62"/>
                </a:cubicBezTo>
                <a:close/>
                <a:moveTo>
                  <a:pt x="f138" y="f62"/>
                </a:moveTo>
                <a:cubicBezTo>
                  <a:pt x="f138" y="f62"/>
                  <a:pt x="f138" y="f62"/>
                  <a:pt x="f139" y="f62"/>
                </a:cubicBezTo>
                <a:cubicBezTo>
                  <a:pt x="f139" y="f62"/>
                  <a:pt x="f139" y="f62"/>
                  <a:pt x="f140" y="f115"/>
                </a:cubicBezTo>
                <a:cubicBezTo>
                  <a:pt x="f140" y="f115"/>
                  <a:pt x="f140" y="f115"/>
                  <a:pt x="f140" y="f62"/>
                </a:cubicBezTo>
                <a:cubicBezTo>
                  <a:pt x="f140" y="f62"/>
                  <a:pt x="f140" y="f62"/>
                  <a:pt x="f141" y="f62"/>
                </a:cubicBezTo>
                <a:cubicBezTo>
                  <a:pt x="f141" y="f62"/>
                  <a:pt x="f141" y="f62"/>
                  <a:pt x="f141" y="f9"/>
                </a:cubicBezTo>
                <a:lnTo>
                  <a:pt x="f142" y="f9"/>
                </a:lnTo>
                <a:cubicBezTo>
                  <a:pt x="f142" y="f9"/>
                  <a:pt x="f142" y="f9"/>
                  <a:pt x="f143" y="f119"/>
                </a:cubicBezTo>
                <a:cubicBezTo>
                  <a:pt x="f143" y="f119"/>
                  <a:pt x="f143" y="f119"/>
                  <a:pt x="f143" y="f9"/>
                </a:cubicBezTo>
                <a:cubicBezTo>
                  <a:pt x="f143" y="f9"/>
                  <a:pt x="f143" y="f9"/>
                  <a:pt x="f138" y="f9"/>
                </a:cubicBezTo>
                <a:cubicBezTo>
                  <a:pt x="f138" y="f9"/>
                  <a:pt x="f138" y="f9"/>
                  <a:pt x="f138" y="f62"/>
                </a:cubicBezTo>
                <a:close/>
                <a:moveTo>
                  <a:pt x="f29" y="f144"/>
                </a:moveTo>
                <a:cubicBezTo>
                  <a:pt x="f145" y="f144"/>
                  <a:pt x="f146" y="f147"/>
                  <a:pt x="f148" y="f66"/>
                </a:cubicBezTo>
                <a:cubicBezTo>
                  <a:pt x="f149" y="f119"/>
                  <a:pt x="f150" y="f151"/>
                  <a:pt x="f150" y="f39"/>
                </a:cubicBezTo>
                <a:cubicBezTo>
                  <a:pt x="f150" y="f152"/>
                  <a:pt x="f149" y="f115"/>
                  <a:pt x="f148" y="f153"/>
                </a:cubicBezTo>
                <a:cubicBezTo>
                  <a:pt x="f146" y="f154"/>
                  <a:pt x="f145" y="f155"/>
                  <a:pt x="f29" y="f155"/>
                </a:cubicBezTo>
                <a:cubicBezTo>
                  <a:pt x="f156" y="f155"/>
                  <a:pt x="f157" y="f154"/>
                  <a:pt x="f37" y="f153"/>
                </a:cubicBezTo>
                <a:cubicBezTo>
                  <a:pt x="f158" y="f115"/>
                  <a:pt x="f159" y="f152"/>
                  <a:pt x="f159" y="f39"/>
                </a:cubicBezTo>
                <a:cubicBezTo>
                  <a:pt x="f159" y="f151"/>
                  <a:pt x="f158" y="f119"/>
                  <a:pt x="f37" y="f66"/>
                </a:cubicBezTo>
                <a:cubicBezTo>
                  <a:pt x="f157" y="f147"/>
                  <a:pt x="f156" y="f144"/>
                  <a:pt x="f29" y="f144"/>
                </a:cubicBezTo>
                <a:close/>
                <a:moveTo>
                  <a:pt x="f160" y="f144"/>
                </a:moveTo>
                <a:cubicBezTo>
                  <a:pt x="f161" y="f144"/>
                  <a:pt x="f162" y="f163"/>
                  <a:pt x="f164" y="f165"/>
                </a:cubicBezTo>
                <a:cubicBezTo>
                  <a:pt x="f166" y="f167"/>
                  <a:pt x="f168" y="f169"/>
                  <a:pt x="f170" y="f27"/>
                </a:cubicBezTo>
                <a:cubicBezTo>
                  <a:pt x="f170" y="f27"/>
                  <a:pt x="f170" y="f27"/>
                  <a:pt x="f171" y="f27"/>
                </a:cubicBezTo>
                <a:cubicBezTo>
                  <a:pt x="f172" y="f173"/>
                  <a:pt x="f174" y="f175"/>
                  <a:pt x="f176" y="f177"/>
                </a:cubicBezTo>
                <a:cubicBezTo>
                  <a:pt x="f178" y="f179"/>
                  <a:pt x="f180" y="f30"/>
                  <a:pt x="f160" y="f30"/>
                </a:cubicBezTo>
                <a:cubicBezTo>
                  <a:pt x="f181" y="f30"/>
                  <a:pt x="f182" y="f33"/>
                  <a:pt x="f183" y="f19"/>
                </a:cubicBezTo>
                <a:cubicBezTo>
                  <a:pt x="f184" y="f36"/>
                  <a:pt x="f185" y="f38"/>
                  <a:pt x="f185" y="f39"/>
                </a:cubicBezTo>
                <a:cubicBezTo>
                  <a:pt x="f185" y="f186"/>
                  <a:pt x="f184" y="f187"/>
                  <a:pt x="f188" y="f189"/>
                </a:cubicBezTo>
                <a:cubicBezTo>
                  <a:pt x="f190" y="f191"/>
                  <a:pt x="f181" y="f85"/>
                  <a:pt x="f160" y="f85"/>
                </a:cubicBezTo>
                <a:cubicBezTo>
                  <a:pt x="f192" y="f85"/>
                  <a:pt x="f193" y="f43"/>
                  <a:pt x="f194" y="f195"/>
                </a:cubicBezTo>
                <a:cubicBezTo>
                  <a:pt x="f196" y="f197"/>
                  <a:pt x="f198" y="f199"/>
                  <a:pt x="f198" y="f200"/>
                </a:cubicBezTo>
                <a:cubicBezTo>
                  <a:pt x="f198" y="f200"/>
                  <a:pt x="f198" y="f200"/>
                  <a:pt x="f160" y="f200"/>
                </a:cubicBezTo>
                <a:cubicBezTo>
                  <a:pt x="f160" y="f200"/>
                  <a:pt x="f160" y="f200"/>
                  <a:pt x="f160" y="f201"/>
                </a:cubicBezTo>
                <a:cubicBezTo>
                  <a:pt x="f160" y="f201"/>
                  <a:pt x="f160" y="f201"/>
                  <a:pt x="f202" y="f201"/>
                </a:cubicBezTo>
                <a:cubicBezTo>
                  <a:pt x="f202" y="f201"/>
                  <a:pt x="f202" y="f201"/>
                  <a:pt x="f202" y="f9"/>
                </a:cubicBezTo>
                <a:lnTo>
                  <a:pt x="f203" y="f9"/>
                </a:lnTo>
                <a:cubicBezTo>
                  <a:pt x="f203" y="f9"/>
                  <a:pt x="f203" y="f9"/>
                  <a:pt x="f204" y="f191"/>
                </a:cubicBezTo>
                <a:cubicBezTo>
                  <a:pt x="f174" y="f205"/>
                  <a:pt x="f161" y="f155"/>
                  <a:pt x="f160" y="f155"/>
                </a:cubicBezTo>
                <a:cubicBezTo>
                  <a:pt x="f206" y="f155"/>
                  <a:pt x="f207" y="f208"/>
                  <a:pt x="f185" y="f209"/>
                </a:cubicBezTo>
                <a:cubicBezTo>
                  <a:pt x="f210" y="f211"/>
                  <a:pt x="f212" y="f213"/>
                  <a:pt x="f212" y="f39"/>
                </a:cubicBezTo>
                <a:cubicBezTo>
                  <a:pt x="f212" y="f151"/>
                  <a:pt x="f214" y="f119"/>
                  <a:pt x="f185" y="f66"/>
                </a:cubicBezTo>
                <a:cubicBezTo>
                  <a:pt x="f207" y="f147"/>
                  <a:pt x="f206" y="f144"/>
                  <a:pt x="f160" y="f144"/>
                </a:cubicBezTo>
                <a:close/>
                <a:moveTo>
                  <a:pt x="f215" y="f144"/>
                </a:moveTo>
                <a:cubicBezTo>
                  <a:pt x="f216" y="f144"/>
                  <a:pt x="f217" y="f163"/>
                  <a:pt x="f218" y="f165"/>
                </a:cubicBezTo>
                <a:cubicBezTo>
                  <a:pt x="f219" y="f167"/>
                  <a:pt x="f220" y="f169"/>
                  <a:pt x="f221" y="f27"/>
                </a:cubicBezTo>
                <a:cubicBezTo>
                  <a:pt x="f221" y="f27"/>
                  <a:pt x="f221" y="f27"/>
                  <a:pt x="f222" y="f27"/>
                </a:cubicBezTo>
                <a:cubicBezTo>
                  <a:pt x="f223" y="f173"/>
                  <a:pt x="f224" y="f175"/>
                  <a:pt x="f225" y="f177"/>
                </a:cubicBezTo>
                <a:cubicBezTo>
                  <a:pt x="f226" y="f179"/>
                  <a:pt x="f227" y="f30"/>
                  <a:pt x="f215" y="f30"/>
                </a:cubicBezTo>
                <a:cubicBezTo>
                  <a:pt x="f228" y="f30"/>
                  <a:pt x="f229" y="f33"/>
                  <a:pt x="f230" y="f19"/>
                </a:cubicBezTo>
                <a:cubicBezTo>
                  <a:pt x="f231" y="f36"/>
                  <a:pt x="f232" y="f38"/>
                  <a:pt x="f232" y="f39"/>
                </a:cubicBezTo>
                <a:cubicBezTo>
                  <a:pt x="f232" y="f186"/>
                  <a:pt x="f231" y="f187"/>
                  <a:pt x="f230" y="f189"/>
                </a:cubicBezTo>
                <a:cubicBezTo>
                  <a:pt x="f229" y="f191"/>
                  <a:pt x="f228" y="f85"/>
                  <a:pt x="f215" y="f85"/>
                </a:cubicBezTo>
                <a:cubicBezTo>
                  <a:pt x="f233" y="f85"/>
                  <a:pt x="f234" y="f43"/>
                  <a:pt x="f235" y="f195"/>
                </a:cubicBezTo>
                <a:cubicBezTo>
                  <a:pt x="f236" y="f197"/>
                  <a:pt x="f237" y="f199"/>
                  <a:pt x="f237" y="f200"/>
                </a:cubicBezTo>
                <a:cubicBezTo>
                  <a:pt x="f237" y="f200"/>
                  <a:pt x="f237" y="f200"/>
                  <a:pt x="f215" y="f200"/>
                </a:cubicBezTo>
                <a:cubicBezTo>
                  <a:pt x="f215" y="f200"/>
                  <a:pt x="f215" y="f200"/>
                  <a:pt x="f215" y="f201"/>
                </a:cubicBezTo>
                <a:cubicBezTo>
                  <a:pt x="f215" y="f201"/>
                  <a:pt x="f215" y="f201"/>
                  <a:pt x="f238" y="f201"/>
                </a:cubicBezTo>
                <a:cubicBezTo>
                  <a:pt x="f238" y="f201"/>
                  <a:pt x="f238" y="f201"/>
                  <a:pt x="f238" y="f9"/>
                </a:cubicBezTo>
                <a:lnTo>
                  <a:pt x="f239" y="f9"/>
                </a:lnTo>
                <a:cubicBezTo>
                  <a:pt x="f239" y="f9"/>
                  <a:pt x="f239" y="f9"/>
                  <a:pt x="f240" y="f191"/>
                </a:cubicBezTo>
                <a:cubicBezTo>
                  <a:pt x="f241" y="f205"/>
                  <a:pt x="f216" y="f155"/>
                  <a:pt x="f215" y="f155"/>
                </a:cubicBezTo>
                <a:cubicBezTo>
                  <a:pt x="f242" y="f155"/>
                  <a:pt x="f243" y="f208"/>
                  <a:pt x="f232" y="f209"/>
                </a:cubicBezTo>
                <a:cubicBezTo>
                  <a:pt x="f244" y="f211"/>
                  <a:pt x="f245" y="f213"/>
                  <a:pt x="f245" y="f39"/>
                </a:cubicBezTo>
                <a:cubicBezTo>
                  <a:pt x="f245" y="f151"/>
                  <a:pt x="f246" y="f119"/>
                  <a:pt x="f232" y="f66"/>
                </a:cubicBezTo>
                <a:cubicBezTo>
                  <a:pt x="f243" y="f147"/>
                  <a:pt x="f242" y="f144"/>
                  <a:pt x="f215" y="f144"/>
                </a:cubicBezTo>
                <a:close/>
                <a:moveTo>
                  <a:pt x="f247" y="f144"/>
                </a:moveTo>
                <a:cubicBezTo>
                  <a:pt x="f248" y="f144"/>
                  <a:pt x="f249" y="f250"/>
                  <a:pt x="f251" y="f252"/>
                </a:cubicBezTo>
                <a:cubicBezTo>
                  <a:pt x="f253" y="f254"/>
                  <a:pt x="f255" y="f169"/>
                  <a:pt x="f256" y="f27"/>
                </a:cubicBezTo>
                <a:cubicBezTo>
                  <a:pt x="f256" y="f27"/>
                  <a:pt x="f256" y="f27"/>
                  <a:pt x="f257" y="f27"/>
                </a:cubicBezTo>
                <a:cubicBezTo>
                  <a:pt x="f258" y="f173"/>
                  <a:pt x="f259" y="f260"/>
                  <a:pt x="f261" y="f262"/>
                </a:cubicBezTo>
                <a:cubicBezTo>
                  <a:pt x="f263" y="f179"/>
                  <a:pt x="f264" y="f265"/>
                  <a:pt x="f266" y="f265"/>
                </a:cubicBezTo>
                <a:cubicBezTo>
                  <a:pt x="f267" y="f265"/>
                  <a:pt x="f268" y="f12"/>
                  <a:pt x="f269" y="f262"/>
                </a:cubicBezTo>
                <a:cubicBezTo>
                  <a:pt x="f270" y="f119"/>
                  <a:pt x="f271" y="f272"/>
                  <a:pt x="f271" y="f273"/>
                </a:cubicBezTo>
                <a:cubicBezTo>
                  <a:pt x="f271" y="f274"/>
                  <a:pt x="f275" y="f276"/>
                  <a:pt x="f277" y="f278"/>
                </a:cubicBezTo>
                <a:cubicBezTo>
                  <a:pt x="f279" y="f280"/>
                  <a:pt x="f281" y="f282"/>
                  <a:pt x="f248" y="f101"/>
                </a:cubicBezTo>
                <a:cubicBezTo>
                  <a:pt x="f251" y="f22"/>
                  <a:pt x="f283" y="f284"/>
                  <a:pt x="f283" y="f285"/>
                </a:cubicBezTo>
                <a:cubicBezTo>
                  <a:pt x="f283" y="f286"/>
                  <a:pt x="f287" y="f288"/>
                  <a:pt x="f289" y="f290"/>
                </a:cubicBezTo>
                <a:cubicBezTo>
                  <a:pt x="f258" y="f208"/>
                  <a:pt x="f291" y="f92"/>
                  <a:pt x="f292" y="f92"/>
                </a:cubicBezTo>
                <a:cubicBezTo>
                  <a:pt x="f293" y="f92"/>
                  <a:pt x="f294" y="f208"/>
                  <a:pt x="f295" y="f296"/>
                </a:cubicBezTo>
                <a:cubicBezTo>
                  <a:pt x="f297" y="f298"/>
                  <a:pt x="f299" y="f300"/>
                  <a:pt x="f299" y="f301"/>
                </a:cubicBezTo>
                <a:cubicBezTo>
                  <a:pt x="f299" y="f301"/>
                  <a:pt x="f299" y="f301"/>
                  <a:pt x="f302" y="f301"/>
                </a:cubicBezTo>
                <a:cubicBezTo>
                  <a:pt x="f302" y="f187"/>
                  <a:pt x="f303" y="f304"/>
                  <a:pt x="f305" y="f306"/>
                </a:cubicBezTo>
                <a:cubicBezTo>
                  <a:pt x="f307" y="f90"/>
                  <a:pt x="f308" y="f85"/>
                  <a:pt x="f292" y="f85"/>
                </a:cubicBezTo>
                <a:cubicBezTo>
                  <a:pt x="f309" y="f85"/>
                  <a:pt x="f310" y="f311"/>
                  <a:pt x="f312" y="f313"/>
                </a:cubicBezTo>
                <a:cubicBezTo>
                  <a:pt x="f258" y="f211"/>
                  <a:pt x="f314" y="f300"/>
                  <a:pt x="f314" y="f285"/>
                </a:cubicBezTo>
                <a:cubicBezTo>
                  <a:pt x="f314" y="f315"/>
                  <a:pt x="f249" y="f111"/>
                  <a:pt x="f264" y="f284"/>
                </a:cubicBezTo>
                <a:cubicBezTo>
                  <a:pt x="f264" y="f284"/>
                  <a:pt x="f264" y="f284"/>
                  <a:pt x="f316" y="f317"/>
                </a:cubicBezTo>
                <a:cubicBezTo>
                  <a:pt x="f318" y="f104"/>
                  <a:pt x="f319" y="f17"/>
                  <a:pt x="f319" y="f320"/>
                </a:cubicBezTo>
                <a:cubicBezTo>
                  <a:pt x="f319" y="f99"/>
                  <a:pt x="f321" y="f322"/>
                  <a:pt x="f323" y="f324"/>
                </a:cubicBezTo>
                <a:cubicBezTo>
                  <a:pt x="f325" y="f250"/>
                  <a:pt x="f326" y="f144"/>
                  <a:pt x="f247" y="f144"/>
                </a:cubicBezTo>
                <a:close/>
                <a:moveTo>
                  <a:pt x="f50" y="f144"/>
                </a:moveTo>
                <a:cubicBezTo>
                  <a:pt x="f327" y="f144"/>
                  <a:pt x="f328" y="f147"/>
                  <a:pt x="f60" y="f66"/>
                </a:cubicBezTo>
                <a:cubicBezTo>
                  <a:pt x="f329" y="f119"/>
                  <a:pt x="f330" y="f151"/>
                  <a:pt x="f330" y="f39"/>
                </a:cubicBezTo>
                <a:cubicBezTo>
                  <a:pt x="f330" y="f152"/>
                  <a:pt x="f329" y="f115"/>
                  <a:pt x="f60" y="f153"/>
                </a:cubicBezTo>
                <a:cubicBezTo>
                  <a:pt x="f328" y="f154"/>
                  <a:pt x="f327" y="f155"/>
                  <a:pt x="f50" y="f155"/>
                </a:cubicBezTo>
                <a:cubicBezTo>
                  <a:pt x="f331" y="f155"/>
                  <a:pt x="f332" y="f154"/>
                  <a:pt x="f333" y="f153"/>
                </a:cubicBezTo>
                <a:cubicBezTo>
                  <a:pt x="f334" y="f115"/>
                  <a:pt x="f335" y="f152"/>
                  <a:pt x="f335" y="f39"/>
                </a:cubicBezTo>
                <a:cubicBezTo>
                  <a:pt x="f335" y="f151"/>
                  <a:pt x="f334" y="f119"/>
                  <a:pt x="f333" y="f66"/>
                </a:cubicBezTo>
                <a:cubicBezTo>
                  <a:pt x="f332" y="f147"/>
                  <a:pt x="f331" y="f144"/>
                  <a:pt x="f50" y="f144"/>
                </a:cubicBezTo>
                <a:close/>
                <a:moveTo>
                  <a:pt x="f336" y="f144"/>
                </a:moveTo>
                <a:cubicBezTo>
                  <a:pt x="f337" y="f144"/>
                  <a:pt x="f338" y="f163"/>
                  <a:pt x="f339" y="f340"/>
                </a:cubicBezTo>
                <a:cubicBezTo>
                  <a:pt x="f341" y="f68"/>
                  <a:pt x="f342" y="f343"/>
                  <a:pt x="f344" y="f345"/>
                </a:cubicBezTo>
                <a:cubicBezTo>
                  <a:pt x="f344" y="f345"/>
                  <a:pt x="f344" y="f345"/>
                  <a:pt x="f346" y="f345"/>
                </a:cubicBezTo>
                <a:cubicBezTo>
                  <a:pt x="f347" y="f348"/>
                  <a:pt x="f349" y="f175"/>
                  <a:pt x="f350" y="f351"/>
                </a:cubicBezTo>
                <a:cubicBezTo>
                  <a:pt x="f352" y="f33"/>
                  <a:pt x="f353" y="f30"/>
                  <a:pt x="f336" y="f30"/>
                </a:cubicBezTo>
                <a:cubicBezTo>
                  <a:pt x="f354" y="f30"/>
                  <a:pt x="f355" y="f33"/>
                  <a:pt x="f356" y="f19"/>
                </a:cubicBezTo>
                <a:cubicBezTo>
                  <a:pt x="f357" y="f36"/>
                  <a:pt x="f357" y="f38"/>
                  <a:pt x="f357" y="f39"/>
                </a:cubicBezTo>
                <a:cubicBezTo>
                  <a:pt x="f357" y="f40"/>
                  <a:pt x="f357" y="f41"/>
                  <a:pt x="f356" y="f42"/>
                </a:cubicBezTo>
                <a:cubicBezTo>
                  <a:pt x="f355" y="f43"/>
                  <a:pt x="f354" y="f85"/>
                  <a:pt x="f336" y="f85"/>
                </a:cubicBezTo>
                <a:cubicBezTo>
                  <a:pt x="f353" y="f85"/>
                  <a:pt x="f358" y="f359"/>
                  <a:pt x="f360" y="f42"/>
                </a:cubicBezTo>
                <a:cubicBezTo>
                  <a:pt x="f349" y="f361"/>
                  <a:pt x="f346" y="f362"/>
                  <a:pt x="f346" y="f301"/>
                </a:cubicBezTo>
                <a:cubicBezTo>
                  <a:pt x="f346" y="f301"/>
                  <a:pt x="f346" y="f301"/>
                  <a:pt x="f363" y="f301"/>
                </a:cubicBezTo>
                <a:cubicBezTo>
                  <a:pt x="f344" y="f364"/>
                  <a:pt x="f341" y="f365"/>
                  <a:pt x="f339" y="f153"/>
                </a:cubicBezTo>
                <a:cubicBezTo>
                  <a:pt x="f338" y="f366"/>
                  <a:pt x="f337" y="f155"/>
                  <a:pt x="f336" y="f155"/>
                </a:cubicBezTo>
                <a:cubicBezTo>
                  <a:pt x="f367" y="f155"/>
                  <a:pt x="f368" y="f154"/>
                  <a:pt x="f369" y="f153"/>
                </a:cubicBezTo>
                <a:cubicBezTo>
                  <a:pt x="f370" y="f115"/>
                  <a:pt x="f5" y="f152"/>
                  <a:pt x="f5" y="f39"/>
                </a:cubicBezTo>
                <a:cubicBezTo>
                  <a:pt x="f5" y="f151"/>
                  <a:pt x="f370" y="f119"/>
                  <a:pt x="f369" y="f66"/>
                </a:cubicBezTo>
                <a:cubicBezTo>
                  <a:pt x="f368" y="f147"/>
                  <a:pt x="f367" y="f144"/>
                  <a:pt x="f336" y="f144"/>
                </a:cubicBezTo>
                <a:close/>
                <a:moveTo>
                  <a:pt x="f371" y="f372"/>
                </a:moveTo>
                <a:cubicBezTo>
                  <a:pt x="f371" y="f372"/>
                  <a:pt x="f371" y="f372"/>
                  <a:pt x="f371" y="f373"/>
                </a:cubicBezTo>
                <a:cubicBezTo>
                  <a:pt x="f371" y="f373"/>
                  <a:pt x="f371" y="f373"/>
                  <a:pt x="f374" y="f373"/>
                </a:cubicBezTo>
                <a:cubicBezTo>
                  <a:pt x="f375" y="f373"/>
                  <a:pt x="f376" y="f377"/>
                  <a:pt x="f376" y="f378"/>
                </a:cubicBezTo>
                <a:cubicBezTo>
                  <a:pt x="f376" y="f379"/>
                  <a:pt x="f375" y="f372"/>
                  <a:pt x="f374" y="f372"/>
                </a:cubicBezTo>
                <a:cubicBezTo>
                  <a:pt x="f374" y="f372"/>
                  <a:pt x="f374" y="f372"/>
                  <a:pt x="f371" y="f372"/>
                </a:cubicBezTo>
                <a:close/>
                <a:moveTo>
                  <a:pt x="f380" y="f5"/>
                </a:moveTo>
                <a:lnTo>
                  <a:pt x="f6" y="f5"/>
                </a:lnTo>
                <a:lnTo>
                  <a:pt x="f6" y="f381"/>
                </a:lnTo>
                <a:lnTo>
                  <a:pt x="f382" y="f381"/>
                </a:lnTo>
                <a:lnTo>
                  <a:pt x="f382" y="f383"/>
                </a:lnTo>
                <a:lnTo>
                  <a:pt x="f384" y="f383"/>
                </a:lnTo>
                <a:lnTo>
                  <a:pt x="f384" y="f381"/>
                </a:lnTo>
                <a:lnTo>
                  <a:pt x="f380" y="f381"/>
                </a:lnTo>
                <a:close/>
                <a:moveTo>
                  <a:pt x="f385" y="f5"/>
                </a:moveTo>
                <a:lnTo>
                  <a:pt x="f386" y="f5"/>
                </a:lnTo>
                <a:lnTo>
                  <a:pt x="f387" y="f388"/>
                </a:lnTo>
                <a:lnTo>
                  <a:pt x="f389" y="f390"/>
                </a:lnTo>
                <a:lnTo>
                  <a:pt x="f389" y="f5"/>
                </a:lnTo>
                <a:lnTo>
                  <a:pt x="f391" y="f5"/>
                </a:lnTo>
                <a:lnTo>
                  <a:pt x="f391" y="f383"/>
                </a:lnTo>
                <a:lnTo>
                  <a:pt x="f392" y="f383"/>
                </a:lnTo>
                <a:lnTo>
                  <a:pt x="f393" y="f394"/>
                </a:lnTo>
                <a:lnTo>
                  <a:pt x="f393" y="f383"/>
                </a:lnTo>
                <a:lnTo>
                  <a:pt x="f385" y="f383"/>
                </a:lnTo>
                <a:close/>
                <a:moveTo>
                  <a:pt x="f395" y="f5"/>
                </a:moveTo>
                <a:lnTo>
                  <a:pt x="f396" y="f5"/>
                </a:lnTo>
                <a:lnTo>
                  <a:pt x="f396" y="f397"/>
                </a:lnTo>
                <a:lnTo>
                  <a:pt x="f398" y="f397"/>
                </a:lnTo>
                <a:lnTo>
                  <a:pt x="f398" y="f399"/>
                </a:lnTo>
                <a:lnTo>
                  <a:pt x="f400" y="f399"/>
                </a:lnTo>
                <a:lnTo>
                  <a:pt x="f400" y="f401"/>
                </a:lnTo>
                <a:lnTo>
                  <a:pt x="f398" y="f401"/>
                </a:lnTo>
                <a:lnTo>
                  <a:pt x="f398" y="f402"/>
                </a:lnTo>
                <a:lnTo>
                  <a:pt x="f396" y="f402"/>
                </a:lnTo>
                <a:lnTo>
                  <a:pt x="f396" y="f383"/>
                </a:lnTo>
                <a:lnTo>
                  <a:pt x="f395" y="f383"/>
                </a:lnTo>
                <a:close/>
                <a:moveTo>
                  <a:pt x="f403" y="f5"/>
                </a:moveTo>
                <a:lnTo>
                  <a:pt x="f404" y="f5"/>
                </a:lnTo>
                <a:lnTo>
                  <a:pt x="f405" y="f406"/>
                </a:lnTo>
                <a:lnTo>
                  <a:pt x="f407" y="f5"/>
                </a:lnTo>
                <a:lnTo>
                  <a:pt x="f408" y="f5"/>
                </a:lnTo>
                <a:lnTo>
                  <a:pt x="f408" y="f383"/>
                </a:lnTo>
                <a:lnTo>
                  <a:pt x="f409" y="f383"/>
                </a:lnTo>
                <a:lnTo>
                  <a:pt x="f409" y="f410"/>
                </a:lnTo>
                <a:lnTo>
                  <a:pt x="f411" y="f412"/>
                </a:lnTo>
                <a:lnTo>
                  <a:pt x="f413" y="f412"/>
                </a:lnTo>
                <a:lnTo>
                  <a:pt x="f414" y="f415"/>
                </a:lnTo>
                <a:lnTo>
                  <a:pt x="f414" y="f383"/>
                </a:lnTo>
                <a:lnTo>
                  <a:pt x="f403" y="f383"/>
                </a:lnTo>
                <a:close/>
                <a:moveTo>
                  <a:pt x="f416" y="f5"/>
                </a:moveTo>
                <a:lnTo>
                  <a:pt x="f417" y="f5"/>
                </a:lnTo>
                <a:lnTo>
                  <a:pt x="f417" y="f397"/>
                </a:lnTo>
                <a:lnTo>
                  <a:pt x="f418" y="f397"/>
                </a:lnTo>
                <a:lnTo>
                  <a:pt x="f418" y="f399"/>
                </a:lnTo>
                <a:lnTo>
                  <a:pt x="f419" y="f399"/>
                </a:lnTo>
                <a:lnTo>
                  <a:pt x="f419" y="f401"/>
                </a:lnTo>
                <a:lnTo>
                  <a:pt x="f418" y="f401"/>
                </a:lnTo>
                <a:lnTo>
                  <a:pt x="f418" y="f402"/>
                </a:lnTo>
                <a:lnTo>
                  <a:pt x="f417" y="f402"/>
                </a:lnTo>
                <a:lnTo>
                  <a:pt x="f417" y="f383"/>
                </a:lnTo>
                <a:lnTo>
                  <a:pt x="f416" y="f383"/>
                </a:lnTo>
                <a:close/>
                <a:moveTo>
                  <a:pt x="f420" y="f5"/>
                </a:moveTo>
                <a:lnTo>
                  <a:pt x="f421" y="f5"/>
                </a:lnTo>
                <a:lnTo>
                  <a:pt x="f421" y="f422"/>
                </a:lnTo>
                <a:lnTo>
                  <a:pt x="f423" y="f422"/>
                </a:lnTo>
                <a:lnTo>
                  <a:pt x="f423" y="f383"/>
                </a:lnTo>
                <a:lnTo>
                  <a:pt x="f420" y="f383"/>
                </a:lnTo>
                <a:close/>
                <a:moveTo>
                  <a:pt x="f424" y="f5"/>
                </a:moveTo>
                <a:cubicBezTo>
                  <a:pt x="f424" y="f5"/>
                  <a:pt x="f424" y="f5"/>
                  <a:pt x="f425" y="f5"/>
                </a:cubicBezTo>
                <a:cubicBezTo>
                  <a:pt x="f426" y="f5"/>
                  <a:pt x="f427" y="f428"/>
                  <a:pt x="f427" y="f429"/>
                </a:cubicBezTo>
                <a:cubicBezTo>
                  <a:pt x="f427" y="f430"/>
                  <a:pt x="f426" y="f431"/>
                  <a:pt x="f425" y="f431"/>
                </a:cubicBezTo>
                <a:cubicBezTo>
                  <a:pt x="f425" y="f431"/>
                  <a:pt x="f425" y="f431"/>
                  <a:pt x="f371" y="f431"/>
                </a:cubicBezTo>
                <a:cubicBezTo>
                  <a:pt x="f371" y="f431"/>
                  <a:pt x="f371" y="f431"/>
                  <a:pt x="f371" y="f383"/>
                </a:cubicBezTo>
                <a:cubicBezTo>
                  <a:pt x="f371" y="f383"/>
                  <a:pt x="f371" y="f383"/>
                  <a:pt x="f424" y="f383"/>
                </a:cubicBezTo>
                <a:cubicBezTo>
                  <a:pt x="f424" y="f383"/>
                  <a:pt x="f424" y="f383"/>
                  <a:pt x="f424" y="f5"/>
                </a:cubicBezTo>
                <a:close/>
                <a:moveTo>
                  <a:pt x="f432" y="f5"/>
                </a:moveTo>
                <a:lnTo>
                  <a:pt x="f433" y="f5"/>
                </a:lnTo>
                <a:lnTo>
                  <a:pt x="f434" y="f406"/>
                </a:lnTo>
                <a:lnTo>
                  <a:pt x="f435" y="f5"/>
                </a:lnTo>
                <a:lnTo>
                  <a:pt x="f436" y="f5"/>
                </a:lnTo>
                <a:lnTo>
                  <a:pt x="f436" y="f383"/>
                </a:lnTo>
                <a:lnTo>
                  <a:pt x="f437" y="f383"/>
                </a:lnTo>
                <a:lnTo>
                  <a:pt x="f437" y="f410"/>
                </a:lnTo>
                <a:lnTo>
                  <a:pt x="f438" y="f412"/>
                </a:lnTo>
                <a:lnTo>
                  <a:pt x="f439" y="f412"/>
                </a:lnTo>
                <a:lnTo>
                  <a:pt x="f440" y="f415"/>
                </a:lnTo>
                <a:lnTo>
                  <a:pt x="f440" y="f383"/>
                </a:lnTo>
                <a:lnTo>
                  <a:pt x="f432" y="f383"/>
                </a:lnTo>
                <a:close/>
                <a:moveTo>
                  <a:pt x="f441" y="f5"/>
                </a:moveTo>
                <a:lnTo>
                  <a:pt x="f442" y="f5"/>
                </a:lnTo>
                <a:lnTo>
                  <a:pt x="f442" y="f383"/>
                </a:lnTo>
                <a:lnTo>
                  <a:pt x="f441" y="f383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1F2023"/>
                </a:solidFill>
                <a:uFillTx/>
                <a:latin typeface="Arial"/>
              </a:rPr>
              <a:t> </a:t>
            </a:r>
          </a:p>
        </p:txBody>
      </p:sp>
      <p:sp>
        <p:nvSpPr>
          <p:cNvPr id="9" name="Date_GeneralDate" hidden="1">
            <a:extLst>
              <a:ext uri="{FF2B5EF4-FFF2-40B4-BE49-F238E27FC236}">
                <a16:creationId xmlns:a16="http://schemas.microsoft.com/office/drawing/2014/main" id="{F8147FC3-C2D0-4463-8D6D-6D43637E58CF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EE22D015-77A8-4C7A-B30B-AB6E9A99F466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10" name="FLD_PresentationTitle" hidden="1">
            <a:extLst>
              <a:ext uri="{FF2B5EF4-FFF2-40B4-BE49-F238E27FC236}">
                <a16:creationId xmlns:a16="http://schemas.microsoft.com/office/drawing/2014/main" id="{DF99969B-BA3B-4A51-BA18-049B0816A58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5184003"/>
            <a:ext cx="0" cy="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GB"/>
              <a:t>Footer</a:t>
            </a:r>
          </a:p>
        </p:txBody>
      </p:sp>
      <p:sp>
        <p:nvSpPr>
          <p:cNvPr id="11" name="Slide Number Placeholder 5" hidden="1">
            <a:extLst>
              <a:ext uri="{FF2B5EF4-FFF2-40B4-BE49-F238E27FC236}">
                <a16:creationId xmlns:a16="http://schemas.microsoft.com/office/drawing/2014/main" id="{51F615D1-B2D1-4D40-9039-15B227F9EF1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5184003"/>
            <a:ext cx="0" cy="0"/>
          </a:xfrm>
        </p:spPr>
        <p:txBody>
          <a:bodyPr anchor="t"/>
          <a:lstStyle>
            <a:lvl1pPr>
              <a:defRPr sz="108">
                <a:solidFill>
                  <a:srgbClr val="000000"/>
                </a:solidFill>
              </a:defRPr>
            </a:lvl1pPr>
          </a:lstStyle>
          <a:p>
            <a:pPr lvl="0"/>
            <a:fld id="{DD142965-5417-4546-BB67-9BEF7C945D33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9640690"/>
      </p:ext>
    </p:extLst>
  </p:cSld>
  <p:clrMapOvr>
    <a:masterClrMapping/>
  </p:clrMapOvr>
  <p:transition spd="med"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Logo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3">
            <a:extLst>
              <a:ext uri="{FF2B5EF4-FFF2-40B4-BE49-F238E27FC236}">
                <a16:creationId xmlns:a16="http://schemas.microsoft.com/office/drawing/2014/main" id="{58356E68-CAED-42E1-BB41-3BCC12D058FE}"/>
              </a:ext>
            </a:extLst>
          </p:cNvPr>
          <p:cNvSpPr/>
          <p:nvPr/>
        </p:nvSpPr>
        <p:spPr>
          <a:xfrm>
            <a:off x="2554425" y="0"/>
            <a:ext cx="6589571" cy="5143500"/>
          </a:xfrm>
          <a:prstGeom prst="rect">
            <a:avLst/>
          </a:prstGeom>
          <a:solidFill>
            <a:srgbClr val="40615F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marL="0" marR="0" lvl="0" indent="0" algn="ctr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3" name="Rectangle 20">
            <a:extLst>
              <a:ext uri="{FF2B5EF4-FFF2-40B4-BE49-F238E27FC236}">
                <a16:creationId xmlns:a16="http://schemas.microsoft.com/office/drawing/2014/main" id="{65B56F62-BD12-42A7-BCDB-C2B11D701EC5}"/>
              </a:ext>
            </a:extLst>
          </p:cNvPr>
          <p:cNvSpPr/>
          <p:nvPr/>
        </p:nvSpPr>
        <p:spPr>
          <a:xfrm>
            <a:off x="0" y="894530"/>
            <a:ext cx="7896836" cy="4248970"/>
          </a:xfrm>
          <a:prstGeom prst="rect">
            <a:avLst/>
          </a:prstGeom>
          <a:solidFill>
            <a:srgbClr val="F8F5E7"/>
          </a:solidFill>
          <a:ln cap="flat">
            <a:noFill/>
            <a:prstDash val="solid"/>
          </a:ln>
        </p:spPr>
        <p:txBody>
          <a:bodyPr vert="horz" wrap="square" lIns="26999" tIns="26999" rIns="26999" bIns="26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06F6C1D-6571-4E61-89FC-52F1687E3B1F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249117" y="4019405"/>
            <a:ext cx="2599590" cy="727620"/>
          </a:xfrm>
        </p:spPr>
        <p:txBody>
          <a:bodyPr/>
          <a:lstStyle>
            <a:lvl1pPr>
              <a:defRPr lang="en-GB" sz="731"/>
            </a:lvl1pPr>
          </a:lstStyle>
          <a:p>
            <a:pPr lvl="0"/>
            <a:r>
              <a:rPr lang="en-GB"/>
              <a:t>Click to edit Master subtitle style</a:t>
            </a:r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CE7513D3-8B75-418D-9F99-DD408663E12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747025"/>
            <a:ext cx="2599590" cy="201213"/>
          </a:xfrm>
        </p:spPr>
        <p:txBody>
          <a:bodyPr rIns="0" anchor="b"/>
          <a:lstStyle>
            <a:lvl1pPr>
              <a:defRPr lang="en-GB" sz="675"/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F8E98D94-BA63-4DAD-8994-7EA4E7AC1F46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5154017" y="1585912"/>
            <a:ext cx="3225049" cy="3557587"/>
          </a:xfrm>
          <a:solidFill>
            <a:srgbClr val="F3F2F0"/>
          </a:solidFill>
        </p:spPr>
        <p:txBody>
          <a:bodyPr rIns="0" anchor="ctr" anchorCtr="1"/>
          <a:lstStyle>
            <a:lvl1pPr algn="ctr">
              <a:buNone/>
              <a:defRPr lang="en-GB"/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B364C45-0633-48E3-96A4-3D4A4D5DEDC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0458" y="1585912"/>
            <a:ext cx="4447445" cy="2232272"/>
          </a:xfrm>
        </p:spPr>
        <p:txBody>
          <a:bodyPr/>
          <a:lstStyle>
            <a:lvl1pPr>
              <a:lnSpc>
                <a:spcPct val="83000"/>
              </a:lnSpc>
              <a:defRPr lang="en-GB" sz="4500" cap="all">
                <a:solidFill>
                  <a:srgbClr val="30373B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8" name="Freeform: Shape 11">
            <a:extLst>
              <a:ext uri="{FF2B5EF4-FFF2-40B4-BE49-F238E27FC236}">
                <a16:creationId xmlns:a16="http://schemas.microsoft.com/office/drawing/2014/main" id="{A2EA9221-A918-4FF8-B4A0-6B67A9780971}"/>
              </a:ext>
            </a:extLst>
          </p:cNvPr>
          <p:cNvSpPr/>
          <p:nvPr/>
        </p:nvSpPr>
        <p:spPr>
          <a:xfrm rot="5400013">
            <a:off x="8288464" y="566493"/>
            <a:ext cx="944168" cy="265744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9905999"/>
              <a:gd name="f7" fmla="val 2265361"/>
              <a:gd name="f8" fmla="val 6778122"/>
              <a:gd name="f9" fmla="val 2222531"/>
              <a:gd name="f10" fmla="val 7135812"/>
              <a:gd name="f11" fmla="val 6449676"/>
              <a:gd name="f12" fmla="val 1769427"/>
              <a:gd name="f13" fmla="val 1965546"/>
              <a:gd name="f14" fmla="val 6575655"/>
              <a:gd name="f15" fmla="val 6643144"/>
              <a:gd name="f16" fmla="val 6679138"/>
              <a:gd name="f17" fmla="val 1933987"/>
              <a:gd name="f18" fmla="val 1864105"/>
              <a:gd name="f19" fmla="val 1800986"/>
              <a:gd name="f20" fmla="val 6638645"/>
              <a:gd name="f21" fmla="val 5021164"/>
              <a:gd name="f22" fmla="val 1949767"/>
              <a:gd name="f23" fmla="val 5158391"/>
              <a:gd name="f24" fmla="val 5219131"/>
              <a:gd name="f25" fmla="val 5261874"/>
              <a:gd name="f26" fmla="val 1924970"/>
              <a:gd name="f27" fmla="val 1859597"/>
              <a:gd name="f28" fmla="val 1794223"/>
              <a:gd name="f29" fmla="val 5597068"/>
              <a:gd name="f30" fmla="val 1762664"/>
              <a:gd name="f31" fmla="val 5563324"/>
              <a:gd name="f32" fmla="val 5529579"/>
              <a:gd name="f33" fmla="val 1776189"/>
              <a:gd name="f34" fmla="val 5504834"/>
              <a:gd name="f35" fmla="val 5462091"/>
              <a:gd name="f36" fmla="val 1843817"/>
              <a:gd name="f37" fmla="val 5459841"/>
              <a:gd name="f38" fmla="val 1913699"/>
              <a:gd name="f39" fmla="val 1967800"/>
              <a:gd name="f40" fmla="val 2019648"/>
              <a:gd name="f41" fmla="val 2089530"/>
              <a:gd name="f42" fmla="val 2132361"/>
              <a:gd name="f43" fmla="val 2159412"/>
              <a:gd name="f44" fmla="val 2170683"/>
              <a:gd name="f45" fmla="val 5633062"/>
              <a:gd name="f46" fmla="val 5666807"/>
              <a:gd name="f47" fmla="val 5691552"/>
              <a:gd name="f48" fmla="val 5732046"/>
              <a:gd name="f49" fmla="val 5734295"/>
              <a:gd name="f50" fmla="val 654642"/>
              <a:gd name="f51" fmla="val 618647"/>
              <a:gd name="f52" fmla="val 584903"/>
              <a:gd name="f53" fmla="val 560157"/>
              <a:gd name="f54" fmla="val 519664"/>
              <a:gd name="f55" fmla="val 517414"/>
              <a:gd name="f56" fmla="val 688386"/>
              <a:gd name="f57" fmla="val 722130"/>
              <a:gd name="f58" fmla="val 746876"/>
              <a:gd name="f59" fmla="val 789619"/>
              <a:gd name="f60" fmla="val 791868"/>
              <a:gd name="f61" fmla="val 6386687"/>
              <a:gd name="f62" fmla="val 1710816"/>
              <a:gd name="f63" fmla="val 6636395"/>
              <a:gd name="f64" fmla="val 1726596"/>
              <a:gd name="f65" fmla="val 6706134"/>
              <a:gd name="f66" fmla="val 1755901"/>
              <a:gd name="f67" fmla="val 6730880"/>
              <a:gd name="f68" fmla="val 1782952"/>
              <a:gd name="f69" fmla="val 6744377"/>
              <a:gd name="f70" fmla="val 1821274"/>
              <a:gd name="f71" fmla="val 1915953"/>
              <a:gd name="f72" fmla="val 1954275"/>
              <a:gd name="f73" fmla="val 6701634"/>
              <a:gd name="f74" fmla="val 1981326"/>
              <a:gd name="f75" fmla="val 6674639"/>
              <a:gd name="f76" fmla="val 2008377"/>
              <a:gd name="f77" fmla="val 6634146"/>
              <a:gd name="f78" fmla="val 2024157"/>
              <a:gd name="f79" fmla="val 6577905"/>
              <a:gd name="f80" fmla="val 5889520"/>
              <a:gd name="f81" fmla="val 5954759"/>
              <a:gd name="f82" fmla="val 2035428"/>
              <a:gd name="f83" fmla="val 2118835"/>
              <a:gd name="f84" fmla="val 5988503"/>
              <a:gd name="f85" fmla="val 2172937"/>
              <a:gd name="f86" fmla="val 6076239"/>
              <a:gd name="f87" fmla="val 6166224"/>
              <a:gd name="f88" fmla="val 6199968"/>
              <a:gd name="f89" fmla="val 6262957"/>
              <a:gd name="f90" fmla="val 2163920"/>
              <a:gd name="f91" fmla="val 6190969"/>
              <a:gd name="f92" fmla="val 2231547"/>
              <a:gd name="f93" fmla="val 5961508"/>
              <a:gd name="f94" fmla="val 4958174"/>
              <a:gd name="f95" fmla="val 5259624"/>
              <a:gd name="f96" fmla="val 5288869"/>
              <a:gd name="f97" fmla="val 5313615"/>
              <a:gd name="f98" fmla="val 5329363"/>
              <a:gd name="f99" fmla="val 1814512"/>
              <a:gd name="f100" fmla="val 1904682"/>
              <a:gd name="f101" fmla="val 1936241"/>
              <a:gd name="f102" fmla="val 1961038"/>
              <a:gd name="f103" fmla="val 5275372"/>
              <a:gd name="f104" fmla="val 1976817"/>
              <a:gd name="f105" fmla="val 5252875"/>
              <a:gd name="f106" fmla="val 1990343"/>
              <a:gd name="f107" fmla="val 5228130"/>
              <a:gd name="f108" fmla="val 1997106"/>
              <a:gd name="f109" fmla="val 5331612"/>
              <a:gd name="f110" fmla="val 5162890"/>
              <a:gd name="f111" fmla="val 2010631"/>
              <a:gd name="f112" fmla="val 3309199"/>
              <a:gd name="f113" fmla="val 3381187"/>
              <a:gd name="f114" fmla="val 3633145"/>
              <a:gd name="f115" fmla="val 2123344"/>
              <a:gd name="f116" fmla="val 3693885"/>
              <a:gd name="f117" fmla="val 3621897"/>
              <a:gd name="f118" fmla="val 3372188"/>
              <a:gd name="f119" fmla="val 1810003"/>
              <a:gd name="f120" fmla="val 3106732"/>
              <a:gd name="f121" fmla="val 3171971"/>
              <a:gd name="f122" fmla="val 2663557"/>
              <a:gd name="f123" fmla="val 3032495"/>
              <a:gd name="f124" fmla="val 2879521"/>
              <a:gd name="f125" fmla="val 2814282"/>
              <a:gd name="f126" fmla="val 2416099"/>
              <a:gd name="f127" fmla="val 2481338"/>
              <a:gd name="f128" fmla="val 2726547"/>
              <a:gd name="f129" fmla="val 1918931"/>
              <a:gd name="f130" fmla="val 1984171"/>
              <a:gd name="f131" fmla="val 2017916"/>
              <a:gd name="f132" fmla="val 2105651"/>
              <a:gd name="f133" fmla="val 2195636"/>
              <a:gd name="f134" fmla="val 2229380"/>
              <a:gd name="f135" fmla="val 2292369"/>
              <a:gd name="f136" fmla="val 2220382"/>
              <a:gd name="f137" fmla="val 1990920"/>
              <a:gd name="f138" fmla="val 960591"/>
              <a:gd name="f139" fmla="val 1032578"/>
              <a:gd name="f140" fmla="val 1284537"/>
              <a:gd name="f141" fmla="val 1345276"/>
              <a:gd name="f142" fmla="val 1273289"/>
              <a:gd name="f143" fmla="val 1023580"/>
              <a:gd name="f144" fmla="val 1701799"/>
              <a:gd name="f145" fmla="val 5648810"/>
              <a:gd name="f146" fmla="val 5698301"/>
              <a:gd name="f147" fmla="val 1719833"/>
              <a:gd name="f148" fmla="val 5736545"/>
              <a:gd name="f149" fmla="val 5790536"/>
              <a:gd name="f150" fmla="val 5801784"/>
              <a:gd name="f151" fmla="val 1884393"/>
              <a:gd name="f152" fmla="val 2048953"/>
              <a:gd name="f153" fmla="val 2177446"/>
              <a:gd name="f154" fmla="val 2213514"/>
              <a:gd name="f155" fmla="val 2233802"/>
              <a:gd name="f156" fmla="val 5547576"/>
              <a:gd name="f157" fmla="val 5495835"/>
              <a:gd name="f158" fmla="val 5403600"/>
              <a:gd name="f159" fmla="val 5394602"/>
              <a:gd name="f160" fmla="val 4645477"/>
              <a:gd name="f161" fmla="val 4701717"/>
              <a:gd name="f162" fmla="val 4755708"/>
              <a:gd name="f163" fmla="val 1722087"/>
              <a:gd name="f164" fmla="val 4791702"/>
              <a:gd name="f165" fmla="val 1758155"/>
              <a:gd name="f166" fmla="val 4816448"/>
              <a:gd name="f167" fmla="val 1785206"/>
              <a:gd name="f168" fmla="val 4832195"/>
              <a:gd name="f169" fmla="val 1816766"/>
              <a:gd name="f170" fmla="val 4834445"/>
              <a:gd name="f171" fmla="val 4766956"/>
              <a:gd name="f172" fmla="val 4764707"/>
              <a:gd name="f173" fmla="val 1834800"/>
              <a:gd name="f174" fmla="val 4757958"/>
              <a:gd name="f175" fmla="val 1819020"/>
              <a:gd name="f176" fmla="val 4744460"/>
              <a:gd name="f177" fmla="val 1803240"/>
              <a:gd name="f178" fmla="val 4721964"/>
              <a:gd name="f179" fmla="val 1773935"/>
              <a:gd name="f180" fmla="val 4685970"/>
              <a:gd name="f181" fmla="val 4609482"/>
              <a:gd name="f182" fmla="val 4575738"/>
              <a:gd name="f183" fmla="val 4550992"/>
              <a:gd name="f184" fmla="val 4510499"/>
              <a:gd name="f185" fmla="val 4506000"/>
              <a:gd name="f186" fmla="val 2017394"/>
              <a:gd name="f187" fmla="val 2091784"/>
              <a:gd name="f188" fmla="val 4553242"/>
              <a:gd name="f189" fmla="val 2134615"/>
              <a:gd name="f190" fmla="val 4577988"/>
              <a:gd name="f191" fmla="val 2161666"/>
              <a:gd name="f192" fmla="val 4681471"/>
              <a:gd name="f193" fmla="val 4715215"/>
              <a:gd name="f194" fmla="val 4737711"/>
              <a:gd name="f195" fmla="val 2136869"/>
              <a:gd name="f196" fmla="val 4771456"/>
              <a:gd name="f197" fmla="val 2103055"/>
              <a:gd name="f198" fmla="val 4780454"/>
              <a:gd name="f199" fmla="val 2053462"/>
              <a:gd name="f200" fmla="val 2006123"/>
              <a:gd name="f201" fmla="val 1947512"/>
              <a:gd name="f202" fmla="val 4838944"/>
              <a:gd name="f203" fmla="val 4793952"/>
              <a:gd name="f204" fmla="val 4782704"/>
              <a:gd name="f205" fmla="val 2204497"/>
              <a:gd name="f206" fmla="val 4593735"/>
              <a:gd name="f207" fmla="val 4544243"/>
              <a:gd name="f208" fmla="val 2215768"/>
              <a:gd name="f209" fmla="val 2179700"/>
              <a:gd name="f210" fmla="val 4454258"/>
              <a:gd name="f211" fmla="val 2130106"/>
              <a:gd name="f212" fmla="val 4440761"/>
              <a:gd name="f213" fmla="val 2057970"/>
              <a:gd name="f214" fmla="val 4452009"/>
              <a:gd name="f215" fmla="val 4002083"/>
              <a:gd name="f216" fmla="val 4060574"/>
              <a:gd name="f217" fmla="val 4112315"/>
              <a:gd name="f218" fmla="val 4148309"/>
              <a:gd name="f219" fmla="val 4173055"/>
              <a:gd name="f220" fmla="val 4191052"/>
              <a:gd name="f221" fmla="val 4193302"/>
              <a:gd name="f222" fmla="val 4125813"/>
              <a:gd name="f223" fmla="val 4123563"/>
              <a:gd name="f224" fmla="val 4114565"/>
              <a:gd name="f225" fmla="val 4103317"/>
              <a:gd name="f226" fmla="val 4078571"/>
              <a:gd name="f227" fmla="val 4044826"/>
              <a:gd name="f228" fmla="val 3968339"/>
              <a:gd name="f229" fmla="val 3934595"/>
              <a:gd name="f230" fmla="val 3909849"/>
              <a:gd name="f231" fmla="val 3867106"/>
              <a:gd name="f232" fmla="val 3864856"/>
              <a:gd name="f233" fmla="val 4038077"/>
              <a:gd name="f234" fmla="val 4071822"/>
              <a:gd name="f235" fmla="val 4094318"/>
              <a:gd name="f236" fmla="val 4130312"/>
              <a:gd name="f237" fmla="val 4139311"/>
              <a:gd name="f238" fmla="val 4197801"/>
              <a:gd name="f239" fmla="val 4152808"/>
              <a:gd name="f240" fmla="val 4141560"/>
              <a:gd name="f241" fmla="val 4116814"/>
              <a:gd name="f242" fmla="val 3950342"/>
              <a:gd name="f243" fmla="val 3900850"/>
              <a:gd name="f244" fmla="val 3813115"/>
              <a:gd name="f245" fmla="val 3797367"/>
              <a:gd name="f246" fmla="val 3808616"/>
              <a:gd name="f247" fmla="val 1642228"/>
              <a:gd name="f248" fmla="val 1691719"/>
              <a:gd name="f249" fmla="val 1741211"/>
              <a:gd name="f250" fmla="val 1717579"/>
              <a:gd name="f251" fmla="val 1774955"/>
              <a:gd name="f252" fmla="val 1749138"/>
              <a:gd name="f253" fmla="val 1806450"/>
              <a:gd name="f254" fmla="val 1780698"/>
              <a:gd name="f255" fmla="val 1822198"/>
              <a:gd name="f256" fmla="val 1824447"/>
              <a:gd name="f257" fmla="val 1756958"/>
              <a:gd name="f258" fmla="val 1754708"/>
              <a:gd name="f259" fmla="val 1745710"/>
              <a:gd name="f260" fmla="val 1812257"/>
              <a:gd name="f261" fmla="val 1732212"/>
              <a:gd name="f262" fmla="val 1796478"/>
              <a:gd name="f263" fmla="val 1711966"/>
              <a:gd name="f264" fmla="val 1680471"/>
              <a:gd name="f265" fmla="val 1760410"/>
              <a:gd name="f266" fmla="val 1639978"/>
              <a:gd name="f267" fmla="val 1603983"/>
              <a:gd name="f268" fmla="val 1572489"/>
              <a:gd name="f269" fmla="val 1549993"/>
              <a:gd name="f270" fmla="val 1536494"/>
              <a:gd name="f271" fmla="val 1529746"/>
              <a:gd name="f272" fmla="val 1828037"/>
              <a:gd name="f273" fmla="val 1850580"/>
              <a:gd name="f274" fmla="val 1897919"/>
              <a:gd name="f275" fmla="val 1567989"/>
              <a:gd name="f276" fmla="val 1918207"/>
              <a:gd name="f277" fmla="val 1606234"/>
              <a:gd name="f278" fmla="val 1922716"/>
              <a:gd name="f279" fmla="val 1635478"/>
              <a:gd name="f280" fmla="val 1927224"/>
              <a:gd name="f281" fmla="val 1662474"/>
              <a:gd name="f282" fmla="val 1931733"/>
              <a:gd name="f283" fmla="val 1833445"/>
              <a:gd name="f284" fmla="val 2001614"/>
              <a:gd name="f285" fmla="val 2082767"/>
              <a:gd name="f286" fmla="val 2125598"/>
              <a:gd name="f287" fmla="val 1815448"/>
              <a:gd name="f288" fmla="val 2157157"/>
              <a:gd name="f289" fmla="val 1790703"/>
              <a:gd name="f290" fmla="val 2181954"/>
              <a:gd name="f291" fmla="val 1698468"/>
              <a:gd name="f292" fmla="val 1644477"/>
              <a:gd name="f293" fmla="val 1581488"/>
              <a:gd name="f294" fmla="val 1531996"/>
              <a:gd name="f295" fmla="val 1498251"/>
              <a:gd name="f296" fmla="val 2184208"/>
              <a:gd name="f297" fmla="val 1466757"/>
              <a:gd name="f298" fmla="val 2152649"/>
              <a:gd name="f299" fmla="val 1444260"/>
              <a:gd name="f300" fmla="val 2109818"/>
              <a:gd name="f301" fmla="val 2060225"/>
              <a:gd name="f302" fmla="val 1509499"/>
              <a:gd name="f303" fmla="val 1525247"/>
              <a:gd name="f304" fmla="val 2121089"/>
              <a:gd name="f305" fmla="val 1545494"/>
              <a:gd name="f306" fmla="val 2141378"/>
              <a:gd name="f307" fmla="val 1570239"/>
              <a:gd name="f308" fmla="val 1608483"/>
              <a:gd name="f309" fmla="val 1682720"/>
              <a:gd name="f310" fmla="val 1716465"/>
              <a:gd name="f311" fmla="val 2166174"/>
              <a:gd name="f312" fmla="val 1738962"/>
              <a:gd name="f313" fmla="val 2143632"/>
              <a:gd name="f314" fmla="val 1765956"/>
              <a:gd name="f315" fmla="val 2044445"/>
              <a:gd name="f316" fmla="val 1599484"/>
              <a:gd name="f317" fmla="val 1988089"/>
              <a:gd name="f318" fmla="val 1522997"/>
              <a:gd name="f319" fmla="val 1462257"/>
              <a:gd name="f320" fmla="val 1852834"/>
              <a:gd name="f321" fmla="val 1480254"/>
              <a:gd name="f322" fmla="val 1778444"/>
              <a:gd name="f323" fmla="val 1507249"/>
              <a:gd name="f324" fmla="val 1751393"/>
              <a:gd name="f325" fmla="val 1543244"/>
              <a:gd name="f326" fmla="val 1588236"/>
              <a:gd name="f327" fmla="val 704133"/>
              <a:gd name="f328" fmla="val 755874"/>
              <a:gd name="f329" fmla="val 848110"/>
              <a:gd name="f330" fmla="val 857108"/>
              <a:gd name="f331" fmla="val 602900"/>
              <a:gd name="f332" fmla="val 553408"/>
              <a:gd name="f333" fmla="val 515164"/>
              <a:gd name="f334" fmla="val 461173"/>
              <a:gd name="f335" fmla="val 449925"/>
              <a:gd name="f336" fmla="val 202466"/>
              <a:gd name="f337" fmla="val 258707"/>
              <a:gd name="f338" fmla="val 308199"/>
              <a:gd name="f339" fmla="val 339693"/>
              <a:gd name="f340" fmla="val 1753647"/>
              <a:gd name="f341" fmla="val 368939"/>
              <a:gd name="f342" fmla="val 386936"/>
              <a:gd name="f343" fmla="val 1823529"/>
              <a:gd name="f344" fmla="val 389185"/>
              <a:gd name="f345" fmla="val 1870868"/>
              <a:gd name="f346" fmla="val 323946"/>
              <a:gd name="f347" fmla="val 321697"/>
              <a:gd name="f348" fmla="val 1841563"/>
              <a:gd name="f349" fmla="val 312698"/>
              <a:gd name="f350" fmla="val 294701"/>
              <a:gd name="f351" fmla="val 1798732"/>
              <a:gd name="f352" fmla="val 274454"/>
              <a:gd name="f353" fmla="val 240710"/>
              <a:gd name="f354" fmla="val 168722"/>
              <a:gd name="f355" fmla="val 134978"/>
              <a:gd name="f356" fmla="val 110232"/>
              <a:gd name="f357" fmla="val 67489"/>
              <a:gd name="f358" fmla="val 276704"/>
              <a:gd name="f359" fmla="val 2154903"/>
              <a:gd name="f360" fmla="val 296951"/>
              <a:gd name="f361" fmla="val 2114327"/>
              <a:gd name="f362" fmla="val 2087276"/>
              <a:gd name="f363" fmla="val 391435"/>
              <a:gd name="f364" fmla="val 2107564"/>
              <a:gd name="f365" fmla="val 2148140"/>
              <a:gd name="f366" fmla="val 2209005"/>
              <a:gd name="f367" fmla="val 150725"/>
              <a:gd name="f368" fmla="val 101233"/>
              <a:gd name="f369" fmla="val 65239"/>
              <a:gd name="f370" fmla="val 8999"/>
              <a:gd name="f371" fmla="val 2227389"/>
              <a:gd name="f372" fmla="val 214047"/>
              <a:gd name="f373" fmla="val 574548"/>
              <a:gd name="f374" fmla="val 2456649"/>
              <a:gd name="f375" fmla="val 2584765"/>
              <a:gd name="f376" fmla="val 2654442"/>
              <a:gd name="f377" fmla="val 509207"/>
              <a:gd name="f378" fmla="val 394298"/>
              <a:gd name="f379" fmla="val 277135"/>
              <a:gd name="f380" fmla="val 8961436"/>
              <a:gd name="f381" fmla="val 225425"/>
              <a:gd name="f382" fmla="val 9555161"/>
              <a:gd name="f383" fmla="val 1214437"/>
              <a:gd name="f384" fmla="val 9315449"/>
              <a:gd name="f385" fmla="val 7785099"/>
              <a:gd name="f386" fmla="val 8035924"/>
              <a:gd name="f387" fmla="val 8037512"/>
              <a:gd name="f388" fmla="val 3175"/>
              <a:gd name="f389" fmla="val 8523286"/>
              <a:gd name="f390" fmla="val 774700"/>
              <a:gd name="f391" fmla="val 8759824"/>
              <a:gd name="f392" fmla="val 8518524"/>
              <a:gd name="f393" fmla="val 8024812"/>
              <a:gd name="f394" fmla="val 425450"/>
              <a:gd name="f395" fmla="val 6665911"/>
              <a:gd name="f396" fmla="val 7535861"/>
              <a:gd name="f397" fmla="val 220663"/>
              <a:gd name="f398" fmla="val 6905624"/>
              <a:gd name="f399" fmla="val 473075"/>
              <a:gd name="f400" fmla="val 7459661"/>
              <a:gd name="f401" fmla="val 690562"/>
              <a:gd name="f402" fmla="val 993775"/>
              <a:gd name="f403" fmla="val 5221286"/>
              <a:gd name="f404" fmla="val 5534024"/>
              <a:gd name="f405" fmla="val 5835649"/>
              <a:gd name="f406" fmla="val 823912"/>
              <a:gd name="f407" fmla="val 6142037"/>
              <a:gd name="f408" fmla="val 6438899"/>
              <a:gd name="f409" fmla="val 6203949"/>
              <a:gd name="f410" fmla="val 419100"/>
              <a:gd name="f411" fmla="val 5916612"/>
              <a:gd name="f412" fmla="val 1196975"/>
              <a:gd name="f413" fmla="val 5740399"/>
              <a:gd name="f414" fmla="val 5454649"/>
              <a:gd name="f415" fmla="val 409575"/>
              <a:gd name="f416" fmla="val 4098924"/>
              <a:gd name="f417" fmla="val 4968874"/>
              <a:gd name="f418" fmla="val 4340224"/>
              <a:gd name="f419" fmla="val 4895849"/>
              <a:gd name="f420" fmla="val 3079749"/>
              <a:gd name="f421" fmla="val 3321049"/>
              <a:gd name="f422" fmla="val 984250"/>
              <a:gd name="f423" fmla="val 3871912"/>
              <a:gd name="f424" fmla="val 1989138"/>
              <a:gd name="f425" fmla="val 2465639"/>
              <a:gd name="f426" fmla="val 2735357"/>
              <a:gd name="f427" fmla="val 2897188"/>
              <a:gd name="f428" fmla="val 146454"/>
              <a:gd name="f429" fmla="val 392045"/>
              <a:gd name="f430" fmla="val 639889"/>
              <a:gd name="f431" fmla="val 786342"/>
              <a:gd name="f432" fmla="val 520699"/>
              <a:gd name="f433" fmla="val 833436"/>
              <a:gd name="f434" fmla="val 1135061"/>
              <a:gd name="f435" fmla="val 1439862"/>
              <a:gd name="f436" fmla="val 1736724"/>
              <a:gd name="f437" fmla="val 1503362"/>
              <a:gd name="f438" fmla="val 1216024"/>
              <a:gd name="f439" fmla="val 1039812"/>
              <a:gd name="f440" fmla="val 754062"/>
              <a:gd name="f441" fmla="val 25400"/>
              <a:gd name="f442" fmla="val 268288"/>
              <a:gd name="f443" fmla="+- 0 0 -90"/>
              <a:gd name="f444" fmla="*/ f3 1 9905999"/>
              <a:gd name="f445" fmla="*/ f4 1 2265361"/>
              <a:gd name="f446" fmla="+- f7 0 f5"/>
              <a:gd name="f447" fmla="+- f6 0 f5"/>
              <a:gd name="f448" fmla="*/ f443 f0 1"/>
              <a:gd name="f449" fmla="*/ f447 1 9905999"/>
              <a:gd name="f450" fmla="*/ f446 1 2265361"/>
              <a:gd name="f451" fmla="*/ 6778122 f447 1"/>
              <a:gd name="f452" fmla="*/ 2222531 f446 1"/>
              <a:gd name="f453" fmla="*/ 7135812 f447 1"/>
              <a:gd name="f454" fmla="*/ 2265361 f446 1"/>
              <a:gd name="f455" fmla="*/ 6449676 f447 1"/>
              <a:gd name="f456" fmla="*/ 1769427 f446 1"/>
              <a:gd name="f457" fmla="*/ 1965546 f446 1"/>
              <a:gd name="f458" fmla="*/ 6575655 f447 1"/>
              <a:gd name="f459" fmla="*/ 6679138 f447 1"/>
              <a:gd name="f460" fmla="*/ 1864105 f446 1"/>
              <a:gd name="f461" fmla="*/ 5021164 f447 1"/>
              <a:gd name="f462" fmla="*/ 1949767 f446 1"/>
              <a:gd name="f463" fmla="*/ 5158391 f447 1"/>
              <a:gd name="f464" fmla="*/ 5261874 f447 1"/>
              <a:gd name="f465" fmla="*/ 1859597 f446 1"/>
              <a:gd name="f466" fmla="*/ 5597068 f447 1"/>
              <a:gd name="f467" fmla="*/ 1762664 f446 1"/>
              <a:gd name="f468" fmla="*/ 5504834 f447 1"/>
              <a:gd name="f469" fmla="*/ 1800986 f446 1"/>
              <a:gd name="f470" fmla="*/ 5459841 f447 1"/>
              <a:gd name="f471" fmla="*/ 1967800 f446 1"/>
              <a:gd name="f472" fmla="*/ 2132361 f446 1"/>
              <a:gd name="f473" fmla="*/ 2170683 f446 1"/>
              <a:gd name="f474" fmla="*/ 5691552 f447 1"/>
              <a:gd name="f475" fmla="*/ 5734295 f447 1"/>
              <a:gd name="f476" fmla="*/ 654642 f447 1"/>
              <a:gd name="f477" fmla="*/ 560157 f447 1"/>
              <a:gd name="f478" fmla="*/ 517414 f447 1"/>
              <a:gd name="f479" fmla="*/ 746876 f447 1"/>
              <a:gd name="f480" fmla="*/ 791868 f447 1"/>
              <a:gd name="f481" fmla="*/ 6386687 f447 1"/>
              <a:gd name="f482" fmla="*/ 1710816 f446 1"/>
              <a:gd name="f483" fmla="*/ 6706134 f447 1"/>
              <a:gd name="f484" fmla="*/ 1755901 f446 1"/>
              <a:gd name="f485" fmla="*/ 6744377 f447 1"/>
              <a:gd name="f486" fmla="*/ 6701634 f447 1"/>
              <a:gd name="f487" fmla="*/ 1981326 f446 1"/>
              <a:gd name="f488" fmla="*/ 6577905 f447 1"/>
              <a:gd name="f489" fmla="*/ 2024157 f446 1"/>
              <a:gd name="f490" fmla="*/ 5889520 f447 1"/>
              <a:gd name="f491" fmla="*/ 5954759 f447 1"/>
              <a:gd name="f492" fmla="*/ 2035428 f446 1"/>
              <a:gd name="f493" fmla="*/ 6076239 f447 1"/>
              <a:gd name="f494" fmla="*/ 2172937 f446 1"/>
              <a:gd name="f495" fmla="*/ 6199968 f447 1"/>
              <a:gd name="f496" fmla="*/ 6262957 f447 1"/>
              <a:gd name="f497" fmla="*/ 2231547 f446 1"/>
              <a:gd name="f498" fmla="*/ 4958174 f447 1"/>
              <a:gd name="f499" fmla="*/ 5288869 f447 1"/>
              <a:gd name="f500" fmla="*/ 5329363 f447 1"/>
              <a:gd name="f501" fmla="*/ 1961038 f446 1"/>
              <a:gd name="f502" fmla="*/ 5228130 f447 1"/>
              <a:gd name="f503" fmla="*/ 1997106 f446 1"/>
              <a:gd name="f504" fmla="*/ 5331612 f447 1"/>
              <a:gd name="f505" fmla="*/ 5259624 f447 1"/>
              <a:gd name="f506" fmla="*/ 5162890 f447 1"/>
              <a:gd name="f507" fmla="*/ 2010631 f446 1"/>
              <a:gd name="f508" fmla="*/ 3309199 f447 1"/>
              <a:gd name="f509" fmla="*/ 3381187 f447 1"/>
              <a:gd name="f510" fmla="*/ 3633145 f447 1"/>
              <a:gd name="f511" fmla="*/ 2123344 f446 1"/>
              <a:gd name="f512" fmla="*/ 3693885 f447 1"/>
              <a:gd name="f513" fmla="*/ 3621897 f447 1"/>
              <a:gd name="f514" fmla="*/ 3372188 f447 1"/>
              <a:gd name="f515" fmla="*/ 1810003 f446 1"/>
              <a:gd name="f516" fmla="*/ 3106732 f447 1"/>
              <a:gd name="f517" fmla="*/ 3171971 f447 1"/>
              <a:gd name="f518" fmla="*/ 2663557 f447 1"/>
              <a:gd name="f519" fmla="*/ 3032495 f447 1"/>
              <a:gd name="f520" fmla="*/ 2879521 f447 1"/>
              <a:gd name="f521" fmla="*/ 2814282 f447 1"/>
              <a:gd name="f522" fmla="*/ 2416099 f447 1"/>
              <a:gd name="f523" fmla="*/ 2481338 f447 1"/>
              <a:gd name="f524" fmla="*/ 2163920 f446 1"/>
              <a:gd name="f525" fmla="*/ 2726547 f447 1"/>
              <a:gd name="f526" fmla="*/ 1918931 f447 1"/>
              <a:gd name="f527" fmla="*/ 1984171 f447 1"/>
              <a:gd name="f528" fmla="*/ 2105651 f447 1"/>
              <a:gd name="f529" fmla="*/ 2229380 f447 1"/>
              <a:gd name="f530" fmla="*/ 2292369 f447 1"/>
              <a:gd name="f531" fmla="*/ 960591 f447 1"/>
              <a:gd name="f532" fmla="*/ 1032578 f447 1"/>
              <a:gd name="f533" fmla="*/ 1284537 f447 1"/>
              <a:gd name="f534" fmla="*/ 1345276 f447 1"/>
              <a:gd name="f535" fmla="*/ 1273289 f447 1"/>
              <a:gd name="f536" fmla="*/ 1023580 f447 1"/>
              <a:gd name="f537" fmla="*/ 1701799 f446 1"/>
              <a:gd name="f538" fmla="*/ 5736545 f447 1"/>
              <a:gd name="f539" fmla="*/ 5801784 f447 1"/>
              <a:gd name="f540" fmla="*/ 2177446 f446 1"/>
              <a:gd name="f541" fmla="*/ 2233802 f446 1"/>
              <a:gd name="f542" fmla="*/ 5394602 f447 1"/>
              <a:gd name="f543" fmla="*/ 4645477 f447 1"/>
              <a:gd name="f544" fmla="*/ 4791702 f447 1"/>
              <a:gd name="f545" fmla="*/ 1758155 f446 1"/>
              <a:gd name="f546" fmla="*/ 4834445 f447 1"/>
              <a:gd name="f547" fmla="*/ 4766956 f447 1"/>
              <a:gd name="f548" fmla="*/ 4744460 f447 1"/>
              <a:gd name="f549" fmla="*/ 1803240 f446 1"/>
              <a:gd name="f550" fmla="*/ 4550992 f447 1"/>
              <a:gd name="f551" fmla="*/ 4506000 f447 1"/>
              <a:gd name="f552" fmla="*/ 4553242 f447 1"/>
              <a:gd name="f553" fmla="*/ 2134615 f446 1"/>
              <a:gd name="f554" fmla="*/ 4737711 f447 1"/>
              <a:gd name="f555" fmla="*/ 2136869 f446 1"/>
              <a:gd name="f556" fmla="*/ 4780454 f447 1"/>
              <a:gd name="f557" fmla="*/ 2006123 f446 1"/>
              <a:gd name="f558" fmla="*/ 1947512 f446 1"/>
              <a:gd name="f559" fmla="*/ 4838944 f447 1"/>
              <a:gd name="f560" fmla="*/ 4793952 f447 1"/>
              <a:gd name="f561" fmla="*/ 4782704 f447 1"/>
              <a:gd name="f562" fmla="*/ 2161666 f446 1"/>
              <a:gd name="f563" fmla="*/ 2179700 f446 1"/>
              <a:gd name="f564" fmla="*/ 4440761 f447 1"/>
              <a:gd name="f565" fmla="*/ 4002083 f447 1"/>
              <a:gd name="f566" fmla="*/ 4148309 f447 1"/>
              <a:gd name="f567" fmla="*/ 4193302 f447 1"/>
              <a:gd name="f568" fmla="*/ 4125813 f447 1"/>
              <a:gd name="f569" fmla="*/ 4103317 f447 1"/>
              <a:gd name="f570" fmla="*/ 3909849 f447 1"/>
              <a:gd name="f571" fmla="*/ 3864856 f447 1"/>
              <a:gd name="f572" fmla="*/ 4094318 f447 1"/>
              <a:gd name="f573" fmla="*/ 4139311 f447 1"/>
              <a:gd name="f574" fmla="*/ 4197801 f447 1"/>
              <a:gd name="f575" fmla="*/ 4152808 f447 1"/>
              <a:gd name="f576" fmla="*/ 4141560 f447 1"/>
              <a:gd name="f577" fmla="*/ 3797367 f447 1"/>
              <a:gd name="f578" fmla="*/ 1642228 f447 1"/>
              <a:gd name="f579" fmla="*/ 1774955 f447 1"/>
              <a:gd name="f580" fmla="*/ 1749138 f446 1"/>
              <a:gd name="f581" fmla="*/ 1824447 f447 1"/>
              <a:gd name="f582" fmla="*/ 1756958 f447 1"/>
              <a:gd name="f583" fmla="*/ 1732212 f447 1"/>
              <a:gd name="f584" fmla="*/ 1796478 f446 1"/>
              <a:gd name="f585" fmla="*/ 1639978 f447 1"/>
              <a:gd name="f586" fmla="*/ 1760410 f446 1"/>
              <a:gd name="f587" fmla="*/ 1549993 f447 1"/>
              <a:gd name="f588" fmla="*/ 1529746 f447 1"/>
              <a:gd name="f589" fmla="*/ 1850580 f446 1"/>
              <a:gd name="f590" fmla="*/ 1606234 f447 1"/>
              <a:gd name="f591" fmla="*/ 1922716 f446 1"/>
              <a:gd name="f592" fmla="*/ 1691719 f447 1"/>
              <a:gd name="f593" fmla="*/ 1936241 f446 1"/>
              <a:gd name="f594" fmla="*/ 1833445 f447 1"/>
              <a:gd name="f595" fmla="*/ 2082767 f446 1"/>
              <a:gd name="f596" fmla="*/ 1790703 f447 1"/>
              <a:gd name="f597" fmla="*/ 2181954 f446 1"/>
              <a:gd name="f598" fmla="*/ 1644477 f447 1"/>
              <a:gd name="f599" fmla="*/ 1498251 f447 1"/>
              <a:gd name="f600" fmla="*/ 2184208 f446 1"/>
              <a:gd name="f601" fmla="*/ 1444260 f447 1"/>
              <a:gd name="f602" fmla="*/ 2060225 f446 1"/>
              <a:gd name="f603" fmla="*/ 1509499 f447 1"/>
              <a:gd name="f604" fmla="*/ 1545494 f447 1"/>
              <a:gd name="f605" fmla="*/ 2141378 f446 1"/>
              <a:gd name="f606" fmla="*/ 1738962 f447 1"/>
              <a:gd name="f607" fmla="*/ 2143632 f446 1"/>
              <a:gd name="f608" fmla="*/ 1765956 f447 1"/>
              <a:gd name="f609" fmla="*/ 1680471 f447 1"/>
              <a:gd name="f610" fmla="*/ 2001614 f446 1"/>
              <a:gd name="f611" fmla="*/ 1599484 f447 1"/>
              <a:gd name="f612" fmla="*/ 1988089 f446 1"/>
              <a:gd name="f613" fmla="*/ 1462257 f447 1"/>
              <a:gd name="f614" fmla="*/ 1852834 f446 1"/>
              <a:gd name="f615" fmla="*/ 1507249 f447 1"/>
              <a:gd name="f616" fmla="*/ 1751393 f446 1"/>
              <a:gd name="f617" fmla="*/ 857108 f447 1"/>
              <a:gd name="f618" fmla="*/ 515164 f447 1"/>
              <a:gd name="f619" fmla="*/ 449925 f447 1"/>
              <a:gd name="f620" fmla="*/ 202466 f447 1"/>
              <a:gd name="f621" fmla="*/ 339693 f447 1"/>
              <a:gd name="f622" fmla="*/ 1753647 f446 1"/>
              <a:gd name="f623" fmla="*/ 389185 f447 1"/>
              <a:gd name="f624" fmla="*/ 1870868 f446 1"/>
              <a:gd name="f625" fmla="*/ 323946 f447 1"/>
              <a:gd name="f626" fmla="*/ 294701 f447 1"/>
              <a:gd name="f627" fmla="*/ 1798732 f446 1"/>
              <a:gd name="f628" fmla="*/ 110232 f447 1"/>
              <a:gd name="f629" fmla="*/ 67489 f447 1"/>
              <a:gd name="f630" fmla="*/ 296951 f447 1"/>
              <a:gd name="f631" fmla="*/ 391435 f447 1"/>
              <a:gd name="f632" fmla="*/ 65239 f447 1"/>
              <a:gd name="f633" fmla="*/ 0 f447 1"/>
              <a:gd name="f634" fmla="*/ 2227389 f447 1"/>
              <a:gd name="f635" fmla="*/ 214047 f446 1"/>
              <a:gd name="f636" fmla="*/ 574548 f446 1"/>
              <a:gd name="f637" fmla="*/ 2456649 f447 1"/>
              <a:gd name="f638" fmla="*/ 2654442 f447 1"/>
              <a:gd name="f639" fmla="*/ 394298 f446 1"/>
              <a:gd name="f640" fmla="*/ 8961436 f447 1"/>
              <a:gd name="f641" fmla="*/ 0 f446 1"/>
              <a:gd name="f642" fmla="*/ 9905999 f447 1"/>
              <a:gd name="f643" fmla="*/ 225425 f446 1"/>
              <a:gd name="f644" fmla="*/ 9555161 f447 1"/>
              <a:gd name="f645" fmla="*/ 1214437 f446 1"/>
              <a:gd name="f646" fmla="*/ 9315449 f447 1"/>
              <a:gd name="f647" fmla="*/ 7785099 f447 1"/>
              <a:gd name="f648" fmla="*/ 8035924 f447 1"/>
              <a:gd name="f649" fmla="*/ 8037512 f447 1"/>
              <a:gd name="f650" fmla="*/ 3175 f446 1"/>
              <a:gd name="f651" fmla="*/ 8523286 f447 1"/>
              <a:gd name="f652" fmla="*/ 774700 f446 1"/>
              <a:gd name="f653" fmla="*/ 8759824 f447 1"/>
              <a:gd name="f654" fmla="*/ 8518524 f447 1"/>
              <a:gd name="f655" fmla="*/ 8024812 f447 1"/>
              <a:gd name="f656" fmla="*/ 425450 f446 1"/>
              <a:gd name="f657" fmla="*/ 6665911 f447 1"/>
              <a:gd name="f658" fmla="*/ 7535861 f447 1"/>
              <a:gd name="f659" fmla="*/ 220663 f446 1"/>
              <a:gd name="f660" fmla="*/ 6905624 f447 1"/>
              <a:gd name="f661" fmla="*/ 473075 f446 1"/>
              <a:gd name="f662" fmla="*/ 7459661 f447 1"/>
              <a:gd name="f663" fmla="*/ 690562 f446 1"/>
              <a:gd name="f664" fmla="*/ 993775 f446 1"/>
              <a:gd name="f665" fmla="*/ 5221286 f447 1"/>
              <a:gd name="f666" fmla="*/ 5534024 f447 1"/>
              <a:gd name="f667" fmla="*/ 5835649 f447 1"/>
              <a:gd name="f668" fmla="*/ 823912 f446 1"/>
              <a:gd name="f669" fmla="*/ 6142037 f447 1"/>
              <a:gd name="f670" fmla="*/ 6438899 f447 1"/>
              <a:gd name="f671" fmla="*/ 6203949 f447 1"/>
              <a:gd name="f672" fmla="*/ 419100 f446 1"/>
              <a:gd name="f673" fmla="*/ 5916612 f447 1"/>
              <a:gd name="f674" fmla="*/ 1196975 f446 1"/>
              <a:gd name="f675" fmla="*/ 5740399 f447 1"/>
              <a:gd name="f676" fmla="*/ 5454649 f447 1"/>
              <a:gd name="f677" fmla="*/ 409575 f446 1"/>
              <a:gd name="f678" fmla="*/ 4098924 f447 1"/>
              <a:gd name="f679" fmla="*/ 4968874 f447 1"/>
              <a:gd name="f680" fmla="*/ 4340224 f447 1"/>
              <a:gd name="f681" fmla="*/ 4895849 f447 1"/>
              <a:gd name="f682" fmla="*/ 3079749 f447 1"/>
              <a:gd name="f683" fmla="*/ 3321049 f447 1"/>
              <a:gd name="f684" fmla="*/ 984250 f446 1"/>
              <a:gd name="f685" fmla="*/ 3871912 f447 1"/>
              <a:gd name="f686" fmla="*/ 1989138 f447 1"/>
              <a:gd name="f687" fmla="*/ 2465639 f447 1"/>
              <a:gd name="f688" fmla="*/ 2897188 f447 1"/>
              <a:gd name="f689" fmla="*/ 392045 f446 1"/>
              <a:gd name="f690" fmla="*/ 786342 f446 1"/>
              <a:gd name="f691" fmla="*/ 520699 f447 1"/>
              <a:gd name="f692" fmla="*/ 833436 f447 1"/>
              <a:gd name="f693" fmla="*/ 1135061 f447 1"/>
              <a:gd name="f694" fmla="*/ 1439862 f447 1"/>
              <a:gd name="f695" fmla="*/ 1736724 f447 1"/>
              <a:gd name="f696" fmla="*/ 1503362 f447 1"/>
              <a:gd name="f697" fmla="*/ 1216024 f447 1"/>
              <a:gd name="f698" fmla="*/ 1039812 f447 1"/>
              <a:gd name="f699" fmla="*/ 754062 f447 1"/>
              <a:gd name="f700" fmla="*/ 25400 f447 1"/>
              <a:gd name="f701" fmla="*/ 268288 f447 1"/>
              <a:gd name="f702" fmla="*/ f448 1 f2"/>
              <a:gd name="f703" fmla="*/ f451 1 9905999"/>
              <a:gd name="f704" fmla="*/ f452 1 2265361"/>
              <a:gd name="f705" fmla="*/ f453 1 9905999"/>
              <a:gd name="f706" fmla="*/ f454 1 2265361"/>
              <a:gd name="f707" fmla="*/ f455 1 9905999"/>
              <a:gd name="f708" fmla="*/ f456 1 2265361"/>
              <a:gd name="f709" fmla="*/ f457 1 2265361"/>
              <a:gd name="f710" fmla="*/ f458 1 9905999"/>
              <a:gd name="f711" fmla="*/ f459 1 9905999"/>
              <a:gd name="f712" fmla="*/ f460 1 2265361"/>
              <a:gd name="f713" fmla="*/ f461 1 9905999"/>
              <a:gd name="f714" fmla="*/ f462 1 2265361"/>
              <a:gd name="f715" fmla="*/ f463 1 9905999"/>
              <a:gd name="f716" fmla="*/ f464 1 9905999"/>
              <a:gd name="f717" fmla="*/ f465 1 2265361"/>
              <a:gd name="f718" fmla="*/ f466 1 9905999"/>
              <a:gd name="f719" fmla="*/ f467 1 2265361"/>
              <a:gd name="f720" fmla="*/ f468 1 9905999"/>
              <a:gd name="f721" fmla="*/ f469 1 2265361"/>
              <a:gd name="f722" fmla="*/ f470 1 9905999"/>
              <a:gd name="f723" fmla="*/ f471 1 2265361"/>
              <a:gd name="f724" fmla="*/ f472 1 2265361"/>
              <a:gd name="f725" fmla="*/ f473 1 2265361"/>
              <a:gd name="f726" fmla="*/ f474 1 9905999"/>
              <a:gd name="f727" fmla="*/ f475 1 9905999"/>
              <a:gd name="f728" fmla="*/ f476 1 9905999"/>
              <a:gd name="f729" fmla="*/ f477 1 9905999"/>
              <a:gd name="f730" fmla="*/ f478 1 9905999"/>
              <a:gd name="f731" fmla="*/ f479 1 9905999"/>
              <a:gd name="f732" fmla="*/ f480 1 9905999"/>
              <a:gd name="f733" fmla="*/ f481 1 9905999"/>
              <a:gd name="f734" fmla="*/ f482 1 2265361"/>
              <a:gd name="f735" fmla="*/ f483 1 9905999"/>
              <a:gd name="f736" fmla="*/ f484 1 2265361"/>
              <a:gd name="f737" fmla="*/ f485 1 9905999"/>
              <a:gd name="f738" fmla="*/ f486 1 9905999"/>
              <a:gd name="f739" fmla="*/ f487 1 2265361"/>
              <a:gd name="f740" fmla="*/ f488 1 9905999"/>
              <a:gd name="f741" fmla="*/ f489 1 2265361"/>
              <a:gd name="f742" fmla="*/ f490 1 9905999"/>
              <a:gd name="f743" fmla="*/ f491 1 9905999"/>
              <a:gd name="f744" fmla="*/ f492 1 2265361"/>
              <a:gd name="f745" fmla="*/ f493 1 9905999"/>
              <a:gd name="f746" fmla="*/ f494 1 2265361"/>
              <a:gd name="f747" fmla="*/ f495 1 9905999"/>
              <a:gd name="f748" fmla="*/ f496 1 9905999"/>
              <a:gd name="f749" fmla="*/ f497 1 2265361"/>
              <a:gd name="f750" fmla="*/ f498 1 9905999"/>
              <a:gd name="f751" fmla="*/ f499 1 9905999"/>
              <a:gd name="f752" fmla="*/ f500 1 9905999"/>
              <a:gd name="f753" fmla="*/ f501 1 2265361"/>
              <a:gd name="f754" fmla="*/ f502 1 9905999"/>
              <a:gd name="f755" fmla="*/ f503 1 2265361"/>
              <a:gd name="f756" fmla="*/ f504 1 9905999"/>
              <a:gd name="f757" fmla="*/ f505 1 9905999"/>
              <a:gd name="f758" fmla="*/ f506 1 9905999"/>
              <a:gd name="f759" fmla="*/ f507 1 2265361"/>
              <a:gd name="f760" fmla="*/ f508 1 9905999"/>
              <a:gd name="f761" fmla="*/ f509 1 9905999"/>
              <a:gd name="f762" fmla="*/ f510 1 9905999"/>
              <a:gd name="f763" fmla="*/ f511 1 2265361"/>
              <a:gd name="f764" fmla="*/ f512 1 9905999"/>
              <a:gd name="f765" fmla="*/ f513 1 9905999"/>
              <a:gd name="f766" fmla="*/ f514 1 9905999"/>
              <a:gd name="f767" fmla="*/ f515 1 2265361"/>
              <a:gd name="f768" fmla="*/ f516 1 9905999"/>
              <a:gd name="f769" fmla="*/ f517 1 9905999"/>
              <a:gd name="f770" fmla="*/ f518 1 9905999"/>
              <a:gd name="f771" fmla="*/ f519 1 9905999"/>
              <a:gd name="f772" fmla="*/ f520 1 9905999"/>
              <a:gd name="f773" fmla="*/ f521 1 9905999"/>
              <a:gd name="f774" fmla="*/ f522 1 9905999"/>
              <a:gd name="f775" fmla="*/ f523 1 9905999"/>
              <a:gd name="f776" fmla="*/ f524 1 2265361"/>
              <a:gd name="f777" fmla="*/ f525 1 9905999"/>
              <a:gd name="f778" fmla="*/ f526 1 9905999"/>
              <a:gd name="f779" fmla="*/ f527 1 9905999"/>
              <a:gd name="f780" fmla="*/ f528 1 9905999"/>
              <a:gd name="f781" fmla="*/ f529 1 9905999"/>
              <a:gd name="f782" fmla="*/ f530 1 9905999"/>
              <a:gd name="f783" fmla="*/ f531 1 9905999"/>
              <a:gd name="f784" fmla="*/ f532 1 9905999"/>
              <a:gd name="f785" fmla="*/ f533 1 9905999"/>
              <a:gd name="f786" fmla="*/ f534 1 9905999"/>
              <a:gd name="f787" fmla="*/ f535 1 9905999"/>
              <a:gd name="f788" fmla="*/ f536 1 9905999"/>
              <a:gd name="f789" fmla="*/ f537 1 2265361"/>
              <a:gd name="f790" fmla="*/ f538 1 9905999"/>
              <a:gd name="f791" fmla="*/ f539 1 9905999"/>
              <a:gd name="f792" fmla="*/ f540 1 2265361"/>
              <a:gd name="f793" fmla="*/ f541 1 2265361"/>
              <a:gd name="f794" fmla="*/ f542 1 9905999"/>
              <a:gd name="f795" fmla="*/ f543 1 9905999"/>
              <a:gd name="f796" fmla="*/ f544 1 9905999"/>
              <a:gd name="f797" fmla="*/ f545 1 2265361"/>
              <a:gd name="f798" fmla="*/ f546 1 9905999"/>
              <a:gd name="f799" fmla="*/ f547 1 9905999"/>
              <a:gd name="f800" fmla="*/ f548 1 9905999"/>
              <a:gd name="f801" fmla="*/ f549 1 2265361"/>
              <a:gd name="f802" fmla="*/ f550 1 9905999"/>
              <a:gd name="f803" fmla="*/ f551 1 9905999"/>
              <a:gd name="f804" fmla="*/ f552 1 9905999"/>
              <a:gd name="f805" fmla="*/ f553 1 2265361"/>
              <a:gd name="f806" fmla="*/ f554 1 9905999"/>
              <a:gd name="f807" fmla="*/ f555 1 2265361"/>
              <a:gd name="f808" fmla="*/ f556 1 9905999"/>
              <a:gd name="f809" fmla="*/ f557 1 2265361"/>
              <a:gd name="f810" fmla="*/ f558 1 2265361"/>
              <a:gd name="f811" fmla="*/ f559 1 9905999"/>
              <a:gd name="f812" fmla="*/ f560 1 9905999"/>
              <a:gd name="f813" fmla="*/ f561 1 9905999"/>
              <a:gd name="f814" fmla="*/ f562 1 2265361"/>
              <a:gd name="f815" fmla="*/ f563 1 2265361"/>
              <a:gd name="f816" fmla="*/ f564 1 9905999"/>
              <a:gd name="f817" fmla="*/ f565 1 9905999"/>
              <a:gd name="f818" fmla="*/ f566 1 9905999"/>
              <a:gd name="f819" fmla="*/ f567 1 9905999"/>
              <a:gd name="f820" fmla="*/ f568 1 9905999"/>
              <a:gd name="f821" fmla="*/ f569 1 9905999"/>
              <a:gd name="f822" fmla="*/ f570 1 9905999"/>
              <a:gd name="f823" fmla="*/ f571 1 9905999"/>
              <a:gd name="f824" fmla="*/ f572 1 9905999"/>
              <a:gd name="f825" fmla="*/ f573 1 9905999"/>
              <a:gd name="f826" fmla="*/ f574 1 9905999"/>
              <a:gd name="f827" fmla="*/ f575 1 9905999"/>
              <a:gd name="f828" fmla="*/ f576 1 9905999"/>
              <a:gd name="f829" fmla="*/ f577 1 9905999"/>
              <a:gd name="f830" fmla="*/ f578 1 9905999"/>
              <a:gd name="f831" fmla="*/ f579 1 9905999"/>
              <a:gd name="f832" fmla="*/ f580 1 2265361"/>
              <a:gd name="f833" fmla="*/ f581 1 9905999"/>
              <a:gd name="f834" fmla="*/ f582 1 9905999"/>
              <a:gd name="f835" fmla="*/ f583 1 9905999"/>
              <a:gd name="f836" fmla="*/ f584 1 2265361"/>
              <a:gd name="f837" fmla="*/ f585 1 9905999"/>
              <a:gd name="f838" fmla="*/ f586 1 2265361"/>
              <a:gd name="f839" fmla="*/ f587 1 9905999"/>
              <a:gd name="f840" fmla="*/ f588 1 9905999"/>
              <a:gd name="f841" fmla="*/ f589 1 2265361"/>
              <a:gd name="f842" fmla="*/ f590 1 9905999"/>
              <a:gd name="f843" fmla="*/ f591 1 2265361"/>
              <a:gd name="f844" fmla="*/ f592 1 9905999"/>
              <a:gd name="f845" fmla="*/ f593 1 2265361"/>
              <a:gd name="f846" fmla="*/ f594 1 9905999"/>
              <a:gd name="f847" fmla="*/ f595 1 2265361"/>
              <a:gd name="f848" fmla="*/ f596 1 9905999"/>
              <a:gd name="f849" fmla="*/ f597 1 2265361"/>
              <a:gd name="f850" fmla="*/ f598 1 9905999"/>
              <a:gd name="f851" fmla="*/ f599 1 9905999"/>
              <a:gd name="f852" fmla="*/ f600 1 2265361"/>
              <a:gd name="f853" fmla="*/ f601 1 9905999"/>
              <a:gd name="f854" fmla="*/ f602 1 2265361"/>
              <a:gd name="f855" fmla="*/ f603 1 9905999"/>
              <a:gd name="f856" fmla="*/ f604 1 9905999"/>
              <a:gd name="f857" fmla="*/ f605 1 2265361"/>
              <a:gd name="f858" fmla="*/ f606 1 9905999"/>
              <a:gd name="f859" fmla="*/ f607 1 2265361"/>
              <a:gd name="f860" fmla="*/ f608 1 9905999"/>
              <a:gd name="f861" fmla="*/ f609 1 9905999"/>
              <a:gd name="f862" fmla="*/ f610 1 2265361"/>
              <a:gd name="f863" fmla="*/ f611 1 9905999"/>
              <a:gd name="f864" fmla="*/ f612 1 2265361"/>
              <a:gd name="f865" fmla="*/ f613 1 9905999"/>
              <a:gd name="f866" fmla="*/ f614 1 2265361"/>
              <a:gd name="f867" fmla="*/ f615 1 9905999"/>
              <a:gd name="f868" fmla="*/ f616 1 2265361"/>
              <a:gd name="f869" fmla="*/ f617 1 9905999"/>
              <a:gd name="f870" fmla="*/ f618 1 9905999"/>
              <a:gd name="f871" fmla="*/ f619 1 9905999"/>
              <a:gd name="f872" fmla="*/ f620 1 9905999"/>
              <a:gd name="f873" fmla="*/ f621 1 9905999"/>
              <a:gd name="f874" fmla="*/ f622 1 2265361"/>
              <a:gd name="f875" fmla="*/ f623 1 9905999"/>
              <a:gd name="f876" fmla="*/ f624 1 2265361"/>
              <a:gd name="f877" fmla="*/ f625 1 9905999"/>
              <a:gd name="f878" fmla="*/ f626 1 9905999"/>
              <a:gd name="f879" fmla="*/ f627 1 2265361"/>
              <a:gd name="f880" fmla="*/ f628 1 9905999"/>
              <a:gd name="f881" fmla="*/ f629 1 9905999"/>
              <a:gd name="f882" fmla="*/ f630 1 9905999"/>
              <a:gd name="f883" fmla="*/ f631 1 9905999"/>
              <a:gd name="f884" fmla="*/ f632 1 9905999"/>
              <a:gd name="f885" fmla="*/ f633 1 9905999"/>
              <a:gd name="f886" fmla="*/ f634 1 9905999"/>
              <a:gd name="f887" fmla="*/ f635 1 2265361"/>
              <a:gd name="f888" fmla="*/ f636 1 2265361"/>
              <a:gd name="f889" fmla="*/ f637 1 9905999"/>
              <a:gd name="f890" fmla="*/ f638 1 9905999"/>
              <a:gd name="f891" fmla="*/ f639 1 2265361"/>
              <a:gd name="f892" fmla="*/ f640 1 9905999"/>
              <a:gd name="f893" fmla="*/ f641 1 2265361"/>
              <a:gd name="f894" fmla="*/ f642 1 9905999"/>
              <a:gd name="f895" fmla="*/ f643 1 2265361"/>
              <a:gd name="f896" fmla="*/ f644 1 9905999"/>
              <a:gd name="f897" fmla="*/ f645 1 2265361"/>
              <a:gd name="f898" fmla="*/ f646 1 9905999"/>
              <a:gd name="f899" fmla="*/ f647 1 9905999"/>
              <a:gd name="f900" fmla="*/ f648 1 9905999"/>
              <a:gd name="f901" fmla="*/ f649 1 9905999"/>
              <a:gd name="f902" fmla="*/ f650 1 2265361"/>
              <a:gd name="f903" fmla="*/ f651 1 9905999"/>
              <a:gd name="f904" fmla="*/ f652 1 2265361"/>
              <a:gd name="f905" fmla="*/ f653 1 9905999"/>
              <a:gd name="f906" fmla="*/ f654 1 9905999"/>
              <a:gd name="f907" fmla="*/ f655 1 9905999"/>
              <a:gd name="f908" fmla="*/ f656 1 2265361"/>
              <a:gd name="f909" fmla="*/ f657 1 9905999"/>
              <a:gd name="f910" fmla="*/ f658 1 9905999"/>
              <a:gd name="f911" fmla="*/ f659 1 2265361"/>
              <a:gd name="f912" fmla="*/ f660 1 9905999"/>
              <a:gd name="f913" fmla="*/ f661 1 2265361"/>
              <a:gd name="f914" fmla="*/ f662 1 9905999"/>
              <a:gd name="f915" fmla="*/ f663 1 2265361"/>
              <a:gd name="f916" fmla="*/ f664 1 2265361"/>
              <a:gd name="f917" fmla="*/ f665 1 9905999"/>
              <a:gd name="f918" fmla="*/ f666 1 9905999"/>
              <a:gd name="f919" fmla="*/ f667 1 9905999"/>
              <a:gd name="f920" fmla="*/ f668 1 2265361"/>
              <a:gd name="f921" fmla="*/ f669 1 9905999"/>
              <a:gd name="f922" fmla="*/ f670 1 9905999"/>
              <a:gd name="f923" fmla="*/ f671 1 9905999"/>
              <a:gd name="f924" fmla="*/ f672 1 2265361"/>
              <a:gd name="f925" fmla="*/ f673 1 9905999"/>
              <a:gd name="f926" fmla="*/ f674 1 2265361"/>
              <a:gd name="f927" fmla="*/ f675 1 9905999"/>
              <a:gd name="f928" fmla="*/ f676 1 9905999"/>
              <a:gd name="f929" fmla="*/ f677 1 2265361"/>
              <a:gd name="f930" fmla="*/ f678 1 9905999"/>
              <a:gd name="f931" fmla="*/ f679 1 9905999"/>
              <a:gd name="f932" fmla="*/ f680 1 9905999"/>
              <a:gd name="f933" fmla="*/ f681 1 9905999"/>
              <a:gd name="f934" fmla="*/ f682 1 9905999"/>
              <a:gd name="f935" fmla="*/ f683 1 9905999"/>
              <a:gd name="f936" fmla="*/ f684 1 2265361"/>
              <a:gd name="f937" fmla="*/ f685 1 9905999"/>
              <a:gd name="f938" fmla="*/ f686 1 9905999"/>
              <a:gd name="f939" fmla="*/ f687 1 9905999"/>
              <a:gd name="f940" fmla="*/ f688 1 9905999"/>
              <a:gd name="f941" fmla="*/ f689 1 2265361"/>
              <a:gd name="f942" fmla="*/ f690 1 2265361"/>
              <a:gd name="f943" fmla="*/ f691 1 9905999"/>
              <a:gd name="f944" fmla="*/ f692 1 9905999"/>
              <a:gd name="f945" fmla="*/ f693 1 9905999"/>
              <a:gd name="f946" fmla="*/ f694 1 9905999"/>
              <a:gd name="f947" fmla="*/ f695 1 9905999"/>
              <a:gd name="f948" fmla="*/ f696 1 9905999"/>
              <a:gd name="f949" fmla="*/ f697 1 9905999"/>
              <a:gd name="f950" fmla="*/ f698 1 9905999"/>
              <a:gd name="f951" fmla="*/ f699 1 9905999"/>
              <a:gd name="f952" fmla="*/ f700 1 9905999"/>
              <a:gd name="f953" fmla="*/ f701 1 9905999"/>
              <a:gd name="f954" fmla="*/ f5 1 f449"/>
              <a:gd name="f955" fmla="*/ f6 1 f449"/>
              <a:gd name="f956" fmla="*/ f5 1 f450"/>
              <a:gd name="f957" fmla="*/ f7 1 f450"/>
              <a:gd name="f958" fmla="+- f702 0 f1"/>
              <a:gd name="f959" fmla="*/ f703 1 f449"/>
              <a:gd name="f960" fmla="*/ f704 1 f450"/>
              <a:gd name="f961" fmla="*/ f705 1 f449"/>
              <a:gd name="f962" fmla="*/ f706 1 f450"/>
              <a:gd name="f963" fmla="*/ f707 1 f449"/>
              <a:gd name="f964" fmla="*/ f708 1 f450"/>
              <a:gd name="f965" fmla="*/ f709 1 f450"/>
              <a:gd name="f966" fmla="*/ f710 1 f449"/>
              <a:gd name="f967" fmla="*/ f711 1 f449"/>
              <a:gd name="f968" fmla="*/ f712 1 f450"/>
              <a:gd name="f969" fmla="*/ f713 1 f449"/>
              <a:gd name="f970" fmla="*/ f714 1 f450"/>
              <a:gd name="f971" fmla="*/ f715 1 f449"/>
              <a:gd name="f972" fmla="*/ f716 1 f449"/>
              <a:gd name="f973" fmla="*/ f717 1 f450"/>
              <a:gd name="f974" fmla="*/ f718 1 f449"/>
              <a:gd name="f975" fmla="*/ f719 1 f450"/>
              <a:gd name="f976" fmla="*/ f720 1 f449"/>
              <a:gd name="f977" fmla="*/ f721 1 f450"/>
              <a:gd name="f978" fmla="*/ f722 1 f449"/>
              <a:gd name="f979" fmla="*/ f723 1 f450"/>
              <a:gd name="f980" fmla="*/ f724 1 f450"/>
              <a:gd name="f981" fmla="*/ f725 1 f450"/>
              <a:gd name="f982" fmla="*/ f726 1 f449"/>
              <a:gd name="f983" fmla="*/ f727 1 f449"/>
              <a:gd name="f984" fmla="*/ f728 1 f449"/>
              <a:gd name="f985" fmla="*/ f729 1 f449"/>
              <a:gd name="f986" fmla="*/ f730 1 f449"/>
              <a:gd name="f987" fmla="*/ f731 1 f449"/>
              <a:gd name="f988" fmla="*/ f732 1 f449"/>
              <a:gd name="f989" fmla="*/ f733 1 f449"/>
              <a:gd name="f990" fmla="*/ f734 1 f450"/>
              <a:gd name="f991" fmla="*/ f735 1 f449"/>
              <a:gd name="f992" fmla="*/ f736 1 f450"/>
              <a:gd name="f993" fmla="*/ f737 1 f449"/>
              <a:gd name="f994" fmla="*/ f738 1 f449"/>
              <a:gd name="f995" fmla="*/ f739 1 f450"/>
              <a:gd name="f996" fmla="*/ f740 1 f449"/>
              <a:gd name="f997" fmla="*/ f741 1 f450"/>
              <a:gd name="f998" fmla="*/ f742 1 f449"/>
              <a:gd name="f999" fmla="*/ f743 1 f449"/>
              <a:gd name="f1000" fmla="*/ f744 1 f450"/>
              <a:gd name="f1001" fmla="*/ f745 1 f449"/>
              <a:gd name="f1002" fmla="*/ f746 1 f450"/>
              <a:gd name="f1003" fmla="*/ f747 1 f449"/>
              <a:gd name="f1004" fmla="*/ f748 1 f449"/>
              <a:gd name="f1005" fmla="*/ f749 1 f450"/>
              <a:gd name="f1006" fmla="*/ f750 1 f449"/>
              <a:gd name="f1007" fmla="*/ f751 1 f449"/>
              <a:gd name="f1008" fmla="*/ f752 1 f449"/>
              <a:gd name="f1009" fmla="*/ f753 1 f450"/>
              <a:gd name="f1010" fmla="*/ f754 1 f449"/>
              <a:gd name="f1011" fmla="*/ f755 1 f450"/>
              <a:gd name="f1012" fmla="*/ f756 1 f449"/>
              <a:gd name="f1013" fmla="*/ f757 1 f449"/>
              <a:gd name="f1014" fmla="*/ f758 1 f449"/>
              <a:gd name="f1015" fmla="*/ f759 1 f450"/>
              <a:gd name="f1016" fmla="*/ f760 1 f449"/>
              <a:gd name="f1017" fmla="*/ f761 1 f449"/>
              <a:gd name="f1018" fmla="*/ f762 1 f449"/>
              <a:gd name="f1019" fmla="*/ f763 1 f450"/>
              <a:gd name="f1020" fmla="*/ f764 1 f449"/>
              <a:gd name="f1021" fmla="*/ f765 1 f449"/>
              <a:gd name="f1022" fmla="*/ f766 1 f449"/>
              <a:gd name="f1023" fmla="*/ f767 1 f450"/>
              <a:gd name="f1024" fmla="*/ f768 1 f449"/>
              <a:gd name="f1025" fmla="*/ f769 1 f449"/>
              <a:gd name="f1026" fmla="*/ f770 1 f449"/>
              <a:gd name="f1027" fmla="*/ f771 1 f449"/>
              <a:gd name="f1028" fmla="*/ f772 1 f449"/>
              <a:gd name="f1029" fmla="*/ f773 1 f449"/>
              <a:gd name="f1030" fmla="*/ f774 1 f449"/>
              <a:gd name="f1031" fmla="*/ f775 1 f449"/>
              <a:gd name="f1032" fmla="*/ f776 1 f450"/>
              <a:gd name="f1033" fmla="*/ f777 1 f449"/>
              <a:gd name="f1034" fmla="*/ f778 1 f449"/>
              <a:gd name="f1035" fmla="*/ f779 1 f449"/>
              <a:gd name="f1036" fmla="*/ f780 1 f449"/>
              <a:gd name="f1037" fmla="*/ f781 1 f449"/>
              <a:gd name="f1038" fmla="*/ f782 1 f449"/>
              <a:gd name="f1039" fmla="*/ f783 1 f449"/>
              <a:gd name="f1040" fmla="*/ f784 1 f449"/>
              <a:gd name="f1041" fmla="*/ f785 1 f449"/>
              <a:gd name="f1042" fmla="*/ f786 1 f449"/>
              <a:gd name="f1043" fmla="*/ f787 1 f449"/>
              <a:gd name="f1044" fmla="*/ f788 1 f449"/>
              <a:gd name="f1045" fmla="*/ f789 1 f450"/>
              <a:gd name="f1046" fmla="*/ f790 1 f449"/>
              <a:gd name="f1047" fmla="*/ f791 1 f449"/>
              <a:gd name="f1048" fmla="*/ f792 1 f450"/>
              <a:gd name="f1049" fmla="*/ f793 1 f450"/>
              <a:gd name="f1050" fmla="*/ f794 1 f449"/>
              <a:gd name="f1051" fmla="*/ f795 1 f449"/>
              <a:gd name="f1052" fmla="*/ f796 1 f449"/>
              <a:gd name="f1053" fmla="*/ f797 1 f450"/>
              <a:gd name="f1054" fmla="*/ f798 1 f449"/>
              <a:gd name="f1055" fmla="*/ f799 1 f449"/>
              <a:gd name="f1056" fmla="*/ f800 1 f449"/>
              <a:gd name="f1057" fmla="*/ f801 1 f450"/>
              <a:gd name="f1058" fmla="*/ f802 1 f449"/>
              <a:gd name="f1059" fmla="*/ f803 1 f449"/>
              <a:gd name="f1060" fmla="*/ f804 1 f449"/>
              <a:gd name="f1061" fmla="*/ f805 1 f450"/>
              <a:gd name="f1062" fmla="*/ f806 1 f449"/>
              <a:gd name="f1063" fmla="*/ f807 1 f450"/>
              <a:gd name="f1064" fmla="*/ f808 1 f449"/>
              <a:gd name="f1065" fmla="*/ f809 1 f450"/>
              <a:gd name="f1066" fmla="*/ f810 1 f450"/>
              <a:gd name="f1067" fmla="*/ f811 1 f449"/>
              <a:gd name="f1068" fmla="*/ f812 1 f449"/>
              <a:gd name="f1069" fmla="*/ f813 1 f449"/>
              <a:gd name="f1070" fmla="*/ f814 1 f450"/>
              <a:gd name="f1071" fmla="*/ f815 1 f450"/>
              <a:gd name="f1072" fmla="*/ f816 1 f449"/>
              <a:gd name="f1073" fmla="*/ f817 1 f449"/>
              <a:gd name="f1074" fmla="*/ f818 1 f449"/>
              <a:gd name="f1075" fmla="*/ f819 1 f449"/>
              <a:gd name="f1076" fmla="*/ f820 1 f449"/>
              <a:gd name="f1077" fmla="*/ f821 1 f449"/>
              <a:gd name="f1078" fmla="*/ f822 1 f449"/>
              <a:gd name="f1079" fmla="*/ f823 1 f449"/>
              <a:gd name="f1080" fmla="*/ f824 1 f449"/>
              <a:gd name="f1081" fmla="*/ f825 1 f449"/>
              <a:gd name="f1082" fmla="*/ f826 1 f449"/>
              <a:gd name="f1083" fmla="*/ f827 1 f449"/>
              <a:gd name="f1084" fmla="*/ f828 1 f449"/>
              <a:gd name="f1085" fmla="*/ f829 1 f449"/>
              <a:gd name="f1086" fmla="*/ f830 1 f449"/>
              <a:gd name="f1087" fmla="*/ f831 1 f449"/>
              <a:gd name="f1088" fmla="*/ f832 1 f450"/>
              <a:gd name="f1089" fmla="*/ f833 1 f449"/>
              <a:gd name="f1090" fmla="*/ f834 1 f449"/>
              <a:gd name="f1091" fmla="*/ f835 1 f449"/>
              <a:gd name="f1092" fmla="*/ f836 1 f450"/>
              <a:gd name="f1093" fmla="*/ f837 1 f449"/>
              <a:gd name="f1094" fmla="*/ f838 1 f450"/>
              <a:gd name="f1095" fmla="*/ f839 1 f449"/>
              <a:gd name="f1096" fmla="*/ f840 1 f449"/>
              <a:gd name="f1097" fmla="*/ f841 1 f450"/>
              <a:gd name="f1098" fmla="*/ f842 1 f449"/>
              <a:gd name="f1099" fmla="*/ f843 1 f450"/>
              <a:gd name="f1100" fmla="*/ f844 1 f449"/>
              <a:gd name="f1101" fmla="*/ f845 1 f450"/>
              <a:gd name="f1102" fmla="*/ f846 1 f449"/>
              <a:gd name="f1103" fmla="*/ f847 1 f450"/>
              <a:gd name="f1104" fmla="*/ f848 1 f449"/>
              <a:gd name="f1105" fmla="*/ f849 1 f450"/>
              <a:gd name="f1106" fmla="*/ f850 1 f449"/>
              <a:gd name="f1107" fmla="*/ f851 1 f449"/>
              <a:gd name="f1108" fmla="*/ f852 1 f450"/>
              <a:gd name="f1109" fmla="*/ f853 1 f449"/>
              <a:gd name="f1110" fmla="*/ f854 1 f450"/>
              <a:gd name="f1111" fmla="*/ f855 1 f449"/>
              <a:gd name="f1112" fmla="*/ f856 1 f449"/>
              <a:gd name="f1113" fmla="*/ f857 1 f450"/>
              <a:gd name="f1114" fmla="*/ f858 1 f449"/>
              <a:gd name="f1115" fmla="*/ f859 1 f450"/>
              <a:gd name="f1116" fmla="*/ f860 1 f449"/>
              <a:gd name="f1117" fmla="*/ f861 1 f449"/>
              <a:gd name="f1118" fmla="*/ f862 1 f450"/>
              <a:gd name="f1119" fmla="*/ f863 1 f449"/>
              <a:gd name="f1120" fmla="*/ f864 1 f450"/>
              <a:gd name="f1121" fmla="*/ f865 1 f449"/>
              <a:gd name="f1122" fmla="*/ f866 1 f450"/>
              <a:gd name="f1123" fmla="*/ f867 1 f449"/>
              <a:gd name="f1124" fmla="*/ f868 1 f450"/>
              <a:gd name="f1125" fmla="*/ f869 1 f449"/>
              <a:gd name="f1126" fmla="*/ f870 1 f449"/>
              <a:gd name="f1127" fmla="*/ f871 1 f449"/>
              <a:gd name="f1128" fmla="*/ f872 1 f449"/>
              <a:gd name="f1129" fmla="*/ f873 1 f449"/>
              <a:gd name="f1130" fmla="*/ f874 1 f450"/>
              <a:gd name="f1131" fmla="*/ f875 1 f449"/>
              <a:gd name="f1132" fmla="*/ f876 1 f450"/>
              <a:gd name="f1133" fmla="*/ f877 1 f449"/>
              <a:gd name="f1134" fmla="*/ f878 1 f449"/>
              <a:gd name="f1135" fmla="*/ f879 1 f450"/>
              <a:gd name="f1136" fmla="*/ f880 1 f449"/>
              <a:gd name="f1137" fmla="*/ f881 1 f449"/>
              <a:gd name="f1138" fmla="*/ f882 1 f449"/>
              <a:gd name="f1139" fmla="*/ f883 1 f449"/>
              <a:gd name="f1140" fmla="*/ f884 1 f449"/>
              <a:gd name="f1141" fmla="*/ f885 1 f449"/>
              <a:gd name="f1142" fmla="*/ f886 1 f449"/>
              <a:gd name="f1143" fmla="*/ f887 1 f450"/>
              <a:gd name="f1144" fmla="*/ f888 1 f450"/>
              <a:gd name="f1145" fmla="*/ f889 1 f449"/>
              <a:gd name="f1146" fmla="*/ f890 1 f449"/>
              <a:gd name="f1147" fmla="*/ f891 1 f450"/>
              <a:gd name="f1148" fmla="*/ f892 1 f449"/>
              <a:gd name="f1149" fmla="*/ f893 1 f450"/>
              <a:gd name="f1150" fmla="*/ f894 1 f449"/>
              <a:gd name="f1151" fmla="*/ f895 1 f450"/>
              <a:gd name="f1152" fmla="*/ f896 1 f449"/>
              <a:gd name="f1153" fmla="*/ f897 1 f450"/>
              <a:gd name="f1154" fmla="*/ f898 1 f449"/>
              <a:gd name="f1155" fmla="*/ f899 1 f449"/>
              <a:gd name="f1156" fmla="*/ f900 1 f449"/>
              <a:gd name="f1157" fmla="*/ f901 1 f449"/>
              <a:gd name="f1158" fmla="*/ f902 1 f450"/>
              <a:gd name="f1159" fmla="*/ f903 1 f449"/>
              <a:gd name="f1160" fmla="*/ f904 1 f450"/>
              <a:gd name="f1161" fmla="*/ f905 1 f449"/>
              <a:gd name="f1162" fmla="*/ f906 1 f449"/>
              <a:gd name="f1163" fmla="*/ f907 1 f449"/>
              <a:gd name="f1164" fmla="*/ f908 1 f450"/>
              <a:gd name="f1165" fmla="*/ f909 1 f449"/>
              <a:gd name="f1166" fmla="*/ f910 1 f449"/>
              <a:gd name="f1167" fmla="*/ f911 1 f450"/>
              <a:gd name="f1168" fmla="*/ f912 1 f449"/>
              <a:gd name="f1169" fmla="*/ f913 1 f450"/>
              <a:gd name="f1170" fmla="*/ f914 1 f449"/>
              <a:gd name="f1171" fmla="*/ f915 1 f450"/>
              <a:gd name="f1172" fmla="*/ f916 1 f450"/>
              <a:gd name="f1173" fmla="*/ f917 1 f449"/>
              <a:gd name="f1174" fmla="*/ f918 1 f449"/>
              <a:gd name="f1175" fmla="*/ f919 1 f449"/>
              <a:gd name="f1176" fmla="*/ f920 1 f450"/>
              <a:gd name="f1177" fmla="*/ f921 1 f449"/>
              <a:gd name="f1178" fmla="*/ f922 1 f449"/>
              <a:gd name="f1179" fmla="*/ f923 1 f449"/>
              <a:gd name="f1180" fmla="*/ f924 1 f450"/>
              <a:gd name="f1181" fmla="*/ f925 1 f449"/>
              <a:gd name="f1182" fmla="*/ f926 1 f450"/>
              <a:gd name="f1183" fmla="*/ f927 1 f449"/>
              <a:gd name="f1184" fmla="*/ f928 1 f449"/>
              <a:gd name="f1185" fmla="*/ f929 1 f450"/>
              <a:gd name="f1186" fmla="*/ f930 1 f449"/>
              <a:gd name="f1187" fmla="*/ f931 1 f449"/>
              <a:gd name="f1188" fmla="*/ f932 1 f449"/>
              <a:gd name="f1189" fmla="*/ f933 1 f449"/>
              <a:gd name="f1190" fmla="*/ f934 1 f449"/>
              <a:gd name="f1191" fmla="*/ f935 1 f449"/>
              <a:gd name="f1192" fmla="*/ f936 1 f450"/>
              <a:gd name="f1193" fmla="*/ f937 1 f449"/>
              <a:gd name="f1194" fmla="*/ f938 1 f449"/>
              <a:gd name="f1195" fmla="*/ f939 1 f449"/>
              <a:gd name="f1196" fmla="*/ f940 1 f449"/>
              <a:gd name="f1197" fmla="*/ f941 1 f450"/>
              <a:gd name="f1198" fmla="*/ f942 1 f450"/>
              <a:gd name="f1199" fmla="*/ f943 1 f449"/>
              <a:gd name="f1200" fmla="*/ f944 1 f449"/>
              <a:gd name="f1201" fmla="*/ f945 1 f449"/>
              <a:gd name="f1202" fmla="*/ f946 1 f449"/>
              <a:gd name="f1203" fmla="*/ f947 1 f449"/>
              <a:gd name="f1204" fmla="*/ f948 1 f449"/>
              <a:gd name="f1205" fmla="*/ f949 1 f449"/>
              <a:gd name="f1206" fmla="*/ f950 1 f449"/>
              <a:gd name="f1207" fmla="*/ f951 1 f449"/>
              <a:gd name="f1208" fmla="*/ f952 1 f449"/>
              <a:gd name="f1209" fmla="*/ f953 1 f449"/>
              <a:gd name="f1210" fmla="*/ f954 f444 1"/>
              <a:gd name="f1211" fmla="*/ f955 f444 1"/>
              <a:gd name="f1212" fmla="*/ f957 f445 1"/>
              <a:gd name="f1213" fmla="*/ f956 f445 1"/>
              <a:gd name="f1214" fmla="*/ f959 f444 1"/>
              <a:gd name="f1215" fmla="*/ f960 f445 1"/>
              <a:gd name="f1216" fmla="*/ f961 f444 1"/>
              <a:gd name="f1217" fmla="*/ f962 f445 1"/>
              <a:gd name="f1218" fmla="*/ f963 f444 1"/>
              <a:gd name="f1219" fmla="*/ f964 f445 1"/>
              <a:gd name="f1220" fmla="*/ f965 f445 1"/>
              <a:gd name="f1221" fmla="*/ f966 f444 1"/>
              <a:gd name="f1222" fmla="*/ f967 f444 1"/>
              <a:gd name="f1223" fmla="*/ f968 f445 1"/>
              <a:gd name="f1224" fmla="*/ f969 f444 1"/>
              <a:gd name="f1225" fmla="*/ f970 f445 1"/>
              <a:gd name="f1226" fmla="*/ f971 f444 1"/>
              <a:gd name="f1227" fmla="*/ f972 f444 1"/>
              <a:gd name="f1228" fmla="*/ f973 f445 1"/>
              <a:gd name="f1229" fmla="*/ f974 f444 1"/>
              <a:gd name="f1230" fmla="*/ f975 f445 1"/>
              <a:gd name="f1231" fmla="*/ f976 f444 1"/>
              <a:gd name="f1232" fmla="*/ f977 f445 1"/>
              <a:gd name="f1233" fmla="*/ f978 f444 1"/>
              <a:gd name="f1234" fmla="*/ f979 f445 1"/>
              <a:gd name="f1235" fmla="*/ f980 f445 1"/>
              <a:gd name="f1236" fmla="*/ f981 f445 1"/>
              <a:gd name="f1237" fmla="*/ f982 f444 1"/>
              <a:gd name="f1238" fmla="*/ f983 f444 1"/>
              <a:gd name="f1239" fmla="*/ f984 f444 1"/>
              <a:gd name="f1240" fmla="*/ f985 f444 1"/>
              <a:gd name="f1241" fmla="*/ f986 f444 1"/>
              <a:gd name="f1242" fmla="*/ f987 f444 1"/>
              <a:gd name="f1243" fmla="*/ f988 f444 1"/>
              <a:gd name="f1244" fmla="*/ f989 f444 1"/>
              <a:gd name="f1245" fmla="*/ f990 f445 1"/>
              <a:gd name="f1246" fmla="*/ f991 f444 1"/>
              <a:gd name="f1247" fmla="*/ f992 f445 1"/>
              <a:gd name="f1248" fmla="*/ f993 f444 1"/>
              <a:gd name="f1249" fmla="*/ f994 f444 1"/>
              <a:gd name="f1250" fmla="*/ f995 f445 1"/>
              <a:gd name="f1251" fmla="*/ f996 f444 1"/>
              <a:gd name="f1252" fmla="*/ f997 f445 1"/>
              <a:gd name="f1253" fmla="*/ f998 f444 1"/>
              <a:gd name="f1254" fmla="*/ f999 f444 1"/>
              <a:gd name="f1255" fmla="*/ f1000 f445 1"/>
              <a:gd name="f1256" fmla="*/ f1001 f444 1"/>
              <a:gd name="f1257" fmla="*/ f1002 f445 1"/>
              <a:gd name="f1258" fmla="*/ f1003 f444 1"/>
              <a:gd name="f1259" fmla="*/ f1004 f444 1"/>
              <a:gd name="f1260" fmla="*/ f1005 f445 1"/>
              <a:gd name="f1261" fmla="*/ f1006 f444 1"/>
              <a:gd name="f1262" fmla="*/ f1007 f444 1"/>
              <a:gd name="f1263" fmla="*/ f1008 f444 1"/>
              <a:gd name="f1264" fmla="*/ f1009 f445 1"/>
              <a:gd name="f1265" fmla="*/ f1010 f444 1"/>
              <a:gd name="f1266" fmla="*/ f1011 f445 1"/>
              <a:gd name="f1267" fmla="*/ f1012 f444 1"/>
              <a:gd name="f1268" fmla="*/ f1013 f444 1"/>
              <a:gd name="f1269" fmla="*/ f1014 f444 1"/>
              <a:gd name="f1270" fmla="*/ f1015 f445 1"/>
              <a:gd name="f1271" fmla="*/ f1016 f444 1"/>
              <a:gd name="f1272" fmla="*/ f1017 f444 1"/>
              <a:gd name="f1273" fmla="*/ f1018 f444 1"/>
              <a:gd name="f1274" fmla="*/ f1019 f445 1"/>
              <a:gd name="f1275" fmla="*/ f1020 f444 1"/>
              <a:gd name="f1276" fmla="*/ f1021 f444 1"/>
              <a:gd name="f1277" fmla="*/ f1022 f444 1"/>
              <a:gd name="f1278" fmla="*/ f1023 f445 1"/>
              <a:gd name="f1279" fmla="*/ f1024 f444 1"/>
              <a:gd name="f1280" fmla="*/ f1025 f444 1"/>
              <a:gd name="f1281" fmla="*/ f1026 f444 1"/>
              <a:gd name="f1282" fmla="*/ f1027 f444 1"/>
              <a:gd name="f1283" fmla="*/ f1028 f444 1"/>
              <a:gd name="f1284" fmla="*/ f1029 f444 1"/>
              <a:gd name="f1285" fmla="*/ f1030 f444 1"/>
              <a:gd name="f1286" fmla="*/ f1031 f444 1"/>
              <a:gd name="f1287" fmla="*/ f1032 f445 1"/>
              <a:gd name="f1288" fmla="*/ f1033 f444 1"/>
              <a:gd name="f1289" fmla="*/ f1034 f444 1"/>
              <a:gd name="f1290" fmla="*/ f1035 f444 1"/>
              <a:gd name="f1291" fmla="*/ f1036 f444 1"/>
              <a:gd name="f1292" fmla="*/ f1037 f444 1"/>
              <a:gd name="f1293" fmla="*/ f1038 f444 1"/>
              <a:gd name="f1294" fmla="*/ f1039 f444 1"/>
              <a:gd name="f1295" fmla="*/ f1040 f444 1"/>
              <a:gd name="f1296" fmla="*/ f1041 f444 1"/>
              <a:gd name="f1297" fmla="*/ f1042 f444 1"/>
              <a:gd name="f1298" fmla="*/ f1043 f444 1"/>
              <a:gd name="f1299" fmla="*/ f1044 f444 1"/>
              <a:gd name="f1300" fmla="*/ f1045 f445 1"/>
              <a:gd name="f1301" fmla="*/ f1046 f444 1"/>
              <a:gd name="f1302" fmla="*/ f1047 f444 1"/>
              <a:gd name="f1303" fmla="*/ f1048 f445 1"/>
              <a:gd name="f1304" fmla="*/ f1049 f445 1"/>
              <a:gd name="f1305" fmla="*/ f1050 f444 1"/>
              <a:gd name="f1306" fmla="*/ f1051 f444 1"/>
              <a:gd name="f1307" fmla="*/ f1052 f444 1"/>
              <a:gd name="f1308" fmla="*/ f1053 f445 1"/>
              <a:gd name="f1309" fmla="*/ f1054 f444 1"/>
              <a:gd name="f1310" fmla="*/ f1055 f444 1"/>
              <a:gd name="f1311" fmla="*/ f1056 f444 1"/>
              <a:gd name="f1312" fmla="*/ f1057 f445 1"/>
              <a:gd name="f1313" fmla="*/ f1058 f444 1"/>
              <a:gd name="f1314" fmla="*/ f1059 f444 1"/>
              <a:gd name="f1315" fmla="*/ f1060 f444 1"/>
              <a:gd name="f1316" fmla="*/ f1061 f445 1"/>
              <a:gd name="f1317" fmla="*/ f1062 f444 1"/>
              <a:gd name="f1318" fmla="*/ f1063 f445 1"/>
              <a:gd name="f1319" fmla="*/ f1064 f444 1"/>
              <a:gd name="f1320" fmla="*/ f1065 f445 1"/>
              <a:gd name="f1321" fmla="*/ f1066 f445 1"/>
              <a:gd name="f1322" fmla="*/ f1067 f444 1"/>
              <a:gd name="f1323" fmla="*/ f1068 f444 1"/>
              <a:gd name="f1324" fmla="*/ f1069 f444 1"/>
              <a:gd name="f1325" fmla="*/ f1070 f445 1"/>
              <a:gd name="f1326" fmla="*/ f1071 f445 1"/>
              <a:gd name="f1327" fmla="*/ f1072 f444 1"/>
              <a:gd name="f1328" fmla="*/ f1073 f444 1"/>
              <a:gd name="f1329" fmla="*/ f1074 f444 1"/>
              <a:gd name="f1330" fmla="*/ f1075 f444 1"/>
              <a:gd name="f1331" fmla="*/ f1076 f444 1"/>
              <a:gd name="f1332" fmla="*/ f1077 f444 1"/>
              <a:gd name="f1333" fmla="*/ f1078 f444 1"/>
              <a:gd name="f1334" fmla="*/ f1079 f444 1"/>
              <a:gd name="f1335" fmla="*/ f1080 f444 1"/>
              <a:gd name="f1336" fmla="*/ f1081 f444 1"/>
              <a:gd name="f1337" fmla="*/ f1082 f444 1"/>
              <a:gd name="f1338" fmla="*/ f1083 f444 1"/>
              <a:gd name="f1339" fmla="*/ f1084 f444 1"/>
              <a:gd name="f1340" fmla="*/ f1085 f444 1"/>
              <a:gd name="f1341" fmla="*/ f1086 f444 1"/>
              <a:gd name="f1342" fmla="*/ f1087 f444 1"/>
              <a:gd name="f1343" fmla="*/ f1088 f445 1"/>
              <a:gd name="f1344" fmla="*/ f1089 f444 1"/>
              <a:gd name="f1345" fmla="*/ f1090 f444 1"/>
              <a:gd name="f1346" fmla="*/ f1091 f444 1"/>
              <a:gd name="f1347" fmla="*/ f1092 f445 1"/>
              <a:gd name="f1348" fmla="*/ f1093 f444 1"/>
              <a:gd name="f1349" fmla="*/ f1094 f445 1"/>
              <a:gd name="f1350" fmla="*/ f1095 f444 1"/>
              <a:gd name="f1351" fmla="*/ f1096 f444 1"/>
              <a:gd name="f1352" fmla="*/ f1097 f445 1"/>
              <a:gd name="f1353" fmla="*/ f1098 f444 1"/>
              <a:gd name="f1354" fmla="*/ f1099 f445 1"/>
              <a:gd name="f1355" fmla="*/ f1100 f444 1"/>
              <a:gd name="f1356" fmla="*/ f1101 f445 1"/>
              <a:gd name="f1357" fmla="*/ f1102 f444 1"/>
              <a:gd name="f1358" fmla="*/ f1103 f445 1"/>
              <a:gd name="f1359" fmla="*/ f1104 f444 1"/>
              <a:gd name="f1360" fmla="*/ f1105 f445 1"/>
              <a:gd name="f1361" fmla="*/ f1106 f444 1"/>
              <a:gd name="f1362" fmla="*/ f1107 f444 1"/>
              <a:gd name="f1363" fmla="*/ f1108 f445 1"/>
              <a:gd name="f1364" fmla="*/ f1109 f444 1"/>
              <a:gd name="f1365" fmla="*/ f1110 f445 1"/>
              <a:gd name="f1366" fmla="*/ f1111 f444 1"/>
              <a:gd name="f1367" fmla="*/ f1112 f444 1"/>
              <a:gd name="f1368" fmla="*/ f1113 f445 1"/>
              <a:gd name="f1369" fmla="*/ f1114 f444 1"/>
              <a:gd name="f1370" fmla="*/ f1115 f445 1"/>
              <a:gd name="f1371" fmla="*/ f1116 f444 1"/>
              <a:gd name="f1372" fmla="*/ f1117 f444 1"/>
              <a:gd name="f1373" fmla="*/ f1118 f445 1"/>
              <a:gd name="f1374" fmla="*/ f1119 f444 1"/>
              <a:gd name="f1375" fmla="*/ f1120 f445 1"/>
              <a:gd name="f1376" fmla="*/ f1121 f444 1"/>
              <a:gd name="f1377" fmla="*/ f1122 f445 1"/>
              <a:gd name="f1378" fmla="*/ f1123 f444 1"/>
              <a:gd name="f1379" fmla="*/ f1124 f445 1"/>
              <a:gd name="f1380" fmla="*/ f1125 f444 1"/>
              <a:gd name="f1381" fmla="*/ f1126 f444 1"/>
              <a:gd name="f1382" fmla="*/ f1127 f444 1"/>
              <a:gd name="f1383" fmla="*/ f1128 f444 1"/>
              <a:gd name="f1384" fmla="*/ f1129 f444 1"/>
              <a:gd name="f1385" fmla="*/ f1130 f445 1"/>
              <a:gd name="f1386" fmla="*/ f1131 f444 1"/>
              <a:gd name="f1387" fmla="*/ f1132 f445 1"/>
              <a:gd name="f1388" fmla="*/ f1133 f444 1"/>
              <a:gd name="f1389" fmla="*/ f1134 f444 1"/>
              <a:gd name="f1390" fmla="*/ f1135 f445 1"/>
              <a:gd name="f1391" fmla="*/ f1136 f444 1"/>
              <a:gd name="f1392" fmla="*/ f1137 f444 1"/>
              <a:gd name="f1393" fmla="*/ f1138 f444 1"/>
              <a:gd name="f1394" fmla="*/ f1139 f444 1"/>
              <a:gd name="f1395" fmla="*/ f1140 f444 1"/>
              <a:gd name="f1396" fmla="*/ f1141 f444 1"/>
              <a:gd name="f1397" fmla="*/ f1142 f444 1"/>
              <a:gd name="f1398" fmla="*/ f1143 f445 1"/>
              <a:gd name="f1399" fmla="*/ f1144 f445 1"/>
              <a:gd name="f1400" fmla="*/ f1145 f444 1"/>
              <a:gd name="f1401" fmla="*/ f1146 f444 1"/>
              <a:gd name="f1402" fmla="*/ f1147 f445 1"/>
              <a:gd name="f1403" fmla="*/ f1148 f444 1"/>
              <a:gd name="f1404" fmla="*/ f1149 f445 1"/>
              <a:gd name="f1405" fmla="*/ f1150 f444 1"/>
              <a:gd name="f1406" fmla="*/ f1151 f445 1"/>
              <a:gd name="f1407" fmla="*/ f1152 f444 1"/>
              <a:gd name="f1408" fmla="*/ f1153 f445 1"/>
              <a:gd name="f1409" fmla="*/ f1154 f444 1"/>
              <a:gd name="f1410" fmla="*/ f1155 f444 1"/>
              <a:gd name="f1411" fmla="*/ f1156 f444 1"/>
              <a:gd name="f1412" fmla="*/ f1157 f444 1"/>
              <a:gd name="f1413" fmla="*/ f1158 f445 1"/>
              <a:gd name="f1414" fmla="*/ f1159 f444 1"/>
              <a:gd name="f1415" fmla="*/ f1160 f445 1"/>
              <a:gd name="f1416" fmla="*/ f1161 f444 1"/>
              <a:gd name="f1417" fmla="*/ f1162 f444 1"/>
              <a:gd name="f1418" fmla="*/ f1163 f444 1"/>
              <a:gd name="f1419" fmla="*/ f1164 f445 1"/>
              <a:gd name="f1420" fmla="*/ f1165 f444 1"/>
              <a:gd name="f1421" fmla="*/ f1166 f444 1"/>
              <a:gd name="f1422" fmla="*/ f1167 f445 1"/>
              <a:gd name="f1423" fmla="*/ f1168 f444 1"/>
              <a:gd name="f1424" fmla="*/ f1169 f445 1"/>
              <a:gd name="f1425" fmla="*/ f1170 f444 1"/>
              <a:gd name="f1426" fmla="*/ f1171 f445 1"/>
              <a:gd name="f1427" fmla="*/ f1172 f445 1"/>
              <a:gd name="f1428" fmla="*/ f1173 f444 1"/>
              <a:gd name="f1429" fmla="*/ f1174 f444 1"/>
              <a:gd name="f1430" fmla="*/ f1175 f444 1"/>
              <a:gd name="f1431" fmla="*/ f1176 f445 1"/>
              <a:gd name="f1432" fmla="*/ f1177 f444 1"/>
              <a:gd name="f1433" fmla="*/ f1178 f444 1"/>
              <a:gd name="f1434" fmla="*/ f1179 f444 1"/>
              <a:gd name="f1435" fmla="*/ f1180 f445 1"/>
              <a:gd name="f1436" fmla="*/ f1181 f444 1"/>
              <a:gd name="f1437" fmla="*/ f1182 f445 1"/>
              <a:gd name="f1438" fmla="*/ f1183 f444 1"/>
              <a:gd name="f1439" fmla="*/ f1184 f444 1"/>
              <a:gd name="f1440" fmla="*/ f1185 f445 1"/>
              <a:gd name="f1441" fmla="*/ f1186 f444 1"/>
              <a:gd name="f1442" fmla="*/ f1187 f444 1"/>
              <a:gd name="f1443" fmla="*/ f1188 f444 1"/>
              <a:gd name="f1444" fmla="*/ f1189 f444 1"/>
              <a:gd name="f1445" fmla="*/ f1190 f444 1"/>
              <a:gd name="f1446" fmla="*/ f1191 f444 1"/>
              <a:gd name="f1447" fmla="*/ f1192 f445 1"/>
              <a:gd name="f1448" fmla="*/ f1193 f444 1"/>
              <a:gd name="f1449" fmla="*/ f1194 f444 1"/>
              <a:gd name="f1450" fmla="*/ f1195 f444 1"/>
              <a:gd name="f1451" fmla="*/ f1196 f444 1"/>
              <a:gd name="f1452" fmla="*/ f1197 f445 1"/>
              <a:gd name="f1453" fmla="*/ f1198 f445 1"/>
              <a:gd name="f1454" fmla="*/ f1199 f444 1"/>
              <a:gd name="f1455" fmla="*/ f1200 f444 1"/>
              <a:gd name="f1456" fmla="*/ f1201 f444 1"/>
              <a:gd name="f1457" fmla="*/ f1202 f444 1"/>
              <a:gd name="f1458" fmla="*/ f1203 f444 1"/>
              <a:gd name="f1459" fmla="*/ f1204 f444 1"/>
              <a:gd name="f1460" fmla="*/ f1205 f444 1"/>
              <a:gd name="f1461" fmla="*/ f1206 f444 1"/>
              <a:gd name="f1462" fmla="*/ f1207 f444 1"/>
              <a:gd name="f1463" fmla="*/ f1208 f444 1"/>
              <a:gd name="f1464" fmla="*/ f1209 f44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958">
                <a:pos x="f1214" y="f1215"/>
              </a:cxn>
              <a:cxn ang="f958">
                <a:pos x="f1216" y="f1215"/>
              </a:cxn>
              <a:cxn ang="f958">
                <a:pos x="f1216" y="f1217"/>
              </a:cxn>
              <a:cxn ang="f958">
                <a:pos x="f1214" y="f1217"/>
              </a:cxn>
              <a:cxn ang="f958">
                <a:pos x="f1214" y="f1215"/>
              </a:cxn>
              <a:cxn ang="f958">
                <a:pos x="f1218" y="f1219"/>
              </a:cxn>
              <a:cxn ang="f958">
                <a:pos x="f1218" y="f1220"/>
              </a:cxn>
              <a:cxn ang="f958">
                <a:pos x="f1221" y="f1220"/>
              </a:cxn>
              <a:cxn ang="f958">
                <a:pos x="f1222" y="f1223"/>
              </a:cxn>
              <a:cxn ang="f958">
                <a:pos x="f1221" y="f1219"/>
              </a:cxn>
              <a:cxn ang="f958">
                <a:pos x="f1218" y="f1219"/>
              </a:cxn>
              <a:cxn ang="f958">
                <a:pos x="f1224" y="f1219"/>
              </a:cxn>
              <a:cxn ang="f958">
                <a:pos x="f1224" y="f1225"/>
              </a:cxn>
              <a:cxn ang="f958">
                <a:pos x="f1226" y="f1225"/>
              </a:cxn>
              <a:cxn ang="f958">
                <a:pos x="f1227" y="f1228"/>
              </a:cxn>
              <a:cxn ang="f958">
                <a:pos x="f1226" y="f1219"/>
              </a:cxn>
              <a:cxn ang="f958">
                <a:pos x="f1224" y="f1219"/>
              </a:cxn>
              <a:cxn ang="f958">
                <a:pos x="f1229" y="f1230"/>
              </a:cxn>
              <a:cxn ang="f958">
                <a:pos x="f1231" y="f1232"/>
              </a:cxn>
              <a:cxn ang="f958">
                <a:pos x="f1233" y="f1234"/>
              </a:cxn>
              <a:cxn ang="f958">
                <a:pos x="f1231" y="f1235"/>
              </a:cxn>
              <a:cxn ang="f958">
                <a:pos x="f1229" y="f1236"/>
              </a:cxn>
              <a:cxn ang="f958">
                <a:pos x="f1237" y="f1235"/>
              </a:cxn>
              <a:cxn ang="f958">
                <a:pos x="f1238" y="f1234"/>
              </a:cxn>
              <a:cxn ang="f958">
                <a:pos x="f1237" y="f1232"/>
              </a:cxn>
              <a:cxn ang="f958">
                <a:pos x="f1229" y="f1230"/>
              </a:cxn>
              <a:cxn ang="f958">
                <a:pos x="f1239" y="f1230"/>
              </a:cxn>
              <a:cxn ang="f958">
                <a:pos x="f1240" y="f1232"/>
              </a:cxn>
              <a:cxn ang="f958">
                <a:pos x="f1241" y="f1234"/>
              </a:cxn>
              <a:cxn ang="f958">
                <a:pos x="f1240" y="f1235"/>
              </a:cxn>
              <a:cxn ang="f958">
                <a:pos x="f1239" y="f1236"/>
              </a:cxn>
              <a:cxn ang="f958">
                <a:pos x="f1242" y="f1235"/>
              </a:cxn>
              <a:cxn ang="f958">
                <a:pos x="f1243" y="f1234"/>
              </a:cxn>
              <a:cxn ang="f958">
                <a:pos x="f1242" y="f1232"/>
              </a:cxn>
              <a:cxn ang="f958">
                <a:pos x="f1239" y="f1230"/>
              </a:cxn>
              <a:cxn ang="f958">
                <a:pos x="f1244" y="f1245"/>
              </a:cxn>
              <a:cxn ang="f958">
                <a:pos x="f1221" y="f1245"/>
              </a:cxn>
              <a:cxn ang="f958">
                <a:pos x="f1246" y="f1247"/>
              </a:cxn>
              <a:cxn ang="f958">
                <a:pos x="f1248" y="f1223"/>
              </a:cxn>
              <a:cxn ang="f958">
                <a:pos x="f1249" y="f1250"/>
              </a:cxn>
              <a:cxn ang="f958">
                <a:pos x="f1251" y="f1252"/>
              </a:cxn>
              <a:cxn ang="f958">
                <a:pos x="f1218" y="f1252"/>
              </a:cxn>
              <a:cxn ang="f958">
                <a:pos x="f1218" y="f1215"/>
              </a:cxn>
              <a:cxn ang="f958">
                <a:pos x="f1244" y="f1215"/>
              </a:cxn>
              <a:cxn ang="f958">
                <a:pos x="f1244" y="f1245"/>
              </a:cxn>
              <a:cxn ang="f958">
                <a:pos x="f1253" y="f1245"/>
              </a:cxn>
              <a:cxn ang="f958">
                <a:pos x="f1254" y="f1245"/>
              </a:cxn>
              <a:cxn ang="f958">
                <a:pos x="f1254" y="f1255"/>
              </a:cxn>
              <a:cxn ang="f958">
                <a:pos x="f1256" y="f1257"/>
              </a:cxn>
              <a:cxn ang="f958">
                <a:pos x="f1258" y="f1255"/>
              </a:cxn>
              <a:cxn ang="f958">
                <a:pos x="f1258" y="f1245"/>
              </a:cxn>
              <a:cxn ang="f958">
                <a:pos x="f1259" y="f1245"/>
              </a:cxn>
              <a:cxn ang="f958">
                <a:pos x="f1259" y="f1255"/>
              </a:cxn>
              <a:cxn ang="f958">
                <a:pos x="f1256" y="f1260"/>
              </a:cxn>
              <a:cxn ang="f958">
                <a:pos x="f1253" y="f1255"/>
              </a:cxn>
              <a:cxn ang="f958">
                <a:pos x="f1253" y="f1245"/>
              </a:cxn>
              <a:cxn ang="f958">
                <a:pos x="f1261" y="f1245"/>
              </a:cxn>
              <a:cxn ang="f958">
                <a:pos x="f1226" y="f1245"/>
              </a:cxn>
              <a:cxn ang="f958">
                <a:pos x="f1262" y="f1247"/>
              </a:cxn>
              <a:cxn ang="f958">
                <a:pos x="f1263" y="f1228"/>
              </a:cxn>
              <a:cxn ang="f958">
                <a:pos x="f1262" y="f1264"/>
              </a:cxn>
              <a:cxn ang="f958">
                <a:pos x="f1265" y="f1266"/>
              </a:cxn>
              <a:cxn ang="f958">
                <a:pos x="f1267" y="f1215"/>
              </a:cxn>
              <a:cxn ang="f958">
                <a:pos x="f1268" y="f1215"/>
              </a:cxn>
              <a:cxn ang="f958">
                <a:pos x="f1269" y="f1270"/>
              </a:cxn>
              <a:cxn ang="f958">
                <a:pos x="f1224" y="f1270"/>
              </a:cxn>
              <a:cxn ang="f958">
                <a:pos x="f1224" y="f1215"/>
              </a:cxn>
              <a:cxn ang="f958">
                <a:pos x="f1261" y="f1215"/>
              </a:cxn>
              <a:cxn ang="f958">
                <a:pos x="f1261" y="f1245"/>
              </a:cxn>
              <a:cxn ang="f958">
                <a:pos x="f1271" y="f1245"/>
              </a:cxn>
              <a:cxn ang="f958">
                <a:pos x="f1272" y="f1245"/>
              </a:cxn>
              <a:cxn ang="f958">
                <a:pos x="f1273" y="f1274"/>
              </a:cxn>
              <a:cxn ang="f958">
                <a:pos x="f1273" y="f1245"/>
              </a:cxn>
              <a:cxn ang="f958">
                <a:pos x="f1275" y="f1245"/>
              </a:cxn>
              <a:cxn ang="f958">
                <a:pos x="f1275" y="f1215"/>
              </a:cxn>
              <a:cxn ang="f958">
                <a:pos x="f1276" y="f1215"/>
              </a:cxn>
              <a:cxn ang="f958">
                <a:pos x="f1277" y="f1278"/>
              </a:cxn>
              <a:cxn ang="f958">
                <a:pos x="f1277" y="f1215"/>
              </a:cxn>
              <a:cxn ang="f958">
                <a:pos x="f1271" y="f1215"/>
              </a:cxn>
              <a:cxn ang="f958">
                <a:pos x="f1271" y="f1245"/>
              </a:cxn>
              <a:cxn ang="f958">
                <a:pos x="f1279" y="f1245"/>
              </a:cxn>
              <a:cxn ang="f958">
                <a:pos x="f1280" y="f1245"/>
              </a:cxn>
              <a:cxn ang="f958">
                <a:pos x="f1280" y="f1215"/>
              </a:cxn>
              <a:cxn ang="f958">
                <a:pos x="f1279" y="f1215"/>
              </a:cxn>
              <a:cxn ang="f958">
                <a:pos x="f1279" y="f1245"/>
              </a:cxn>
              <a:cxn ang="f958">
                <a:pos x="f1281" y="f1245"/>
              </a:cxn>
              <a:cxn ang="f958">
                <a:pos x="f1282" y="f1245"/>
              </a:cxn>
              <a:cxn ang="f958">
                <a:pos x="f1282" y="f1219"/>
              </a:cxn>
              <a:cxn ang="f958">
                <a:pos x="f1283" y="f1219"/>
              </a:cxn>
              <a:cxn ang="f958">
                <a:pos x="f1283" y="f1215"/>
              </a:cxn>
              <a:cxn ang="f958">
                <a:pos x="f1284" y="f1215"/>
              </a:cxn>
              <a:cxn ang="f958">
                <a:pos x="f1284" y="f1219"/>
              </a:cxn>
              <a:cxn ang="f958">
                <a:pos x="f1281" y="f1219"/>
              </a:cxn>
              <a:cxn ang="f958">
                <a:pos x="f1281" y="f1245"/>
              </a:cxn>
              <a:cxn ang="f958">
                <a:pos x="f1285" y="f1245"/>
              </a:cxn>
              <a:cxn ang="f958">
                <a:pos x="f1286" y="f1245"/>
              </a:cxn>
              <a:cxn ang="f958">
                <a:pos x="f1286" y="f1287"/>
              </a:cxn>
              <a:cxn ang="f958">
                <a:pos x="f1288" y="f1287"/>
              </a:cxn>
              <a:cxn ang="f958">
                <a:pos x="f1288" y="f1215"/>
              </a:cxn>
              <a:cxn ang="f958">
                <a:pos x="f1285" y="f1215"/>
              </a:cxn>
              <a:cxn ang="f958">
                <a:pos x="f1285" y="f1245"/>
              </a:cxn>
              <a:cxn ang="f958">
                <a:pos x="f1289" y="f1245"/>
              </a:cxn>
              <a:cxn ang="f958">
                <a:pos x="f1290" y="f1245"/>
              </a:cxn>
              <a:cxn ang="f958">
                <a:pos x="f1290" y="f1255"/>
              </a:cxn>
              <a:cxn ang="f958">
                <a:pos x="f1291" y="f1257"/>
              </a:cxn>
              <a:cxn ang="f958">
                <a:pos x="f1292" y="f1255"/>
              </a:cxn>
              <a:cxn ang="f958">
                <a:pos x="f1292" y="f1245"/>
              </a:cxn>
              <a:cxn ang="f958">
                <a:pos x="f1293" y="f1245"/>
              </a:cxn>
              <a:cxn ang="f958">
                <a:pos x="f1293" y="f1255"/>
              </a:cxn>
              <a:cxn ang="f958">
                <a:pos x="f1291" y="f1260"/>
              </a:cxn>
              <a:cxn ang="f958">
                <a:pos x="f1289" y="f1255"/>
              </a:cxn>
              <a:cxn ang="f958">
                <a:pos x="f1289" y="f1245"/>
              </a:cxn>
              <a:cxn ang="f958">
                <a:pos x="f1294" y="f1245"/>
              </a:cxn>
              <a:cxn ang="f958">
                <a:pos x="f1295" y="f1245"/>
              </a:cxn>
              <a:cxn ang="f958">
                <a:pos x="f1296" y="f1274"/>
              </a:cxn>
              <a:cxn ang="f958">
                <a:pos x="f1296" y="f1245"/>
              </a:cxn>
              <a:cxn ang="f958">
                <a:pos x="f1297" y="f1245"/>
              </a:cxn>
              <a:cxn ang="f958">
                <a:pos x="f1297" y="f1215"/>
              </a:cxn>
              <a:cxn ang="f958">
                <a:pos x="f1298" y="f1215"/>
              </a:cxn>
              <a:cxn ang="f958">
                <a:pos x="f1299" y="f1278"/>
              </a:cxn>
              <a:cxn ang="f958">
                <a:pos x="f1299" y="f1215"/>
              </a:cxn>
              <a:cxn ang="f958">
                <a:pos x="f1294" y="f1215"/>
              </a:cxn>
              <a:cxn ang="f958">
                <a:pos x="f1294" y="f1245"/>
              </a:cxn>
              <a:cxn ang="f958">
                <a:pos x="f1229" y="f1300"/>
              </a:cxn>
              <a:cxn ang="f958">
                <a:pos x="f1301" y="f1247"/>
              </a:cxn>
              <a:cxn ang="f958">
                <a:pos x="f1302" y="f1234"/>
              </a:cxn>
              <a:cxn ang="f958">
                <a:pos x="f1301" y="f1303"/>
              </a:cxn>
              <a:cxn ang="f958">
                <a:pos x="f1229" y="f1304"/>
              </a:cxn>
              <a:cxn ang="f958">
                <a:pos x="f1233" y="f1303"/>
              </a:cxn>
              <a:cxn ang="f958">
                <a:pos x="f1305" y="f1234"/>
              </a:cxn>
              <a:cxn ang="f958">
                <a:pos x="f1233" y="f1247"/>
              </a:cxn>
              <a:cxn ang="f958">
                <a:pos x="f1229" y="f1300"/>
              </a:cxn>
              <a:cxn ang="f958">
                <a:pos x="f1306" y="f1300"/>
              </a:cxn>
              <a:cxn ang="f958">
                <a:pos x="f1307" y="f1308"/>
              </a:cxn>
              <a:cxn ang="f958">
                <a:pos x="f1309" y="f1228"/>
              </a:cxn>
              <a:cxn ang="f958">
                <a:pos x="f1310" y="f1228"/>
              </a:cxn>
              <a:cxn ang="f958">
                <a:pos x="f1311" y="f1312"/>
              </a:cxn>
              <a:cxn ang="f958">
                <a:pos x="f1306" y="f1230"/>
              </a:cxn>
              <a:cxn ang="f958">
                <a:pos x="f1313" y="f1232"/>
              </a:cxn>
              <a:cxn ang="f958">
                <a:pos x="f1314" y="f1234"/>
              </a:cxn>
              <a:cxn ang="f958">
                <a:pos x="f1315" y="f1316"/>
              </a:cxn>
              <a:cxn ang="f958">
                <a:pos x="f1306" y="f1257"/>
              </a:cxn>
              <a:cxn ang="f958">
                <a:pos x="f1317" y="f1318"/>
              </a:cxn>
              <a:cxn ang="f958">
                <a:pos x="f1319" y="f1320"/>
              </a:cxn>
              <a:cxn ang="f958">
                <a:pos x="f1306" y="f1320"/>
              </a:cxn>
              <a:cxn ang="f958">
                <a:pos x="f1306" y="f1321"/>
              </a:cxn>
              <a:cxn ang="f958">
                <a:pos x="f1322" y="f1321"/>
              </a:cxn>
              <a:cxn ang="f958">
                <a:pos x="f1322" y="f1215"/>
              </a:cxn>
              <a:cxn ang="f958">
                <a:pos x="f1323" y="f1215"/>
              </a:cxn>
              <a:cxn ang="f958">
                <a:pos x="f1324" y="f1325"/>
              </a:cxn>
              <a:cxn ang="f958">
                <a:pos x="f1306" y="f1304"/>
              </a:cxn>
              <a:cxn ang="f958">
                <a:pos x="f1314" y="f1326"/>
              </a:cxn>
              <a:cxn ang="f958">
                <a:pos x="f1327" y="f1234"/>
              </a:cxn>
              <a:cxn ang="f958">
                <a:pos x="f1314" y="f1247"/>
              </a:cxn>
              <a:cxn ang="f958">
                <a:pos x="f1306" y="f1300"/>
              </a:cxn>
              <a:cxn ang="f958">
                <a:pos x="f1328" y="f1300"/>
              </a:cxn>
              <a:cxn ang="f958">
                <a:pos x="f1329" y="f1308"/>
              </a:cxn>
              <a:cxn ang="f958">
                <a:pos x="f1330" y="f1228"/>
              </a:cxn>
              <a:cxn ang="f958">
                <a:pos x="f1331" y="f1228"/>
              </a:cxn>
              <a:cxn ang="f958">
                <a:pos x="f1332" y="f1312"/>
              </a:cxn>
              <a:cxn ang="f958">
                <a:pos x="f1328" y="f1230"/>
              </a:cxn>
              <a:cxn ang="f958">
                <a:pos x="f1333" y="f1232"/>
              </a:cxn>
              <a:cxn ang="f958">
                <a:pos x="f1334" y="f1234"/>
              </a:cxn>
              <a:cxn ang="f958">
                <a:pos x="f1333" y="f1316"/>
              </a:cxn>
              <a:cxn ang="f958">
                <a:pos x="f1328" y="f1257"/>
              </a:cxn>
              <a:cxn ang="f958">
                <a:pos x="f1335" y="f1318"/>
              </a:cxn>
              <a:cxn ang="f958">
                <a:pos x="f1336" y="f1320"/>
              </a:cxn>
              <a:cxn ang="f958">
                <a:pos x="f1328" y="f1320"/>
              </a:cxn>
              <a:cxn ang="f958">
                <a:pos x="f1328" y="f1321"/>
              </a:cxn>
              <a:cxn ang="f958">
                <a:pos x="f1337" y="f1321"/>
              </a:cxn>
              <a:cxn ang="f958">
                <a:pos x="f1337" y="f1215"/>
              </a:cxn>
              <a:cxn ang="f958">
                <a:pos x="f1338" y="f1215"/>
              </a:cxn>
              <a:cxn ang="f958">
                <a:pos x="f1339" y="f1325"/>
              </a:cxn>
              <a:cxn ang="f958">
                <a:pos x="f1328" y="f1304"/>
              </a:cxn>
              <a:cxn ang="f958">
                <a:pos x="f1334" y="f1326"/>
              </a:cxn>
              <a:cxn ang="f958">
                <a:pos x="f1340" y="f1234"/>
              </a:cxn>
              <a:cxn ang="f958">
                <a:pos x="f1334" y="f1247"/>
              </a:cxn>
              <a:cxn ang="f958">
                <a:pos x="f1328" y="f1300"/>
              </a:cxn>
              <a:cxn ang="f958">
                <a:pos x="f1341" y="f1300"/>
              </a:cxn>
              <a:cxn ang="f958">
                <a:pos x="f1342" y="f1343"/>
              </a:cxn>
              <a:cxn ang="f958">
                <a:pos x="f1344" y="f1228"/>
              </a:cxn>
              <a:cxn ang="f958">
                <a:pos x="f1345" y="f1228"/>
              </a:cxn>
              <a:cxn ang="f958">
                <a:pos x="f1346" y="f1347"/>
              </a:cxn>
              <a:cxn ang="f958">
                <a:pos x="f1348" y="f1349"/>
              </a:cxn>
              <a:cxn ang="f958">
                <a:pos x="f1350" y="f1347"/>
              </a:cxn>
              <a:cxn ang="f958">
                <a:pos x="f1351" y="f1352"/>
              </a:cxn>
              <a:cxn ang="f958">
                <a:pos x="f1353" y="f1354"/>
              </a:cxn>
              <a:cxn ang="f958">
                <a:pos x="f1355" y="f1356"/>
              </a:cxn>
              <a:cxn ang="f958">
                <a:pos x="f1357" y="f1358"/>
              </a:cxn>
              <a:cxn ang="f958">
                <a:pos x="f1359" y="f1360"/>
              </a:cxn>
              <a:cxn ang="f958">
                <a:pos x="f1361" y="f1260"/>
              </a:cxn>
              <a:cxn ang="f958">
                <a:pos x="f1362" y="f1363"/>
              </a:cxn>
              <a:cxn ang="f958">
                <a:pos x="f1364" y="f1365"/>
              </a:cxn>
              <a:cxn ang="f958">
                <a:pos x="f1366" y="f1365"/>
              </a:cxn>
              <a:cxn ang="f958">
                <a:pos x="f1367" y="f1368"/>
              </a:cxn>
              <a:cxn ang="f958">
                <a:pos x="f1361" y="f1257"/>
              </a:cxn>
              <a:cxn ang="f958">
                <a:pos x="f1369" y="f1370"/>
              </a:cxn>
              <a:cxn ang="f958">
                <a:pos x="f1371" y="f1358"/>
              </a:cxn>
              <a:cxn ang="f958">
                <a:pos x="f1372" y="f1373"/>
              </a:cxn>
              <a:cxn ang="f958">
                <a:pos x="f1374" y="f1375"/>
              </a:cxn>
              <a:cxn ang="f958">
                <a:pos x="f1376" y="f1377"/>
              </a:cxn>
              <a:cxn ang="f958">
                <a:pos x="f1378" y="f1379"/>
              </a:cxn>
              <a:cxn ang="f958">
                <a:pos x="f1341" y="f1300"/>
              </a:cxn>
              <a:cxn ang="f958">
                <a:pos x="f1239" y="f1300"/>
              </a:cxn>
              <a:cxn ang="f958">
                <a:pos x="f1243" y="f1247"/>
              </a:cxn>
              <a:cxn ang="f958">
                <a:pos x="f1380" y="f1234"/>
              </a:cxn>
              <a:cxn ang="f958">
                <a:pos x="f1243" y="f1303"/>
              </a:cxn>
              <a:cxn ang="f958">
                <a:pos x="f1239" y="f1304"/>
              </a:cxn>
              <a:cxn ang="f958">
                <a:pos x="f1381" y="f1303"/>
              </a:cxn>
              <a:cxn ang="f958">
                <a:pos x="f1382" y="f1234"/>
              </a:cxn>
              <a:cxn ang="f958">
                <a:pos x="f1381" y="f1247"/>
              </a:cxn>
              <a:cxn ang="f958">
                <a:pos x="f1239" y="f1300"/>
              </a:cxn>
              <a:cxn ang="f958">
                <a:pos x="f1383" y="f1300"/>
              </a:cxn>
              <a:cxn ang="f958">
                <a:pos x="f1384" y="f1385"/>
              </a:cxn>
              <a:cxn ang="f958">
                <a:pos x="f1386" y="f1387"/>
              </a:cxn>
              <a:cxn ang="f958">
                <a:pos x="f1388" y="f1387"/>
              </a:cxn>
              <a:cxn ang="f958">
                <a:pos x="f1389" y="f1390"/>
              </a:cxn>
              <a:cxn ang="f958">
                <a:pos x="f1383" y="f1230"/>
              </a:cxn>
              <a:cxn ang="f958">
                <a:pos x="f1391" y="f1232"/>
              </a:cxn>
              <a:cxn ang="f958">
                <a:pos x="f1392" y="f1234"/>
              </a:cxn>
              <a:cxn ang="f958">
                <a:pos x="f1391" y="f1235"/>
              </a:cxn>
              <a:cxn ang="f958">
                <a:pos x="f1383" y="f1257"/>
              </a:cxn>
              <a:cxn ang="f958">
                <a:pos x="f1393" y="f1235"/>
              </a:cxn>
              <a:cxn ang="f958">
                <a:pos x="f1388" y="f1365"/>
              </a:cxn>
              <a:cxn ang="f958">
                <a:pos x="f1394" y="f1365"/>
              </a:cxn>
              <a:cxn ang="f958">
                <a:pos x="f1384" y="f1303"/>
              </a:cxn>
              <a:cxn ang="f958">
                <a:pos x="f1383" y="f1304"/>
              </a:cxn>
              <a:cxn ang="f958">
                <a:pos x="f1395" y="f1303"/>
              </a:cxn>
              <a:cxn ang="f958">
                <a:pos x="f1396" y="f1234"/>
              </a:cxn>
              <a:cxn ang="f958">
                <a:pos x="f1395" y="f1247"/>
              </a:cxn>
              <a:cxn ang="f958">
                <a:pos x="f1383" y="f1300"/>
              </a:cxn>
              <a:cxn ang="f958">
                <a:pos x="f1397" y="f1398"/>
              </a:cxn>
              <a:cxn ang="f958">
                <a:pos x="f1397" y="f1399"/>
              </a:cxn>
              <a:cxn ang="f958">
                <a:pos x="f1400" y="f1399"/>
              </a:cxn>
              <a:cxn ang="f958">
                <a:pos x="f1401" y="f1402"/>
              </a:cxn>
              <a:cxn ang="f958">
                <a:pos x="f1400" y="f1398"/>
              </a:cxn>
              <a:cxn ang="f958">
                <a:pos x="f1397" y="f1398"/>
              </a:cxn>
              <a:cxn ang="f958">
                <a:pos x="f1403" y="f1404"/>
              </a:cxn>
              <a:cxn ang="f958">
                <a:pos x="f1405" y="f1404"/>
              </a:cxn>
              <a:cxn ang="f958">
                <a:pos x="f1405" y="f1406"/>
              </a:cxn>
              <a:cxn ang="f958">
                <a:pos x="f1407" y="f1406"/>
              </a:cxn>
              <a:cxn ang="f958">
                <a:pos x="f1407" y="f1408"/>
              </a:cxn>
              <a:cxn ang="f958">
                <a:pos x="f1409" y="f1408"/>
              </a:cxn>
              <a:cxn ang="f958">
                <a:pos x="f1409" y="f1406"/>
              </a:cxn>
              <a:cxn ang="f958">
                <a:pos x="f1403" y="f1406"/>
              </a:cxn>
              <a:cxn ang="f958">
                <a:pos x="f1410" y="f1404"/>
              </a:cxn>
              <a:cxn ang="f958">
                <a:pos x="f1411" y="f1404"/>
              </a:cxn>
              <a:cxn ang="f958">
                <a:pos x="f1412" y="f1413"/>
              </a:cxn>
              <a:cxn ang="f958">
                <a:pos x="f1414" y="f1415"/>
              </a:cxn>
              <a:cxn ang="f958">
                <a:pos x="f1414" y="f1404"/>
              </a:cxn>
              <a:cxn ang="f958">
                <a:pos x="f1416" y="f1404"/>
              </a:cxn>
              <a:cxn ang="f958">
                <a:pos x="f1416" y="f1408"/>
              </a:cxn>
              <a:cxn ang="f958">
                <a:pos x="f1417" y="f1408"/>
              </a:cxn>
              <a:cxn ang="f958">
                <a:pos x="f1418" y="f1419"/>
              </a:cxn>
              <a:cxn ang="f958">
                <a:pos x="f1418" y="f1408"/>
              </a:cxn>
              <a:cxn ang="f958">
                <a:pos x="f1410" y="f1408"/>
              </a:cxn>
              <a:cxn ang="f958">
                <a:pos x="f1420" y="f1404"/>
              </a:cxn>
              <a:cxn ang="f958">
                <a:pos x="f1421" y="f1404"/>
              </a:cxn>
              <a:cxn ang="f958">
                <a:pos x="f1421" y="f1422"/>
              </a:cxn>
              <a:cxn ang="f958">
                <a:pos x="f1423" y="f1422"/>
              </a:cxn>
              <a:cxn ang="f958">
                <a:pos x="f1423" y="f1424"/>
              </a:cxn>
              <a:cxn ang="f958">
                <a:pos x="f1425" y="f1424"/>
              </a:cxn>
              <a:cxn ang="f958">
                <a:pos x="f1425" y="f1426"/>
              </a:cxn>
              <a:cxn ang="f958">
                <a:pos x="f1423" y="f1426"/>
              </a:cxn>
              <a:cxn ang="f958">
                <a:pos x="f1423" y="f1427"/>
              </a:cxn>
              <a:cxn ang="f958">
                <a:pos x="f1421" y="f1427"/>
              </a:cxn>
              <a:cxn ang="f958">
                <a:pos x="f1421" y="f1408"/>
              </a:cxn>
              <a:cxn ang="f958">
                <a:pos x="f1420" y="f1408"/>
              </a:cxn>
              <a:cxn ang="f958">
                <a:pos x="f1428" y="f1404"/>
              </a:cxn>
              <a:cxn ang="f958">
                <a:pos x="f1429" y="f1404"/>
              </a:cxn>
              <a:cxn ang="f958">
                <a:pos x="f1430" y="f1431"/>
              </a:cxn>
              <a:cxn ang="f958">
                <a:pos x="f1432" y="f1404"/>
              </a:cxn>
              <a:cxn ang="f958">
                <a:pos x="f1433" y="f1404"/>
              </a:cxn>
              <a:cxn ang="f958">
                <a:pos x="f1433" y="f1408"/>
              </a:cxn>
              <a:cxn ang="f958">
                <a:pos x="f1434" y="f1408"/>
              </a:cxn>
              <a:cxn ang="f958">
                <a:pos x="f1434" y="f1435"/>
              </a:cxn>
              <a:cxn ang="f958">
                <a:pos x="f1436" y="f1437"/>
              </a:cxn>
              <a:cxn ang="f958">
                <a:pos x="f1438" y="f1437"/>
              </a:cxn>
              <a:cxn ang="f958">
                <a:pos x="f1439" y="f1440"/>
              </a:cxn>
              <a:cxn ang="f958">
                <a:pos x="f1439" y="f1408"/>
              </a:cxn>
              <a:cxn ang="f958">
                <a:pos x="f1428" y="f1408"/>
              </a:cxn>
              <a:cxn ang="f958">
                <a:pos x="f1441" y="f1404"/>
              </a:cxn>
              <a:cxn ang="f958">
                <a:pos x="f1442" y="f1404"/>
              </a:cxn>
              <a:cxn ang="f958">
                <a:pos x="f1442" y="f1422"/>
              </a:cxn>
              <a:cxn ang="f958">
                <a:pos x="f1443" y="f1422"/>
              </a:cxn>
              <a:cxn ang="f958">
                <a:pos x="f1443" y="f1424"/>
              </a:cxn>
              <a:cxn ang="f958">
                <a:pos x="f1444" y="f1424"/>
              </a:cxn>
              <a:cxn ang="f958">
                <a:pos x="f1444" y="f1426"/>
              </a:cxn>
              <a:cxn ang="f958">
                <a:pos x="f1443" y="f1426"/>
              </a:cxn>
              <a:cxn ang="f958">
                <a:pos x="f1443" y="f1427"/>
              </a:cxn>
              <a:cxn ang="f958">
                <a:pos x="f1442" y="f1427"/>
              </a:cxn>
              <a:cxn ang="f958">
                <a:pos x="f1442" y="f1408"/>
              </a:cxn>
              <a:cxn ang="f958">
                <a:pos x="f1441" y="f1408"/>
              </a:cxn>
              <a:cxn ang="f958">
                <a:pos x="f1445" y="f1404"/>
              </a:cxn>
              <a:cxn ang="f958">
                <a:pos x="f1446" y="f1404"/>
              </a:cxn>
              <a:cxn ang="f958">
                <a:pos x="f1446" y="f1447"/>
              </a:cxn>
              <a:cxn ang="f958">
                <a:pos x="f1448" y="f1447"/>
              </a:cxn>
              <a:cxn ang="f958">
                <a:pos x="f1448" y="f1408"/>
              </a:cxn>
              <a:cxn ang="f958">
                <a:pos x="f1445" y="f1408"/>
              </a:cxn>
              <a:cxn ang="f958">
                <a:pos x="f1449" y="f1404"/>
              </a:cxn>
              <a:cxn ang="f958">
                <a:pos x="f1450" y="f1404"/>
              </a:cxn>
              <a:cxn ang="f958">
                <a:pos x="f1451" y="f1452"/>
              </a:cxn>
              <a:cxn ang="f958">
                <a:pos x="f1450" y="f1453"/>
              </a:cxn>
              <a:cxn ang="f958">
                <a:pos x="f1397" y="f1453"/>
              </a:cxn>
              <a:cxn ang="f958">
                <a:pos x="f1397" y="f1408"/>
              </a:cxn>
              <a:cxn ang="f958">
                <a:pos x="f1449" y="f1408"/>
              </a:cxn>
              <a:cxn ang="f958">
                <a:pos x="f1449" y="f1404"/>
              </a:cxn>
              <a:cxn ang="f958">
                <a:pos x="f1454" y="f1404"/>
              </a:cxn>
              <a:cxn ang="f958">
                <a:pos x="f1455" y="f1404"/>
              </a:cxn>
              <a:cxn ang="f958">
                <a:pos x="f1456" y="f1431"/>
              </a:cxn>
              <a:cxn ang="f958">
                <a:pos x="f1457" y="f1404"/>
              </a:cxn>
              <a:cxn ang="f958">
                <a:pos x="f1458" y="f1404"/>
              </a:cxn>
              <a:cxn ang="f958">
                <a:pos x="f1458" y="f1408"/>
              </a:cxn>
              <a:cxn ang="f958">
                <a:pos x="f1459" y="f1408"/>
              </a:cxn>
              <a:cxn ang="f958">
                <a:pos x="f1459" y="f1435"/>
              </a:cxn>
              <a:cxn ang="f958">
                <a:pos x="f1460" y="f1437"/>
              </a:cxn>
              <a:cxn ang="f958">
                <a:pos x="f1461" y="f1437"/>
              </a:cxn>
              <a:cxn ang="f958">
                <a:pos x="f1462" y="f1440"/>
              </a:cxn>
              <a:cxn ang="f958">
                <a:pos x="f1462" y="f1408"/>
              </a:cxn>
              <a:cxn ang="f958">
                <a:pos x="f1454" y="f1408"/>
              </a:cxn>
              <a:cxn ang="f958">
                <a:pos x="f1463" y="f1404"/>
              </a:cxn>
              <a:cxn ang="f958">
                <a:pos x="f1464" y="f1404"/>
              </a:cxn>
              <a:cxn ang="f958">
                <a:pos x="f1464" y="f1408"/>
              </a:cxn>
              <a:cxn ang="f958">
                <a:pos x="f1463" y="f1408"/>
              </a:cxn>
            </a:cxnLst>
            <a:rect l="f1210" t="f1213" r="f1211" b="f1212"/>
            <a:pathLst>
              <a:path w="9905999" h="2265361">
                <a:moveTo>
                  <a:pt x="f8" y="f9"/>
                </a:moveTo>
                <a:cubicBezTo>
                  <a:pt x="f8" y="f9"/>
                  <a:pt x="f8" y="f9"/>
                  <a:pt x="f10" y="f9"/>
                </a:cubicBezTo>
                <a:lnTo>
                  <a:pt x="f10" y="f7"/>
                </a:lnTo>
                <a:cubicBezTo>
                  <a:pt x="f10" y="f7"/>
                  <a:pt x="f10" y="f7"/>
                  <a:pt x="f8" y="f7"/>
                </a:cubicBezTo>
                <a:cubicBezTo>
                  <a:pt x="f8" y="f7"/>
                  <a:pt x="f8" y="f7"/>
                  <a:pt x="f8" y="f9"/>
                </a:cubicBezTo>
                <a:close/>
                <a:moveTo>
                  <a:pt x="f11" y="f12"/>
                </a:moveTo>
                <a:cubicBezTo>
                  <a:pt x="f11" y="f12"/>
                  <a:pt x="f11" y="f12"/>
                  <a:pt x="f11" y="f13"/>
                </a:cubicBezTo>
                <a:cubicBezTo>
                  <a:pt x="f11" y="f13"/>
                  <a:pt x="f11" y="f13"/>
                  <a:pt x="f14" y="f13"/>
                </a:cubicBezTo>
                <a:cubicBezTo>
                  <a:pt x="f15" y="f13"/>
                  <a:pt x="f16" y="f17"/>
                  <a:pt x="f16" y="f18"/>
                </a:cubicBezTo>
                <a:cubicBezTo>
                  <a:pt x="f16" y="f19"/>
                  <a:pt x="f20" y="f12"/>
                  <a:pt x="f14" y="f12"/>
                </a:cubicBezTo>
                <a:cubicBezTo>
                  <a:pt x="f14" y="f12"/>
                  <a:pt x="f14" y="f12"/>
                  <a:pt x="f11" y="f12"/>
                </a:cubicBezTo>
                <a:close/>
                <a:moveTo>
                  <a:pt x="f21" y="f12"/>
                </a:moveTo>
                <a:cubicBezTo>
                  <a:pt x="f21" y="f12"/>
                  <a:pt x="f21" y="f12"/>
                  <a:pt x="f21" y="f22"/>
                </a:cubicBezTo>
                <a:cubicBezTo>
                  <a:pt x="f21" y="f22"/>
                  <a:pt x="f21" y="f22"/>
                  <a:pt x="f23" y="f22"/>
                </a:cubicBezTo>
                <a:cubicBezTo>
                  <a:pt x="f24" y="f22"/>
                  <a:pt x="f25" y="f26"/>
                  <a:pt x="f25" y="f27"/>
                </a:cubicBezTo>
                <a:cubicBezTo>
                  <a:pt x="f25" y="f28"/>
                  <a:pt x="f24" y="f12"/>
                  <a:pt x="f23" y="f12"/>
                </a:cubicBezTo>
                <a:cubicBezTo>
                  <a:pt x="f23" y="f12"/>
                  <a:pt x="f23" y="f12"/>
                  <a:pt x="f21" y="f12"/>
                </a:cubicBezTo>
                <a:close/>
                <a:moveTo>
                  <a:pt x="f29" y="f30"/>
                </a:moveTo>
                <a:cubicBezTo>
                  <a:pt x="f31" y="f30"/>
                  <a:pt x="f32" y="f33"/>
                  <a:pt x="f34" y="f19"/>
                </a:cubicBezTo>
                <a:cubicBezTo>
                  <a:pt x="f35" y="f36"/>
                  <a:pt x="f37" y="f38"/>
                  <a:pt x="f37" y="f39"/>
                </a:cubicBezTo>
                <a:cubicBezTo>
                  <a:pt x="f37" y="f40"/>
                  <a:pt x="f35" y="f41"/>
                  <a:pt x="f34" y="f42"/>
                </a:cubicBezTo>
                <a:cubicBezTo>
                  <a:pt x="f32" y="f43"/>
                  <a:pt x="f31" y="f44"/>
                  <a:pt x="f29" y="f44"/>
                </a:cubicBezTo>
                <a:cubicBezTo>
                  <a:pt x="f45" y="f44"/>
                  <a:pt x="f46" y="f43"/>
                  <a:pt x="f47" y="f42"/>
                </a:cubicBezTo>
                <a:cubicBezTo>
                  <a:pt x="f48" y="f41"/>
                  <a:pt x="f49" y="f40"/>
                  <a:pt x="f49" y="f39"/>
                </a:cubicBezTo>
                <a:cubicBezTo>
                  <a:pt x="f49" y="f38"/>
                  <a:pt x="f48" y="f36"/>
                  <a:pt x="f47" y="f19"/>
                </a:cubicBezTo>
                <a:cubicBezTo>
                  <a:pt x="f46" y="f33"/>
                  <a:pt x="f45" y="f30"/>
                  <a:pt x="f29" y="f30"/>
                </a:cubicBezTo>
                <a:close/>
                <a:moveTo>
                  <a:pt x="f50" y="f30"/>
                </a:moveTo>
                <a:cubicBezTo>
                  <a:pt x="f51" y="f30"/>
                  <a:pt x="f52" y="f33"/>
                  <a:pt x="f53" y="f19"/>
                </a:cubicBezTo>
                <a:cubicBezTo>
                  <a:pt x="f54" y="f36"/>
                  <a:pt x="f55" y="f38"/>
                  <a:pt x="f55" y="f39"/>
                </a:cubicBezTo>
                <a:cubicBezTo>
                  <a:pt x="f55" y="f40"/>
                  <a:pt x="f54" y="f41"/>
                  <a:pt x="f53" y="f42"/>
                </a:cubicBezTo>
                <a:cubicBezTo>
                  <a:pt x="f52" y="f43"/>
                  <a:pt x="f51" y="f44"/>
                  <a:pt x="f50" y="f44"/>
                </a:cubicBezTo>
                <a:cubicBezTo>
                  <a:pt x="f56" y="f44"/>
                  <a:pt x="f57" y="f43"/>
                  <a:pt x="f58" y="f42"/>
                </a:cubicBezTo>
                <a:cubicBezTo>
                  <a:pt x="f59" y="f41"/>
                  <a:pt x="f60" y="f40"/>
                  <a:pt x="f60" y="f39"/>
                </a:cubicBezTo>
                <a:cubicBezTo>
                  <a:pt x="f60" y="f38"/>
                  <a:pt x="f59" y="f36"/>
                  <a:pt x="f58" y="f19"/>
                </a:cubicBezTo>
                <a:cubicBezTo>
                  <a:pt x="f57" y="f33"/>
                  <a:pt x="f56" y="f30"/>
                  <a:pt x="f50" y="f30"/>
                </a:cubicBezTo>
                <a:close/>
                <a:moveTo>
                  <a:pt x="f61" y="f62"/>
                </a:moveTo>
                <a:cubicBezTo>
                  <a:pt x="f61" y="f62"/>
                  <a:pt x="f61" y="f62"/>
                  <a:pt x="f14" y="f62"/>
                </a:cubicBezTo>
                <a:cubicBezTo>
                  <a:pt x="f63" y="f62"/>
                  <a:pt x="f16" y="f64"/>
                  <a:pt x="f65" y="f66"/>
                </a:cubicBezTo>
                <a:cubicBezTo>
                  <a:pt x="f67" y="f68"/>
                  <a:pt x="f69" y="f70"/>
                  <a:pt x="f69" y="f18"/>
                </a:cubicBezTo>
                <a:cubicBezTo>
                  <a:pt x="f69" y="f71"/>
                  <a:pt x="f67" y="f72"/>
                  <a:pt x="f73" y="f74"/>
                </a:cubicBezTo>
                <a:cubicBezTo>
                  <a:pt x="f75" y="f76"/>
                  <a:pt x="f77" y="f78"/>
                  <a:pt x="f79" y="f78"/>
                </a:cubicBezTo>
                <a:cubicBezTo>
                  <a:pt x="f79" y="f78"/>
                  <a:pt x="f79" y="f78"/>
                  <a:pt x="f11" y="f78"/>
                </a:cubicBezTo>
                <a:cubicBezTo>
                  <a:pt x="f11" y="f78"/>
                  <a:pt x="f11" y="f78"/>
                  <a:pt x="f11" y="f9"/>
                </a:cubicBezTo>
                <a:cubicBezTo>
                  <a:pt x="f11" y="f9"/>
                  <a:pt x="f11" y="f9"/>
                  <a:pt x="f61" y="f9"/>
                </a:cubicBezTo>
                <a:cubicBezTo>
                  <a:pt x="f61" y="f9"/>
                  <a:pt x="f61" y="f9"/>
                  <a:pt x="f61" y="f62"/>
                </a:cubicBezTo>
                <a:close/>
                <a:moveTo>
                  <a:pt x="f80" y="f62"/>
                </a:moveTo>
                <a:cubicBezTo>
                  <a:pt x="f80" y="f62"/>
                  <a:pt x="f80" y="f62"/>
                  <a:pt x="f81" y="f62"/>
                </a:cubicBezTo>
                <a:cubicBezTo>
                  <a:pt x="f81" y="f62"/>
                  <a:pt x="f81" y="f62"/>
                  <a:pt x="f81" y="f82"/>
                </a:cubicBezTo>
                <a:cubicBezTo>
                  <a:pt x="f81" y="f83"/>
                  <a:pt x="f84" y="f85"/>
                  <a:pt x="f86" y="f85"/>
                </a:cubicBezTo>
                <a:cubicBezTo>
                  <a:pt x="f87" y="f85"/>
                  <a:pt x="f88" y="f83"/>
                  <a:pt x="f88" y="f82"/>
                </a:cubicBezTo>
                <a:cubicBezTo>
                  <a:pt x="f88" y="f82"/>
                  <a:pt x="f88" y="f82"/>
                  <a:pt x="f88" y="f62"/>
                </a:cubicBezTo>
                <a:cubicBezTo>
                  <a:pt x="f88" y="f62"/>
                  <a:pt x="f88" y="f62"/>
                  <a:pt x="f89" y="f62"/>
                </a:cubicBezTo>
                <a:cubicBezTo>
                  <a:pt x="f89" y="f62"/>
                  <a:pt x="f89" y="f62"/>
                  <a:pt x="f89" y="f82"/>
                </a:cubicBezTo>
                <a:cubicBezTo>
                  <a:pt x="f89" y="f90"/>
                  <a:pt x="f91" y="f92"/>
                  <a:pt x="f86" y="f92"/>
                </a:cubicBezTo>
                <a:cubicBezTo>
                  <a:pt x="f93" y="f92"/>
                  <a:pt x="f80" y="f90"/>
                  <a:pt x="f80" y="f82"/>
                </a:cubicBezTo>
                <a:cubicBezTo>
                  <a:pt x="f80" y="f82"/>
                  <a:pt x="f80" y="f82"/>
                  <a:pt x="f80" y="f62"/>
                </a:cubicBezTo>
                <a:close/>
                <a:moveTo>
                  <a:pt x="f94" y="f62"/>
                </a:moveTo>
                <a:cubicBezTo>
                  <a:pt x="f94" y="f62"/>
                  <a:pt x="f94" y="f62"/>
                  <a:pt x="f23" y="f62"/>
                </a:cubicBezTo>
                <a:cubicBezTo>
                  <a:pt x="f24" y="f62"/>
                  <a:pt x="f95" y="f64"/>
                  <a:pt x="f96" y="f66"/>
                </a:cubicBezTo>
                <a:cubicBezTo>
                  <a:pt x="f97" y="f68"/>
                  <a:pt x="f98" y="f99"/>
                  <a:pt x="f98" y="f27"/>
                </a:cubicBezTo>
                <a:cubicBezTo>
                  <a:pt x="f98" y="f100"/>
                  <a:pt x="f97" y="f101"/>
                  <a:pt x="f96" y="f102"/>
                </a:cubicBezTo>
                <a:cubicBezTo>
                  <a:pt x="f103" y="f104"/>
                  <a:pt x="f105" y="f106"/>
                  <a:pt x="f107" y="f108"/>
                </a:cubicBezTo>
                <a:cubicBezTo>
                  <a:pt x="f107" y="f108"/>
                  <a:pt x="f107" y="f108"/>
                  <a:pt x="f109" y="f9"/>
                </a:cubicBezTo>
                <a:lnTo>
                  <a:pt x="f95" y="f9"/>
                </a:lnTo>
                <a:cubicBezTo>
                  <a:pt x="f95" y="f9"/>
                  <a:pt x="f95" y="f9"/>
                  <a:pt x="f110" y="f111"/>
                </a:cubicBezTo>
                <a:cubicBezTo>
                  <a:pt x="f110" y="f111"/>
                  <a:pt x="f110" y="f111"/>
                  <a:pt x="f21" y="f111"/>
                </a:cubicBezTo>
                <a:cubicBezTo>
                  <a:pt x="f21" y="f111"/>
                  <a:pt x="f21" y="f111"/>
                  <a:pt x="f21" y="f9"/>
                </a:cubicBezTo>
                <a:cubicBezTo>
                  <a:pt x="f21" y="f9"/>
                  <a:pt x="f21" y="f9"/>
                  <a:pt x="f94" y="f9"/>
                </a:cubicBezTo>
                <a:cubicBezTo>
                  <a:pt x="f94" y="f9"/>
                  <a:pt x="f94" y="f9"/>
                  <a:pt x="f94" y="f62"/>
                </a:cubicBezTo>
                <a:close/>
                <a:moveTo>
                  <a:pt x="f112" y="f62"/>
                </a:moveTo>
                <a:cubicBezTo>
                  <a:pt x="f112" y="f62"/>
                  <a:pt x="f112" y="f62"/>
                  <a:pt x="f113" y="f62"/>
                </a:cubicBezTo>
                <a:cubicBezTo>
                  <a:pt x="f113" y="f62"/>
                  <a:pt x="f113" y="f62"/>
                  <a:pt x="f114" y="f115"/>
                </a:cubicBezTo>
                <a:cubicBezTo>
                  <a:pt x="f114" y="f115"/>
                  <a:pt x="f114" y="f115"/>
                  <a:pt x="f114" y="f62"/>
                </a:cubicBezTo>
                <a:cubicBezTo>
                  <a:pt x="f114" y="f62"/>
                  <a:pt x="f114" y="f62"/>
                  <a:pt x="f116" y="f62"/>
                </a:cubicBezTo>
                <a:cubicBezTo>
                  <a:pt x="f116" y="f62"/>
                  <a:pt x="f116" y="f62"/>
                  <a:pt x="f116" y="f9"/>
                </a:cubicBezTo>
                <a:lnTo>
                  <a:pt x="f117" y="f9"/>
                </a:lnTo>
                <a:cubicBezTo>
                  <a:pt x="f117" y="f9"/>
                  <a:pt x="f117" y="f9"/>
                  <a:pt x="f118" y="f119"/>
                </a:cubicBezTo>
                <a:cubicBezTo>
                  <a:pt x="f118" y="f119"/>
                  <a:pt x="f118" y="f119"/>
                  <a:pt x="f118" y="f9"/>
                </a:cubicBezTo>
                <a:cubicBezTo>
                  <a:pt x="f118" y="f9"/>
                  <a:pt x="f118" y="f9"/>
                  <a:pt x="f112" y="f9"/>
                </a:cubicBezTo>
                <a:cubicBezTo>
                  <a:pt x="f112" y="f9"/>
                  <a:pt x="f112" y="f9"/>
                  <a:pt x="f112" y="f62"/>
                </a:cubicBezTo>
                <a:close/>
                <a:moveTo>
                  <a:pt x="f120" y="f62"/>
                </a:moveTo>
                <a:cubicBezTo>
                  <a:pt x="f120" y="f62"/>
                  <a:pt x="f120" y="f62"/>
                  <a:pt x="f121" y="f62"/>
                </a:cubicBezTo>
                <a:lnTo>
                  <a:pt x="f121" y="f9"/>
                </a:lnTo>
                <a:cubicBezTo>
                  <a:pt x="f121" y="f9"/>
                  <a:pt x="f121" y="f9"/>
                  <a:pt x="f120" y="f9"/>
                </a:cubicBezTo>
                <a:cubicBezTo>
                  <a:pt x="f120" y="f9"/>
                  <a:pt x="f120" y="f9"/>
                  <a:pt x="f120" y="f62"/>
                </a:cubicBezTo>
                <a:close/>
                <a:moveTo>
                  <a:pt x="f122" y="f62"/>
                </a:moveTo>
                <a:cubicBezTo>
                  <a:pt x="f122" y="f62"/>
                  <a:pt x="f122" y="f62"/>
                  <a:pt x="f123" y="f62"/>
                </a:cubicBezTo>
                <a:cubicBezTo>
                  <a:pt x="f123" y="f62"/>
                  <a:pt x="f123" y="f62"/>
                  <a:pt x="f123" y="f12"/>
                </a:cubicBezTo>
                <a:lnTo>
                  <a:pt x="f124" y="f12"/>
                </a:lnTo>
                <a:cubicBezTo>
                  <a:pt x="f124" y="f12"/>
                  <a:pt x="f124" y="f12"/>
                  <a:pt x="f124" y="f9"/>
                </a:cubicBezTo>
                <a:cubicBezTo>
                  <a:pt x="f124" y="f9"/>
                  <a:pt x="f124" y="f9"/>
                  <a:pt x="f125" y="f9"/>
                </a:cubicBezTo>
                <a:cubicBezTo>
                  <a:pt x="f125" y="f9"/>
                  <a:pt x="f125" y="f9"/>
                  <a:pt x="f125" y="f12"/>
                </a:cubicBezTo>
                <a:cubicBezTo>
                  <a:pt x="f125" y="f12"/>
                  <a:pt x="f125" y="f12"/>
                  <a:pt x="f122" y="f12"/>
                </a:cubicBezTo>
                <a:cubicBezTo>
                  <a:pt x="f122" y="f12"/>
                  <a:pt x="f122" y="f12"/>
                  <a:pt x="f122" y="f62"/>
                </a:cubicBezTo>
                <a:close/>
                <a:moveTo>
                  <a:pt x="f126" y="f62"/>
                </a:moveTo>
                <a:cubicBezTo>
                  <a:pt x="f126" y="f62"/>
                  <a:pt x="f126" y="f62"/>
                  <a:pt x="f127" y="f62"/>
                </a:cubicBezTo>
                <a:cubicBezTo>
                  <a:pt x="f127" y="f62"/>
                  <a:pt x="f127" y="f62"/>
                  <a:pt x="f127" y="f90"/>
                </a:cubicBezTo>
                <a:cubicBezTo>
                  <a:pt x="f127" y="f90"/>
                  <a:pt x="f127" y="f90"/>
                  <a:pt x="f128" y="f90"/>
                </a:cubicBezTo>
                <a:cubicBezTo>
                  <a:pt x="f128" y="f90"/>
                  <a:pt x="f128" y="f90"/>
                  <a:pt x="f128" y="f9"/>
                </a:cubicBezTo>
                <a:lnTo>
                  <a:pt x="f126" y="f9"/>
                </a:lnTo>
                <a:cubicBezTo>
                  <a:pt x="f126" y="f9"/>
                  <a:pt x="f126" y="f9"/>
                  <a:pt x="f126" y="f62"/>
                </a:cubicBezTo>
                <a:close/>
                <a:moveTo>
                  <a:pt x="f129" y="f62"/>
                </a:moveTo>
                <a:cubicBezTo>
                  <a:pt x="f129" y="f62"/>
                  <a:pt x="f129" y="f62"/>
                  <a:pt x="f130" y="f62"/>
                </a:cubicBezTo>
                <a:cubicBezTo>
                  <a:pt x="f130" y="f62"/>
                  <a:pt x="f130" y="f62"/>
                  <a:pt x="f130" y="f82"/>
                </a:cubicBezTo>
                <a:cubicBezTo>
                  <a:pt x="f130" y="f83"/>
                  <a:pt x="f131" y="f85"/>
                  <a:pt x="f132" y="f85"/>
                </a:cubicBezTo>
                <a:cubicBezTo>
                  <a:pt x="f133" y="f85"/>
                  <a:pt x="f134" y="f83"/>
                  <a:pt x="f134" y="f82"/>
                </a:cubicBezTo>
                <a:cubicBezTo>
                  <a:pt x="f134" y="f82"/>
                  <a:pt x="f134" y="f82"/>
                  <a:pt x="f134" y="f62"/>
                </a:cubicBezTo>
                <a:cubicBezTo>
                  <a:pt x="f134" y="f62"/>
                  <a:pt x="f134" y="f62"/>
                  <a:pt x="f135" y="f62"/>
                </a:cubicBezTo>
                <a:cubicBezTo>
                  <a:pt x="f135" y="f62"/>
                  <a:pt x="f135" y="f62"/>
                  <a:pt x="f135" y="f82"/>
                </a:cubicBezTo>
                <a:cubicBezTo>
                  <a:pt x="f135" y="f90"/>
                  <a:pt x="f136" y="f92"/>
                  <a:pt x="f132" y="f92"/>
                </a:cubicBezTo>
                <a:cubicBezTo>
                  <a:pt x="f137" y="f92"/>
                  <a:pt x="f129" y="f90"/>
                  <a:pt x="f129" y="f82"/>
                </a:cubicBezTo>
                <a:cubicBezTo>
                  <a:pt x="f129" y="f82"/>
                  <a:pt x="f129" y="f82"/>
                  <a:pt x="f129" y="f62"/>
                </a:cubicBezTo>
                <a:close/>
                <a:moveTo>
                  <a:pt x="f138" y="f62"/>
                </a:moveTo>
                <a:cubicBezTo>
                  <a:pt x="f138" y="f62"/>
                  <a:pt x="f138" y="f62"/>
                  <a:pt x="f139" y="f62"/>
                </a:cubicBezTo>
                <a:cubicBezTo>
                  <a:pt x="f139" y="f62"/>
                  <a:pt x="f139" y="f62"/>
                  <a:pt x="f140" y="f115"/>
                </a:cubicBezTo>
                <a:cubicBezTo>
                  <a:pt x="f140" y="f115"/>
                  <a:pt x="f140" y="f115"/>
                  <a:pt x="f140" y="f62"/>
                </a:cubicBezTo>
                <a:cubicBezTo>
                  <a:pt x="f140" y="f62"/>
                  <a:pt x="f140" y="f62"/>
                  <a:pt x="f141" y="f62"/>
                </a:cubicBezTo>
                <a:cubicBezTo>
                  <a:pt x="f141" y="f62"/>
                  <a:pt x="f141" y="f62"/>
                  <a:pt x="f141" y="f9"/>
                </a:cubicBezTo>
                <a:lnTo>
                  <a:pt x="f142" y="f9"/>
                </a:lnTo>
                <a:cubicBezTo>
                  <a:pt x="f142" y="f9"/>
                  <a:pt x="f142" y="f9"/>
                  <a:pt x="f143" y="f119"/>
                </a:cubicBezTo>
                <a:cubicBezTo>
                  <a:pt x="f143" y="f119"/>
                  <a:pt x="f143" y="f119"/>
                  <a:pt x="f143" y="f9"/>
                </a:cubicBezTo>
                <a:cubicBezTo>
                  <a:pt x="f143" y="f9"/>
                  <a:pt x="f143" y="f9"/>
                  <a:pt x="f138" y="f9"/>
                </a:cubicBezTo>
                <a:cubicBezTo>
                  <a:pt x="f138" y="f9"/>
                  <a:pt x="f138" y="f9"/>
                  <a:pt x="f138" y="f62"/>
                </a:cubicBezTo>
                <a:close/>
                <a:moveTo>
                  <a:pt x="f29" y="f144"/>
                </a:moveTo>
                <a:cubicBezTo>
                  <a:pt x="f145" y="f144"/>
                  <a:pt x="f146" y="f147"/>
                  <a:pt x="f148" y="f66"/>
                </a:cubicBezTo>
                <a:cubicBezTo>
                  <a:pt x="f149" y="f119"/>
                  <a:pt x="f150" y="f151"/>
                  <a:pt x="f150" y="f39"/>
                </a:cubicBezTo>
                <a:cubicBezTo>
                  <a:pt x="f150" y="f152"/>
                  <a:pt x="f149" y="f115"/>
                  <a:pt x="f148" y="f153"/>
                </a:cubicBezTo>
                <a:cubicBezTo>
                  <a:pt x="f146" y="f154"/>
                  <a:pt x="f145" y="f155"/>
                  <a:pt x="f29" y="f155"/>
                </a:cubicBezTo>
                <a:cubicBezTo>
                  <a:pt x="f156" y="f155"/>
                  <a:pt x="f157" y="f154"/>
                  <a:pt x="f37" y="f153"/>
                </a:cubicBezTo>
                <a:cubicBezTo>
                  <a:pt x="f158" y="f115"/>
                  <a:pt x="f159" y="f152"/>
                  <a:pt x="f159" y="f39"/>
                </a:cubicBezTo>
                <a:cubicBezTo>
                  <a:pt x="f159" y="f151"/>
                  <a:pt x="f158" y="f119"/>
                  <a:pt x="f37" y="f66"/>
                </a:cubicBezTo>
                <a:cubicBezTo>
                  <a:pt x="f157" y="f147"/>
                  <a:pt x="f156" y="f144"/>
                  <a:pt x="f29" y="f144"/>
                </a:cubicBezTo>
                <a:close/>
                <a:moveTo>
                  <a:pt x="f160" y="f144"/>
                </a:moveTo>
                <a:cubicBezTo>
                  <a:pt x="f161" y="f144"/>
                  <a:pt x="f162" y="f163"/>
                  <a:pt x="f164" y="f165"/>
                </a:cubicBezTo>
                <a:cubicBezTo>
                  <a:pt x="f166" y="f167"/>
                  <a:pt x="f168" y="f169"/>
                  <a:pt x="f170" y="f27"/>
                </a:cubicBezTo>
                <a:cubicBezTo>
                  <a:pt x="f170" y="f27"/>
                  <a:pt x="f170" y="f27"/>
                  <a:pt x="f171" y="f27"/>
                </a:cubicBezTo>
                <a:cubicBezTo>
                  <a:pt x="f172" y="f173"/>
                  <a:pt x="f174" y="f175"/>
                  <a:pt x="f176" y="f177"/>
                </a:cubicBezTo>
                <a:cubicBezTo>
                  <a:pt x="f178" y="f179"/>
                  <a:pt x="f180" y="f30"/>
                  <a:pt x="f160" y="f30"/>
                </a:cubicBezTo>
                <a:cubicBezTo>
                  <a:pt x="f181" y="f30"/>
                  <a:pt x="f182" y="f33"/>
                  <a:pt x="f183" y="f19"/>
                </a:cubicBezTo>
                <a:cubicBezTo>
                  <a:pt x="f184" y="f36"/>
                  <a:pt x="f185" y="f38"/>
                  <a:pt x="f185" y="f39"/>
                </a:cubicBezTo>
                <a:cubicBezTo>
                  <a:pt x="f185" y="f186"/>
                  <a:pt x="f184" y="f187"/>
                  <a:pt x="f188" y="f189"/>
                </a:cubicBezTo>
                <a:cubicBezTo>
                  <a:pt x="f190" y="f191"/>
                  <a:pt x="f181" y="f85"/>
                  <a:pt x="f160" y="f85"/>
                </a:cubicBezTo>
                <a:cubicBezTo>
                  <a:pt x="f192" y="f85"/>
                  <a:pt x="f193" y="f43"/>
                  <a:pt x="f194" y="f195"/>
                </a:cubicBezTo>
                <a:cubicBezTo>
                  <a:pt x="f196" y="f197"/>
                  <a:pt x="f198" y="f199"/>
                  <a:pt x="f198" y="f200"/>
                </a:cubicBezTo>
                <a:cubicBezTo>
                  <a:pt x="f198" y="f200"/>
                  <a:pt x="f198" y="f200"/>
                  <a:pt x="f160" y="f200"/>
                </a:cubicBezTo>
                <a:cubicBezTo>
                  <a:pt x="f160" y="f200"/>
                  <a:pt x="f160" y="f200"/>
                  <a:pt x="f160" y="f201"/>
                </a:cubicBezTo>
                <a:cubicBezTo>
                  <a:pt x="f160" y="f201"/>
                  <a:pt x="f160" y="f201"/>
                  <a:pt x="f202" y="f201"/>
                </a:cubicBezTo>
                <a:cubicBezTo>
                  <a:pt x="f202" y="f201"/>
                  <a:pt x="f202" y="f201"/>
                  <a:pt x="f202" y="f9"/>
                </a:cubicBezTo>
                <a:lnTo>
                  <a:pt x="f203" y="f9"/>
                </a:lnTo>
                <a:cubicBezTo>
                  <a:pt x="f203" y="f9"/>
                  <a:pt x="f203" y="f9"/>
                  <a:pt x="f204" y="f191"/>
                </a:cubicBezTo>
                <a:cubicBezTo>
                  <a:pt x="f174" y="f205"/>
                  <a:pt x="f161" y="f155"/>
                  <a:pt x="f160" y="f155"/>
                </a:cubicBezTo>
                <a:cubicBezTo>
                  <a:pt x="f206" y="f155"/>
                  <a:pt x="f207" y="f208"/>
                  <a:pt x="f185" y="f209"/>
                </a:cubicBezTo>
                <a:cubicBezTo>
                  <a:pt x="f210" y="f211"/>
                  <a:pt x="f212" y="f213"/>
                  <a:pt x="f212" y="f39"/>
                </a:cubicBezTo>
                <a:cubicBezTo>
                  <a:pt x="f212" y="f151"/>
                  <a:pt x="f214" y="f119"/>
                  <a:pt x="f185" y="f66"/>
                </a:cubicBezTo>
                <a:cubicBezTo>
                  <a:pt x="f207" y="f147"/>
                  <a:pt x="f206" y="f144"/>
                  <a:pt x="f160" y="f144"/>
                </a:cubicBezTo>
                <a:close/>
                <a:moveTo>
                  <a:pt x="f215" y="f144"/>
                </a:moveTo>
                <a:cubicBezTo>
                  <a:pt x="f216" y="f144"/>
                  <a:pt x="f217" y="f163"/>
                  <a:pt x="f218" y="f165"/>
                </a:cubicBezTo>
                <a:cubicBezTo>
                  <a:pt x="f219" y="f167"/>
                  <a:pt x="f220" y="f169"/>
                  <a:pt x="f221" y="f27"/>
                </a:cubicBezTo>
                <a:cubicBezTo>
                  <a:pt x="f221" y="f27"/>
                  <a:pt x="f221" y="f27"/>
                  <a:pt x="f222" y="f27"/>
                </a:cubicBezTo>
                <a:cubicBezTo>
                  <a:pt x="f223" y="f173"/>
                  <a:pt x="f224" y="f175"/>
                  <a:pt x="f225" y="f177"/>
                </a:cubicBezTo>
                <a:cubicBezTo>
                  <a:pt x="f226" y="f179"/>
                  <a:pt x="f227" y="f30"/>
                  <a:pt x="f215" y="f30"/>
                </a:cubicBezTo>
                <a:cubicBezTo>
                  <a:pt x="f228" y="f30"/>
                  <a:pt x="f229" y="f33"/>
                  <a:pt x="f230" y="f19"/>
                </a:cubicBezTo>
                <a:cubicBezTo>
                  <a:pt x="f231" y="f36"/>
                  <a:pt x="f232" y="f38"/>
                  <a:pt x="f232" y="f39"/>
                </a:cubicBezTo>
                <a:cubicBezTo>
                  <a:pt x="f232" y="f186"/>
                  <a:pt x="f231" y="f187"/>
                  <a:pt x="f230" y="f189"/>
                </a:cubicBezTo>
                <a:cubicBezTo>
                  <a:pt x="f229" y="f191"/>
                  <a:pt x="f228" y="f85"/>
                  <a:pt x="f215" y="f85"/>
                </a:cubicBezTo>
                <a:cubicBezTo>
                  <a:pt x="f233" y="f85"/>
                  <a:pt x="f234" y="f43"/>
                  <a:pt x="f235" y="f195"/>
                </a:cubicBezTo>
                <a:cubicBezTo>
                  <a:pt x="f236" y="f197"/>
                  <a:pt x="f237" y="f199"/>
                  <a:pt x="f237" y="f200"/>
                </a:cubicBezTo>
                <a:cubicBezTo>
                  <a:pt x="f237" y="f200"/>
                  <a:pt x="f237" y="f200"/>
                  <a:pt x="f215" y="f200"/>
                </a:cubicBezTo>
                <a:cubicBezTo>
                  <a:pt x="f215" y="f200"/>
                  <a:pt x="f215" y="f200"/>
                  <a:pt x="f215" y="f201"/>
                </a:cubicBezTo>
                <a:cubicBezTo>
                  <a:pt x="f215" y="f201"/>
                  <a:pt x="f215" y="f201"/>
                  <a:pt x="f238" y="f201"/>
                </a:cubicBezTo>
                <a:cubicBezTo>
                  <a:pt x="f238" y="f201"/>
                  <a:pt x="f238" y="f201"/>
                  <a:pt x="f238" y="f9"/>
                </a:cubicBezTo>
                <a:lnTo>
                  <a:pt x="f239" y="f9"/>
                </a:lnTo>
                <a:cubicBezTo>
                  <a:pt x="f239" y="f9"/>
                  <a:pt x="f239" y="f9"/>
                  <a:pt x="f240" y="f191"/>
                </a:cubicBezTo>
                <a:cubicBezTo>
                  <a:pt x="f241" y="f205"/>
                  <a:pt x="f216" y="f155"/>
                  <a:pt x="f215" y="f155"/>
                </a:cubicBezTo>
                <a:cubicBezTo>
                  <a:pt x="f242" y="f155"/>
                  <a:pt x="f243" y="f208"/>
                  <a:pt x="f232" y="f209"/>
                </a:cubicBezTo>
                <a:cubicBezTo>
                  <a:pt x="f244" y="f211"/>
                  <a:pt x="f245" y="f213"/>
                  <a:pt x="f245" y="f39"/>
                </a:cubicBezTo>
                <a:cubicBezTo>
                  <a:pt x="f245" y="f151"/>
                  <a:pt x="f246" y="f119"/>
                  <a:pt x="f232" y="f66"/>
                </a:cubicBezTo>
                <a:cubicBezTo>
                  <a:pt x="f243" y="f147"/>
                  <a:pt x="f242" y="f144"/>
                  <a:pt x="f215" y="f144"/>
                </a:cubicBezTo>
                <a:close/>
                <a:moveTo>
                  <a:pt x="f247" y="f144"/>
                </a:moveTo>
                <a:cubicBezTo>
                  <a:pt x="f248" y="f144"/>
                  <a:pt x="f249" y="f250"/>
                  <a:pt x="f251" y="f252"/>
                </a:cubicBezTo>
                <a:cubicBezTo>
                  <a:pt x="f253" y="f254"/>
                  <a:pt x="f255" y="f169"/>
                  <a:pt x="f256" y="f27"/>
                </a:cubicBezTo>
                <a:cubicBezTo>
                  <a:pt x="f256" y="f27"/>
                  <a:pt x="f256" y="f27"/>
                  <a:pt x="f257" y="f27"/>
                </a:cubicBezTo>
                <a:cubicBezTo>
                  <a:pt x="f258" y="f173"/>
                  <a:pt x="f259" y="f260"/>
                  <a:pt x="f261" y="f262"/>
                </a:cubicBezTo>
                <a:cubicBezTo>
                  <a:pt x="f263" y="f179"/>
                  <a:pt x="f264" y="f265"/>
                  <a:pt x="f266" y="f265"/>
                </a:cubicBezTo>
                <a:cubicBezTo>
                  <a:pt x="f267" y="f265"/>
                  <a:pt x="f268" y="f12"/>
                  <a:pt x="f269" y="f262"/>
                </a:cubicBezTo>
                <a:cubicBezTo>
                  <a:pt x="f270" y="f119"/>
                  <a:pt x="f271" y="f272"/>
                  <a:pt x="f271" y="f273"/>
                </a:cubicBezTo>
                <a:cubicBezTo>
                  <a:pt x="f271" y="f274"/>
                  <a:pt x="f275" y="f276"/>
                  <a:pt x="f277" y="f278"/>
                </a:cubicBezTo>
                <a:cubicBezTo>
                  <a:pt x="f279" y="f280"/>
                  <a:pt x="f281" y="f282"/>
                  <a:pt x="f248" y="f101"/>
                </a:cubicBezTo>
                <a:cubicBezTo>
                  <a:pt x="f251" y="f22"/>
                  <a:pt x="f283" y="f284"/>
                  <a:pt x="f283" y="f285"/>
                </a:cubicBezTo>
                <a:cubicBezTo>
                  <a:pt x="f283" y="f286"/>
                  <a:pt x="f287" y="f288"/>
                  <a:pt x="f289" y="f290"/>
                </a:cubicBezTo>
                <a:cubicBezTo>
                  <a:pt x="f258" y="f208"/>
                  <a:pt x="f291" y="f92"/>
                  <a:pt x="f292" y="f92"/>
                </a:cubicBezTo>
                <a:cubicBezTo>
                  <a:pt x="f293" y="f92"/>
                  <a:pt x="f294" y="f208"/>
                  <a:pt x="f295" y="f296"/>
                </a:cubicBezTo>
                <a:cubicBezTo>
                  <a:pt x="f297" y="f298"/>
                  <a:pt x="f299" y="f300"/>
                  <a:pt x="f299" y="f301"/>
                </a:cubicBezTo>
                <a:cubicBezTo>
                  <a:pt x="f299" y="f301"/>
                  <a:pt x="f299" y="f301"/>
                  <a:pt x="f302" y="f301"/>
                </a:cubicBezTo>
                <a:cubicBezTo>
                  <a:pt x="f302" y="f187"/>
                  <a:pt x="f303" y="f304"/>
                  <a:pt x="f305" y="f306"/>
                </a:cubicBezTo>
                <a:cubicBezTo>
                  <a:pt x="f307" y="f90"/>
                  <a:pt x="f308" y="f85"/>
                  <a:pt x="f292" y="f85"/>
                </a:cubicBezTo>
                <a:cubicBezTo>
                  <a:pt x="f309" y="f85"/>
                  <a:pt x="f310" y="f311"/>
                  <a:pt x="f312" y="f313"/>
                </a:cubicBezTo>
                <a:cubicBezTo>
                  <a:pt x="f258" y="f211"/>
                  <a:pt x="f314" y="f300"/>
                  <a:pt x="f314" y="f285"/>
                </a:cubicBezTo>
                <a:cubicBezTo>
                  <a:pt x="f314" y="f315"/>
                  <a:pt x="f249" y="f111"/>
                  <a:pt x="f264" y="f284"/>
                </a:cubicBezTo>
                <a:cubicBezTo>
                  <a:pt x="f264" y="f284"/>
                  <a:pt x="f264" y="f284"/>
                  <a:pt x="f316" y="f317"/>
                </a:cubicBezTo>
                <a:cubicBezTo>
                  <a:pt x="f318" y="f104"/>
                  <a:pt x="f319" y="f17"/>
                  <a:pt x="f319" y="f320"/>
                </a:cubicBezTo>
                <a:cubicBezTo>
                  <a:pt x="f319" y="f99"/>
                  <a:pt x="f321" y="f322"/>
                  <a:pt x="f323" y="f324"/>
                </a:cubicBezTo>
                <a:cubicBezTo>
                  <a:pt x="f325" y="f250"/>
                  <a:pt x="f326" y="f144"/>
                  <a:pt x="f247" y="f144"/>
                </a:cubicBezTo>
                <a:close/>
                <a:moveTo>
                  <a:pt x="f50" y="f144"/>
                </a:moveTo>
                <a:cubicBezTo>
                  <a:pt x="f327" y="f144"/>
                  <a:pt x="f328" y="f147"/>
                  <a:pt x="f60" y="f66"/>
                </a:cubicBezTo>
                <a:cubicBezTo>
                  <a:pt x="f329" y="f119"/>
                  <a:pt x="f330" y="f151"/>
                  <a:pt x="f330" y="f39"/>
                </a:cubicBezTo>
                <a:cubicBezTo>
                  <a:pt x="f330" y="f152"/>
                  <a:pt x="f329" y="f115"/>
                  <a:pt x="f60" y="f153"/>
                </a:cubicBezTo>
                <a:cubicBezTo>
                  <a:pt x="f328" y="f154"/>
                  <a:pt x="f327" y="f155"/>
                  <a:pt x="f50" y="f155"/>
                </a:cubicBezTo>
                <a:cubicBezTo>
                  <a:pt x="f331" y="f155"/>
                  <a:pt x="f332" y="f154"/>
                  <a:pt x="f333" y="f153"/>
                </a:cubicBezTo>
                <a:cubicBezTo>
                  <a:pt x="f334" y="f115"/>
                  <a:pt x="f335" y="f152"/>
                  <a:pt x="f335" y="f39"/>
                </a:cubicBezTo>
                <a:cubicBezTo>
                  <a:pt x="f335" y="f151"/>
                  <a:pt x="f334" y="f119"/>
                  <a:pt x="f333" y="f66"/>
                </a:cubicBezTo>
                <a:cubicBezTo>
                  <a:pt x="f332" y="f147"/>
                  <a:pt x="f331" y="f144"/>
                  <a:pt x="f50" y="f144"/>
                </a:cubicBezTo>
                <a:close/>
                <a:moveTo>
                  <a:pt x="f336" y="f144"/>
                </a:moveTo>
                <a:cubicBezTo>
                  <a:pt x="f337" y="f144"/>
                  <a:pt x="f338" y="f163"/>
                  <a:pt x="f339" y="f340"/>
                </a:cubicBezTo>
                <a:cubicBezTo>
                  <a:pt x="f341" y="f68"/>
                  <a:pt x="f342" y="f343"/>
                  <a:pt x="f344" y="f345"/>
                </a:cubicBezTo>
                <a:cubicBezTo>
                  <a:pt x="f344" y="f345"/>
                  <a:pt x="f344" y="f345"/>
                  <a:pt x="f346" y="f345"/>
                </a:cubicBezTo>
                <a:cubicBezTo>
                  <a:pt x="f347" y="f348"/>
                  <a:pt x="f349" y="f175"/>
                  <a:pt x="f350" y="f351"/>
                </a:cubicBezTo>
                <a:cubicBezTo>
                  <a:pt x="f352" y="f33"/>
                  <a:pt x="f353" y="f30"/>
                  <a:pt x="f336" y="f30"/>
                </a:cubicBezTo>
                <a:cubicBezTo>
                  <a:pt x="f354" y="f30"/>
                  <a:pt x="f355" y="f33"/>
                  <a:pt x="f356" y="f19"/>
                </a:cubicBezTo>
                <a:cubicBezTo>
                  <a:pt x="f357" y="f36"/>
                  <a:pt x="f357" y="f38"/>
                  <a:pt x="f357" y="f39"/>
                </a:cubicBezTo>
                <a:cubicBezTo>
                  <a:pt x="f357" y="f40"/>
                  <a:pt x="f357" y="f41"/>
                  <a:pt x="f356" y="f42"/>
                </a:cubicBezTo>
                <a:cubicBezTo>
                  <a:pt x="f355" y="f43"/>
                  <a:pt x="f354" y="f85"/>
                  <a:pt x="f336" y="f85"/>
                </a:cubicBezTo>
                <a:cubicBezTo>
                  <a:pt x="f353" y="f85"/>
                  <a:pt x="f358" y="f359"/>
                  <a:pt x="f360" y="f42"/>
                </a:cubicBezTo>
                <a:cubicBezTo>
                  <a:pt x="f349" y="f361"/>
                  <a:pt x="f346" y="f362"/>
                  <a:pt x="f346" y="f301"/>
                </a:cubicBezTo>
                <a:cubicBezTo>
                  <a:pt x="f346" y="f301"/>
                  <a:pt x="f346" y="f301"/>
                  <a:pt x="f363" y="f301"/>
                </a:cubicBezTo>
                <a:cubicBezTo>
                  <a:pt x="f344" y="f364"/>
                  <a:pt x="f341" y="f365"/>
                  <a:pt x="f339" y="f153"/>
                </a:cubicBezTo>
                <a:cubicBezTo>
                  <a:pt x="f338" y="f366"/>
                  <a:pt x="f337" y="f155"/>
                  <a:pt x="f336" y="f155"/>
                </a:cubicBezTo>
                <a:cubicBezTo>
                  <a:pt x="f367" y="f155"/>
                  <a:pt x="f368" y="f154"/>
                  <a:pt x="f369" y="f153"/>
                </a:cubicBezTo>
                <a:cubicBezTo>
                  <a:pt x="f370" y="f115"/>
                  <a:pt x="f5" y="f152"/>
                  <a:pt x="f5" y="f39"/>
                </a:cubicBezTo>
                <a:cubicBezTo>
                  <a:pt x="f5" y="f151"/>
                  <a:pt x="f370" y="f119"/>
                  <a:pt x="f369" y="f66"/>
                </a:cubicBezTo>
                <a:cubicBezTo>
                  <a:pt x="f368" y="f147"/>
                  <a:pt x="f367" y="f144"/>
                  <a:pt x="f336" y="f144"/>
                </a:cubicBezTo>
                <a:close/>
                <a:moveTo>
                  <a:pt x="f371" y="f372"/>
                </a:moveTo>
                <a:cubicBezTo>
                  <a:pt x="f371" y="f372"/>
                  <a:pt x="f371" y="f372"/>
                  <a:pt x="f371" y="f373"/>
                </a:cubicBezTo>
                <a:cubicBezTo>
                  <a:pt x="f371" y="f373"/>
                  <a:pt x="f371" y="f373"/>
                  <a:pt x="f374" y="f373"/>
                </a:cubicBezTo>
                <a:cubicBezTo>
                  <a:pt x="f375" y="f373"/>
                  <a:pt x="f376" y="f377"/>
                  <a:pt x="f376" y="f378"/>
                </a:cubicBezTo>
                <a:cubicBezTo>
                  <a:pt x="f376" y="f379"/>
                  <a:pt x="f375" y="f372"/>
                  <a:pt x="f374" y="f372"/>
                </a:cubicBezTo>
                <a:cubicBezTo>
                  <a:pt x="f374" y="f372"/>
                  <a:pt x="f374" y="f372"/>
                  <a:pt x="f371" y="f372"/>
                </a:cubicBezTo>
                <a:close/>
                <a:moveTo>
                  <a:pt x="f380" y="f5"/>
                </a:moveTo>
                <a:lnTo>
                  <a:pt x="f6" y="f5"/>
                </a:lnTo>
                <a:lnTo>
                  <a:pt x="f6" y="f381"/>
                </a:lnTo>
                <a:lnTo>
                  <a:pt x="f382" y="f381"/>
                </a:lnTo>
                <a:lnTo>
                  <a:pt x="f382" y="f383"/>
                </a:lnTo>
                <a:lnTo>
                  <a:pt x="f384" y="f383"/>
                </a:lnTo>
                <a:lnTo>
                  <a:pt x="f384" y="f381"/>
                </a:lnTo>
                <a:lnTo>
                  <a:pt x="f380" y="f381"/>
                </a:lnTo>
                <a:close/>
                <a:moveTo>
                  <a:pt x="f385" y="f5"/>
                </a:moveTo>
                <a:lnTo>
                  <a:pt x="f386" y="f5"/>
                </a:lnTo>
                <a:lnTo>
                  <a:pt x="f387" y="f388"/>
                </a:lnTo>
                <a:lnTo>
                  <a:pt x="f389" y="f390"/>
                </a:lnTo>
                <a:lnTo>
                  <a:pt x="f389" y="f5"/>
                </a:lnTo>
                <a:lnTo>
                  <a:pt x="f391" y="f5"/>
                </a:lnTo>
                <a:lnTo>
                  <a:pt x="f391" y="f383"/>
                </a:lnTo>
                <a:lnTo>
                  <a:pt x="f392" y="f383"/>
                </a:lnTo>
                <a:lnTo>
                  <a:pt x="f393" y="f394"/>
                </a:lnTo>
                <a:lnTo>
                  <a:pt x="f393" y="f383"/>
                </a:lnTo>
                <a:lnTo>
                  <a:pt x="f385" y="f383"/>
                </a:lnTo>
                <a:close/>
                <a:moveTo>
                  <a:pt x="f395" y="f5"/>
                </a:moveTo>
                <a:lnTo>
                  <a:pt x="f396" y="f5"/>
                </a:lnTo>
                <a:lnTo>
                  <a:pt x="f396" y="f397"/>
                </a:lnTo>
                <a:lnTo>
                  <a:pt x="f398" y="f397"/>
                </a:lnTo>
                <a:lnTo>
                  <a:pt x="f398" y="f399"/>
                </a:lnTo>
                <a:lnTo>
                  <a:pt x="f400" y="f399"/>
                </a:lnTo>
                <a:lnTo>
                  <a:pt x="f400" y="f401"/>
                </a:lnTo>
                <a:lnTo>
                  <a:pt x="f398" y="f401"/>
                </a:lnTo>
                <a:lnTo>
                  <a:pt x="f398" y="f402"/>
                </a:lnTo>
                <a:lnTo>
                  <a:pt x="f396" y="f402"/>
                </a:lnTo>
                <a:lnTo>
                  <a:pt x="f396" y="f383"/>
                </a:lnTo>
                <a:lnTo>
                  <a:pt x="f395" y="f383"/>
                </a:lnTo>
                <a:close/>
                <a:moveTo>
                  <a:pt x="f403" y="f5"/>
                </a:moveTo>
                <a:lnTo>
                  <a:pt x="f404" y="f5"/>
                </a:lnTo>
                <a:lnTo>
                  <a:pt x="f405" y="f406"/>
                </a:lnTo>
                <a:lnTo>
                  <a:pt x="f407" y="f5"/>
                </a:lnTo>
                <a:lnTo>
                  <a:pt x="f408" y="f5"/>
                </a:lnTo>
                <a:lnTo>
                  <a:pt x="f408" y="f383"/>
                </a:lnTo>
                <a:lnTo>
                  <a:pt x="f409" y="f383"/>
                </a:lnTo>
                <a:lnTo>
                  <a:pt x="f409" y="f410"/>
                </a:lnTo>
                <a:lnTo>
                  <a:pt x="f411" y="f412"/>
                </a:lnTo>
                <a:lnTo>
                  <a:pt x="f413" y="f412"/>
                </a:lnTo>
                <a:lnTo>
                  <a:pt x="f414" y="f415"/>
                </a:lnTo>
                <a:lnTo>
                  <a:pt x="f414" y="f383"/>
                </a:lnTo>
                <a:lnTo>
                  <a:pt x="f403" y="f383"/>
                </a:lnTo>
                <a:close/>
                <a:moveTo>
                  <a:pt x="f416" y="f5"/>
                </a:moveTo>
                <a:lnTo>
                  <a:pt x="f417" y="f5"/>
                </a:lnTo>
                <a:lnTo>
                  <a:pt x="f417" y="f397"/>
                </a:lnTo>
                <a:lnTo>
                  <a:pt x="f418" y="f397"/>
                </a:lnTo>
                <a:lnTo>
                  <a:pt x="f418" y="f399"/>
                </a:lnTo>
                <a:lnTo>
                  <a:pt x="f419" y="f399"/>
                </a:lnTo>
                <a:lnTo>
                  <a:pt x="f419" y="f401"/>
                </a:lnTo>
                <a:lnTo>
                  <a:pt x="f418" y="f401"/>
                </a:lnTo>
                <a:lnTo>
                  <a:pt x="f418" y="f402"/>
                </a:lnTo>
                <a:lnTo>
                  <a:pt x="f417" y="f402"/>
                </a:lnTo>
                <a:lnTo>
                  <a:pt x="f417" y="f383"/>
                </a:lnTo>
                <a:lnTo>
                  <a:pt x="f416" y="f383"/>
                </a:lnTo>
                <a:close/>
                <a:moveTo>
                  <a:pt x="f420" y="f5"/>
                </a:moveTo>
                <a:lnTo>
                  <a:pt x="f421" y="f5"/>
                </a:lnTo>
                <a:lnTo>
                  <a:pt x="f421" y="f422"/>
                </a:lnTo>
                <a:lnTo>
                  <a:pt x="f423" y="f422"/>
                </a:lnTo>
                <a:lnTo>
                  <a:pt x="f423" y="f383"/>
                </a:lnTo>
                <a:lnTo>
                  <a:pt x="f420" y="f383"/>
                </a:lnTo>
                <a:close/>
                <a:moveTo>
                  <a:pt x="f424" y="f5"/>
                </a:moveTo>
                <a:cubicBezTo>
                  <a:pt x="f424" y="f5"/>
                  <a:pt x="f424" y="f5"/>
                  <a:pt x="f425" y="f5"/>
                </a:cubicBezTo>
                <a:cubicBezTo>
                  <a:pt x="f426" y="f5"/>
                  <a:pt x="f427" y="f428"/>
                  <a:pt x="f427" y="f429"/>
                </a:cubicBezTo>
                <a:cubicBezTo>
                  <a:pt x="f427" y="f430"/>
                  <a:pt x="f426" y="f431"/>
                  <a:pt x="f425" y="f431"/>
                </a:cubicBezTo>
                <a:cubicBezTo>
                  <a:pt x="f425" y="f431"/>
                  <a:pt x="f425" y="f431"/>
                  <a:pt x="f371" y="f431"/>
                </a:cubicBezTo>
                <a:cubicBezTo>
                  <a:pt x="f371" y="f431"/>
                  <a:pt x="f371" y="f431"/>
                  <a:pt x="f371" y="f383"/>
                </a:cubicBezTo>
                <a:cubicBezTo>
                  <a:pt x="f371" y="f383"/>
                  <a:pt x="f371" y="f383"/>
                  <a:pt x="f424" y="f383"/>
                </a:cubicBezTo>
                <a:cubicBezTo>
                  <a:pt x="f424" y="f383"/>
                  <a:pt x="f424" y="f383"/>
                  <a:pt x="f424" y="f5"/>
                </a:cubicBezTo>
                <a:close/>
                <a:moveTo>
                  <a:pt x="f432" y="f5"/>
                </a:moveTo>
                <a:lnTo>
                  <a:pt x="f433" y="f5"/>
                </a:lnTo>
                <a:lnTo>
                  <a:pt x="f434" y="f406"/>
                </a:lnTo>
                <a:lnTo>
                  <a:pt x="f435" y="f5"/>
                </a:lnTo>
                <a:lnTo>
                  <a:pt x="f436" y="f5"/>
                </a:lnTo>
                <a:lnTo>
                  <a:pt x="f436" y="f383"/>
                </a:lnTo>
                <a:lnTo>
                  <a:pt x="f437" y="f383"/>
                </a:lnTo>
                <a:lnTo>
                  <a:pt x="f437" y="f410"/>
                </a:lnTo>
                <a:lnTo>
                  <a:pt x="f438" y="f412"/>
                </a:lnTo>
                <a:lnTo>
                  <a:pt x="f439" y="f412"/>
                </a:lnTo>
                <a:lnTo>
                  <a:pt x="f440" y="f415"/>
                </a:lnTo>
                <a:lnTo>
                  <a:pt x="f440" y="f383"/>
                </a:lnTo>
                <a:lnTo>
                  <a:pt x="f432" y="f383"/>
                </a:lnTo>
                <a:close/>
                <a:moveTo>
                  <a:pt x="f441" y="f5"/>
                </a:moveTo>
                <a:lnTo>
                  <a:pt x="f442" y="f5"/>
                </a:lnTo>
                <a:lnTo>
                  <a:pt x="f442" y="f383"/>
                </a:lnTo>
                <a:lnTo>
                  <a:pt x="f441" y="f383"/>
                </a:lnTo>
                <a:close/>
              </a:path>
            </a:pathLst>
          </a:custGeom>
          <a:solidFill>
            <a:srgbClr val="FCFBF5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1F2023"/>
                </a:solidFill>
                <a:uFillTx/>
                <a:latin typeface="Arial"/>
              </a:rPr>
              <a:t> </a:t>
            </a:r>
          </a:p>
        </p:txBody>
      </p:sp>
      <p:sp>
        <p:nvSpPr>
          <p:cNvPr id="9" name="Date_GeneralDate" hidden="1">
            <a:extLst>
              <a:ext uri="{FF2B5EF4-FFF2-40B4-BE49-F238E27FC236}">
                <a16:creationId xmlns:a16="http://schemas.microsoft.com/office/drawing/2014/main" id="{26B2F31E-C3F1-43F3-8A08-02FF2B97DB1E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D1C2FE66-581D-4769-8047-A7D0B6E4EFA7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10" name="FLD_PresentationTitle" hidden="1">
            <a:extLst>
              <a:ext uri="{FF2B5EF4-FFF2-40B4-BE49-F238E27FC236}">
                <a16:creationId xmlns:a16="http://schemas.microsoft.com/office/drawing/2014/main" id="{96C53290-7835-450B-B441-0E79D5A22ABD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5184003"/>
            <a:ext cx="0" cy="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GB"/>
              <a:t>Footer</a:t>
            </a:r>
          </a:p>
        </p:txBody>
      </p:sp>
      <p:sp>
        <p:nvSpPr>
          <p:cNvPr id="11" name="Slide Number Placeholder 5" hidden="1">
            <a:extLst>
              <a:ext uri="{FF2B5EF4-FFF2-40B4-BE49-F238E27FC236}">
                <a16:creationId xmlns:a16="http://schemas.microsoft.com/office/drawing/2014/main" id="{8FFA5B8D-EA64-4CCA-A7C2-98BEEB52259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5184003"/>
            <a:ext cx="0" cy="0"/>
          </a:xfrm>
        </p:spPr>
        <p:txBody>
          <a:bodyPr anchor="t"/>
          <a:lstStyle>
            <a:lvl1pPr>
              <a:defRPr sz="108">
                <a:solidFill>
                  <a:srgbClr val="000000"/>
                </a:solidFill>
              </a:defRPr>
            </a:lvl1pPr>
          </a:lstStyle>
          <a:p>
            <a:pPr lvl="0"/>
            <a:fld id="{24A4C2E1-F3B2-4970-ABE3-8CE152622506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0547055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427840"/>
            <a:ext cx="9144000" cy="637031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1" y="1151335"/>
            <a:ext cx="4040188" cy="479822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1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7" y="1151335"/>
            <a:ext cx="4041775" cy="479822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7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EC1568-49BF-594E-9B2C-38E80A379FCB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26-09-2021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6FB5BB-5704-FB48-BA77-7254DC263D9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029443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D18C968C-ED51-4287-8398-F182868B2887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250458" y="1221485"/>
            <a:ext cx="8644304" cy="3517104"/>
          </a:xfrm>
        </p:spPr>
        <p:txBody>
          <a:bodyPr r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72C159C1-9A43-42CA-90CF-31C7774E129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4925D3E2-1E9C-4E37-8572-047542A3DC2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204190"/>
            <a:ext cx="7606286" cy="519253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0E1F86F-F307-435D-B19A-2817D8BF0F6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6" name="Date_GeneralDate" hidden="1">
            <a:extLst>
              <a:ext uri="{FF2B5EF4-FFF2-40B4-BE49-F238E27FC236}">
                <a16:creationId xmlns:a16="http://schemas.microsoft.com/office/drawing/2014/main" id="{0EB386DE-9043-47FA-815E-7CF0B843A41C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0D2509DC-37DC-4FD6-B917-C37BD79E0FDF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C8C94040-AB6B-4FB1-94FA-1F93DEBE9AC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4CC46922-EE86-415A-AC04-E7623D988EF5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875282"/>
      </p:ext>
    </p:extLst>
  </p:cSld>
  <p:clrMapOvr>
    <a:masterClrMapping/>
  </p:clrMapOvr>
  <p:transition spd="med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050C237-1E58-4FAD-9053-0C80A970380C}"/>
              </a:ext>
            </a:extLst>
          </p:cNvPr>
          <p:cNvSpPr/>
          <p:nvPr/>
        </p:nvSpPr>
        <p:spPr>
          <a:xfrm>
            <a:off x="0" y="0"/>
            <a:ext cx="9143996" cy="5143500"/>
          </a:xfrm>
          <a:prstGeom prst="rect">
            <a:avLst/>
          </a:prstGeom>
          <a:solidFill>
            <a:srgbClr val="EEEBE8"/>
          </a:solidFill>
          <a:ln cap="flat">
            <a:noFill/>
            <a:prstDash val="solid"/>
          </a:ln>
        </p:spPr>
        <p:txBody>
          <a:bodyPr vert="horz" wrap="square" lIns="26999" tIns="26999" rIns="26999" bIns="26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2AA5F3-AF4A-404C-943A-840E7B74C01B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250458" y="1221485"/>
            <a:ext cx="8644304" cy="3517104"/>
          </a:xfrm>
        </p:spPr>
        <p:txBody>
          <a:bodyPr r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ED02359E-07F8-48FA-88B1-192640F5977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5DB9598C-C806-4D8C-9C47-4F2425B8122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204190"/>
            <a:ext cx="7606286" cy="519253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CF4E535-5F3B-4A52-BEE1-841E19F01DF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7" name="Freeform: Shape 21">
            <a:extLst>
              <a:ext uri="{FF2B5EF4-FFF2-40B4-BE49-F238E27FC236}">
                <a16:creationId xmlns:a16="http://schemas.microsoft.com/office/drawing/2014/main" id="{38712EA9-B038-4291-A807-8FA7A2BC12A1}"/>
              </a:ext>
            </a:extLst>
          </p:cNvPr>
          <p:cNvSpPr/>
          <p:nvPr/>
        </p:nvSpPr>
        <p:spPr>
          <a:xfrm rot="5400013">
            <a:off x="8690662" y="287231"/>
            <a:ext cx="262627" cy="14273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0168"/>
              <a:gd name="f7" fmla="val 154638"/>
              <a:gd name="f8" fmla="val 242136"/>
              <a:gd name="f9" fmla="val 141700"/>
              <a:gd name="f10" fmla="val 62944"/>
              <a:gd name="f11" fmla="val 154337"/>
              <a:gd name="f12" fmla="val 102688"/>
              <a:gd name="f13" fmla="val 141020"/>
              <a:gd name="f14" fmla="val 104707"/>
              <a:gd name="f15" fmla="val 179755"/>
              <a:gd name="f16" fmla="val 217481"/>
              <a:gd name="f17" fmla="val 187825"/>
              <a:gd name="f18" fmla="val 53263"/>
              <a:gd name="f19" fmla="val 151309"/>
              <a:gd name="f20" fmla="val 152117"/>
              <a:gd name="f21" fmla="val 128915"/>
              <a:gd name="f22" fmla="val 92601"/>
              <a:gd name="f23" fmla="val 52051"/>
              <a:gd name="f24" fmla="val 30867"/>
              <a:gd name="f25" fmla="+- 0 0 -90"/>
              <a:gd name="f26" fmla="*/ f3 1 350168"/>
              <a:gd name="f27" fmla="*/ f4 1 154638"/>
              <a:gd name="f28" fmla="+- f7 0 f5"/>
              <a:gd name="f29" fmla="+- f6 0 f5"/>
              <a:gd name="f30" fmla="*/ f25 f0 1"/>
              <a:gd name="f31" fmla="*/ f29 1 350168"/>
              <a:gd name="f32" fmla="*/ f28 1 154638"/>
              <a:gd name="f33" fmla="*/ 242136 f29 1"/>
              <a:gd name="f34" fmla="*/ 154638 f28 1"/>
              <a:gd name="f35" fmla="*/ 141700 f28 1"/>
              <a:gd name="f36" fmla="*/ 350168 f29 1"/>
              <a:gd name="f37" fmla="*/ 62944 f29 1"/>
              <a:gd name="f38" fmla="*/ 154337 f28 1"/>
              <a:gd name="f39" fmla="*/ 0 f28 1"/>
              <a:gd name="f40" fmla="*/ 102688 f29 1"/>
              <a:gd name="f41" fmla="*/ 141020 f29 1"/>
              <a:gd name="f42" fmla="*/ 104707 f28 1"/>
              <a:gd name="f43" fmla="*/ 179755 f29 1"/>
              <a:gd name="f44" fmla="*/ 217481 f29 1"/>
              <a:gd name="f45" fmla="*/ 187825 f29 1"/>
              <a:gd name="f46" fmla="*/ 53263 f28 1"/>
              <a:gd name="f47" fmla="*/ 151309 f29 1"/>
              <a:gd name="f48" fmla="*/ 152117 f28 1"/>
              <a:gd name="f49" fmla="*/ 128915 f29 1"/>
              <a:gd name="f50" fmla="*/ 92601 f29 1"/>
              <a:gd name="f51" fmla="*/ 52051 f28 1"/>
              <a:gd name="f52" fmla="*/ 0 f29 1"/>
              <a:gd name="f53" fmla="*/ 30867 f29 1"/>
              <a:gd name="f54" fmla="*/ f30 1 f2"/>
              <a:gd name="f55" fmla="*/ f33 1 350168"/>
              <a:gd name="f56" fmla="*/ f34 1 154638"/>
              <a:gd name="f57" fmla="*/ f35 1 154638"/>
              <a:gd name="f58" fmla="*/ f36 1 350168"/>
              <a:gd name="f59" fmla="*/ f37 1 350168"/>
              <a:gd name="f60" fmla="*/ f38 1 154638"/>
              <a:gd name="f61" fmla="*/ f39 1 154638"/>
              <a:gd name="f62" fmla="*/ f40 1 350168"/>
              <a:gd name="f63" fmla="*/ f41 1 350168"/>
              <a:gd name="f64" fmla="*/ f42 1 154638"/>
              <a:gd name="f65" fmla="*/ f43 1 350168"/>
              <a:gd name="f66" fmla="*/ f44 1 350168"/>
              <a:gd name="f67" fmla="*/ f45 1 350168"/>
              <a:gd name="f68" fmla="*/ f46 1 154638"/>
              <a:gd name="f69" fmla="*/ f47 1 350168"/>
              <a:gd name="f70" fmla="*/ f48 1 154638"/>
              <a:gd name="f71" fmla="*/ f49 1 350168"/>
              <a:gd name="f72" fmla="*/ f50 1 350168"/>
              <a:gd name="f73" fmla="*/ f51 1 154638"/>
              <a:gd name="f74" fmla="*/ f52 1 350168"/>
              <a:gd name="f75" fmla="*/ f53 1 350168"/>
              <a:gd name="f76" fmla="*/ f5 1 f31"/>
              <a:gd name="f77" fmla="*/ f6 1 f31"/>
              <a:gd name="f78" fmla="*/ f5 1 f32"/>
              <a:gd name="f79" fmla="*/ f7 1 f32"/>
              <a:gd name="f80" fmla="+- f54 0 f1"/>
              <a:gd name="f81" fmla="*/ f55 1 f31"/>
              <a:gd name="f82" fmla="*/ f56 1 f32"/>
              <a:gd name="f83" fmla="*/ f57 1 f32"/>
              <a:gd name="f84" fmla="*/ f58 1 f31"/>
              <a:gd name="f85" fmla="*/ f59 1 f31"/>
              <a:gd name="f86" fmla="*/ f60 1 f32"/>
              <a:gd name="f87" fmla="*/ f61 1 f32"/>
              <a:gd name="f88" fmla="*/ f62 1 f31"/>
              <a:gd name="f89" fmla="*/ f63 1 f31"/>
              <a:gd name="f90" fmla="*/ f64 1 f32"/>
              <a:gd name="f91" fmla="*/ f65 1 f31"/>
              <a:gd name="f92" fmla="*/ f66 1 f31"/>
              <a:gd name="f93" fmla="*/ f67 1 f31"/>
              <a:gd name="f94" fmla="*/ f68 1 f32"/>
              <a:gd name="f95" fmla="*/ f69 1 f31"/>
              <a:gd name="f96" fmla="*/ f70 1 f32"/>
              <a:gd name="f97" fmla="*/ f71 1 f31"/>
              <a:gd name="f98" fmla="*/ f72 1 f31"/>
              <a:gd name="f99" fmla="*/ f73 1 f32"/>
              <a:gd name="f100" fmla="*/ f74 1 f31"/>
              <a:gd name="f101" fmla="*/ f75 1 f31"/>
              <a:gd name="f102" fmla="*/ f76 f26 1"/>
              <a:gd name="f103" fmla="*/ f77 f26 1"/>
              <a:gd name="f104" fmla="*/ f79 f27 1"/>
              <a:gd name="f105" fmla="*/ f78 f27 1"/>
              <a:gd name="f106" fmla="*/ f81 f26 1"/>
              <a:gd name="f107" fmla="*/ f82 f27 1"/>
              <a:gd name="f108" fmla="*/ f83 f27 1"/>
              <a:gd name="f109" fmla="*/ f84 f26 1"/>
              <a:gd name="f110" fmla="*/ f85 f26 1"/>
              <a:gd name="f111" fmla="*/ f86 f27 1"/>
              <a:gd name="f112" fmla="*/ f87 f27 1"/>
              <a:gd name="f113" fmla="*/ f88 f26 1"/>
              <a:gd name="f114" fmla="*/ f89 f26 1"/>
              <a:gd name="f115" fmla="*/ f90 f27 1"/>
              <a:gd name="f116" fmla="*/ f91 f26 1"/>
              <a:gd name="f117" fmla="*/ f92 f26 1"/>
              <a:gd name="f118" fmla="*/ f93 f26 1"/>
              <a:gd name="f119" fmla="*/ f94 f27 1"/>
              <a:gd name="f120" fmla="*/ f95 f26 1"/>
              <a:gd name="f121" fmla="*/ f96 f27 1"/>
              <a:gd name="f122" fmla="*/ f97 f26 1"/>
              <a:gd name="f123" fmla="*/ f98 f26 1"/>
              <a:gd name="f124" fmla="*/ f99 f27 1"/>
              <a:gd name="f125" fmla="*/ f100 f26 1"/>
              <a:gd name="f126" fmla="*/ f101 f2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80">
                <a:pos x="f106" y="f107"/>
              </a:cxn>
              <a:cxn ang="f80">
                <a:pos x="f106" y="f108"/>
              </a:cxn>
              <a:cxn ang="f80">
                <a:pos x="f109" y="f108"/>
              </a:cxn>
              <a:cxn ang="f80">
                <a:pos x="f109" y="f107"/>
              </a:cxn>
              <a:cxn ang="f80">
                <a:pos x="f110" y="f111"/>
              </a:cxn>
              <a:cxn ang="f80">
                <a:pos x="f110" y="f112"/>
              </a:cxn>
              <a:cxn ang="f80">
                <a:pos x="f113" y="f112"/>
              </a:cxn>
              <a:cxn ang="f80">
                <a:pos x="f114" y="f115"/>
              </a:cxn>
              <a:cxn ang="f80">
                <a:pos x="f116" y="f112"/>
              </a:cxn>
              <a:cxn ang="f80">
                <a:pos x="f117" y="f112"/>
              </a:cxn>
              <a:cxn ang="f80">
                <a:pos x="f117" y="f111"/>
              </a:cxn>
              <a:cxn ang="f80">
                <a:pos x="f118" y="f111"/>
              </a:cxn>
              <a:cxn ang="f80">
                <a:pos x="f118" y="f119"/>
              </a:cxn>
              <a:cxn ang="f80">
                <a:pos x="f120" y="f121"/>
              </a:cxn>
              <a:cxn ang="f80">
                <a:pos x="f122" y="f121"/>
              </a:cxn>
              <a:cxn ang="f80">
                <a:pos x="f123" y="f124"/>
              </a:cxn>
              <a:cxn ang="f80">
                <a:pos x="f123" y="f111"/>
              </a:cxn>
              <a:cxn ang="f80">
                <a:pos x="f125" y="f111"/>
              </a:cxn>
              <a:cxn ang="f80">
                <a:pos x="f125" y="f112"/>
              </a:cxn>
              <a:cxn ang="f80">
                <a:pos x="f126" y="f112"/>
              </a:cxn>
              <a:cxn ang="f80">
                <a:pos x="f126" y="f111"/>
              </a:cxn>
            </a:cxnLst>
            <a:rect l="f102" t="f105" r="f103" b="f104"/>
            <a:pathLst>
              <a:path w="350168" h="154638">
                <a:moveTo>
                  <a:pt x="f8" y="f7"/>
                </a:moveTo>
                <a:lnTo>
                  <a:pt x="f8" y="f9"/>
                </a:lnTo>
                <a:lnTo>
                  <a:pt x="f6" y="f9"/>
                </a:lnTo>
                <a:lnTo>
                  <a:pt x="f6" y="f7"/>
                </a:lnTo>
                <a:close/>
                <a:moveTo>
                  <a:pt x="f10" y="f11"/>
                </a:moveTo>
                <a:lnTo>
                  <a:pt x="f10" y="f5"/>
                </a:lnTo>
                <a:lnTo>
                  <a:pt x="f12" y="f5"/>
                </a:lnTo>
                <a:lnTo>
                  <a:pt x="f13" y="f14"/>
                </a:lnTo>
                <a:lnTo>
                  <a:pt x="f15" y="f5"/>
                </a:lnTo>
                <a:lnTo>
                  <a:pt x="f16" y="f5"/>
                </a:lnTo>
                <a:lnTo>
                  <a:pt x="f16" y="f11"/>
                </a:lnTo>
                <a:lnTo>
                  <a:pt x="f17" y="f11"/>
                </a:lnTo>
                <a:lnTo>
                  <a:pt x="f17" y="f18"/>
                </a:lnTo>
                <a:lnTo>
                  <a:pt x="f19" y="f20"/>
                </a:lnTo>
                <a:lnTo>
                  <a:pt x="f21" y="f20"/>
                </a:lnTo>
                <a:lnTo>
                  <a:pt x="f22" y="f23"/>
                </a:lnTo>
                <a:lnTo>
                  <a:pt x="f22" y="f11"/>
                </a:lnTo>
                <a:close/>
                <a:moveTo>
                  <a:pt x="f5" y="f11"/>
                </a:moveTo>
                <a:lnTo>
                  <a:pt x="f5" y="f5"/>
                </a:lnTo>
                <a:lnTo>
                  <a:pt x="f24" y="f5"/>
                </a:lnTo>
                <a:lnTo>
                  <a:pt x="f24" y="f11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8" name="Date_GeneralDate" hidden="1">
            <a:extLst>
              <a:ext uri="{FF2B5EF4-FFF2-40B4-BE49-F238E27FC236}">
                <a16:creationId xmlns:a16="http://schemas.microsoft.com/office/drawing/2014/main" id="{CB19E2D9-D4AE-4E75-A650-29F85FD47B43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8729510D-338C-4FCA-A539-7B828E545821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D9CF4E8D-9F7B-45D8-BDA2-511ECE13C4E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56A16D1F-F755-4DE7-A6F1-19BF002B7DD8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478592"/>
      </p:ext>
    </p:extLst>
  </p:cSld>
  <p:clrMapOvr>
    <a:masterClrMapping/>
  </p:clrMapOvr>
  <p:transition spd="med"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0">
            <a:extLst>
              <a:ext uri="{FF2B5EF4-FFF2-40B4-BE49-F238E27FC236}">
                <a16:creationId xmlns:a16="http://schemas.microsoft.com/office/drawing/2014/main" id="{53B2FD4B-4573-44A4-82F3-5194F1D8195E}"/>
              </a:ext>
            </a:extLst>
          </p:cNvPr>
          <p:cNvSpPr/>
          <p:nvPr/>
        </p:nvSpPr>
        <p:spPr>
          <a:xfrm>
            <a:off x="0" y="0"/>
            <a:ext cx="9143996" cy="5143500"/>
          </a:xfrm>
          <a:prstGeom prst="rect">
            <a:avLst/>
          </a:prstGeom>
          <a:solidFill>
            <a:srgbClr val="30373B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marL="0" marR="0" lvl="0" indent="0" algn="ctr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7F96DE-67C1-4622-A866-0FB156A6FF46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250458" y="1221485"/>
            <a:ext cx="8644304" cy="3517104"/>
          </a:xfrm>
        </p:spPr>
        <p:txBody>
          <a:bodyPr rIns="0"/>
          <a:lstStyle>
            <a:lvl1pPr>
              <a:defRPr lang="en-GB">
                <a:solidFill>
                  <a:srgbClr val="F8F5E7"/>
                </a:solidFill>
              </a:defRPr>
            </a:lvl1pPr>
            <a:lvl2pPr>
              <a:defRPr lang="en-GB">
                <a:solidFill>
                  <a:srgbClr val="F8F5E7"/>
                </a:solidFill>
              </a:defRPr>
            </a:lvl2pPr>
            <a:lvl3pPr>
              <a:defRPr lang="en-GB">
                <a:solidFill>
                  <a:srgbClr val="F8F5E7"/>
                </a:solidFill>
              </a:defRPr>
            </a:lvl3pPr>
            <a:lvl4pPr>
              <a:defRPr lang="en-GB">
                <a:solidFill>
                  <a:srgbClr val="F8F5E7"/>
                </a:solidFill>
              </a:defRPr>
            </a:lvl4pPr>
            <a:lvl5pPr>
              <a:defRPr lang="en-GB">
                <a:solidFill>
                  <a:srgbClr val="F8F5E7"/>
                </a:solidFill>
              </a:defRPr>
            </a:lvl5pPr>
            <a:lvl6pPr marL="0" marR="0" lvl="5" indent="0" defTabSz="557192" fontAlgn="auto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lang="en-GB" sz="826" b="1" i="0" u="none" strike="noStrike" cap="all" spc="0" baseline="0">
                <a:solidFill>
                  <a:srgbClr val="F8F5E7"/>
                </a:solidFill>
                <a:uFillTx/>
                <a:latin typeface="Arial"/>
              </a:defRPr>
            </a:lvl6pPr>
            <a:lvl7pPr marL="107993" marR="0" lvl="6" indent="-107993" defTabSz="557192" fontAlgn="auto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/>
              <a:buAutoNum type="arabicPeriod"/>
              <a:tabLst/>
              <a:defRPr lang="en-GB" sz="826" b="0" i="0" u="none" strike="noStrike" cap="none" spc="0" baseline="0">
                <a:solidFill>
                  <a:srgbClr val="F8F5E7"/>
                </a:solidFill>
                <a:uFillTx/>
                <a:latin typeface="Arial"/>
              </a:defRPr>
            </a:lvl7pPr>
            <a:lvl8pPr marL="107993" marR="0" lvl="7" indent="-107993" defTabSz="557192" fontAlgn="auto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/>
              <a:buAutoNum type="alphaUcPeriod"/>
              <a:tabLst/>
              <a:defRPr lang="en-GB" sz="826" b="0" i="0" u="none" strike="noStrike" cap="none" spc="0" baseline="0">
                <a:solidFill>
                  <a:srgbClr val="F8F5E7"/>
                </a:solidFill>
                <a:uFillTx/>
                <a:latin typeface="Arial"/>
              </a:defRPr>
            </a:lvl8pPr>
            <a:lvl9pPr marL="0" marR="0" lvl="8" indent="0" defTabSz="557192" fontAlgn="auto">
              <a:lnSpc>
                <a:spcPct val="83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lang="en-GB" sz="3600" b="0" i="0" u="none" strike="noStrike" cap="all" spc="0" baseline="0">
                <a:solidFill>
                  <a:srgbClr val="F8F5E7"/>
                </a:solidFill>
                <a:uFillTx/>
                <a:latin typeface="Impact" pitchFamily="34"/>
              </a:defRPr>
            </a:lvl9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6</a:t>
            </a:r>
          </a:p>
          <a:p>
            <a:pPr lvl="6"/>
            <a:r>
              <a:rPr lang="en-GB"/>
              <a:t>7</a:t>
            </a:r>
          </a:p>
          <a:p>
            <a:pPr lvl="7"/>
            <a:r>
              <a:rPr lang="en-GB"/>
              <a:t>8</a:t>
            </a:r>
          </a:p>
          <a:p>
            <a:pPr lvl="8"/>
            <a:r>
              <a:rPr lang="en-GB"/>
              <a:t>9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E2F92700-88EC-43CA-9744-110AC2CE021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solidFill>
                  <a:srgbClr val="F8F5E7"/>
                </a:solidFill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4A1B691-92B0-4388-99E6-8D506FBCEC8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204190"/>
            <a:ext cx="7606286" cy="519253"/>
          </a:xfrm>
        </p:spPr>
        <p:txBody>
          <a:bodyPr/>
          <a:lstStyle>
            <a:lvl1pPr>
              <a:defRPr lang="en-US">
                <a:solidFill>
                  <a:srgbClr val="F8F5E7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555BFB0-089C-45A0-AA72-3B4BFCCDBC0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>
                <a:solidFill>
                  <a:srgbClr val="F8F5E7"/>
                </a:solidFill>
              </a:defRPr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7" name="Freeform: Shape 13">
            <a:extLst>
              <a:ext uri="{FF2B5EF4-FFF2-40B4-BE49-F238E27FC236}">
                <a16:creationId xmlns:a16="http://schemas.microsoft.com/office/drawing/2014/main" id="{E2A536E8-8760-47F9-A5FC-9B0EFF11F92E}"/>
              </a:ext>
            </a:extLst>
          </p:cNvPr>
          <p:cNvSpPr/>
          <p:nvPr/>
        </p:nvSpPr>
        <p:spPr>
          <a:xfrm rot="5400013">
            <a:off x="8690662" y="287231"/>
            <a:ext cx="262627" cy="14273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0168"/>
              <a:gd name="f7" fmla="val 154638"/>
              <a:gd name="f8" fmla="val 242136"/>
              <a:gd name="f9" fmla="val 141700"/>
              <a:gd name="f10" fmla="val 62944"/>
              <a:gd name="f11" fmla="val 154337"/>
              <a:gd name="f12" fmla="val 102688"/>
              <a:gd name="f13" fmla="val 141020"/>
              <a:gd name="f14" fmla="val 104707"/>
              <a:gd name="f15" fmla="val 179755"/>
              <a:gd name="f16" fmla="val 217481"/>
              <a:gd name="f17" fmla="val 187825"/>
              <a:gd name="f18" fmla="val 53263"/>
              <a:gd name="f19" fmla="val 151309"/>
              <a:gd name="f20" fmla="val 152117"/>
              <a:gd name="f21" fmla="val 128915"/>
              <a:gd name="f22" fmla="val 92601"/>
              <a:gd name="f23" fmla="val 52051"/>
              <a:gd name="f24" fmla="val 30867"/>
              <a:gd name="f25" fmla="+- 0 0 -90"/>
              <a:gd name="f26" fmla="*/ f3 1 350168"/>
              <a:gd name="f27" fmla="*/ f4 1 154638"/>
              <a:gd name="f28" fmla="+- f7 0 f5"/>
              <a:gd name="f29" fmla="+- f6 0 f5"/>
              <a:gd name="f30" fmla="*/ f25 f0 1"/>
              <a:gd name="f31" fmla="*/ f29 1 350168"/>
              <a:gd name="f32" fmla="*/ f28 1 154638"/>
              <a:gd name="f33" fmla="*/ 242136 f29 1"/>
              <a:gd name="f34" fmla="*/ 154638 f28 1"/>
              <a:gd name="f35" fmla="*/ 141700 f28 1"/>
              <a:gd name="f36" fmla="*/ 350168 f29 1"/>
              <a:gd name="f37" fmla="*/ 62944 f29 1"/>
              <a:gd name="f38" fmla="*/ 154337 f28 1"/>
              <a:gd name="f39" fmla="*/ 0 f28 1"/>
              <a:gd name="f40" fmla="*/ 102688 f29 1"/>
              <a:gd name="f41" fmla="*/ 141020 f29 1"/>
              <a:gd name="f42" fmla="*/ 104707 f28 1"/>
              <a:gd name="f43" fmla="*/ 179755 f29 1"/>
              <a:gd name="f44" fmla="*/ 217481 f29 1"/>
              <a:gd name="f45" fmla="*/ 187825 f29 1"/>
              <a:gd name="f46" fmla="*/ 53263 f28 1"/>
              <a:gd name="f47" fmla="*/ 151309 f29 1"/>
              <a:gd name="f48" fmla="*/ 152117 f28 1"/>
              <a:gd name="f49" fmla="*/ 128915 f29 1"/>
              <a:gd name="f50" fmla="*/ 92601 f29 1"/>
              <a:gd name="f51" fmla="*/ 52051 f28 1"/>
              <a:gd name="f52" fmla="*/ 0 f29 1"/>
              <a:gd name="f53" fmla="*/ 30867 f29 1"/>
              <a:gd name="f54" fmla="*/ f30 1 f2"/>
              <a:gd name="f55" fmla="*/ f33 1 350168"/>
              <a:gd name="f56" fmla="*/ f34 1 154638"/>
              <a:gd name="f57" fmla="*/ f35 1 154638"/>
              <a:gd name="f58" fmla="*/ f36 1 350168"/>
              <a:gd name="f59" fmla="*/ f37 1 350168"/>
              <a:gd name="f60" fmla="*/ f38 1 154638"/>
              <a:gd name="f61" fmla="*/ f39 1 154638"/>
              <a:gd name="f62" fmla="*/ f40 1 350168"/>
              <a:gd name="f63" fmla="*/ f41 1 350168"/>
              <a:gd name="f64" fmla="*/ f42 1 154638"/>
              <a:gd name="f65" fmla="*/ f43 1 350168"/>
              <a:gd name="f66" fmla="*/ f44 1 350168"/>
              <a:gd name="f67" fmla="*/ f45 1 350168"/>
              <a:gd name="f68" fmla="*/ f46 1 154638"/>
              <a:gd name="f69" fmla="*/ f47 1 350168"/>
              <a:gd name="f70" fmla="*/ f48 1 154638"/>
              <a:gd name="f71" fmla="*/ f49 1 350168"/>
              <a:gd name="f72" fmla="*/ f50 1 350168"/>
              <a:gd name="f73" fmla="*/ f51 1 154638"/>
              <a:gd name="f74" fmla="*/ f52 1 350168"/>
              <a:gd name="f75" fmla="*/ f53 1 350168"/>
              <a:gd name="f76" fmla="*/ f5 1 f31"/>
              <a:gd name="f77" fmla="*/ f6 1 f31"/>
              <a:gd name="f78" fmla="*/ f5 1 f32"/>
              <a:gd name="f79" fmla="*/ f7 1 f32"/>
              <a:gd name="f80" fmla="+- f54 0 f1"/>
              <a:gd name="f81" fmla="*/ f55 1 f31"/>
              <a:gd name="f82" fmla="*/ f56 1 f32"/>
              <a:gd name="f83" fmla="*/ f57 1 f32"/>
              <a:gd name="f84" fmla="*/ f58 1 f31"/>
              <a:gd name="f85" fmla="*/ f59 1 f31"/>
              <a:gd name="f86" fmla="*/ f60 1 f32"/>
              <a:gd name="f87" fmla="*/ f61 1 f32"/>
              <a:gd name="f88" fmla="*/ f62 1 f31"/>
              <a:gd name="f89" fmla="*/ f63 1 f31"/>
              <a:gd name="f90" fmla="*/ f64 1 f32"/>
              <a:gd name="f91" fmla="*/ f65 1 f31"/>
              <a:gd name="f92" fmla="*/ f66 1 f31"/>
              <a:gd name="f93" fmla="*/ f67 1 f31"/>
              <a:gd name="f94" fmla="*/ f68 1 f32"/>
              <a:gd name="f95" fmla="*/ f69 1 f31"/>
              <a:gd name="f96" fmla="*/ f70 1 f32"/>
              <a:gd name="f97" fmla="*/ f71 1 f31"/>
              <a:gd name="f98" fmla="*/ f72 1 f31"/>
              <a:gd name="f99" fmla="*/ f73 1 f32"/>
              <a:gd name="f100" fmla="*/ f74 1 f31"/>
              <a:gd name="f101" fmla="*/ f75 1 f31"/>
              <a:gd name="f102" fmla="*/ f76 f26 1"/>
              <a:gd name="f103" fmla="*/ f77 f26 1"/>
              <a:gd name="f104" fmla="*/ f79 f27 1"/>
              <a:gd name="f105" fmla="*/ f78 f27 1"/>
              <a:gd name="f106" fmla="*/ f81 f26 1"/>
              <a:gd name="f107" fmla="*/ f82 f27 1"/>
              <a:gd name="f108" fmla="*/ f83 f27 1"/>
              <a:gd name="f109" fmla="*/ f84 f26 1"/>
              <a:gd name="f110" fmla="*/ f85 f26 1"/>
              <a:gd name="f111" fmla="*/ f86 f27 1"/>
              <a:gd name="f112" fmla="*/ f87 f27 1"/>
              <a:gd name="f113" fmla="*/ f88 f26 1"/>
              <a:gd name="f114" fmla="*/ f89 f26 1"/>
              <a:gd name="f115" fmla="*/ f90 f27 1"/>
              <a:gd name="f116" fmla="*/ f91 f26 1"/>
              <a:gd name="f117" fmla="*/ f92 f26 1"/>
              <a:gd name="f118" fmla="*/ f93 f26 1"/>
              <a:gd name="f119" fmla="*/ f94 f27 1"/>
              <a:gd name="f120" fmla="*/ f95 f26 1"/>
              <a:gd name="f121" fmla="*/ f96 f27 1"/>
              <a:gd name="f122" fmla="*/ f97 f26 1"/>
              <a:gd name="f123" fmla="*/ f98 f26 1"/>
              <a:gd name="f124" fmla="*/ f99 f27 1"/>
              <a:gd name="f125" fmla="*/ f100 f26 1"/>
              <a:gd name="f126" fmla="*/ f101 f2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80">
                <a:pos x="f106" y="f107"/>
              </a:cxn>
              <a:cxn ang="f80">
                <a:pos x="f106" y="f108"/>
              </a:cxn>
              <a:cxn ang="f80">
                <a:pos x="f109" y="f108"/>
              </a:cxn>
              <a:cxn ang="f80">
                <a:pos x="f109" y="f107"/>
              </a:cxn>
              <a:cxn ang="f80">
                <a:pos x="f110" y="f111"/>
              </a:cxn>
              <a:cxn ang="f80">
                <a:pos x="f110" y="f112"/>
              </a:cxn>
              <a:cxn ang="f80">
                <a:pos x="f113" y="f112"/>
              </a:cxn>
              <a:cxn ang="f80">
                <a:pos x="f114" y="f115"/>
              </a:cxn>
              <a:cxn ang="f80">
                <a:pos x="f116" y="f112"/>
              </a:cxn>
              <a:cxn ang="f80">
                <a:pos x="f117" y="f112"/>
              </a:cxn>
              <a:cxn ang="f80">
                <a:pos x="f117" y="f111"/>
              </a:cxn>
              <a:cxn ang="f80">
                <a:pos x="f118" y="f111"/>
              </a:cxn>
              <a:cxn ang="f80">
                <a:pos x="f118" y="f119"/>
              </a:cxn>
              <a:cxn ang="f80">
                <a:pos x="f120" y="f121"/>
              </a:cxn>
              <a:cxn ang="f80">
                <a:pos x="f122" y="f121"/>
              </a:cxn>
              <a:cxn ang="f80">
                <a:pos x="f123" y="f124"/>
              </a:cxn>
              <a:cxn ang="f80">
                <a:pos x="f123" y="f111"/>
              </a:cxn>
              <a:cxn ang="f80">
                <a:pos x="f125" y="f111"/>
              </a:cxn>
              <a:cxn ang="f80">
                <a:pos x="f125" y="f112"/>
              </a:cxn>
              <a:cxn ang="f80">
                <a:pos x="f126" y="f112"/>
              </a:cxn>
              <a:cxn ang="f80">
                <a:pos x="f126" y="f111"/>
              </a:cxn>
            </a:cxnLst>
            <a:rect l="f102" t="f105" r="f103" b="f104"/>
            <a:pathLst>
              <a:path w="350168" h="154638">
                <a:moveTo>
                  <a:pt x="f8" y="f7"/>
                </a:moveTo>
                <a:lnTo>
                  <a:pt x="f8" y="f9"/>
                </a:lnTo>
                <a:lnTo>
                  <a:pt x="f6" y="f9"/>
                </a:lnTo>
                <a:lnTo>
                  <a:pt x="f6" y="f7"/>
                </a:lnTo>
                <a:close/>
                <a:moveTo>
                  <a:pt x="f10" y="f11"/>
                </a:moveTo>
                <a:lnTo>
                  <a:pt x="f10" y="f5"/>
                </a:lnTo>
                <a:lnTo>
                  <a:pt x="f12" y="f5"/>
                </a:lnTo>
                <a:lnTo>
                  <a:pt x="f13" y="f14"/>
                </a:lnTo>
                <a:lnTo>
                  <a:pt x="f15" y="f5"/>
                </a:lnTo>
                <a:lnTo>
                  <a:pt x="f16" y="f5"/>
                </a:lnTo>
                <a:lnTo>
                  <a:pt x="f16" y="f11"/>
                </a:lnTo>
                <a:lnTo>
                  <a:pt x="f17" y="f11"/>
                </a:lnTo>
                <a:lnTo>
                  <a:pt x="f17" y="f18"/>
                </a:lnTo>
                <a:lnTo>
                  <a:pt x="f19" y="f20"/>
                </a:lnTo>
                <a:lnTo>
                  <a:pt x="f21" y="f20"/>
                </a:lnTo>
                <a:lnTo>
                  <a:pt x="f22" y="f23"/>
                </a:lnTo>
                <a:lnTo>
                  <a:pt x="f22" y="f11"/>
                </a:lnTo>
                <a:close/>
                <a:moveTo>
                  <a:pt x="f5" y="f11"/>
                </a:moveTo>
                <a:lnTo>
                  <a:pt x="f5" y="f5"/>
                </a:lnTo>
                <a:lnTo>
                  <a:pt x="f24" y="f5"/>
                </a:lnTo>
                <a:lnTo>
                  <a:pt x="f24" y="f11"/>
                </a:lnTo>
                <a:close/>
              </a:path>
            </a:pathLst>
          </a:cu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8" name="Date_GeneralDate" hidden="1">
            <a:extLst>
              <a:ext uri="{FF2B5EF4-FFF2-40B4-BE49-F238E27FC236}">
                <a16:creationId xmlns:a16="http://schemas.microsoft.com/office/drawing/2014/main" id="{B470002F-B482-4BBF-91FF-4B2C4DB03253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DE2771EE-138F-4A09-A7D0-CE6CAAC7C566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942749A8-DC6D-46DB-80B3-F24076938F2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F8F5E7"/>
                </a:solidFill>
              </a:defRPr>
            </a:lvl1pPr>
          </a:lstStyle>
          <a:p>
            <a:pPr lvl="0"/>
            <a:fld id="{F0956483-B576-4FDF-9673-F4423AF39CCE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795565"/>
      </p:ext>
    </p:extLst>
  </p:cSld>
  <p:clrMapOvr>
    <a:masterClrMapping/>
  </p:clrMapOvr>
  <p:transition spd="med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3ACAF5CE-B5F8-4C38-8EE5-A3E88A34B7BF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250467" y="1221485"/>
            <a:ext cx="4191120" cy="3517104"/>
          </a:xfrm>
        </p:spPr>
        <p:txBody>
          <a:bodyPr rIns="0"/>
          <a:lstStyle>
            <a:lvl1pPr>
              <a:defRPr lang="en-GB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02AD0C14-761F-4310-845A-8FD61F9EA73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204190"/>
            <a:ext cx="7606286" cy="519253"/>
          </a:xfrm>
        </p:spPr>
        <p:txBody>
          <a:bodyPr/>
          <a:lstStyle>
            <a:lvl1pPr>
              <a:defRPr lang="en-US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F36EE8D6-8B1F-4E3C-AFEB-F13B7EDFDB9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BAED3D1-BA58-41FF-8998-9163C851B0F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DB896E26-10E9-4B42-B2A4-601BE663CFD1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4702300" y="1225058"/>
            <a:ext cx="4189650" cy="3517104"/>
          </a:xfrm>
        </p:spPr>
        <p:txBody>
          <a:bodyPr rIns="0"/>
          <a:lstStyle>
            <a:lvl1pPr>
              <a:defRPr lang="en-GB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_GeneralDate" hidden="1">
            <a:extLst>
              <a:ext uri="{FF2B5EF4-FFF2-40B4-BE49-F238E27FC236}">
                <a16:creationId xmlns:a16="http://schemas.microsoft.com/office/drawing/2014/main" id="{A31F2133-919B-4087-BD82-438B39DE5858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E8D10348-FBE9-40EF-901A-283542B42FD3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4F46F75-F7B9-400A-B9F9-FD08C4FC49B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300F93B-8299-4DCC-AE03-8C6405BD154F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689352"/>
      </p:ext>
    </p:extLst>
  </p:cSld>
  <p:clrMapOvr>
    <a:masterClrMapping/>
  </p:clrMapOvr>
  <p:transition spd="med"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0A814D1-05C4-4C83-87A6-95466CC6B6F5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251310" y="1222178"/>
            <a:ext cx="6419847" cy="3517104"/>
          </a:xfrm>
        </p:spPr>
        <p:txBody>
          <a:bodyPr r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99CA123-C54A-49E6-9F6C-546A9BF7B2D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204190"/>
            <a:ext cx="7606286" cy="519253"/>
          </a:xfrm>
        </p:spPr>
        <p:txBody>
          <a:bodyPr/>
          <a:lstStyle>
            <a:lvl1pPr>
              <a:defRPr lang="en-US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AE23AA60-5C61-4F45-8621-5E7D7471786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2CE2E7B-945B-4B96-A48E-85A0DE19E5A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8EC4DAB-B60B-4329-B3D0-5738517E3235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6919549" y="1220395"/>
            <a:ext cx="1973871" cy="3517104"/>
          </a:xfrm>
        </p:spPr>
        <p:txBody>
          <a:bodyPr r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_GeneralDate" hidden="1">
            <a:extLst>
              <a:ext uri="{FF2B5EF4-FFF2-40B4-BE49-F238E27FC236}">
                <a16:creationId xmlns:a16="http://schemas.microsoft.com/office/drawing/2014/main" id="{E0A4F8B0-FC89-4465-8443-21DCF5F1B31B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5906D5B4-2F83-4C57-A655-32C9984796F1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071D9D74-93E3-46A5-8285-C515A51FF56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C9248272-B1FE-47D5-B48C-A3C7FE4E19AE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1081135"/>
      </p:ext>
    </p:extLst>
  </p:cSld>
  <p:clrMapOvr>
    <a:masterClrMapping/>
  </p:clrMapOvr>
  <p:transition spd="med"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EA6615-E9B0-46C5-9BDA-0FCB31A5F77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204190"/>
            <a:ext cx="7606286" cy="519253"/>
          </a:xfrm>
        </p:spPr>
        <p:txBody>
          <a:bodyPr/>
          <a:lstStyle>
            <a:lvl1pPr>
              <a:defRPr lang="en-US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E4F37637-D917-414B-A317-8B50B7C27C1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D1864B-1483-4DC0-839A-493D4B17939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5" name="Date_GeneralDate" hidden="1">
            <a:extLst>
              <a:ext uri="{FF2B5EF4-FFF2-40B4-BE49-F238E27FC236}">
                <a16:creationId xmlns:a16="http://schemas.microsoft.com/office/drawing/2014/main" id="{31619189-D546-45B1-85E9-05E14EEF5B57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BE70D1AA-A772-4EB8-BEE5-ED56B93F9618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6FD1A9B1-AC4F-4B17-B199-9AA55583BB9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19B5C50F-6F99-49A1-9828-251924026252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4609694"/>
      </p:ext>
    </p:extLst>
  </p:cSld>
  <p:clrMapOvr>
    <a:masterClrMapping/>
  </p:clrMapOvr>
  <p:transition spd="med">
    <p:fade/>
  </p:transition>
  <p:hf sldNum="0"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A23F84B1-C549-44E8-A5E9-3CFE04157752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251311" y="1222178"/>
            <a:ext cx="4196859" cy="3517104"/>
          </a:xfrm>
        </p:spPr>
        <p:txBody>
          <a:bodyPr rIns="0"/>
          <a:lstStyle>
            <a:lvl1pPr>
              <a:defRPr lang="en-GB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3" name="Picture Placeholder 13">
            <a:extLst>
              <a:ext uri="{FF2B5EF4-FFF2-40B4-BE49-F238E27FC236}">
                <a16:creationId xmlns:a16="http://schemas.microsoft.com/office/drawing/2014/main" id="{C5B2F0C4-C6C5-433E-91A1-4ECC24BA6400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4696562" y="202408"/>
            <a:ext cx="3947742" cy="2676032"/>
          </a:xfrm>
          <a:solidFill>
            <a:srgbClr val="F3F2F0"/>
          </a:solidFill>
        </p:spPr>
        <p:txBody>
          <a:bodyPr rIns="0" anchor="ctr" anchorCtr="1"/>
          <a:lstStyle>
            <a:lvl1pPr algn="ctr">
              <a:buNone/>
              <a:defRPr lang="en-GB"/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5A9029F6-2FA4-48C8-9A44-9F90B99A3A6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204190"/>
            <a:ext cx="4196859" cy="519253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31B5CC8F-B062-4D28-9949-E16A76BF401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E64AB40-6068-43AF-8F50-F51322E0B8A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6C0FA8D-1401-437B-A672-3FAFF226C614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4696561" y="3083110"/>
            <a:ext cx="4196859" cy="1654389"/>
          </a:xfrm>
        </p:spPr>
        <p:txBody>
          <a:bodyPr rIns="0"/>
          <a:lstStyle>
            <a:lvl1pPr>
              <a:defRPr lang="en-GB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Date_GeneralDate" hidden="1">
            <a:extLst>
              <a:ext uri="{FF2B5EF4-FFF2-40B4-BE49-F238E27FC236}">
                <a16:creationId xmlns:a16="http://schemas.microsoft.com/office/drawing/2014/main" id="{5F932514-F208-4768-966B-5BECB3EADE59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4DFB364B-840A-4AEF-8C97-C25822E21A9B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D3D514AA-6073-4AAE-8837-B463944A862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1875CD0F-7725-4CA9-8A81-26B99A7AC553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1374628"/>
      </p:ext>
    </p:extLst>
  </p:cSld>
  <p:clrMapOvr>
    <a:masterClrMapping/>
  </p:clrMapOvr>
  <p:transition spd="med"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>
              <a:ext uri="{FF2B5EF4-FFF2-40B4-BE49-F238E27FC236}">
                <a16:creationId xmlns:a16="http://schemas.microsoft.com/office/drawing/2014/main" id="{07B45372-3332-4738-9B36-291CE84321AB}"/>
              </a:ext>
            </a:extLst>
          </p:cNvPr>
          <p:cNvSpPr/>
          <p:nvPr/>
        </p:nvSpPr>
        <p:spPr>
          <a:xfrm>
            <a:off x="5202179" y="1726165"/>
            <a:ext cx="3941826" cy="3417335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square" lIns="26999" tIns="26999" rIns="26999" bIns="26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3" name="Picture Placeholder 13">
            <a:extLst>
              <a:ext uri="{FF2B5EF4-FFF2-40B4-BE49-F238E27FC236}">
                <a16:creationId xmlns:a16="http://schemas.microsoft.com/office/drawing/2014/main" id="{FFEBDC09-A8CE-444B-ACFC-A93221C57547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4696561" y="1220387"/>
            <a:ext cx="4196859" cy="3517104"/>
          </a:xfrm>
          <a:solidFill>
            <a:srgbClr val="F3F2F0"/>
          </a:solidFill>
        </p:spPr>
        <p:txBody>
          <a:bodyPr rIns="0" anchor="ctr" anchorCtr="1"/>
          <a:lstStyle>
            <a:lvl1pPr algn="ctr">
              <a:buNone/>
              <a:defRPr lang="en-GB"/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7F4F883-02BC-41BD-A4A1-865CABE5A37A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251311" y="1222178"/>
            <a:ext cx="4196859" cy="3517104"/>
          </a:xfrm>
        </p:spPr>
        <p:txBody>
          <a:bodyPr r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CAC1EAA5-6EE5-4CE1-9694-A6CAB91F632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204190"/>
            <a:ext cx="7606286" cy="519253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151878F-F963-4B2F-80D5-65490F1E8F0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A17B687F-CA74-4D7C-8E16-5192E037254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8" name="Date_GeneralDate" hidden="1">
            <a:extLst>
              <a:ext uri="{FF2B5EF4-FFF2-40B4-BE49-F238E27FC236}">
                <a16:creationId xmlns:a16="http://schemas.microsoft.com/office/drawing/2014/main" id="{156BD5B8-6289-4D91-8157-CA63E952673B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86A2CCC2-80AD-4681-A943-AD3D7F7599EA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5E6F5DFC-CE21-4635-8C1A-CADF81CF1BE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9DA2684-CCF2-4F8D-92C2-6B5624F7C4A8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6728195"/>
      </p:ext>
    </p:extLst>
  </p:cSld>
  <p:clrMapOvr>
    <a:masterClrMapping/>
  </p:clrMapOvr>
  <p:transition spd="med"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Backgroun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B3AD3E6-10F6-43A3-975D-2A44BB1DA42B}"/>
              </a:ext>
            </a:extLst>
          </p:cNvPr>
          <p:cNvSpPr/>
          <p:nvPr/>
        </p:nvSpPr>
        <p:spPr>
          <a:xfrm>
            <a:off x="0" y="1220387"/>
            <a:ext cx="7854465" cy="3923112"/>
          </a:xfrm>
          <a:prstGeom prst="rect">
            <a:avLst/>
          </a:prstGeom>
          <a:solidFill>
            <a:srgbClr val="EEEBE8"/>
          </a:solidFill>
          <a:ln cap="flat">
            <a:noFill/>
            <a:prstDash val="solid"/>
          </a:ln>
        </p:spPr>
        <p:txBody>
          <a:bodyPr vert="horz" wrap="square" lIns="26999" tIns="26999" rIns="26999" bIns="26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CAF18B-4155-4F08-BB4E-D05E714930B3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251311" y="1408510"/>
            <a:ext cx="7347437" cy="3339605"/>
          </a:xfrm>
        </p:spPr>
        <p:txBody>
          <a:bodyPr r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ADB621FD-D48E-4E18-A3BD-5CADE246683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204190"/>
            <a:ext cx="7606286" cy="519253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81EF4D1D-9F28-4348-80C6-95FEB329674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F4E51296-2485-49C0-A5A2-F311CB1DFF2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7" name="Date_GeneralDate" hidden="1">
            <a:extLst>
              <a:ext uri="{FF2B5EF4-FFF2-40B4-BE49-F238E27FC236}">
                <a16:creationId xmlns:a16="http://schemas.microsoft.com/office/drawing/2014/main" id="{91F989B5-25A7-4624-BE6C-8E088D6C3031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DC1F479B-8EAA-49FB-9D65-26B4E8B18B8A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15025730-5199-43DD-9B0E-F23686B00008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1DE31F50-DB55-45D7-81F7-1004A731BCF8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7142556"/>
      </p:ext>
    </p:extLst>
  </p:cSld>
  <p:clrMapOvr>
    <a:masterClrMapping/>
  </p:clrMapOvr>
  <p:transition spd="med"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Backgroun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B10F152-F472-4A51-B8E2-2F75B97FD45B}"/>
              </a:ext>
            </a:extLst>
          </p:cNvPr>
          <p:cNvSpPr/>
          <p:nvPr/>
        </p:nvSpPr>
        <p:spPr>
          <a:xfrm>
            <a:off x="0" y="1220387"/>
            <a:ext cx="7854465" cy="3923112"/>
          </a:xfrm>
          <a:prstGeom prst="rect">
            <a:avLst/>
          </a:prstGeom>
          <a:solidFill>
            <a:srgbClr val="ECD7CA"/>
          </a:solidFill>
          <a:ln cap="flat">
            <a:noFill/>
            <a:prstDash val="solid"/>
          </a:ln>
        </p:spPr>
        <p:txBody>
          <a:bodyPr vert="horz" wrap="square" lIns="26999" tIns="26999" rIns="26999" bIns="26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E62D44-0A2E-4665-8AC4-3FDBE7A80449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251311" y="1408510"/>
            <a:ext cx="7347437" cy="3339605"/>
          </a:xfrm>
        </p:spPr>
        <p:txBody>
          <a:bodyPr r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47A2299-8A54-420D-BE14-E6F7D075F7F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204190"/>
            <a:ext cx="7606286" cy="519253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351C315-1876-498C-9DCB-981050DD7A9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A244D9D-DD43-4611-9030-FD60DDFA263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7" name="Date_GeneralDate" hidden="1">
            <a:extLst>
              <a:ext uri="{FF2B5EF4-FFF2-40B4-BE49-F238E27FC236}">
                <a16:creationId xmlns:a16="http://schemas.microsoft.com/office/drawing/2014/main" id="{C18E94B7-0CF6-46DF-A62A-9BCF4A866FF4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CED6A62C-F641-4F1B-B9AD-84C658D75F01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3DB08FE-1141-433C-A324-4E124BF3B5A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9D32B96-14D4-45CB-8CB2-7CD29A5BEC10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0213073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446715"/>
            <a:ext cx="9144000" cy="622649"/>
          </a:xfrm>
          <a:prstGeom prst="rect">
            <a:avLst/>
          </a:prstGeom>
        </p:spPr>
        <p:txBody>
          <a:bodyPr/>
          <a:lstStyle>
            <a:lvl1pPr>
              <a:defRPr sz="3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EC1568-49BF-594E-9B2C-38E80A379FCB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26-09-2021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6FB5BB-5704-FB48-BA77-7254DC263D9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34256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Backgroun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7BB52086-992F-422A-B6DF-732C4B69D7B9}"/>
              </a:ext>
            </a:extLst>
          </p:cNvPr>
          <p:cNvSpPr/>
          <p:nvPr/>
        </p:nvSpPr>
        <p:spPr>
          <a:xfrm>
            <a:off x="0" y="1220387"/>
            <a:ext cx="7854465" cy="3923112"/>
          </a:xfrm>
          <a:prstGeom prst="rect">
            <a:avLst/>
          </a:prstGeom>
          <a:solidFill>
            <a:srgbClr val="B9C7C2"/>
          </a:solidFill>
          <a:ln cap="flat">
            <a:noFill/>
            <a:prstDash val="solid"/>
          </a:ln>
        </p:spPr>
        <p:txBody>
          <a:bodyPr vert="horz" wrap="square" lIns="26999" tIns="26999" rIns="26999" bIns="26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FD7684-6AC7-457A-9205-420A0D714DF7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251311" y="1408510"/>
            <a:ext cx="7347437" cy="3339605"/>
          </a:xfrm>
        </p:spPr>
        <p:txBody>
          <a:bodyPr rIns="0"/>
          <a:lstStyle>
            <a:lvl1pPr>
              <a:defRPr lang="en-GB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4A72264-E0B6-4245-898F-9BC43AF0B0D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204190"/>
            <a:ext cx="7606286" cy="519253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91D50D76-245D-4B50-AF18-D6A2B380C0E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06A4342-0FF0-45E2-9F83-49C73DB6C87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7" name="Date_GeneralDate" hidden="1">
            <a:extLst>
              <a:ext uri="{FF2B5EF4-FFF2-40B4-BE49-F238E27FC236}">
                <a16:creationId xmlns:a16="http://schemas.microsoft.com/office/drawing/2014/main" id="{F4441286-9B3B-4246-8F84-250F42612FED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B0101FA9-343F-4499-B4C9-85EC0DC7031F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87A801AD-9ADF-4CF7-ABCC-F7278874484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4FBC0AFA-6289-4CC1-9390-81C1D2A3C5BB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5134374"/>
      </p:ext>
    </p:extLst>
  </p:cSld>
  <p:clrMapOvr>
    <a:masterClrMapping/>
  </p:clrMapOvr>
  <p:transition spd="med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Background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0347F05-522F-400A-ADA7-6ACC2D51663A}"/>
              </a:ext>
            </a:extLst>
          </p:cNvPr>
          <p:cNvSpPr/>
          <p:nvPr/>
        </p:nvSpPr>
        <p:spPr>
          <a:xfrm>
            <a:off x="1" y="1220387"/>
            <a:ext cx="7855402" cy="3923112"/>
          </a:xfrm>
          <a:prstGeom prst="rect">
            <a:avLst/>
          </a:prstGeom>
          <a:solidFill>
            <a:srgbClr val="FBF9F1"/>
          </a:solidFill>
          <a:ln cap="flat">
            <a:noFill/>
            <a:prstDash val="solid"/>
          </a:ln>
        </p:spPr>
        <p:txBody>
          <a:bodyPr vert="horz" wrap="square" lIns="26999" tIns="26999" rIns="26999" bIns="26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BECCEC-F7CB-48BB-B202-CE4D1138C8C3}"/>
              </a:ext>
            </a:extLst>
          </p:cNvPr>
          <p:cNvSpPr txBox="1">
            <a:spLocks noGrp="1"/>
          </p:cNvSpPr>
          <p:nvPr>
            <p:ph idx="4294967295"/>
          </p:nvPr>
        </p:nvSpPr>
        <p:spPr>
          <a:xfrm>
            <a:off x="251311" y="1408510"/>
            <a:ext cx="7347437" cy="3339605"/>
          </a:xfrm>
        </p:spPr>
        <p:txBody>
          <a:bodyPr rIns="0"/>
          <a:lstStyle>
            <a:lvl1pPr>
              <a:defRPr lang="en-GB"/>
            </a:lvl1pPr>
            <a:lvl2pPr>
              <a:defRPr lang="en-GB"/>
            </a:lvl2pPr>
            <a:lvl3pPr>
              <a:defRPr lang="en-GB"/>
            </a:lvl3pPr>
            <a:lvl4pPr>
              <a:defRPr lang="en-GB"/>
            </a:lvl4pPr>
            <a:lvl5pPr>
              <a:defRPr lang="en-GB"/>
            </a:lvl5pPr>
          </a:lstStyle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A5B9322-6022-452E-B4C8-E8EBD36627A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204190"/>
            <a:ext cx="7606286" cy="519253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DB66C480-4B91-426F-A69B-A3BD0BCD6A2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AD27B10-6A88-4DAB-9D28-730DEAC4439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7" name="Date_GeneralDate" hidden="1">
            <a:extLst>
              <a:ext uri="{FF2B5EF4-FFF2-40B4-BE49-F238E27FC236}">
                <a16:creationId xmlns:a16="http://schemas.microsoft.com/office/drawing/2014/main" id="{E0844DAE-53E7-4790-8337-21F764B7537A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B4C07C48-1601-4B38-8162-453CA4299609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D18AAF36-BCCC-47BC-8777-DD40CC8BA820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584995A-52AA-41E4-A6B7-345E75960C34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1198915"/>
      </p:ext>
    </p:extLst>
  </p:cSld>
  <p:clrMapOvr>
    <a:masterClrMapping/>
  </p:clrMapOvr>
  <p:transition spd="med"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clution box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4">
            <a:extLst>
              <a:ext uri="{FF2B5EF4-FFF2-40B4-BE49-F238E27FC236}">
                <a16:creationId xmlns:a16="http://schemas.microsoft.com/office/drawing/2014/main" id="{86279E43-6085-46D9-A47C-324B0123641F}"/>
              </a:ext>
            </a:extLst>
          </p:cNvPr>
          <p:cNvSpPr/>
          <p:nvPr/>
        </p:nvSpPr>
        <p:spPr>
          <a:xfrm>
            <a:off x="6598527" y="1220395"/>
            <a:ext cx="2545478" cy="3923098"/>
          </a:xfrm>
          <a:prstGeom prst="rect">
            <a:avLst/>
          </a:prstGeom>
          <a:solidFill>
            <a:srgbClr val="F3F2F0"/>
          </a:solidFill>
          <a:ln cap="flat">
            <a:noFill/>
            <a:prstDash val="solid"/>
          </a:ln>
        </p:spPr>
        <p:txBody>
          <a:bodyPr vert="horz" wrap="square" lIns="80999" tIns="80999" rIns="80999" bIns="80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826" b="0" i="0" u="none" strike="noStrike" kern="120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C2FAEAF-06CB-47F5-9E32-EB6781FC55A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204190"/>
            <a:ext cx="7606286" cy="519253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ladsholder til tekst 2">
            <a:extLst>
              <a:ext uri="{FF2B5EF4-FFF2-40B4-BE49-F238E27FC236}">
                <a16:creationId xmlns:a16="http://schemas.microsoft.com/office/drawing/2014/main" id="{03F9E1C4-3FA6-4018-A631-84E0798B023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738877" y="1333627"/>
            <a:ext cx="2153074" cy="340386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BEABC2F6-90C4-4D47-B743-3B96EA0D50E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CD149AA-B0AF-4D34-BC6E-BBE1EF4CC48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7" name="Date_GeneralDate" hidden="1">
            <a:extLst>
              <a:ext uri="{FF2B5EF4-FFF2-40B4-BE49-F238E27FC236}">
                <a16:creationId xmlns:a16="http://schemas.microsoft.com/office/drawing/2014/main" id="{81763D20-8E9E-4C0F-8F3A-B67CD2DBCCE7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249116" y="5233881"/>
            <a:ext cx="0" cy="0"/>
          </a:xfrm>
        </p:spPr>
        <p:txBody>
          <a:bodyPr anchorCtr="0"/>
          <a:lstStyle>
            <a:lvl1pPr algn="l">
              <a:defRPr cap="all" spc="122">
                <a:solidFill>
                  <a:srgbClr val="FFFFFF"/>
                </a:solidFill>
              </a:defRPr>
            </a:lvl1pPr>
          </a:lstStyle>
          <a:p>
            <a:pPr lvl="0"/>
            <a:fld id="{098525CE-1710-4975-82CD-FEC9C4B1DB43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16EAE9F2-97E1-49CF-9D59-71CCF18E366F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4323456-0771-4B3C-9158-D73D8CC96643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7314926"/>
      </p:ext>
    </p:extLst>
  </p:cSld>
  <p:clrMapOvr>
    <a:masterClrMapping/>
  </p:clrMapOvr>
  <p:transition spd="med"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clution box horis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2">
            <a:extLst>
              <a:ext uri="{FF2B5EF4-FFF2-40B4-BE49-F238E27FC236}">
                <a16:creationId xmlns:a16="http://schemas.microsoft.com/office/drawing/2014/main" id="{40F8DD36-43A9-425A-BCB6-21B7ED899931}"/>
              </a:ext>
            </a:extLst>
          </p:cNvPr>
          <p:cNvSpPr/>
          <p:nvPr/>
        </p:nvSpPr>
        <p:spPr>
          <a:xfrm>
            <a:off x="1" y="3797906"/>
            <a:ext cx="9145110" cy="1344600"/>
          </a:xfrm>
          <a:prstGeom prst="rect">
            <a:avLst/>
          </a:prstGeom>
          <a:solidFill>
            <a:srgbClr val="F3F2F0"/>
          </a:solidFill>
          <a:ln cap="flat">
            <a:noFill/>
            <a:prstDash val="solid"/>
          </a:ln>
        </p:spPr>
        <p:txBody>
          <a:bodyPr vert="horz" wrap="square" lIns="80999" tIns="80999" rIns="80999" bIns="80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826" b="0" i="0" u="none" strike="noStrike" kern="120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6AADD99-BCF6-423E-977C-BB105E66F85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204190"/>
            <a:ext cx="7606286" cy="519253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ladsholder til tekst 2">
            <a:extLst>
              <a:ext uri="{FF2B5EF4-FFF2-40B4-BE49-F238E27FC236}">
                <a16:creationId xmlns:a16="http://schemas.microsoft.com/office/drawing/2014/main" id="{D5BB89F9-88B6-4572-BB32-6FD1BD313CA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3911144"/>
            <a:ext cx="4196859" cy="82635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ladsholder til tekst 3">
            <a:extLst>
              <a:ext uri="{FF2B5EF4-FFF2-40B4-BE49-F238E27FC236}">
                <a16:creationId xmlns:a16="http://schemas.microsoft.com/office/drawing/2014/main" id="{6C348D40-9BBA-410E-B07E-399BF640299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696561" y="3911144"/>
            <a:ext cx="4196859" cy="82635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5092B377-9094-4D25-8F00-AE988725814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F5F806C-6579-4C9D-9FCF-7A9E6834A0D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8" name="Date_GeneralDate" hidden="1">
            <a:extLst>
              <a:ext uri="{FF2B5EF4-FFF2-40B4-BE49-F238E27FC236}">
                <a16:creationId xmlns:a16="http://schemas.microsoft.com/office/drawing/2014/main" id="{8DA33E72-DB44-44C9-A0E0-43A522FECB74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249116" y="5233881"/>
            <a:ext cx="0" cy="0"/>
          </a:xfrm>
        </p:spPr>
        <p:txBody>
          <a:bodyPr anchorCtr="0"/>
          <a:lstStyle>
            <a:lvl1pPr algn="l">
              <a:defRPr cap="all" spc="122">
                <a:solidFill>
                  <a:srgbClr val="FFFFFF"/>
                </a:solidFill>
              </a:defRPr>
            </a:lvl1pPr>
          </a:lstStyle>
          <a:p>
            <a:pPr lvl="0"/>
            <a:fld id="{A165148B-F70C-46D7-B2B6-4F58E8080298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1F49F47A-0924-473A-ACF4-7473D58A8900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80168DE-E7BF-443F-B835-DF49378A85F2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8604946"/>
      </p:ext>
    </p:extLst>
  </p:cSld>
  <p:clrMapOvr>
    <a:masterClrMapping/>
  </p:clrMapOvr>
  <p:transition spd="med"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mall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>
            <a:extLst>
              <a:ext uri="{FF2B5EF4-FFF2-40B4-BE49-F238E27FC236}">
                <a16:creationId xmlns:a16="http://schemas.microsoft.com/office/drawing/2014/main" id="{8310EBD0-6433-48B6-B3A3-6A3952479A9D}"/>
              </a:ext>
            </a:extLst>
          </p:cNvPr>
          <p:cNvSpPr/>
          <p:nvPr/>
        </p:nvSpPr>
        <p:spPr>
          <a:xfrm>
            <a:off x="503567" y="2485400"/>
            <a:ext cx="6441522" cy="2658099"/>
          </a:xfrm>
          <a:prstGeom prst="rect">
            <a:avLst/>
          </a:prstGeom>
          <a:solidFill>
            <a:srgbClr val="E0BCA6"/>
          </a:solidFill>
          <a:ln cap="flat">
            <a:noFill/>
            <a:prstDash val="solid"/>
          </a:ln>
        </p:spPr>
        <p:txBody>
          <a:bodyPr vert="horz" wrap="square" lIns="53999" tIns="53999" rIns="53999" bIns="53999" anchor="ctr" anchorCtr="1" compatLnSpc="1">
            <a:noAutofit/>
          </a:bodyPr>
          <a:lstStyle/>
          <a:p>
            <a:pPr marL="0" marR="0" lvl="0" indent="0" algn="ctr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826" b="0" i="0" u="none" strike="noStrike" kern="1200" cap="none" spc="0" baseline="0">
              <a:solidFill>
                <a:srgbClr val="000000"/>
              </a:solidFill>
              <a:uFillTx/>
              <a:latin typeface="Arial"/>
            </a:endParaRPr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1CFC0A22-5530-4363-B494-795B33C094B9}"/>
              </a:ext>
            </a:extLst>
          </p:cNvPr>
          <p:cNvSpPr/>
          <p:nvPr/>
        </p:nvSpPr>
        <p:spPr>
          <a:xfrm>
            <a:off x="1" y="1602461"/>
            <a:ext cx="6075571" cy="3541039"/>
          </a:xfrm>
          <a:prstGeom prst="rect">
            <a:avLst/>
          </a:prstGeom>
          <a:solidFill>
            <a:srgbClr val="30373B"/>
          </a:solidFill>
          <a:ln cap="flat">
            <a:noFill/>
            <a:prstDash val="solid"/>
          </a:ln>
        </p:spPr>
        <p:txBody>
          <a:bodyPr vert="horz" wrap="square" lIns="53999" tIns="53999" rIns="53999" bIns="53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89CAA9E-80EE-4231-89AC-75F84F00EF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49117" y="2485400"/>
            <a:ext cx="4196859" cy="2252099"/>
          </a:xfrm>
          <a:solidFill>
            <a:srgbClr val="30373B"/>
          </a:solidFill>
        </p:spPr>
        <p:txBody>
          <a:bodyPr/>
          <a:lstStyle>
            <a:lvl1pPr>
              <a:lnSpc>
                <a:spcPct val="83000"/>
              </a:lnSpc>
              <a:defRPr lang="en-GB" sz="3600" cap="all">
                <a:solidFill>
                  <a:srgbClr val="F8F5E7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Freeform: Shape 16">
            <a:extLst>
              <a:ext uri="{FF2B5EF4-FFF2-40B4-BE49-F238E27FC236}">
                <a16:creationId xmlns:a16="http://schemas.microsoft.com/office/drawing/2014/main" id="{9EE49F1F-A45C-42FC-9C57-599D369D9FE1}"/>
              </a:ext>
            </a:extLst>
          </p:cNvPr>
          <p:cNvSpPr/>
          <p:nvPr/>
        </p:nvSpPr>
        <p:spPr>
          <a:xfrm rot="5400013">
            <a:off x="8690662" y="287231"/>
            <a:ext cx="262627" cy="14273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0168"/>
              <a:gd name="f7" fmla="val 154638"/>
              <a:gd name="f8" fmla="val 242136"/>
              <a:gd name="f9" fmla="val 141700"/>
              <a:gd name="f10" fmla="val 62944"/>
              <a:gd name="f11" fmla="val 154337"/>
              <a:gd name="f12" fmla="val 102688"/>
              <a:gd name="f13" fmla="val 141020"/>
              <a:gd name="f14" fmla="val 104707"/>
              <a:gd name="f15" fmla="val 179755"/>
              <a:gd name="f16" fmla="val 217481"/>
              <a:gd name="f17" fmla="val 187825"/>
              <a:gd name="f18" fmla="val 53263"/>
              <a:gd name="f19" fmla="val 151309"/>
              <a:gd name="f20" fmla="val 152117"/>
              <a:gd name="f21" fmla="val 128915"/>
              <a:gd name="f22" fmla="val 92601"/>
              <a:gd name="f23" fmla="val 52051"/>
              <a:gd name="f24" fmla="val 30867"/>
              <a:gd name="f25" fmla="+- 0 0 -90"/>
              <a:gd name="f26" fmla="*/ f3 1 350168"/>
              <a:gd name="f27" fmla="*/ f4 1 154638"/>
              <a:gd name="f28" fmla="+- f7 0 f5"/>
              <a:gd name="f29" fmla="+- f6 0 f5"/>
              <a:gd name="f30" fmla="*/ f25 f0 1"/>
              <a:gd name="f31" fmla="*/ f29 1 350168"/>
              <a:gd name="f32" fmla="*/ f28 1 154638"/>
              <a:gd name="f33" fmla="*/ 242136 f29 1"/>
              <a:gd name="f34" fmla="*/ 154638 f28 1"/>
              <a:gd name="f35" fmla="*/ 141700 f28 1"/>
              <a:gd name="f36" fmla="*/ 350168 f29 1"/>
              <a:gd name="f37" fmla="*/ 62944 f29 1"/>
              <a:gd name="f38" fmla="*/ 154337 f28 1"/>
              <a:gd name="f39" fmla="*/ 0 f28 1"/>
              <a:gd name="f40" fmla="*/ 102688 f29 1"/>
              <a:gd name="f41" fmla="*/ 141020 f29 1"/>
              <a:gd name="f42" fmla="*/ 104707 f28 1"/>
              <a:gd name="f43" fmla="*/ 179755 f29 1"/>
              <a:gd name="f44" fmla="*/ 217481 f29 1"/>
              <a:gd name="f45" fmla="*/ 187825 f29 1"/>
              <a:gd name="f46" fmla="*/ 53263 f28 1"/>
              <a:gd name="f47" fmla="*/ 151309 f29 1"/>
              <a:gd name="f48" fmla="*/ 152117 f28 1"/>
              <a:gd name="f49" fmla="*/ 128915 f29 1"/>
              <a:gd name="f50" fmla="*/ 92601 f29 1"/>
              <a:gd name="f51" fmla="*/ 52051 f28 1"/>
              <a:gd name="f52" fmla="*/ 0 f29 1"/>
              <a:gd name="f53" fmla="*/ 30867 f29 1"/>
              <a:gd name="f54" fmla="*/ f30 1 f2"/>
              <a:gd name="f55" fmla="*/ f33 1 350168"/>
              <a:gd name="f56" fmla="*/ f34 1 154638"/>
              <a:gd name="f57" fmla="*/ f35 1 154638"/>
              <a:gd name="f58" fmla="*/ f36 1 350168"/>
              <a:gd name="f59" fmla="*/ f37 1 350168"/>
              <a:gd name="f60" fmla="*/ f38 1 154638"/>
              <a:gd name="f61" fmla="*/ f39 1 154638"/>
              <a:gd name="f62" fmla="*/ f40 1 350168"/>
              <a:gd name="f63" fmla="*/ f41 1 350168"/>
              <a:gd name="f64" fmla="*/ f42 1 154638"/>
              <a:gd name="f65" fmla="*/ f43 1 350168"/>
              <a:gd name="f66" fmla="*/ f44 1 350168"/>
              <a:gd name="f67" fmla="*/ f45 1 350168"/>
              <a:gd name="f68" fmla="*/ f46 1 154638"/>
              <a:gd name="f69" fmla="*/ f47 1 350168"/>
              <a:gd name="f70" fmla="*/ f48 1 154638"/>
              <a:gd name="f71" fmla="*/ f49 1 350168"/>
              <a:gd name="f72" fmla="*/ f50 1 350168"/>
              <a:gd name="f73" fmla="*/ f51 1 154638"/>
              <a:gd name="f74" fmla="*/ f52 1 350168"/>
              <a:gd name="f75" fmla="*/ f53 1 350168"/>
              <a:gd name="f76" fmla="*/ f5 1 f31"/>
              <a:gd name="f77" fmla="*/ f6 1 f31"/>
              <a:gd name="f78" fmla="*/ f5 1 f32"/>
              <a:gd name="f79" fmla="*/ f7 1 f32"/>
              <a:gd name="f80" fmla="+- f54 0 f1"/>
              <a:gd name="f81" fmla="*/ f55 1 f31"/>
              <a:gd name="f82" fmla="*/ f56 1 f32"/>
              <a:gd name="f83" fmla="*/ f57 1 f32"/>
              <a:gd name="f84" fmla="*/ f58 1 f31"/>
              <a:gd name="f85" fmla="*/ f59 1 f31"/>
              <a:gd name="f86" fmla="*/ f60 1 f32"/>
              <a:gd name="f87" fmla="*/ f61 1 f32"/>
              <a:gd name="f88" fmla="*/ f62 1 f31"/>
              <a:gd name="f89" fmla="*/ f63 1 f31"/>
              <a:gd name="f90" fmla="*/ f64 1 f32"/>
              <a:gd name="f91" fmla="*/ f65 1 f31"/>
              <a:gd name="f92" fmla="*/ f66 1 f31"/>
              <a:gd name="f93" fmla="*/ f67 1 f31"/>
              <a:gd name="f94" fmla="*/ f68 1 f32"/>
              <a:gd name="f95" fmla="*/ f69 1 f31"/>
              <a:gd name="f96" fmla="*/ f70 1 f32"/>
              <a:gd name="f97" fmla="*/ f71 1 f31"/>
              <a:gd name="f98" fmla="*/ f72 1 f31"/>
              <a:gd name="f99" fmla="*/ f73 1 f32"/>
              <a:gd name="f100" fmla="*/ f74 1 f31"/>
              <a:gd name="f101" fmla="*/ f75 1 f31"/>
              <a:gd name="f102" fmla="*/ f76 f26 1"/>
              <a:gd name="f103" fmla="*/ f77 f26 1"/>
              <a:gd name="f104" fmla="*/ f79 f27 1"/>
              <a:gd name="f105" fmla="*/ f78 f27 1"/>
              <a:gd name="f106" fmla="*/ f81 f26 1"/>
              <a:gd name="f107" fmla="*/ f82 f27 1"/>
              <a:gd name="f108" fmla="*/ f83 f27 1"/>
              <a:gd name="f109" fmla="*/ f84 f26 1"/>
              <a:gd name="f110" fmla="*/ f85 f26 1"/>
              <a:gd name="f111" fmla="*/ f86 f27 1"/>
              <a:gd name="f112" fmla="*/ f87 f27 1"/>
              <a:gd name="f113" fmla="*/ f88 f26 1"/>
              <a:gd name="f114" fmla="*/ f89 f26 1"/>
              <a:gd name="f115" fmla="*/ f90 f27 1"/>
              <a:gd name="f116" fmla="*/ f91 f26 1"/>
              <a:gd name="f117" fmla="*/ f92 f26 1"/>
              <a:gd name="f118" fmla="*/ f93 f26 1"/>
              <a:gd name="f119" fmla="*/ f94 f27 1"/>
              <a:gd name="f120" fmla="*/ f95 f26 1"/>
              <a:gd name="f121" fmla="*/ f96 f27 1"/>
              <a:gd name="f122" fmla="*/ f97 f26 1"/>
              <a:gd name="f123" fmla="*/ f98 f26 1"/>
              <a:gd name="f124" fmla="*/ f99 f27 1"/>
              <a:gd name="f125" fmla="*/ f100 f26 1"/>
              <a:gd name="f126" fmla="*/ f101 f2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80">
                <a:pos x="f106" y="f107"/>
              </a:cxn>
              <a:cxn ang="f80">
                <a:pos x="f106" y="f108"/>
              </a:cxn>
              <a:cxn ang="f80">
                <a:pos x="f109" y="f108"/>
              </a:cxn>
              <a:cxn ang="f80">
                <a:pos x="f109" y="f107"/>
              </a:cxn>
              <a:cxn ang="f80">
                <a:pos x="f110" y="f111"/>
              </a:cxn>
              <a:cxn ang="f80">
                <a:pos x="f110" y="f112"/>
              </a:cxn>
              <a:cxn ang="f80">
                <a:pos x="f113" y="f112"/>
              </a:cxn>
              <a:cxn ang="f80">
                <a:pos x="f114" y="f115"/>
              </a:cxn>
              <a:cxn ang="f80">
                <a:pos x="f116" y="f112"/>
              </a:cxn>
              <a:cxn ang="f80">
                <a:pos x="f117" y="f112"/>
              </a:cxn>
              <a:cxn ang="f80">
                <a:pos x="f117" y="f111"/>
              </a:cxn>
              <a:cxn ang="f80">
                <a:pos x="f118" y="f111"/>
              </a:cxn>
              <a:cxn ang="f80">
                <a:pos x="f118" y="f119"/>
              </a:cxn>
              <a:cxn ang="f80">
                <a:pos x="f120" y="f121"/>
              </a:cxn>
              <a:cxn ang="f80">
                <a:pos x="f122" y="f121"/>
              </a:cxn>
              <a:cxn ang="f80">
                <a:pos x="f123" y="f124"/>
              </a:cxn>
              <a:cxn ang="f80">
                <a:pos x="f123" y="f111"/>
              </a:cxn>
              <a:cxn ang="f80">
                <a:pos x="f125" y="f111"/>
              </a:cxn>
              <a:cxn ang="f80">
                <a:pos x="f125" y="f112"/>
              </a:cxn>
              <a:cxn ang="f80">
                <a:pos x="f126" y="f112"/>
              </a:cxn>
              <a:cxn ang="f80">
                <a:pos x="f126" y="f111"/>
              </a:cxn>
            </a:cxnLst>
            <a:rect l="f102" t="f105" r="f103" b="f104"/>
            <a:pathLst>
              <a:path w="350168" h="154638">
                <a:moveTo>
                  <a:pt x="f8" y="f7"/>
                </a:moveTo>
                <a:lnTo>
                  <a:pt x="f8" y="f9"/>
                </a:lnTo>
                <a:lnTo>
                  <a:pt x="f6" y="f9"/>
                </a:lnTo>
                <a:lnTo>
                  <a:pt x="f6" y="f7"/>
                </a:lnTo>
                <a:close/>
                <a:moveTo>
                  <a:pt x="f10" y="f11"/>
                </a:moveTo>
                <a:lnTo>
                  <a:pt x="f10" y="f5"/>
                </a:lnTo>
                <a:lnTo>
                  <a:pt x="f12" y="f5"/>
                </a:lnTo>
                <a:lnTo>
                  <a:pt x="f13" y="f14"/>
                </a:lnTo>
                <a:lnTo>
                  <a:pt x="f15" y="f5"/>
                </a:lnTo>
                <a:lnTo>
                  <a:pt x="f16" y="f5"/>
                </a:lnTo>
                <a:lnTo>
                  <a:pt x="f16" y="f11"/>
                </a:lnTo>
                <a:lnTo>
                  <a:pt x="f17" y="f11"/>
                </a:lnTo>
                <a:lnTo>
                  <a:pt x="f17" y="f18"/>
                </a:lnTo>
                <a:lnTo>
                  <a:pt x="f19" y="f20"/>
                </a:lnTo>
                <a:lnTo>
                  <a:pt x="f21" y="f20"/>
                </a:lnTo>
                <a:lnTo>
                  <a:pt x="f22" y="f23"/>
                </a:lnTo>
                <a:lnTo>
                  <a:pt x="f22" y="f11"/>
                </a:lnTo>
                <a:close/>
                <a:moveTo>
                  <a:pt x="f5" y="f11"/>
                </a:moveTo>
                <a:lnTo>
                  <a:pt x="f5" y="f5"/>
                </a:lnTo>
                <a:lnTo>
                  <a:pt x="f24" y="f5"/>
                </a:lnTo>
                <a:lnTo>
                  <a:pt x="f24" y="f11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6" name="Date_GeneralDate" hidden="1">
            <a:extLst>
              <a:ext uri="{FF2B5EF4-FFF2-40B4-BE49-F238E27FC236}">
                <a16:creationId xmlns:a16="http://schemas.microsoft.com/office/drawing/2014/main" id="{11E828C9-C0F1-430B-B1AD-D09D477118A1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3BB274EC-7338-49C3-AC27-CD29511DD59C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97204806-8C14-4D45-934E-89AE4873422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4B0AD41-882C-4EBC-8310-B169930A16C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A80FE12E-DCD5-4490-BBEC-E703AAD7C6D8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249235" y="1976400"/>
            <a:ext cx="4197045" cy="334800"/>
          </a:xfrm>
        </p:spPr>
        <p:txBody>
          <a:bodyPr rIns="0" anchor="b"/>
          <a:lstStyle>
            <a:lvl1pPr>
              <a:defRPr lang="en-GB" sz="2099">
                <a:solidFill>
                  <a:srgbClr val="F8F5E7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03E13F56-4A77-4B82-896A-8B439A17FBA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E02E865-4737-4907-ADDD-6FD71C2030C3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7731873"/>
      </p:ext>
    </p:extLst>
  </p:cSld>
  <p:clrMapOvr>
    <a:masterClrMapping/>
  </p:clrMapOvr>
  <p:transition spd="med"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>
            <a:extLst>
              <a:ext uri="{FF2B5EF4-FFF2-40B4-BE49-F238E27FC236}">
                <a16:creationId xmlns:a16="http://schemas.microsoft.com/office/drawing/2014/main" id="{BDE86231-A489-4152-A400-34042A77BF14}"/>
              </a:ext>
            </a:extLst>
          </p:cNvPr>
          <p:cNvSpPr/>
          <p:nvPr/>
        </p:nvSpPr>
        <p:spPr>
          <a:xfrm>
            <a:off x="503567" y="2485400"/>
            <a:ext cx="6441522" cy="2658099"/>
          </a:xfrm>
          <a:prstGeom prst="rect">
            <a:avLst/>
          </a:prstGeom>
          <a:solidFill>
            <a:srgbClr val="8AA299"/>
          </a:solidFill>
          <a:ln cap="flat">
            <a:noFill/>
            <a:prstDash val="solid"/>
          </a:ln>
        </p:spPr>
        <p:txBody>
          <a:bodyPr vert="horz" wrap="square" lIns="53999" tIns="53999" rIns="53999" bIns="53999" anchor="ctr" anchorCtr="1" compatLnSpc="1">
            <a:noAutofit/>
          </a:bodyPr>
          <a:lstStyle/>
          <a:p>
            <a:pPr marL="0" marR="0" lvl="0" indent="0" algn="ctr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826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3" name="Rectangle 18">
            <a:extLst>
              <a:ext uri="{FF2B5EF4-FFF2-40B4-BE49-F238E27FC236}">
                <a16:creationId xmlns:a16="http://schemas.microsoft.com/office/drawing/2014/main" id="{CAAE7490-1896-4970-8C21-55154EE44BDD}"/>
              </a:ext>
            </a:extLst>
          </p:cNvPr>
          <p:cNvSpPr/>
          <p:nvPr/>
        </p:nvSpPr>
        <p:spPr>
          <a:xfrm>
            <a:off x="1" y="1602461"/>
            <a:ext cx="6075571" cy="3541039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square" lIns="53999" tIns="53999" rIns="53999" bIns="53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9E5F8C1-1FF9-4158-9841-AE96701D4CE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49117" y="2485400"/>
            <a:ext cx="4196859" cy="2252099"/>
          </a:xfrm>
        </p:spPr>
        <p:txBody>
          <a:bodyPr/>
          <a:lstStyle>
            <a:lvl1pPr>
              <a:lnSpc>
                <a:spcPct val="83000"/>
              </a:lnSpc>
              <a:defRPr lang="en-GB" sz="3600" cap="all">
                <a:solidFill>
                  <a:srgbClr val="30373B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Freeform: Shape 15">
            <a:extLst>
              <a:ext uri="{FF2B5EF4-FFF2-40B4-BE49-F238E27FC236}">
                <a16:creationId xmlns:a16="http://schemas.microsoft.com/office/drawing/2014/main" id="{DDA71131-9388-4B55-A3AD-22C726012BE1}"/>
              </a:ext>
            </a:extLst>
          </p:cNvPr>
          <p:cNvSpPr/>
          <p:nvPr/>
        </p:nvSpPr>
        <p:spPr>
          <a:xfrm rot="5400013">
            <a:off x="8690662" y="287231"/>
            <a:ext cx="262627" cy="14273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0168"/>
              <a:gd name="f7" fmla="val 154638"/>
              <a:gd name="f8" fmla="val 242136"/>
              <a:gd name="f9" fmla="val 141700"/>
              <a:gd name="f10" fmla="val 62944"/>
              <a:gd name="f11" fmla="val 154337"/>
              <a:gd name="f12" fmla="val 102688"/>
              <a:gd name="f13" fmla="val 141020"/>
              <a:gd name="f14" fmla="val 104707"/>
              <a:gd name="f15" fmla="val 179755"/>
              <a:gd name="f16" fmla="val 217481"/>
              <a:gd name="f17" fmla="val 187825"/>
              <a:gd name="f18" fmla="val 53263"/>
              <a:gd name="f19" fmla="val 151309"/>
              <a:gd name="f20" fmla="val 152117"/>
              <a:gd name="f21" fmla="val 128915"/>
              <a:gd name="f22" fmla="val 92601"/>
              <a:gd name="f23" fmla="val 52051"/>
              <a:gd name="f24" fmla="val 30867"/>
              <a:gd name="f25" fmla="+- 0 0 -90"/>
              <a:gd name="f26" fmla="*/ f3 1 350168"/>
              <a:gd name="f27" fmla="*/ f4 1 154638"/>
              <a:gd name="f28" fmla="+- f7 0 f5"/>
              <a:gd name="f29" fmla="+- f6 0 f5"/>
              <a:gd name="f30" fmla="*/ f25 f0 1"/>
              <a:gd name="f31" fmla="*/ f29 1 350168"/>
              <a:gd name="f32" fmla="*/ f28 1 154638"/>
              <a:gd name="f33" fmla="*/ 242136 f29 1"/>
              <a:gd name="f34" fmla="*/ 154638 f28 1"/>
              <a:gd name="f35" fmla="*/ 141700 f28 1"/>
              <a:gd name="f36" fmla="*/ 350168 f29 1"/>
              <a:gd name="f37" fmla="*/ 62944 f29 1"/>
              <a:gd name="f38" fmla="*/ 154337 f28 1"/>
              <a:gd name="f39" fmla="*/ 0 f28 1"/>
              <a:gd name="f40" fmla="*/ 102688 f29 1"/>
              <a:gd name="f41" fmla="*/ 141020 f29 1"/>
              <a:gd name="f42" fmla="*/ 104707 f28 1"/>
              <a:gd name="f43" fmla="*/ 179755 f29 1"/>
              <a:gd name="f44" fmla="*/ 217481 f29 1"/>
              <a:gd name="f45" fmla="*/ 187825 f29 1"/>
              <a:gd name="f46" fmla="*/ 53263 f28 1"/>
              <a:gd name="f47" fmla="*/ 151309 f29 1"/>
              <a:gd name="f48" fmla="*/ 152117 f28 1"/>
              <a:gd name="f49" fmla="*/ 128915 f29 1"/>
              <a:gd name="f50" fmla="*/ 92601 f29 1"/>
              <a:gd name="f51" fmla="*/ 52051 f28 1"/>
              <a:gd name="f52" fmla="*/ 0 f29 1"/>
              <a:gd name="f53" fmla="*/ 30867 f29 1"/>
              <a:gd name="f54" fmla="*/ f30 1 f2"/>
              <a:gd name="f55" fmla="*/ f33 1 350168"/>
              <a:gd name="f56" fmla="*/ f34 1 154638"/>
              <a:gd name="f57" fmla="*/ f35 1 154638"/>
              <a:gd name="f58" fmla="*/ f36 1 350168"/>
              <a:gd name="f59" fmla="*/ f37 1 350168"/>
              <a:gd name="f60" fmla="*/ f38 1 154638"/>
              <a:gd name="f61" fmla="*/ f39 1 154638"/>
              <a:gd name="f62" fmla="*/ f40 1 350168"/>
              <a:gd name="f63" fmla="*/ f41 1 350168"/>
              <a:gd name="f64" fmla="*/ f42 1 154638"/>
              <a:gd name="f65" fmla="*/ f43 1 350168"/>
              <a:gd name="f66" fmla="*/ f44 1 350168"/>
              <a:gd name="f67" fmla="*/ f45 1 350168"/>
              <a:gd name="f68" fmla="*/ f46 1 154638"/>
              <a:gd name="f69" fmla="*/ f47 1 350168"/>
              <a:gd name="f70" fmla="*/ f48 1 154638"/>
              <a:gd name="f71" fmla="*/ f49 1 350168"/>
              <a:gd name="f72" fmla="*/ f50 1 350168"/>
              <a:gd name="f73" fmla="*/ f51 1 154638"/>
              <a:gd name="f74" fmla="*/ f52 1 350168"/>
              <a:gd name="f75" fmla="*/ f53 1 350168"/>
              <a:gd name="f76" fmla="*/ f5 1 f31"/>
              <a:gd name="f77" fmla="*/ f6 1 f31"/>
              <a:gd name="f78" fmla="*/ f5 1 f32"/>
              <a:gd name="f79" fmla="*/ f7 1 f32"/>
              <a:gd name="f80" fmla="+- f54 0 f1"/>
              <a:gd name="f81" fmla="*/ f55 1 f31"/>
              <a:gd name="f82" fmla="*/ f56 1 f32"/>
              <a:gd name="f83" fmla="*/ f57 1 f32"/>
              <a:gd name="f84" fmla="*/ f58 1 f31"/>
              <a:gd name="f85" fmla="*/ f59 1 f31"/>
              <a:gd name="f86" fmla="*/ f60 1 f32"/>
              <a:gd name="f87" fmla="*/ f61 1 f32"/>
              <a:gd name="f88" fmla="*/ f62 1 f31"/>
              <a:gd name="f89" fmla="*/ f63 1 f31"/>
              <a:gd name="f90" fmla="*/ f64 1 f32"/>
              <a:gd name="f91" fmla="*/ f65 1 f31"/>
              <a:gd name="f92" fmla="*/ f66 1 f31"/>
              <a:gd name="f93" fmla="*/ f67 1 f31"/>
              <a:gd name="f94" fmla="*/ f68 1 f32"/>
              <a:gd name="f95" fmla="*/ f69 1 f31"/>
              <a:gd name="f96" fmla="*/ f70 1 f32"/>
              <a:gd name="f97" fmla="*/ f71 1 f31"/>
              <a:gd name="f98" fmla="*/ f72 1 f31"/>
              <a:gd name="f99" fmla="*/ f73 1 f32"/>
              <a:gd name="f100" fmla="*/ f74 1 f31"/>
              <a:gd name="f101" fmla="*/ f75 1 f31"/>
              <a:gd name="f102" fmla="*/ f76 f26 1"/>
              <a:gd name="f103" fmla="*/ f77 f26 1"/>
              <a:gd name="f104" fmla="*/ f79 f27 1"/>
              <a:gd name="f105" fmla="*/ f78 f27 1"/>
              <a:gd name="f106" fmla="*/ f81 f26 1"/>
              <a:gd name="f107" fmla="*/ f82 f27 1"/>
              <a:gd name="f108" fmla="*/ f83 f27 1"/>
              <a:gd name="f109" fmla="*/ f84 f26 1"/>
              <a:gd name="f110" fmla="*/ f85 f26 1"/>
              <a:gd name="f111" fmla="*/ f86 f27 1"/>
              <a:gd name="f112" fmla="*/ f87 f27 1"/>
              <a:gd name="f113" fmla="*/ f88 f26 1"/>
              <a:gd name="f114" fmla="*/ f89 f26 1"/>
              <a:gd name="f115" fmla="*/ f90 f27 1"/>
              <a:gd name="f116" fmla="*/ f91 f26 1"/>
              <a:gd name="f117" fmla="*/ f92 f26 1"/>
              <a:gd name="f118" fmla="*/ f93 f26 1"/>
              <a:gd name="f119" fmla="*/ f94 f27 1"/>
              <a:gd name="f120" fmla="*/ f95 f26 1"/>
              <a:gd name="f121" fmla="*/ f96 f27 1"/>
              <a:gd name="f122" fmla="*/ f97 f26 1"/>
              <a:gd name="f123" fmla="*/ f98 f26 1"/>
              <a:gd name="f124" fmla="*/ f99 f27 1"/>
              <a:gd name="f125" fmla="*/ f100 f26 1"/>
              <a:gd name="f126" fmla="*/ f101 f2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80">
                <a:pos x="f106" y="f107"/>
              </a:cxn>
              <a:cxn ang="f80">
                <a:pos x="f106" y="f108"/>
              </a:cxn>
              <a:cxn ang="f80">
                <a:pos x="f109" y="f108"/>
              </a:cxn>
              <a:cxn ang="f80">
                <a:pos x="f109" y="f107"/>
              </a:cxn>
              <a:cxn ang="f80">
                <a:pos x="f110" y="f111"/>
              </a:cxn>
              <a:cxn ang="f80">
                <a:pos x="f110" y="f112"/>
              </a:cxn>
              <a:cxn ang="f80">
                <a:pos x="f113" y="f112"/>
              </a:cxn>
              <a:cxn ang="f80">
                <a:pos x="f114" y="f115"/>
              </a:cxn>
              <a:cxn ang="f80">
                <a:pos x="f116" y="f112"/>
              </a:cxn>
              <a:cxn ang="f80">
                <a:pos x="f117" y="f112"/>
              </a:cxn>
              <a:cxn ang="f80">
                <a:pos x="f117" y="f111"/>
              </a:cxn>
              <a:cxn ang="f80">
                <a:pos x="f118" y="f111"/>
              </a:cxn>
              <a:cxn ang="f80">
                <a:pos x="f118" y="f119"/>
              </a:cxn>
              <a:cxn ang="f80">
                <a:pos x="f120" y="f121"/>
              </a:cxn>
              <a:cxn ang="f80">
                <a:pos x="f122" y="f121"/>
              </a:cxn>
              <a:cxn ang="f80">
                <a:pos x="f123" y="f124"/>
              </a:cxn>
              <a:cxn ang="f80">
                <a:pos x="f123" y="f111"/>
              </a:cxn>
              <a:cxn ang="f80">
                <a:pos x="f125" y="f111"/>
              </a:cxn>
              <a:cxn ang="f80">
                <a:pos x="f125" y="f112"/>
              </a:cxn>
              <a:cxn ang="f80">
                <a:pos x="f126" y="f112"/>
              </a:cxn>
              <a:cxn ang="f80">
                <a:pos x="f126" y="f111"/>
              </a:cxn>
            </a:cxnLst>
            <a:rect l="f102" t="f105" r="f103" b="f104"/>
            <a:pathLst>
              <a:path w="350168" h="154638">
                <a:moveTo>
                  <a:pt x="f8" y="f7"/>
                </a:moveTo>
                <a:lnTo>
                  <a:pt x="f8" y="f9"/>
                </a:lnTo>
                <a:lnTo>
                  <a:pt x="f6" y="f9"/>
                </a:lnTo>
                <a:lnTo>
                  <a:pt x="f6" y="f7"/>
                </a:lnTo>
                <a:close/>
                <a:moveTo>
                  <a:pt x="f10" y="f11"/>
                </a:moveTo>
                <a:lnTo>
                  <a:pt x="f10" y="f5"/>
                </a:lnTo>
                <a:lnTo>
                  <a:pt x="f12" y="f5"/>
                </a:lnTo>
                <a:lnTo>
                  <a:pt x="f13" y="f14"/>
                </a:lnTo>
                <a:lnTo>
                  <a:pt x="f15" y="f5"/>
                </a:lnTo>
                <a:lnTo>
                  <a:pt x="f16" y="f5"/>
                </a:lnTo>
                <a:lnTo>
                  <a:pt x="f16" y="f11"/>
                </a:lnTo>
                <a:lnTo>
                  <a:pt x="f17" y="f11"/>
                </a:lnTo>
                <a:lnTo>
                  <a:pt x="f17" y="f18"/>
                </a:lnTo>
                <a:lnTo>
                  <a:pt x="f19" y="f20"/>
                </a:lnTo>
                <a:lnTo>
                  <a:pt x="f21" y="f20"/>
                </a:lnTo>
                <a:lnTo>
                  <a:pt x="f22" y="f23"/>
                </a:lnTo>
                <a:lnTo>
                  <a:pt x="f22" y="f11"/>
                </a:lnTo>
                <a:close/>
                <a:moveTo>
                  <a:pt x="f5" y="f11"/>
                </a:moveTo>
                <a:lnTo>
                  <a:pt x="f5" y="f5"/>
                </a:lnTo>
                <a:lnTo>
                  <a:pt x="f24" y="f5"/>
                </a:lnTo>
                <a:lnTo>
                  <a:pt x="f24" y="f11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30373B"/>
              </a:solidFill>
              <a:uFillTx/>
              <a:latin typeface="Arial"/>
            </a:endParaRPr>
          </a:p>
        </p:txBody>
      </p:sp>
      <p:sp>
        <p:nvSpPr>
          <p:cNvPr id="6" name="Date_GeneralDate" hidden="1">
            <a:extLst>
              <a:ext uri="{FF2B5EF4-FFF2-40B4-BE49-F238E27FC236}">
                <a16:creationId xmlns:a16="http://schemas.microsoft.com/office/drawing/2014/main" id="{299FC041-ADE5-4B6E-A062-6F9496E37304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01FAE4C0-AA35-462F-856F-06118309F806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BD27B3EC-59EA-46AF-8E23-5D016991C6F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BD49E88-52E8-452B-B3D0-D0AA755A973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6963B81-1B93-45E5-BC11-DB4E8E46420C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249235" y="1976400"/>
            <a:ext cx="4197045" cy="334800"/>
          </a:xfrm>
        </p:spPr>
        <p:txBody>
          <a:bodyPr rIns="0" anchor="b"/>
          <a:lstStyle>
            <a:lvl1pPr>
              <a:defRPr lang="en-GB" sz="2099">
                <a:solidFill>
                  <a:srgbClr val="30373B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9A4C2D81-1737-4B25-9DC3-64C14F397B5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AFE8BD28-7F2C-4F0B-9331-ABA0C1B1E61A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3543959"/>
      </p:ext>
    </p:extLst>
  </p:cSld>
  <p:clrMapOvr>
    <a:masterClrMapping/>
  </p:clrMapOvr>
  <p:transition spd="med"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>
            <a:extLst>
              <a:ext uri="{FF2B5EF4-FFF2-40B4-BE49-F238E27FC236}">
                <a16:creationId xmlns:a16="http://schemas.microsoft.com/office/drawing/2014/main" id="{E59EBC73-1978-498C-9D2F-84DF77744DC7}"/>
              </a:ext>
            </a:extLst>
          </p:cNvPr>
          <p:cNvSpPr/>
          <p:nvPr/>
        </p:nvSpPr>
        <p:spPr>
          <a:xfrm>
            <a:off x="0" y="0"/>
            <a:ext cx="6590390" cy="4123880"/>
          </a:xfrm>
          <a:prstGeom prst="rect">
            <a:avLst/>
          </a:prstGeom>
          <a:solidFill>
            <a:srgbClr val="30373B"/>
          </a:solidFill>
          <a:ln cap="flat">
            <a:noFill/>
            <a:prstDash val="solid"/>
          </a:ln>
        </p:spPr>
        <p:txBody>
          <a:bodyPr vert="horz" wrap="square" lIns="53999" tIns="53999" rIns="53999" bIns="53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5D0685C5-F918-497C-8E39-CD9208D2A58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1169104"/>
            <a:ext cx="4447445" cy="2956566"/>
          </a:xfrm>
        </p:spPr>
        <p:txBody>
          <a:bodyPr/>
          <a:lstStyle>
            <a:lvl1pPr>
              <a:defRPr lang="en-GB" sz="5400" cap="all">
                <a:solidFill>
                  <a:srgbClr val="F8F5E7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cture Placeholder 19">
            <a:extLst>
              <a:ext uri="{FF2B5EF4-FFF2-40B4-BE49-F238E27FC236}">
                <a16:creationId xmlns:a16="http://schemas.microsoft.com/office/drawing/2014/main" id="{168C6E09-5BBF-407A-A197-19C3BDCEE829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4696561" y="2485400"/>
            <a:ext cx="4447445" cy="2658099"/>
          </a:xfrm>
          <a:solidFill>
            <a:srgbClr val="F3F2F0"/>
          </a:solidFill>
        </p:spPr>
        <p:txBody>
          <a:bodyPr rIns="791998" anchor="ctr"/>
          <a:lstStyle>
            <a:lvl1pPr algn="r">
              <a:buNone/>
              <a:defRPr lang="en-GB">
                <a:solidFill>
                  <a:srgbClr val="000000"/>
                </a:solidFill>
              </a:defRPr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5" name="Date_GeneralDate" hidden="1">
            <a:extLst>
              <a:ext uri="{FF2B5EF4-FFF2-40B4-BE49-F238E27FC236}">
                <a16:creationId xmlns:a16="http://schemas.microsoft.com/office/drawing/2014/main" id="{47C464CF-6B26-4F7E-9DEE-49A3EEFA2D83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1A30FEAE-A4C9-4340-97CD-2786220CF2DE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76DBDAC4-422F-4DC6-8B5E-7BC0552A510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A087A0C-1385-412E-BAB4-12E72D60B09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1044DABE-3A41-41D0-87F9-6E44986E45DB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251429" y="739799"/>
            <a:ext cx="4197045" cy="334800"/>
          </a:xfrm>
        </p:spPr>
        <p:txBody>
          <a:bodyPr rIns="0" anchor="b"/>
          <a:lstStyle>
            <a:lvl1pPr>
              <a:defRPr lang="en-GB" sz="2099">
                <a:solidFill>
                  <a:srgbClr val="F8F5E7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DECDE487-9DC1-43EF-B702-AC73494469DE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D63CE18A-26DC-4C0D-A0FE-6FA935368151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7268673"/>
      </p:ext>
    </p:extLst>
  </p:cSld>
  <p:clrMapOvr>
    <a:masterClrMapping/>
  </p:clrMapOvr>
  <p:transition spd="med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>
            <a:extLst>
              <a:ext uri="{FF2B5EF4-FFF2-40B4-BE49-F238E27FC236}">
                <a16:creationId xmlns:a16="http://schemas.microsoft.com/office/drawing/2014/main" id="{00E06CDE-DBB6-4AB9-831E-36D7600064C6}"/>
              </a:ext>
            </a:extLst>
          </p:cNvPr>
          <p:cNvSpPr/>
          <p:nvPr/>
        </p:nvSpPr>
        <p:spPr>
          <a:xfrm>
            <a:off x="0" y="0"/>
            <a:ext cx="6590390" cy="4123880"/>
          </a:xfrm>
          <a:prstGeom prst="rect">
            <a:avLst/>
          </a:prstGeom>
          <a:solidFill>
            <a:srgbClr val="F8F5E7"/>
          </a:solidFill>
          <a:ln cap="flat">
            <a:noFill/>
            <a:prstDash val="solid"/>
          </a:ln>
        </p:spPr>
        <p:txBody>
          <a:bodyPr vert="horz" wrap="square" lIns="53999" tIns="53999" rIns="53999" bIns="53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78BAC1FC-E01B-411C-9542-197C58ED601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1167320"/>
            <a:ext cx="4447445" cy="2956566"/>
          </a:xfrm>
        </p:spPr>
        <p:txBody>
          <a:bodyPr/>
          <a:lstStyle>
            <a:lvl1pPr>
              <a:defRPr lang="en-GB" sz="5400" cap="all">
                <a:solidFill>
                  <a:srgbClr val="30373B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Picture Placeholder 15">
            <a:extLst>
              <a:ext uri="{FF2B5EF4-FFF2-40B4-BE49-F238E27FC236}">
                <a16:creationId xmlns:a16="http://schemas.microsoft.com/office/drawing/2014/main" id="{FE2A3ABA-1A34-437D-AE2D-7745A4B3C041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4696561" y="2485400"/>
            <a:ext cx="4447445" cy="2658099"/>
          </a:xfrm>
          <a:solidFill>
            <a:srgbClr val="F3F2F0"/>
          </a:solidFill>
        </p:spPr>
        <p:txBody>
          <a:bodyPr rIns="791998" anchor="ctr"/>
          <a:lstStyle>
            <a:lvl1pPr algn="r">
              <a:buNone/>
              <a:defRPr lang="en-GB">
                <a:solidFill>
                  <a:srgbClr val="000000"/>
                </a:solidFill>
              </a:defRPr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5" name="Date_GeneralDate" hidden="1">
            <a:extLst>
              <a:ext uri="{FF2B5EF4-FFF2-40B4-BE49-F238E27FC236}">
                <a16:creationId xmlns:a16="http://schemas.microsoft.com/office/drawing/2014/main" id="{BEB30EB3-661A-4DB5-B8EA-C755BB133BBA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D6766CFE-0C5F-4031-8FBD-B44512394A1B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AAEBE7D7-B5F0-45AA-B744-5CC6DFD424B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74DB07D-C07D-4113-A5C2-0A9F28A1757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CAA06DA6-B94C-4A79-89B1-7C70BBC13C33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251429" y="739799"/>
            <a:ext cx="4197045" cy="334800"/>
          </a:xfrm>
        </p:spPr>
        <p:txBody>
          <a:bodyPr rIns="0" anchor="b"/>
          <a:lstStyle>
            <a:lvl1pPr>
              <a:defRPr lang="en-GB" sz="2099">
                <a:solidFill>
                  <a:srgbClr val="30373B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00BDD8D-0118-4294-B6CE-7853329EAA1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8ACF6D9-9DBA-4A31-B630-4BA0BA39BAEA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76186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>
            <a:extLst>
              <a:ext uri="{FF2B5EF4-FFF2-40B4-BE49-F238E27FC236}">
                <a16:creationId xmlns:a16="http://schemas.microsoft.com/office/drawing/2014/main" id="{3BEA578D-DD1D-4C4E-8486-90BE7C02C8EB}"/>
              </a:ext>
            </a:extLst>
          </p:cNvPr>
          <p:cNvSpPr/>
          <p:nvPr/>
        </p:nvSpPr>
        <p:spPr>
          <a:xfrm>
            <a:off x="0" y="0"/>
            <a:ext cx="9143996" cy="5143500"/>
          </a:xfrm>
          <a:prstGeom prst="rect">
            <a:avLst/>
          </a:prstGeom>
          <a:solidFill>
            <a:srgbClr val="30373B"/>
          </a:solidFill>
          <a:ln cap="flat">
            <a:noFill/>
            <a:prstDash val="solid"/>
          </a:ln>
        </p:spPr>
        <p:txBody>
          <a:bodyPr vert="horz" wrap="square" lIns="43877" tIns="43877" rIns="43877" bIns="43877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10" b="0" i="0" u="none" strike="noStrike" kern="120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CDE68D9-A847-48A5-AC00-E972AFC3122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13397" y="1671638"/>
            <a:ext cx="7117203" cy="2117921"/>
          </a:xfrm>
        </p:spPr>
        <p:txBody>
          <a:bodyPr/>
          <a:lstStyle>
            <a:lvl1pPr>
              <a:lnSpc>
                <a:spcPct val="80000"/>
              </a:lnSpc>
              <a:defRPr lang="en-GB" sz="4388" cap="all">
                <a:solidFill>
                  <a:srgbClr val="F8F5E7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Freeform: Shape 13">
            <a:extLst>
              <a:ext uri="{FF2B5EF4-FFF2-40B4-BE49-F238E27FC236}">
                <a16:creationId xmlns:a16="http://schemas.microsoft.com/office/drawing/2014/main" id="{0D180FBC-3894-4C62-88E8-5A9E7971CF67}"/>
              </a:ext>
            </a:extLst>
          </p:cNvPr>
          <p:cNvSpPr/>
          <p:nvPr/>
        </p:nvSpPr>
        <p:spPr>
          <a:xfrm rot="5400013">
            <a:off x="8690662" y="287231"/>
            <a:ext cx="262627" cy="14273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0168"/>
              <a:gd name="f7" fmla="val 154638"/>
              <a:gd name="f8" fmla="val 242136"/>
              <a:gd name="f9" fmla="val 141700"/>
              <a:gd name="f10" fmla="val 62944"/>
              <a:gd name="f11" fmla="val 154337"/>
              <a:gd name="f12" fmla="val 102688"/>
              <a:gd name="f13" fmla="val 141020"/>
              <a:gd name="f14" fmla="val 104707"/>
              <a:gd name="f15" fmla="val 179755"/>
              <a:gd name="f16" fmla="val 217481"/>
              <a:gd name="f17" fmla="val 187825"/>
              <a:gd name="f18" fmla="val 53263"/>
              <a:gd name="f19" fmla="val 151309"/>
              <a:gd name="f20" fmla="val 152117"/>
              <a:gd name="f21" fmla="val 128915"/>
              <a:gd name="f22" fmla="val 92601"/>
              <a:gd name="f23" fmla="val 52051"/>
              <a:gd name="f24" fmla="val 30867"/>
              <a:gd name="f25" fmla="+- 0 0 -90"/>
              <a:gd name="f26" fmla="*/ f3 1 350168"/>
              <a:gd name="f27" fmla="*/ f4 1 154638"/>
              <a:gd name="f28" fmla="+- f7 0 f5"/>
              <a:gd name="f29" fmla="+- f6 0 f5"/>
              <a:gd name="f30" fmla="*/ f25 f0 1"/>
              <a:gd name="f31" fmla="*/ f29 1 350168"/>
              <a:gd name="f32" fmla="*/ f28 1 154638"/>
              <a:gd name="f33" fmla="*/ 242136 f29 1"/>
              <a:gd name="f34" fmla="*/ 154638 f28 1"/>
              <a:gd name="f35" fmla="*/ 141700 f28 1"/>
              <a:gd name="f36" fmla="*/ 350168 f29 1"/>
              <a:gd name="f37" fmla="*/ 62944 f29 1"/>
              <a:gd name="f38" fmla="*/ 154337 f28 1"/>
              <a:gd name="f39" fmla="*/ 0 f28 1"/>
              <a:gd name="f40" fmla="*/ 102688 f29 1"/>
              <a:gd name="f41" fmla="*/ 141020 f29 1"/>
              <a:gd name="f42" fmla="*/ 104707 f28 1"/>
              <a:gd name="f43" fmla="*/ 179755 f29 1"/>
              <a:gd name="f44" fmla="*/ 217481 f29 1"/>
              <a:gd name="f45" fmla="*/ 187825 f29 1"/>
              <a:gd name="f46" fmla="*/ 53263 f28 1"/>
              <a:gd name="f47" fmla="*/ 151309 f29 1"/>
              <a:gd name="f48" fmla="*/ 152117 f28 1"/>
              <a:gd name="f49" fmla="*/ 128915 f29 1"/>
              <a:gd name="f50" fmla="*/ 92601 f29 1"/>
              <a:gd name="f51" fmla="*/ 52051 f28 1"/>
              <a:gd name="f52" fmla="*/ 0 f29 1"/>
              <a:gd name="f53" fmla="*/ 30867 f29 1"/>
              <a:gd name="f54" fmla="*/ f30 1 f2"/>
              <a:gd name="f55" fmla="*/ f33 1 350168"/>
              <a:gd name="f56" fmla="*/ f34 1 154638"/>
              <a:gd name="f57" fmla="*/ f35 1 154638"/>
              <a:gd name="f58" fmla="*/ f36 1 350168"/>
              <a:gd name="f59" fmla="*/ f37 1 350168"/>
              <a:gd name="f60" fmla="*/ f38 1 154638"/>
              <a:gd name="f61" fmla="*/ f39 1 154638"/>
              <a:gd name="f62" fmla="*/ f40 1 350168"/>
              <a:gd name="f63" fmla="*/ f41 1 350168"/>
              <a:gd name="f64" fmla="*/ f42 1 154638"/>
              <a:gd name="f65" fmla="*/ f43 1 350168"/>
              <a:gd name="f66" fmla="*/ f44 1 350168"/>
              <a:gd name="f67" fmla="*/ f45 1 350168"/>
              <a:gd name="f68" fmla="*/ f46 1 154638"/>
              <a:gd name="f69" fmla="*/ f47 1 350168"/>
              <a:gd name="f70" fmla="*/ f48 1 154638"/>
              <a:gd name="f71" fmla="*/ f49 1 350168"/>
              <a:gd name="f72" fmla="*/ f50 1 350168"/>
              <a:gd name="f73" fmla="*/ f51 1 154638"/>
              <a:gd name="f74" fmla="*/ f52 1 350168"/>
              <a:gd name="f75" fmla="*/ f53 1 350168"/>
              <a:gd name="f76" fmla="*/ f5 1 f31"/>
              <a:gd name="f77" fmla="*/ f6 1 f31"/>
              <a:gd name="f78" fmla="*/ f5 1 f32"/>
              <a:gd name="f79" fmla="*/ f7 1 f32"/>
              <a:gd name="f80" fmla="+- f54 0 f1"/>
              <a:gd name="f81" fmla="*/ f55 1 f31"/>
              <a:gd name="f82" fmla="*/ f56 1 f32"/>
              <a:gd name="f83" fmla="*/ f57 1 f32"/>
              <a:gd name="f84" fmla="*/ f58 1 f31"/>
              <a:gd name="f85" fmla="*/ f59 1 f31"/>
              <a:gd name="f86" fmla="*/ f60 1 f32"/>
              <a:gd name="f87" fmla="*/ f61 1 f32"/>
              <a:gd name="f88" fmla="*/ f62 1 f31"/>
              <a:gd name="f89" fmla="*/ f63 1 f31"/>
              <a:gd name="f90" fmla="*/ f64 1 f32"/>
              <a:gd name="f91" fmla="*/ f65 1 f31"/>
              <a:gd name="f92" fmla="*/ f66 1 f31"/>
              <a:gd name="f93" fmla="*/ f67 1 f31"/>
              <a:gd name="f94" fmla="*/ f68 1 f32"/>
              <a:gd name="f95" fmla="*/ f69 1 f31"/>
              <a:gd name="f96" fmla="*/ f70 1 f32"/>
              <a:gd name="f97" fmla="*/ f71 1 f31"/>
              <a:gd name="f98" fmla="*/ f72 1 f31"/>
              <a:gd name="f99" fmla="*/ f73 1 f32"/>
              <a:gd name="f100" fmla="*/ f74 1 f31"/>
              <a:gd name="f101" fmla="*/ f75 1 f31"/>
              <a:gd name="f102" fmla="*/ f76 f26 1"/>
              <a:gd name="f103" fmla="*/ f77 f26 1"/>
              <a:gd name="f104" fmla="*/ f79 f27 1"/>
              <a:gd name="f105" fmla="*/ f78 f27 1"/>
              <a:gd name="f106" fmla="*/ f81 f26 1"/>
              <a:gd name="f107" fmla="*/ f82 f27 1"/>
              <a:gd name="f108" fmla="*/ f83 f27 1"/>
              <a:gd name="f109" fmla="*/ f84 f26 1"/>
              <a:gd name="f110" fmla="*/ f85 f26 1"/>
              <a:gd name="f111" fmla="*/ f86 f27 1"/>
              <a:gd name="f112" fmla="*/ f87 f27 1"/>
              <a:gd name="f113" fmla="*/ f88 f26 1"/>
              <a:gd name="f114" fmla="*/ f89 f26 1"/>
              <a:gd name="f115" fmla="*/ f90 f27 1"/>
              <a:gd name="f116" fmla="*/ f91 f26 1"/>
              <a:gd name="f117" fmla="*/ f92 f26 1"/>
              <a:gd name="f118" fmla="*/ f93 f26 1"/>
              <a:gd name="f119" fmla="*/ f94 f27 1"/>
              <a:gd name="f120" fmla="*/ f95 f26 1"/>
              <a:gd name="f121" fmla="*/ f96 f27 1"/>
              <a:gd name="f122" fmla="*/ f97 f26 1"/>
              <a:gd name="f123" fmla="*/ f98 f26 1"/>
              <a:gd name="f124" fmla="*/ f99 f27 1"/>
              <a:gd name="f125" fmla="*/ f100 f26 1"/>
              <a:gd name="f126" fmla="*/ f101 f2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80">
                <a:pos x="f106" y="f107"/>
              </a:cxn>
              <a:cxn ang="f80">
                <a:pos x="f106" y="f108"/>
              </a:cxn>
              <a:cxn ang="f80">
                <a:pos x="f109" y="f108"/>
              </a:cxn>
              <a:cxn ang="f80">
                <a:pos x="f109" y="f107"/>
              </a:cxn>
              <a:cxn ang="f80">
                <a:pos x="f110" y="f111"/>
              </a:cxn>
              <a:cxn ang="f80">
                <a:pos x="f110" y="f112"/>
              </a:cxn>
              <a:cxn ang="f80">
                <a:pos x="f113" y="f112"/>
              </a:cxn>
              <a:cxn ang="f80">
                <a:pos x="f114" y="f115"/>
              </a:cxn>
              <a:cxn ang="f80">
                <a:pos x="f116" y="f112"/>
              </a:cxn>
              <a:cxn ang="f80">
                <a:pos x="f117" y="f112"/>
              </a:cxn>
              <a:cxn ang="f80">
                <a:pos x="f117" y="f111"/>
              </a:cxn>
              <a:cxn ang="f80">
                <a:pos x="f118" y="f111"/>
              </a:cxn>
              <a:cxn ang="f80">
                <a:pos x="f118" y="f119"/>
              </a:cxn>
              <a:cxn ang="f80">
                <a:pos x="f120" y="f121"/>
              </a:cxn>
              <a:cxn ang="f80">
                <a:pos x="f122" y="f121"/>
              </a:cxn>
              <a:cxn ang="f80">
                <a:pos x="f123" y="f124"/>
              </a:cxn>
              <a:cxn ang="f80">
                <a:pos x="f123" y="f111"/>
              </a:cxn>
              <a:cxn ang="f80">
                <a:pos x="f125" y="f111"/>
              </a:cxn>
              <a:cxn ang="f80">
                <a:pos x="f125" y="f112"/>
              </a:cxn>
              <a:cxn ang="f80">
                <a:pos x="f126" y="f112"/>
              </a:cxn>
              <a:cxn ang="f80">
                <a:pos x="f126" y="f111"/>
              </a:cxn>
            </a:cxnLst>
            <a:rect l="f102" t="f105" r="f103" b="f104"/>
            <a:pathLst>
              <a:path w="350168" h="154638">
                <a:moveTo>
                  <a:pt x="f8" y="f7"/>
                </a:moveTo>
                <a:lnTo>
                  <a:pt x="f8" y="f9"/>
                </a:lnTo>
                <a:lnTo>
                  <a:pt x="f6" y="f9"/>
                </a:lnTo>
                <a:lnTo>
                  <a:pt x="f6" y="f7"/>
                </a:lnTo>
                <a:close/>
                <a:moveTo>
                  <a:pt x="f10" y="f11"/>
                </a:moveTo>
                <a:lnTo>
                  <a:pt x="f10" y="f5"/>
                </a:lnTo>
                <a:lnTo>
                  <a:pt x="f12" y="f5"/>
                </a:lnTo>
                <a:lnTo>
                  <a:pt x="f13" y="f14"/>
                </a:lnTo>
                <a:lnTo>
                  <a:pt x="f15" y="f5"/>
                </a:lnTo>
                <a:lnTo>
                  <a:pt x="f16" y="f5"/>
                </a:lnTo>
                <a:lnTo>
                  <a:pt x="f16" y="f11"/>
                </a:lnTo>
                <a:lnTo>
                  <a:pt x="f17" y="f11"/>
                </a:lnTo>
                <a:lnTo>
                  <a:pt x="f17" y="f18"/>
                </a:lnTo>
                <a:lnTo>
                  <a:pt x="f19" y="f20"/>
                </a:lnTo>
                <a:lnTo>
                  <a:pt x="f21" y="f20"/>
                </a:lnTo>
                <a:lnTo>
                  <a:pt x="f22" y="f23"/>
                </a:lnTo>
                <a:lnTo>
                  <a:pt x="f22" y="f11"/>
                </a:lnTo>
                <a:close/>
                <a:moveTo>
                  <a:pt x="f5" y="f11"/>
                </a:moveTo>
                <a:lnTo>
                  <a:pt x="f5" y="f5"/>
                </a:lnTo>
                <a:lnTo>
                  <a:pt x="f24" y="f5"/>
                </a:lnTo>
                <a:lnTo>
                  <a:pt x="f24" y="f11"/>
                </a:lnTo>
                <a:close/>
              </a:path>
            </a:pathLst>
          </a:cu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5" name="Date_GeneralDate" hidden="1">
            <a:extLst>
              <a:ext uri="{FF2B5EF4-FFF2-40B4-BE49-F238E27FC236}">
                <a16:creationId xmlns:a16="http://schemas.microsoft.com/office/drawing/2014/main" id="{B02CD139-8227-4CB9-9975-FA1E6AF69EDC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68DA3CC7-6ACD-4274-A341-52DF818F8A32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71BD6611-67A6-45EB-8203-82EA82168C9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solidFill>
                  <a:srgbClr val="FCFBF5"/>
                </a:solidFill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281C1FE8-D71E-47E2-9D73-5531AF0AFE0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>
                <a:solidFill>
                  <a:srgbClr val="FCFBF5"/>
                </a:solidFill>
              </a:defRPr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34966038-E319-40D3-AB0C-366F6106FB3A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F8F5E7"/>
                </a:solidFill>
              </a:defRPr>
            </a:lvl1pPr>
          </a:lstStyle>
          <a:p>
            <a:pPr lvl="0"/>
            <a:fld id="{4F45F302-5BF3-46B2-AB58-B987A94A69C3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1334839"/>
      </p:ext>
    </p:extLst>
  </p:cSld>
  <p:clrMapOvr>
    <a:masterClrMapping/>
  </p:clrMapOvr>
  <p:transition spd="med"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ark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>
            <a:extLst>
              <a:ext uri="{FF2B5EF4-FFF2-40B4-BE49-F238E27FC236}">
                <a16:creationId xmlns:a16="http://schemas.microsoft.com/office/drawing/2014/main" id="{A5601E57-5699-4207-8BF2-331F1A00A6AC}"/>
              </a:ext>
            </a:extLst>
          </p:cNvPr>
          <p:cNvSpPr/>
          <p:nvPr/>
        </p:nvSpPr>
        <p:spPr>
          <a:xfrm>
            <a:off x="0" y="0"/>
            <a:ext cx="9143996" cy="5143500"/>
          </a:xfrm>
          <a:prstGeom prst="rect">
            <a:avLst/>
          </a:prstGeom>
          <a:solidFill>
            <a:srgbClr val="40615F"/>
          </a:solidFill>
          <a:ln cap="flat">
            <a:noFill/>
            <a:prstDash val="solid"/>
          </a:ln>
        </p:spPr>
        <p:txBody>
          <a:bodyPr vert="horz" wrap="square" lIns="43877" tIns="43877" rIns="43877" bIns="43877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10" b="0" i="0" u="none" strike="noStrike" kern="120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E374177-0DF0-4270-89CD-8FA21E4DE55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13397" y="1671638"/>
            <a:ext cx="7117203" cy="2117921"/>
          </a:xfrm>
        </p:spPr>
        <p:txBody>
          <a:bodyPr/>
          <a:lstStyle>
            <a:lvl1pPr>
              <a:lnSpc>
                <a:spcPct val="80000"/>
              </a:lnSpc>
              <a:defRPr lang="en-GB" sz="4388" cap="all">
                <a:solidFill>
                  <a:srgbClr val="F8F5E7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Freeform: Shape 13">
            <a:extLst>
              <a:ext uri="{FF2B5EF4-FFF2-40B4-BE49-F238E27FC236}">
                <a16:creationId xmlns:a16="http://schemas.microsoft.com/office/drawing/2014/main" id="{3850B388-B008-4D9C-84A6-4378BC990ED2}"/>
              </a:ext>
            </a:extLst>
          </p:cNvPr>
          <p:cNvSpPr/>
          <p:nvPr/>
        </p:nvSpPr>
        <p:spPr>
          <a:xfrm rot="5400013">
            <a:off x="8690662" y="287231"/>
            <a:ext cx="262627" cy="14273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0168"/>
              <a:gd name="f7" fmla="val 154638"/>
              <a:gd name="f8" fmla="val 242136"/>
              <a:gd name="f9" fmla="val 141700"/>
              <a:gd name="f10" fmla="val 62944"/>
              <a:gd name="f11" fmla="val 154337"/>
              <a:gd name="f12" fmla="val 102688"/>
              <a:gd name="f13" fmla="val 141020"/>
              <a:gd name="f14" fmla="val 104707"/>
              <a:gd name="f15" fmla="val 179755"/>
              <a:gd name="f16" fmla="val 217481"/>
              <a:gd name="f17" fmla="val 187825"/>
              <a:gd name="f18" fmla="val 53263"/>
              <a:gd name="f19" fmla="val 151309"/>
              <a:gd name="f20" fmla="val 152117"/>
              <a:gd name="f21" fmla="val 128915"/>
              <a:gd name="f22" fmla="val 92601"/>
              <a:gd name="f23" fmla="val 52051"/>
              <a:gd name="f24" fmla="val 30867"/>
              <a:gd name="f25" fmla="+- 0 0 -90"/>
              <a:gd name="f26" fmla="*/ f3 1 350168"/>
              <a:gd name="f27" fmla="*/ f4 1 154638"/>
              <a:gd name="f28" fmla="+- f7 0 f5"/>
              <a:gd name="f29" fmla="+- f6 0 f5"/>
              <a:gd name="f30" fmla="*/ f25 f0 1"/>
              <a:gd name="f31" fmla="*/ f29 1 350168"/>
              <a:gd name="f32" fmla="*/ f28 1 154638"/>
              <a:gd name="f33" fmla="*/ 242136 f29 1"/>
              <a:gd name="f34" fmla="*/ 154638 f28 1"/>
              <a:gd name="f35" fmla="*/ 141700 f28 1"/>
              <a:gd name="f36" fmla="*/ 350168 f29 1"/>
              <a:gd name="f37" fmla="*/ 62944 f29 1"/>
              <a:gd name="f38" fmla="*/ 154337 f28 1"/>
              <a:gd name="f39" fmla="*/ 0 f28 1"/>
              <a:gd name="f40" fmla="*/ 102688 f29 1"/>
              <a:gd name="f41" fmla="*/ 141020 f29 1"/>
              <a:gd name="f42" fmla="*/ 104707 f28 1"/>
              <a:gd name="f43" fmla="*/ 179755 f29 1"/>
              <a:gd name="f44" fmla="*/ 217481 f29 1"/>
              <a:gd name="f45" fmla="*/ 187825 f29 1"/>
              <a:gd name="f46" fmla="*/ 53263 f28 1"/>
              <a:gd name="f47" fmla="*/ 151309 f29 1"/>
              <a:gd name="f48" fmla="*/ 152117 f28 1"/>
              <a:gd name="f49" fmla="*/ 128915 f29 1"/>
              <a:gd name="f50" fmla="*/ 92601 f29 1"/>
              <a:gd name="f51" fmla="*/ 52051 f28 1"/>
              <a:gd name="f52" fmla="*/ 0 f29 1"/>
              <a:gd name="f53" fmla="*/ 30867 f29 1"/>
              <a:gd name="f54" fmla="*/ f30 1 f2"/>
              <a:gd name="f55" fmla="*/ f33 1 350168"/>
              <a:gd name="f56" fmla="*/ f34 1 154638"/>
              <a:gd name="f57" fmla="*/ f35 1 154638"/>
              <a:gd name="f58" fmla="*/ f36 1 350168"/>
              <a:gd name="f59" fmla="*/ f37 1 350168"/>
              <a:gd name="f60" fmla="*/ f38 1 154638"/>
              <a:gd name="f61" fmla="*/ f39 1 154638"/>
              <a:gd name="f62" fmla="*/ f40 1 350168"/>
              <a:gd name="f63" fmla="*/ f41 1 350168"/>
              <a:gd name="f64" fmla="*/ f42 1 154638"/>
              <a:gd name="f65" fmla="*/ f43 1 350168"/>
              <a:gd name="f66" fmla="*/ f44 1 350168"/>
              <a:gd name="f67" fmla="*/ f45 1 350168"/>
              <a:gd name="f68" fmla="*/ f46 1 154638"/>
              <a:gd name="f69" fmla="*/ f47 1 350168"/>
              <a:gd name="f70" fmla="*/ f48 1 154638"/>
              <a:gd name="f71" fmla="*/ f49 1 350168"/>
              <a:gd name="f72" fmla="*/ f50 1 350168"/>
              <a:gd name="f73" fmla="*/ f51 1 154638"/>
              <a:gd name="f74" fmla="*/ f52 1 350168"/>
              <a:gd name="f75" fmla="*/ f53 1 350168"/>
              <a:gd name="f76" fmla="*/ f5 1 f31"/>
              <a:gd name="f77" fmla="*/ f6 1 f31"/>
              <a:gd name="f78" fmla="*/ f5 1 f32"/>
              <a:gd name="f79" fmla="*/ f7 1 f32"/>
              <a:gd name="f80" fmla="+- f54 0 f1"/>
              <a:gd name="f81" fmla="*/ f55 1 f31"/>
              <a:gd name="f82" fmla="*/ f56 1 f32"/>
              <a:gd name="f83" fmla="*/ f57 1 f32"/>
              <a:gd name="f84" fmla="*/ f58 1 f31"/>
              <a:gd name="f85" fmla="*/ f59 1 f31"/>
              <a:gd name="f86" fmla="*/ f60 1 f32"/>
              <a:gd name="f87" fmla="*/ f61 1 f32"/>
              <a:gd name="f88" fmla="*/ f62 1 f31"/>
              <a:gd name="f89" fmla="*/ f63 1 f31"/>
              <a:gd name="f90" fmla="*/ f64 1 f32"/>
              <a:gd name="f91" fmla="*/ f65 1 f31"/>
              <a:gd name="f92" fmla="*/ f66 1 f31"/>
              <a:gd name="f93" fmla="*/ f67 1 f31"/>
              <a:gd name="f94" fmla="*/ f68 1 f32"/>
              <a:gd name="f95" fmla="*/ f69 1 f31"/>
              <a:gd name="f96" fmla="*/ f70 1 f32"/>
              <a:gd name="f97" fmla="*/ f71 1 f31"/>
              <a:gd name="f98" fmla="*/ f72 1 f31"/>
              <a:gd name="f99" fmla="*/ f73 1 f32"/>
              <a:gd name="f100" fmla="*/ f74 1 f31"/>
              <a:gd name="f101" fmla="*/ f75 1 f31"/>
              <a:gd name="f102" fmla="*/ f76 f26 1"/>
              <a:gd name="f103" fmla="*/ f77 f26 1"/>
              <a:gd name="f104" fmla="*/ f79 f27 1"/>
              <a:gd name="f105" fmla="*/ f78 f27 1"/>
              <a:gd name="f106" fmla="*/ f81 f26 1"/>
              <a:gd name="f107" fmla="*/ f82 f27 1"/>
              <a:gd name="f108" fmla="*/ f83 f27 1"/>
              <a:gd name="f109" fmla="*/ f84 f26 1"/>
              <a:gd name="f110" fmla="*/ f85 f26 1"/>
              <a:gd name="f111" fmla="*/ f86 f27 1"/>
              <a:gd name="f112" fmla="*/ f87 f27 1"/>
              <a:gd name="f113" fmla="*/ f88 f26 1"/>
              <a:gd name="f114" fmla="*/ f89 f26 1"/>
              <a:gd name="f115" fmla="*/ f90 f27 1"/>
              <a:gd name="f116" fmla="*/ f91 f26 1"/>
              <a:gd name="f117" fmla="*/ f92 f26 1"/>
              <a:gd name="f118" fmla="*/ f93 f26 1"/>
              <a:gd name="f119" fmla="*/ f94 f27 1"/>
              <a:gd name="f120" fmla="*/ f95 f26 1"/>
              <a:gd name="f121" fmla="*/ f96 f27 1"/>
              <a:gd name="f122" fmla="*/ f97 f26 1"/>
              <a:gd name="f123" fmla="*/ f98 f26 1"/>
              <a:gd name="f124" fmla="*/ f99 f27 1"/>
              <a:gd name="f125" fmla="*/ f100 f26 1"/>
              <a:gd name="f126" fmla="*/ f101 f2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80">
                <a:pos x="f106" y="f107"/>
              </a:cxn>
              <a:cxn ang="f80">
                <a:pos x="f106" y="f108"/>
              </a:cxn>
              <a:cxn ang="f80">
                <a:pos x="f109" y="f108"/>
              </a:cxn>
              <a:cxn ang="f80">
                <a:pos x="f109" y="f107"/>
              </a:cxn>
              <a:cxn ang="f80">
                <a:pos x="f110" y="f111"/>
              </a:cxn>
              <a:cxn ang="f80">
                <a:pos x="f110" y="f112"/>
              </a:cxn>
              <a:cxn ang="f80">
                <a:pos x="f113" y="f112"/>
              </a:cxn>
              <a:cxn ang="f80">
                <a:pos x="f114" y="f115"/>
              </a:cxn>
              <a:cxn ang="f80">
                <a:pos x="f116" y="f112"/>
              </a:cxn>
              <a:cxn ang="f80">
                <a:pos x="f117" y="f112"/>
              </a:cxn>
              <a:cxn ang="f80">
                <a:pos x="f117" y="f111"/>
              </a:cxn>
              <a:cxn ang="f80">
                <a:pos x="f118" y="f111"/>
              </a:cxn>
              <a:cxn ang="f80">
                <a:pos x="f118" y="f119"/>
              </a:cxn>
              <a:cxn ang="f80">
                <a:pos x="f120" y="f121"/>
              </a:cxn>
              <a:cxn ang="f80">
                <a:pos x="f122" y="f121"/>
              </a:cxn>
              <a:cxn ang="f80">
                <a:pos x="f123" y="f124"/>
              </a:cxn>
              <a:cxn ang="f80">
                <a:pos x="f123" y="f111"/>
              </a:cxn>
              <a:cxn ang="f80">
                <a:pos x="f125" y="f111"/>
              </a:cxn>
              <a:cxn ang="f80">
                <a:pos x="f125" y="f112"/>
              </a:cxn>
              <a:cxn ang="f80">
                <a:pos x="f126" y="f112"/>
              </a:cxn>
              <a:cxn ang="f80">
                <a:pos x="f126" y="f111"/>
              </a:cxn>
            </a:cxnLst>
            <a:rect l="f102" t="f105" r="f103" b="f104"/>
            <a:pathLst>
              <a:path w="350168" h="154638">
                <a:moveTo>
                  <a:pt x="f8" y="f7"/>
                </a:moveTo>
                <a:lnTo>
                  <a:pt x="f8" y="f9"/>
                </a:lnTo>
                <a:lnTo>
                  <a:pt x="f6" y="f9"/>
                </a:lnTo>
                <a:lnTo>
                  <a:pt x="f6" y="f7"/>
                </a:lnTo>
                <a:close/>
                <a:moveTo>
                  <a:pt x="f10" y="f11"/>
                </a:moveTo>
                <a:lnTo>
                  <a:pt x="f10" y="f5"/>
                </a:lnTo>
                <a:lnTo>
                  <a:pt x="f12" y="f5"/>
                </a:lnTo>
                <a:lnTo>
                  <a:pt x="f13" y="f14"/>
                </a:lnTo>
                <a:lnTo>
                  <a:pt x="f15" y="f5"/>
                </a:lnTo>
                <a:lnTo>
                  <a:pt x="f16" y="f5"/>
                </a:lnTo>
                <a:lnTo>
                  <a:pt x="f16" y="f11"/>
                </a:lnTo>
                <a:lnTo>
                  <a:pt x="f17" y="f11"/>
                </a:lnTo>
                <a:lnTo>
                  <a:pt x="f17" y="f18"/>
                </a:lnTo>
                <a:lnTo>
                  <a:pt x="f19" y="f20"/>
                </a:lnTo>
                <a:lnTo>
                  <a:pt x="f21" y="f20"/>
                </a:lnTo>
                <a:lnTo>
                  <a:pt x="f22" y="f23"/>
                </a:lnTo>
                <a:lnTo>
                  <a:pt x="f22" y="f11"/>
                </a:lnTo>
                <a:close/>
                <a:moveTo>
                  <a:pt x="f5" y="f11"/>
                </a:moveTo>
                <a:lnTo>
                  <a:pt x="f5" y="f5"/>
                </a:lnTo>
                <a:lnTo>
                  <a:pt x="f24" y="f5"/>
                </a:lnTo>
                <a:lnTo>
                  <a:pt x="f24" y="f11"/>
                </a:lnTo>
                <a:close/>
              </a:path>
            </a:pathLst>
          </a:cu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5" name="Date_GeneralDate" hidden="1">
            <a:extLst>
              <a:ext uri="{FF2B5EF4-FFF2-40B4-BE49-F238E27FC236}">
                <a16:creationId xmlns:a16="http://schemas.microsoft.com/office/drawing/2014/main" id="{BF304B4B-5573-41EB-95E3-5FBA651953BA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99E571E3-8328-4CF2-AB44-4476F784E765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280197DD-216C-48BE-9146-92769E89DA8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solidFill>
                  <a:srgbClr val="FCFBF5"/>
                </a:solidFill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EBC67C2-AADE-4695-8E85-F924BE886F1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>
                <a:solidFill>
                  <a:srgbClr val="FCFBF5"/>
                </a:solidFill>
              </a:defRPr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8E39FEA0-427A-4B93-A039-7E40D7CB2D5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F8F5E7"/>
                </a:solidFill>
              </a:defRPr>
            </a:lvl1pPr>
          </a:lstStyle>
          <a:p>
            <a:pPr lvl="0"/>
            <a:fld id="{16B8E844-4087-4C86-92D9-E0D4535B6ADB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3919481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EC1568-49BF-594E-9B2C-38E80A379FCB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26-09-2021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6FB5BB-5704-FB48-BA77-7254DC263D9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0669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7C2EAA-F710-4EFC-9C75-69463A9B115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13397" y="1671638"/>
            <a:ext cx="7117203" cy="2117921"/>
          </a:xfrm>
        </p:spPr>
        <p:txBody>
          <a:bodyPr/>
          <a:lstStyle>
            <a:lvl1pPr>
              <a:lnSpc>
                <a:spcPct val="80000"/>
              </a:lnSpc>
              <a:defRPr lang="en-GB" sz="4388" cap="all">
                <a:solidFill>
                  <a:srgbClr val="000000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3" name="Date_GeneralDate" hidden="1">
            <a:extLst>
              <a:ext uri="{FF2B5EF4-FFF2-40B4-BE49-F238E27FC236}">
                <a16:creationId xmlns:a16="http://schemas.microsoft.com/office/drawing/2014/main" id="{229D1F44-DC1B-4180-8B56-5EB3227BA2B7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21F2970C-DCCB-46F4-94C8-9146DFE9AA0C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491DFDE0-20E1-4C71-B10F-C54D806A247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DC21F465-B991-459E-AB5C-EA969B6818A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F286614-6AE5-4799-8EA7-8528D8FF335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7CA8152F-FE18-4C46-AF48-1B7C6FE27138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9063405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4CAEF513-C912-4995-999C-F899A8041C97}"/>
              </a:ext>
            </a:extLst>
          </p:cNvPr>
          <p:cNvSpPr/>
          <p:nvPr/>
        </p:nvSpPr>
        <p:spPr>
          <a:xfrm>
            <a:off x="0" y="0"/>
            <a:ext cx="9143996" cy="5143500"/>
          </a:xfrm>
          <a:prstGeom prst="rect">
            <a:avLst/>
          </a:prstGeom>
          <a:solidFill>
            <a:srgbClr val="E4B73B"/>
          </a:solidFill>
          <a:ln cap="flat">
            <a:noFill/>
            <a:prstDash val="solid"/>
          </a:ln>
        </p:spPr>
        <p:txBody>
          <a:bodyPr vert="horz" wrap="square" lIns="43877" tIns="43877" rIns="43877" bIns="43877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10" b="0" i="0" u="none" strike="noStrike" kern="120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AD8E0D6-FA8F-4F2B-82C8-A7D437B85B4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013397" y="1671638"/>
            <a:ext cx="7117203" cy="2117921"/>
          </a:xfrm>
        </p:spPr>
        <p:txBody>
          <a:bodyPr/>
          <a:lstStyle>
            <a:lvl1pPr>
              <a:lnSpc>
                <a:spcPct val="80000"/>
              </a:lnSpc>
              <a:defRPr lang="en-GB" sz="4388" cap="all">
                <a:solidFill>
                  <a:srgbClr val="000000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Date_GeneralDate" hidden="1">
            <a:extLst>
              <a:ext uri="{FF2B5EF4-FFF2-40B4-BE49-F238E27FC236}">
                <a16:creationId xmlns:a16="http://schemas.microsoft.com/office/drawing/2014/main" id="{101E1ED5-3642-4784-8B36-2EBD10E00565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04462944-8595-463F-908C-E4CCC93F3F46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D1456AEC-3FBD-4E57-8515-98D334DF7E3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FD65594-43FD-4307-B1B7-83472389E05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3EEB5AD5-439B-4EB0-8615-E3D821D5FAF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170D0B37-3C16-4650-98D0-A52F89D85386}" type="slidenum">
              <a:t>‹nr.›</a:t>
            </a:fld>
            <a:endParaRPr lang="en-GB"/>
          </a:p>
        </p:txBody>
      </p:sp>
      <p:sp>
        <p:nvSpPr>
          <p:cNvPr id="8" name="Freeform: Shape 4">
            <a:extLst>
              <a:ext uri="{FF2B5EF4-FFF2-40B4-BE49-F238E27FC236}">
                <a16:creationId xmlns:a16="http://schemas.microsoft.com/office/drawing/2014/main" id="{5B1CF911-2BAA-486B-B1F5-85FE2871A06A}"/>
              </a:ext>
            </a:extLst>
          </p:cNvPr>
          <p:cNvSpPr/>
          <p:nvPr/>
        </p:nvSpPr>
        <p:spPr>
          <a:xfrm rot="5400013">
            <a:off x="8690662" y="287231"/>
            <a:ext cx="262627" cy="14273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0168"/>
              <a:gd name="f7" fmla="val 154638"/>
              <a:gd name="f8" fmla="val 242136"/>
              <a:gd name="f9" fmla="val 141700"/>
              <a:gd name="f10" fmla="val 62944"/>
              <a:gd name="f11" fmla="val 154337"/>
              <a:gd name="f12" fmla="val 102688"/>
              <a:gd name="f13" fmla="val 141020"/>
              <a:gd name="f14" fmla="val 104707"/>
              <a:gd name="f15" fmla="val 179755"/>
              <a:gd name="f16" fmla="val 217481"/>
              <a:gd name="f17" fmla="val 187825"/>
              <a:gd name="f18" fmla="val 53263"/>
              <a:gd name="f19" fmla="val 151309"/>
              <a:gd name="f20" fmla="val 152117"/>
              <a:gd name="f21" fmla="val 128915"/>
              <a:gd name="f22" fmla="val 92601"/>
              <a:gd name="f23" fmla="val 52051"/>
              <a:gd name="f24" fmla="val 30867"/>
              <a:gd name="f25" fmla="+- 0 0 -90"/>
              <a:gd name="f26" fmla="*/ f3 1 350168"/>
              <a:gd name="f27" fmla="*/ f4 1 154638"/>
              <a:gd name="f28" fmla="+- f7 0 f5"/>
              <a:gd name="f29" fmla="+- f6 0 f5"/>
              <a:gd name="f30" fmla="*/ f25 f0 1"/>
              <a:gd name="f31" fmla="*/ f29 1 350168"/>
              <a:gd name="f32" fmla="*/ f28 1 154638"/>
              <a:gd name="f33" fmla="*/ 242136 f29 1"/>
              <a:gd name="f34" fmla="*/ 154638 f28 1"/>
              <a:gd name="f35" fmla="*/ 141700 f28 1"/>
              <a:gd name="f36" fmla="*/ 350168 f29 1"/>
              <a:gd name="f37" fmla="*/ 62944 f29 1"/>
              <a:gd name="f38" fmla="*/ 154337 f28 1"/>
              <a:gd name="f39" fmla="*/ 0 f28 1"/>
              <a:gd name="f40" fmla="*/ 102688 f29 1"/>
              <a:gd name="f41" fmla="*/ 141020 f29 1"/>
              <a:gd name="f42" fmla="*/ 104707 f28 1"/>
              <a:gd name="f43" fmla="*/ 179755 f29 1"/>
              <a:gd name="f44" fmla="*/ 217481 f29 1"/>
              <a:gd name="f45" fmla="*/ 187825 f29 1"/>
              <a:gd name="f46" fmla="*/ 53263 f28 1"/>
              <a:gd name="f47" fmla="*/ 151309 f29 1"/>
              <a:gd name="f48" fmla="*/ 152117 f28 1"/>
              <a:gd name="f49" fmla="*/ 128915 f29 1"/>
              <a:gd name="f50" fmla="*/ 92601 f29 1"/>
              <a:gd name="f51" fmla="*/ 52051 f28 1"/>
              <a:gd name="f52" fmla="*/ 0 f29 1"/>
              <a:gd name="f53" fmla="*/ 30867 f29 1"/>
              <a:gd name="f54" fmla="*/ f30 1 f2"/>
              <a:gd name="f55" fmla="*/ f33 1 350168"/>
              <a:gd name="f56" fmla="*/ f34 1 154638"/>
              <a:gd name="f57" fmla="*/ f35 1 154638"/>
              <a:gd name="f58" fmla="*/ f36 1 350168"/>
              <a:gd name="f59" fmla="*/ f37 1 350168"/>
              <a:gd name="f60" fmla="*/ f38 1 154638"/>
              <a:gd name="f61" fmla="*/ f39 1 154638"/>
              <a:gd name="f62" fmla="*/ f40 1 350168"/>
              <a:gd name="f63" fmla="*/ f41 1 350168"/>
              <a:gd name="f64" fmla="*/ f42 1 154638"/>
              <a:gd name="f65" fmla="*/ f43 1 350168"/>
              <a:gd name="f66" fmla="*/ f44 1 350168"/>
              <a:gd name="f67" fmla="*/ f45 1 350168"/>
              <a:gd name="f68" fmla="*/ f46 1 154638"/>
              <a:gd name="f69" fmla="*/ f47 1 350168"/>
              <a:gd name="f70" fmla="*/ f48 1 154638"/>
              <a:gd name="f71" fmla="*/ f49 1 350168"/>
              <a:gd name="f72" fmla="*/ f50 1 350168"/>
              <a:gd name="f73" fmla="*/ f51 1 154638"/>
              <a:gd name="f74" fmla="*/ f52 1 350168"/>
              <a:gd name="f75" fmla="*/ f53 1 350168"/>
              <a:gd name="f76" fmla="*/ f5 1 f31"/>
              <a:gd name="f77" fmla="*/ f6 1 f31"/>
              <a:gd name="f78" fmla="*/ f5 1 f32"/>
              <a:gd name="f79" fmla="*/ f7 1 f32"/>
              <a:gd name="f80" fmla="+- f54 0 f1"/>
              <a:gd name="f81" fmla="*/ f55 1 f31"/>
              <a:gd name="f82" fmla="*/ f56 1 f32"/>
              <a:gd name="f83" fmla="*/ f57 1 f32"/>
              <a:gd name="f84" fmla="*/ f58 1 f31"/>
              <a:gd name="f85" fmla="*/ f59 1 f31"/>
              <a:gd name="f86" fmla="*/ f60 1 f32"/>
              <a:gd name="f87" fmla="*/ f61 1 f32"/>
              <a:gd name="f88" fmla="*/ f62 1 f31"/>
              <a:gd name="f89" fmla="*/ f63 1 f31"/>
              <a:gd name="f90" fmla="*/ f64 1 f32"/>
              <a:gd name="f91" fmla="*/ f65 1 f31"/>
              <a:gd name="f92" fmla="*/ f66 1 f31"/>
              <a:gd name="f93" fmla="*/ f67 1 f31"/>
              <a:gd name="f94" fmla="*/ f68 1 f32"/>
              <a:gd name="f95" fmla="*/ f69 1 f31"/>
              <a:gd name="f96" fmla="*/ f70 1 f32"/>
              <a:gd name="f97" fmla="*/ f71 1 f31"/>
              <a:gd name="f98" fmla="*/ f72 1 f31"/>
              <a:gd name="f99" fmla="*/ f73 1 f32"/>
              <a:gd name="f100" fmla="*/ f74 1 f31"/>
              <a:gd name="f101" fmla="*/ f75 1 f31"/>
              <a:gd name="f102" fmla="*/ f76 f26 1"/>
              <a:gd name="f103" fmla="*/ f77 f26 1"/>
              <a:gd name="f104" fmla="*/ f79 f27 1"/>
              <a:gd name="f105" fmla="*/ f78 f27 1"/>
              <a:gd name="f106" fmla="*/ f81 f26 1"/>
              <a:gd name="f107" fmla="*/ f82 f27 1"/>
              <a:gd name="f108" fmla="*/ f83 f27 1"/>
              <a:gd name="f109" fmla="*/ f84 f26 1"/>
              <a:gd name="f110" fmla="*/ f85 f26 1"/>
              <a:gd name="f111" fmla="*/ f86 f27 1"/>
              <a:gd name="f112" fmla="*/ f87 f27 1"/>
              <a:gd name="f113" fmla="*/ f88 f26 1"/>
              <a:gd name="f114" fmla="*/ f89 f26 1"/>
              <a:gd name="f115" fmla="*/ f90 f27 1"/>
              <a:gd name="f116" fmla="*/ f91 f26 1"/>
              <a:gd name="f117" fmla="*/ f92 f26 1"/>
              <a:gd name="f118" fmla="*/ f93 f26 1"/>
              <a:gd name="f119" fmla="*/ f94 f27 1"/>
              <a:gd name="f120" fmla="*/ f95 f26 1"/>
              <a:gd name="f121" fmla="*/ f96 f27 1"/>
              <a:gd name="f122" fmla="*/ f97 f26 1"/>
              <a:gd name="f123" fmla="*/ f98 f26 1"/>
              <a:gd name="f124" fmla="*/ f99 f27 1"/>
              <a:gd name="f125" fmla="*/ f100 f26 1"/>
              <a:gd name="f126" fmla="*/ f101 f2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80">
                <a:pos x="f106" y="f107"/>
              </a:cxn>
              <a:cxn ang="f80">
                <a:pos x="f106" y="f108"/>
              </a:cxn>
              <a:cxn ang="f80">
                <a:pos x="f109" y="f108"/>
              </a:cxn>
              <a:cxn ang="f80">
                <a:pos x="f109" y="f107"/>
              </a:cxn>
              <a:cxn ang="f80">
                <a:pos x="f110" y="f111"/>
              </a:cxn>
              <a:cxn ang="f80">
                <a:pos x="f110" y="f112"/>
              </a:cxn>
              <a:cxn ang="f80">
                <a:pos x="f113" y="f112"/>
              </a:cxn>
              <a:cxn ang="f80">
                <a:pos x="f114" y="f115"/>
              </a:cxn>
              <a:cxn ang="f80">
                <a:pos x="f116" y="f112"/>
              </a:cxn>
              <a:cxn ang="f80">
                <a:pos x="f117" y="f112"/>
              </a:cxn>
              <a:cxn ang="f80">
                <a:pos x="f117" y="f111"/>
              </a:cxn>
              <a:cxn ang="f80">
                <a:pos x="f118" y="f111"/>
              </a:cxn>
              <a:cxn ang="f80">
                <a:pos x="f118" y="f119"/>
              </a:cxn>
              <a:cxn ang="f80">
                <a:pos x="f120" y="f121"/>
              </a:cxn>
              <a:cxn ang="f80">
                <a:pos x="f122" y="f121"/>
              </a:cxn>
              <a:cxn ang="f80">
                <a:pos x="f123" y="f124"/>
              </a:cxn>
              <a:cxn ang="f80">
                <a:pos x="f123" y="f111"/>
              </a:cxn>
              <a:cxn ang="f80">
                <a:pos x="f125" y="f111"/>
              </a:cxn>
              <a:cxn ang="f80">
                <a:pos x="f125" y="f112"/>
              </a:cxn>
              <a:cxn ang="f80">
                <a:pos x="f126" y="f112"/>
              </a:cxn>
              <a:cxn ang="f80">
                <a:pos x="f126" y="f111"/>
              </a:cxn>
            </a:cxnLst>
            <a:rect l="f102" t="f105" r="f103" b="f104"/>
            <a:pathLst>
              <a:path w="350168" h="154638">
                <a:moveTo>
                  <a:pt x="f8" y="f7"/>
                </a:moveTo>
                <a:lnTo>
                  <a:pt x="f8" y="f9"/>
                </a:lnTo>
                <a:lnTo>
                  <a:pt x="f6" y="f9"/>
                </a:lnTo>
                <a:lnTo>
                  <a:pt x="f6" y="f7"/>
                </a:lnTo>
                <a:close/>
                <a:moveTo>
                  <a:pt x="f10" y="f11"/>
                </a:moveTo>
                <a:lnTo>
                  <a:pt x="f10" y="f5"/>
                </a:lnTo>
                <a:lnTo>
                  <a:pt x="f12" y="f5"/>
                </a:lnTo>
                <a:lnTo>
                  <a:pt x="f13" y="f14"/>
                </a:lnTo>
                <a:lnTo>
                  <a:pt x="f15" y="f5"/>
                </a:lnTo>
                <a:lnTo>
                  <a:pt x="f16" y="f5"/>
                </a:lnTo>
                <a:lnTo>
                  <a:pt x="f16" y="f11"/>
                </a:lnTo>
                <a:lnTo>
                  <a:pt x="f17" y="f11"/>
                </a:lnTo>
                <a:lnTo>
                  <a:pt x="f17" y="f18"/>
                </a:lnTo>
                <a:lnTo>
                  <a:pt x="f19" y="f20"/>
                </a:lnTo>
                <a:lnTo>
                  <a:pt x="f21" y="f20"/>
                </a:lnTo>
                <a:lnTo>
                  <a:pt x="f22" y="f23"/>
                </a:lnTo>
                <a:lnTo>
                  <a:pt x="f22" y="f11"/>
                </a:lnTo>
                <a:close/>
                <a:moveTo>
                  <a:pt x="f5" y="f11"/>
                </a:moveTo>
                <a:lnTo>
                  <a:pt x="f5" y="f5"/>
                </a:lnTo>
                <a:lnTo>
                  <a:pt x="f24" y="f5"/>
                </a:lnTo>
                <a:lnTo>
                  <a:pt x="f24" y="f11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36920744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Background Dar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3">
            <a:extLst>
              <a:ext uri="{FF2B5EF4-FFF2-40B4-BE49-F238E27FC236}">
                <a16:creationId xmlns:a16="http://schemas.microsoft.com/office/drawing/2014/main" id="{2C108C4A-9C6A-44E7-898D-238610853A50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0" y="0"/>
            <a:ext cx="9143996" cy="5143500"/>
          </a:xfrm>
          <a:solidFill>
            <a:srgbClr val="F3F2F0"/>
          </a:solidFill>
        </p:spPr>
        <p:txBody>
          <a:bodyPr rIns="0" anchor="ctr" anchorCtr="1"/>
          <a:lstStyle>
            <a:lvl1pPr algn="ctr">
              <a:buNone/>
              <a:defRPr lang="en-GB"/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BA9AC88A-3C6C-4D2B-9FE8-55828426142A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204190"/>
            <a:ext cx="8174390" cy="1434008"/>
          </a:xfrm>
        </p:spPr>
        <p:txBody>
          <a:bodyPr/>
          <a:lstStyle>
            <a:lvl1pPr>
              <a:defRPr lang="en-GB" sz="5400" cap="all">
                <a:solidFill>
                  <a:srgbClr val="30373B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Date_GeneralDate" hidden="1">
            <a:extLst>
              <a:ext uri="{FF2B5EF4-FFF2-40B4-BE49-F238E27FC236}">
                <a16:creationId xmlns:a16="http://schemas.microsoft.com/office/drawing/2014/main" id="{EC1C61F6-F9E6-4011-97F3-75721AED07B5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81E8A4D3-A1CE-4F7B-A15A-71A2229CED4B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EC7B8910-59B1-4E5C-8404-5B80637D7DD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2530B97-73BF-4E05-A2E9-66FC7DCC4C6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7" name="Text Placeholder logo">
            <a:extLst>
              <a:ext uri="{FF2B5EF4-FFF2-40B4-BE49-F238E27FC236}">
                <a16:creationId xmlns:a16="http://schemas.microsoft.com/office/drawing/2014/main" id="{25A256D6-98C8-4246-BA3B-1B83FFC29AD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750529" y="227281"/>
            <a:ext cx="142890" cy="2619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8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.</a:t>
            </a:r>
            <a:endParaRPr lang="en-GB"/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21319A2B-FB7B-46CF-AEE2-5E840854A62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4BCE4EC1-B79B-4E19-A13B-FAF6589A4285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1019107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3">
            <a:extLst>
              <a:ext uri="{FF2B5EF4-FFF2-40B4-BE49-F238E27FC236}">
                <a16:creationId xmlns:a16="http://schemas.microsoft.com/office/drawing/2014/main" id="{C4486268-541F-4C06-9AE8-4E494D5675AA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0" y="0"/>
            <a:ext cx="9143996" cy="5143500"/>
          </a:xfrm>
          <a:solidFill>
            <a:srgbClr val="F3F2F0"/>
          </a:solidFill>
        </p:spPr>
        <p:txBody>
          <a:bodyPr rIns="0" anchor="ctr" anchorCtr="1"/>
          <a:lstStyle>
            <a:lvl1pPr algn="ctr">
              <a:buNone/>
              <a:defRPr lang="en-GB"/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F54B2E9-E5D6-45BE-8F33-FA8AADB7D04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1311" y="204190"/>
            <a:ext cx="8174390" cy="1434008"/>
          </a:xfrm>
        </p:spPr>
        <p:txBody>
          <a:bodyPr/>
          <a:lstStyle>
            <a:lvl1pPr>
              <a:defRPr lang="en-GB" sz="5400" cap="all">
                <a:solidFill>
                  <a:srgbClr val="FFFFFF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4" name="Date_GeneralDate" hidden="1">
            <a:extLst>
              <a:ext uri="{FF2B5EF4-FFF2-40B4-BE49-F238E27FC236}">
                <a16:creationId xmlns:a16="http://schemas.microsoft.com/office/drawing/2014/main" id="{CCC8605A-40FB-40CF-ABA6-C9B6179222A6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EC3FD116-C0BF-4E18-B343-B0ED0E434DF6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D064D7E9-B9AB-4509-BE1E-E9365344E24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0215DA2D-6747-4164-A99E-13E59F3270C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7" name="Text Placeholder logo">
            <a:extLst>
              <a:ext uri="{FF2B5EF4-FFF2-40B4-BE49-F238E27FC236}">
                <a16:creationId xmlns:a16="http://schemas.microsoft.com/office/drawing/2014/main" id="{C773A10E-473B-4368-8657-9896436D646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750529" y="227281"/>
            <a:ext cx="142890" cy="2619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8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.</a:t>
            </a:r>
            <a:endParaRPr lang="en-GB"/>
          </a:p>
        </p:txBody>
      </p:sp>
      <p:sp>
        <p:nvSpPr>
          <p:cNvPr id="8" name="Footer Placeholder 2" hidden="1">
            <a:extLst>
              <a:ext uri="{FF2B5EF4-FFF2-40B4-BE49-F238E27FC236}">
                <a16:creationId xmlns:a16="http://schemas.microsoft.com/office/drawing/2014/main" id="{CD96FAA2-2415-4C99-95B8-8BDEC879CD1E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Footer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10A3DD67-8763-450E-BDD6-6A799F741133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6883A58-43AF-4BDB-B245-D4F0DE0B3CC3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0256715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>
            <a:extLst>
              <a:ext uri="{FF2B5EF4-FFF2-40B4-BE49-F238E27FC236}">
                <a16:creationId xmlns:a16="http://schemas.microsoft.com/office/drawing/2014/main" id="{3CA7B9B8-A511-4B86-B9F6-6A2157394C4D}"/>
              </a:ext>
            </a:extLst>
          </p:cNvPr>
          <p:cNvSpPr/>
          <p:nvPr/>
        </p:nvSpPr>
        <p:spPr>
          <a:xfrm>
            <a:off x="1" y="202407"/>
            <a:ext cx="6075571" cy="3861596"/>
          </a:xfrm>
          <a:prstGeom prst="rect">
            <a:avLst/>
          </a:prstGeom>
          <a:solidFill>
            <a:srgbClr val="30373B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marL="0" marR="0" lvl="0" indent="0" algn="ctr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1500" b="0" i="0" u="none" strike="noStrike" kern="1200" cap="none" spc="0" baseline="0">
              <a:solidFill>
                <a:srgbClr val="FFFFFF"/>
              </a:solidFill>
              <a:uFillTx/>
              <a:latin typeface="Arial"/>
            </a:endParaRPr>
          </a:p>
        </p:txBody>
      </p:sp>
      <p:sp>
        <p:nvSpPr>
          <p:cNvPr id="3" name="Text Placeholder 13">
            <a:extLst>
              <a:ext uri="{FF2B5EF4-FFF2-40B4-BE49-F238E27FC236}">
                <a16:creationId xmlns:a16="http://schemas.microsoft.com/office/drawing/2014/main" id="{BBB17A75-1DFF-4CF4-B0C1-12646BBFDF9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50383" y="1569521"/>
            <a:ext cx="4201459" cy="1686759"/>
          </a:xfrm>
        </p:spPr>
        <p:txBody>
          <a:bodyPr/>
          <a:lstStyle>
            <a:lvl1pPr>
              <a:defRPr lang="en-GB" sz="2099">
                <a:solidFill>
                  <a:srgbClr val="F8F5E7"/>
                </a:solidFill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10AD91D-B614-4586-9F11-C3FA3CBEF4E8}"/>
              </a:ext>
            </a:extLst>
          </p:cNvPr>
          <p:cNvSpPr/>
          <p:nvPr/>
        </p:nvSpPr>
        <p:spPr>
          <a:xfrm>
            <a:off x="1" y="1"/>
            <a:ext cx="4445975" cy="972587"/>
          </a:xfrm>
          <a:prstGeom prst="rect">
            <a:avLst/>
          </a:prstGeom>
          <a:solidFill>
            <a:srgbClr val="E0BCA6"/>
          </a:solidFill>
          <a:ln cap="flat">
            <a:noFill/>
            <a:prstDash val="solid"/>
          </a:ln>
        </p:spPr>
        <p:txBody>
          <a:bodyPr vert="horz" wrap="square" lIns="53999" tIns="53999" rIns="53999" bIns="53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0FFC00EE-EEA5-4D29-B4C9-9FBC6275D2DE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3458689"/>
            <a:ext cx="4201459" cy="416561"/>
          </a:xfrm>
        </p:spPr>
        <p:txBody>
          <a:bodyPr anchor="b"/>
          <a:lstStyle>
            <a:lvl1pPr>
              <a:defRPr lang="en-GB">
                <a:solidFill>
                  <a:srgbClr val="F8F5E7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6" name="TextBox 2">
            <a:extLst>
              <a:ext uri="{FF2B5EF4-FFF2-40B4-BE49-F238E27FC236}">
                <a16:creationId xmlns:a16="http://schemas.microsoft.com/office/drawing/2014/main" id="{4BB14340-7F78-4474-B5D8-F49C241F16AB}"/>
              </a:ext>
            </a:extLst>
          </p:cNvPr>
          <p:cNvSpPr txBox="1"/>
          <p:nvPr/>
        </p:nvSpPr>
        <p:spPr>
          <a:xfrm>
            <a:off x="227086" y="367925"/>
            <a:ext cx="1870516" cy="99706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199" b="0" i="0" u="none" strike="noStrike" kern="1200" cap="none" spc="0" baseline="0">
                <a:solidFill>
                  <a:srgbClr val="F8F5E7"/>
                </a:solidFill>
                <a:uFillTx/>
                <a:latin typeface="Impact" pitchFamily="34"/>
              </a:rPr>
              <a:t>«</a:t>
            </a:r>
          </a:p>
        </p:txBody>
      </p:sp>
      <p:sp>
        <p:nvSpPr>
          <p:cNvPr id="7" name="Date_GeneralDate" hidden="1">
            <a:extLst>
              <a:ext uri="{FF2B5EF4-FFF2-40B4-BE49-F238E27FC236}">
                <a16:creationId xmlns:a16="http://schemas.microsoft.com/office/drawing/2014/main" id="{6B4B03E3-B101-4D6A-8812-D207E76B00DC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0BEC7916-A684-41C2-84EA-D3CEDAAE2683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AFAAD112-6ACD-4D2D-BBF8-8E019AB0615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ECABEAA-8445-4A78-8296-604A6E1E84D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2CF57841-ACED-45D8-9F96-20C1C17B16E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6B38463-160E-485B-8E75-1929DCA11159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6123506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3">
            <a:extLst>
              <a:ext uri="{FF2B5EF4-FFF2-40B4-BE49-F238E27FC236}">
                <a16:creationId xmlns:a16="http://schemas.microsoft.com/office/drawing/2014/main" id="{64622B4F-7563-4514-9383-CE0F17BB397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50383" y="1569521"/>
            <a:ext cx="4201459" cy="1686759"/>
          </a:xfrm>
        </p:spPr>
        <p:txBody>
          <a:bodyPr/>
          <a:lstStyle>
            <a:lvl1pPr>
              <a:defRPr lang="en-GB" sz="2099">
                <a:solidFill>
                  <a:srgbClr val="30373B"/>
                </a:solidFill>
              </a:defRPr>
            </a:lvl1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856DC684-A0EE-48AB-B356-F82B00A11B9A}"/>
              </a:ext>
            </a:extLst>
          </p:cNvPr>
          <p:cNvSpPr/>
          <p:nvPr/>
        </p:nvSpPr>
        <p:spPr>
          <a:xfrm>
            <a:off x="1" y="1"/>
            <a:ext cx="4445975" cy="972587"/>
          </a:xfrm>
          <a:prstGeom prst="rect">
            <a:avLst/>
          </a:prstGeom>
          <a:solidFill>
            <a:srgbClr val="F8F5E7"/>
          </a:solidFill>
          <a:ln cap="flat">
            <a:noFill/>
            <a:prstDash val="solid"/>
          </a:ln>
        </p:spPr>
        <p:txBody>
          <a:bodyPr vert="horz" wrap="square" lIns="53999" tIns="53999" rIns="53999" bIns="53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4" name="Text Placeholder 13">
            <a:extLst>
              <a:ext uri="{FF2B5EF4-FFF2-40B4-BE49-F238E27FC236}">
                <a16:creationId xmlns:a16="http://schemas.microsoft.com/office/drawing/2014/main" id="{7C719BED-E389-4E84-BA6A-323A327B6E7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3458689"/>
            <a:ext cx="4201459" cy="416561"/>
          </a:xfrm>
        </p:spPr>
        <p:txBody>
          <a:bodyPr anchor="b"/>
          <a:lstStyle>
            <a:lvl1pPr>
              <a:defRPr lang="en-GB">
                <a:solidFill>
                  <a:srgbClr val="30373B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5" name="TextBox 2">
            <a:extLst>
              <a:ext uri="{FF2B5EF4-FFF2-40B4-BE49-F238E27FC236}">
                <a16:creationId xmlns:a16="http://schemas.microsoft.com/office/drawing/2014/main" id="{F472F021-6221-4554-9F74-3E7125653B43}"/>
              </a:ext>
            </a:extLst>
          </p:cNvPr>
          <p:cNvSpPr txBox="1"/>
          <p:nvPr/>
        </p:nvSpPr>
        <p:spPr>
          <a:xfrm>
            <a:off x="227086" y="367925"/>
            <a:ext cx="1870516" cy="99706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199" b="0" i="0" u="none" strike="noStrike" kern="1200" cap="none" spc="0" baseline="0">
                <a:solidFill>
                  <a:srgbClr val="30373B"/>
                </a:solidFill>
                <a:uFillTx/>
                <a:latin typeface="Impact" pitchFamily="34"/>
              </a:rPr>
              <a:t>«</a:t>
            </a:r>
          </a:p>
        </p:txBody>
      </p:sp>
      <p:sp>
        <p:nvSpPr>
          <p:cNvPr id="6" name="Date_GeneralDate" hidden="1">
            <a:extLst>
              <a:ext uri="{FF2B5EF4-FFF2-40B4-BE49-F238E27FC236}">
                <a16:creationId xmlns:a16="http://schemas.microsoft.com/office/drawing/2014/main" id="{1DFDBD93-6627-44B1-A5E8-C07932E509FB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BA1BA941-FC58-48AB-A4EE-2BE5DCE5280F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72340EFD-9CED-489B-8734-24A89D38DAE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7D92259D-63AF-4402-AAB8-30D2F837E26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8B3FD5EE-05C7-419D-9956-890643DA19C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BB484D17-63DF-47B0-B948-0ED85958BF10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80999954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_GeneralDate" hidden="1">
            <a:extLst>
              <a:ext uri="{FF2B5EF4-FFF2-40B4-BE49-F238E27FC236}">
                <a16:creationId xmlns:a16="http://schemas.microsoft.com/office/drawing/2014/main" id="{AC53F072-8CF2-4BDF-8347-94F4623AB759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C1BDFD64-E387-4A62-B3A7-77328BBD1EF4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A8D27E24-56BB-45D0-81A7-5AE7D1ADAB5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91FDBE-4758-44DF-9068-700A1412305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5" name="Slide Number Placeholder 2">
            <a:extLst>
              <a:ext uri="{FF2B5EF4-FFF2-40B4-BE49-F238E27FC236}">
                <a16:creationId xmlns:a16="http://schemas.microsoft.com/office/drawing/2014/main" id="{4BA0CEF3-8703-43CC-865A-4450D2E81CF7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162DE6BE-9579-4E47-8461-302BCB76399D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8919883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: Shape 4">
            <a:extLst>
              <a:ext uri="{FF2B5EF4-FFF2-40B4-BE49-F238E27FC236}">
                <a16:creationId xmlns:a16="http://schemas.microsoft.com/office/drawing/2014/main" id="{84E40027-D6BE-40F9-B60B-9AEAA2279164}"/>
              </a:ext>
            </a:extLst>
          </p:cNvPr>
          <p:cNvSpPr/>
          <p:nvPr/>
        </p:nvSpPr>
        <p:spPr>
          <a:xfrm>
            <a:off x="249117" y="210554"/>
            <a:ext cx="8644304" cy="4745832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9586368"/>
              <a:gd name="f7" fmla="val 6479439"/>
              <a:gd name="f8" fmla="val 2157895"/>
              <a:gd name="f9" fmla="val 6461491"/>
              <a:gd name="f10" fmla="val 2167802"/>
              <a:gd name="f11" fmla="val 2171820"/>
              <a:gd name="f12" fmla="val 6465529"/>
              <a:gd name="f13" fmla="val 6475400"/>
              <a:gd name="f14" fmla="val 2153871"/>
              <a:gd name="f15" fmla="val 1918509"/>
              <a:gd name="f16" fmla="val 1928419"/>
              <a:gd name="f17" fmla="val 1932437"/>
              <a:gd name="f18" fmla="val 1914490"/>
              <a:gd name="f19" fmla="val 1679200"/>
              <a:gd name="f20" fmla="val 1689110"/>
              <a:gd name="f21" fmla="val 1693128"/>
              <a:gd name="f22" fmla="val 1675180"/>
              <a:gd name="f23" fmla="val 1439885"/>
              <a:gd name="f24" fmla="val 1449795"/>
              <a:gd name="f25" fmla="val 1453813"/>
              <a:gd name="f26" fmla="val 1435865"/>
              <a:gd name="f27" fmla="val 1200570"/>
              <a:gd name="f28" fmla="val 1210480"/>
              <a:gd name="f29" fmla="val 1214498"/>
              <a:gd name="f30" fmla="val 1196551"/>
              <a:gd name="f31" fmla="val 961257"/>
              <a:gd name="f32" fmla="val 971167"/>
              <a:gd name="f33" fmla="val 975186"/>
              <a:gd name="f34" fmla="val 957238"/>
              <a:gd name="f35" fmla="val 9572438"/>
              <a:gd name="f36" fmla="val 6461440"/>
              <a:gd name="f37" fmla="val 9582349"/>
              <a:gd name="f38" fmla="val 6465478"/>
              <a:gd name="f39" fmla="val 6475349"/>
              <a:gd name="f40" fmla="val 6479388"/>
              <a:gd name="f41" fmla="val 9568419"/>
              <a:gd name="f42" fmla="val 9333125"/>
              <a:gd name="f43" fmla="val 9343036"/>
              <a:gd name="f44" fmla="val 9347055"/>
              <a:gd name="f45" fmla="val 9329106"/>
              <a:gd name="f46" fmla="val 9093811"/>
              <a:gd name="f47" fmla="val 9103722"/>
              <a:gd name="f48" fmla="val 9107741"/>
              <a:gd name="f49" fmla="val 9089792"/>
              <a:gd name="f50" fmla="val 8854496"/>
              <a:gd name="f51" fmla="val 8864407"/>
              <a:gd name="f52" fmla="val 8868426"/>
              <a:gd name="f53" fmla="val 8850477"/>
              <a:gd name="f54" fmla="val 8615184"/>
              <a:gd name="f55" fmla="val 8625095"/>
              <a:gd name="f56" fmla="val 8629114"/>
              <a:gd name="f57" fmla="val 8611165"/>
              <a:gd name="f58" fmla="val 8375869"/>
              <a:gd name="f59" fmla="val 8385779"/>
              <a:gd name="f60" fmla="val 8389799"/>
              <a:gd name="f61" fmla="val 8371850"/>
              <a:gd name="f62" fmla="val 8136553"/>
              <a:gd name="f63" fmla="val 8146464"/>
              <a:gd name="f64" fmla="val 8150483"/>
              <a:gd name="f65" fmla="val 8132534"/>
              <a:gd name="f66" fmla="val 7897241"/>
              <a:gd name="f67" fmla="val 7907151"/>
              <a:gd name="f68" fmla="val 7911170"/>
              <a:gd name="f69" fmla="val 7893222"/>
              <a:gd name="f70" fmla="val 7657926"/>
              <a:gd name="f71" fmla="val 7667836"/>
              <a:gd name="f72" fmla="val 7671855"/>
              <a:gd name="f73" fmla="val 7653906"/>
              <a:gd name="f74" fmla="val 7418611"/>
              <a:gd name="f75" fmla="val 7428521"/>
              <a:gd name="f76" fmla="val 7432540"/>
              <a:gd name="f77" fmla="val 7414592"/>
              <a:gd name="f78" fmla="val 7179298"/>
              <a:gd name="f79" fmla="val 7189209"/>
              <a:gd name="f80" fmla="val 7193228"/>
              <a:gd name="f81" fmla="val 7175279"/>
              <a:gd name="f82" fmla="val 6939983"/>
              <a:gd name="f83" fmla="val 6949894"/>
              <a:gd name="f84" fmla="val 6953913"/>
              <a:gd name="f85" fmla="val 6935964"/>
              <a:gd name="f86" fmla="val 6700670"/>
              <a:gd name="f87" fmla="val 6710581"/>
              <a:gd name="f88" fmla="val 6714600"/>
              <a:gd name="f89" fmla="val 6696651"/>
              <a:gd name="f90" fmla="val 6461356"/>
              <a:gd name="f91" fmla="val 6471266"/>
              <a:gd name="f92" fmla="val 6475285"/>
              <a:gd name="f93" fmla="val 6457337"/>
              <a:gd name="f94" fmla="val 6222042"/>
              <a:gd name="f95" fmla="val 6231952"/>
              <a:gd name="f96" fmla="val 6235971"/>
              <a:gd name="f97" fmla="val 6218023"/>
              <a:gd name="f98" fmla="val 5982729"/>
              <a:gd name="f99" fmla="val 5992639"/>
              <a:gd name="f100" fmla="val 5996658"/>
              <a:gd name="f101" fmla="val 5978710"/>
              <a:gd name="f102" fmla="val 5743412"/>
              <a:gd name="f103" fmla="val 5753323"/>
              <a:gd name="f104" fmla="val 5757342"/>
              <a:gd name="f105" fmla="val 5739393"/>
              <a:gd name="f106" fmla="val 5504099"/>
              <a:gd name="f107" fmla="val 5514010"/>
              <a:gd name="f108" fmla="val 5518029"/>
              <a:gd name="f109" fmla="val 5500080"/>
              <a:gd name="f110" fmla="val 5264784"/>
              <a:gd name="f111" fmla="val 5274694"/>
              <a:gd name="f112" fmla="val 5278713"/>
              <a:gd name="f113" fmla="val 5260765"/>
              <a:gd name="f114" fmla="val 5025470"/>
              <a:gd name="f115" fmla="val 5035381"/>
              <a:gd name="f116" fmla="val 5039400"/>
              <a:gd name="f117" fmla="val 5021451"/>
              <a:gd name="f118" fmla="val 4786241"/>
              <a:gd name="f119" fmla="val 4796152"/>
              <a:gd name="f120" fmla="val 4800171"/>
              <a:gd name="f121" fmla="val 4782224"/>
              <a:gd name="f122" fmla="val 4546929"/>
              <a:gd name="f123" fmla="val 4556840"/>
              <a:gd name="f124" fmla="val 4560859"/>
              <a:gd name="f125" fmla="val 4542910"/>
              <a:gd name="f126" fmla="val 4307612"/>
              <a:gd name="f127" fmla="val 4317523"/>
              <a:gd name="f128" fmla="val 4321543"/>
              <a:gd name="f129" fmla="val 4303595"/>
              <a:gd name="f130" fmla="val 4068297"/>
              <a:gd name="f131" fmla="val 4078210"/>
              <a:gd name="f132" fmla="val 4082229"/>
              <a:gd name="f133" fmla="val 4064278"/>
              <a:gd name="f134" fmla="val 3828990"/>
              <a:gd name="f135" fmla="val 3838899"/>
              <a:gd name="f136" fmla="val 3842917"/>
              <a:gd name="f137" fmla="val 3824971"/>
              <a:gd name="f138" fmla="val 3589676"/>
              <a:gd name="f139" fmla="val 3599585"/>
              <a:gd name="f140" fmla="val 3603604"/>
              <a:gd name="f141" fmla="val 3585657"/>
              <a:gd name="f142" fmla="val 3350359"/>
              <a:gd name="f143" fmla="val 3360268"/>
              <a:gd name="f144" fmla="val 3364287"/>
              <a:gd name="f145" fmla="val 3346340"/>
              <a:gd name="f146" fmla="val 3111048"/>
              <a:gd name="f147" fmla="val 3120959"/>
              <a:gd name="f148" fmla="val 3124977"/>
              <a:gd name="f149" fmla="val 3107029"/>
              <a:gd name="f150" fmla="val 2871737"/>
              <a:gd name="f151" fmla="val 2881646"/>
              <a:gd name="f152" fmla="val 2885666"/>
              <a:gd name="f153" fmla="val 2867717"/>
              <a:gd name="f154" fmla="val 2632423"/>
              <a:gd name="f155" fmla="val 2642334"/>
              <a:gd name="f156" fmla="val 2646352"/>
              <a:gd name="f157" fmla="val 2628404"/>
              <a:gd name="f158" fmla="val 2393104"/>
              <a:gd name="f159" fmla="val 2403015"/>
              <a:gd name="f160" fmla="val 2407034"/>
              <a:gd name="f161" fmla="val 2389087"/>
              <a:gd name="f162" fmla="val 721958"/>
              <a:gd name="f163" fmla="val 731868"/>
              <a:gd name="f164" fmla="val 735887"/>
              <a:gd name="f165" fmla="val 717939"/>
              <a:gd name="f166" fmla="val 482646"/>
              <a:gd name="f167" fmla="val 492556"/>
              <a:gd name="f168" fmla="val 496575"/>
              <a:gd name="f169" fmla="val 478627"/>
              <a:gd name="f170" fmla="val 243332"/>
              <a:gd name="f171" fmla="val 253242"/>
              <a:gd name="f172" fmla="val 257261"/>
              <a:gd name="f173" fmla="val 239313"/>
              <a:gd name="f174" fmla="val 4019"/>
              <a:gd name="f175" fmla="val 13929"/>
              <a:gd name="f176" fmla="val 17949"/>
              <a:gd name="f177" fmla="val 6222160"/>
              <a:gd name="f178" fmla="val 6226198"/>
              <a:gd name="f179" fmla="val 6236069"/>
              <a:gd name="f180" fmla="val 6240109"/>
              <a:gd name="f181" fmla="val 2157818"/>
              <a:gd name="f182" fmla="val 2167728"/>
              <a:gd name="f183" fmla="val 2171746"/>
              <a:gd name="f184" fmla="val 2153799"/>
              <a:gd name="f185" fmla="val 1932438"/>
              <a:gd name="f186" fmla="val 1693129"/>
              <a:gd name="f187" fmla="val 1675182"/>
              <a:gd name="f188" fmla="val 1453814"/>
              <a:gd name="f189" fmla="val 1435866"/>
              <a:gd name="f190" fmla="val 1210481"/>
              <a:gd name="f191" fmla="val 1214499"/>
              <a:gd name="f192" fmla="val 961258"/>
              <a:gd name="f193" fmla="val 957239"/>
              <a:gd name="f194" fmla="val 721959"/>
              <a:gd name="f195" fmla="val 731869"/>
              <a:gd name="f196" fmla="val 735888"/>
              <a:gd name="f197" fmla="val 717940"/>
              <a:gd name="f198" fmla="val 492557"/>
              <a:gd name="f199" fmla="val 496576"/>
              <a:gd name="f200" fmla="val 243333"/>
              <a:gd name="f201" fmla="val 253243"/>
              <a:gd name="f202" fmla="val 257263"/>
              <a:gd name="f203" fmla="val 239314"/>
              <a:gd name="f204" fmla="val 4020"/>
              <a:gd name="f205" fmla="val 13930"/>
              <a:gd name="f206" fmla="val 1"/>
              <a:gd name="f207" fmla="val 5982881"/>
              <a:gd name="f208" fmla="val 2171747"/>
              <a:gd name="f209" fmla="val 5986919"/>
              <a:gd name="f210" fmla="val 5996790"/>
              <a:gd name="f211" fmla="val 6000829"/>
              <a:gd name="f212" fmla="val 1928420"/>
              <a:gd name="f213" fmla="val 1679201"/>
              <a:gd name="f214" fmla="val 1689111"/>
              <a:gd name="f215" fmla="val 1439886"/>
              <a:gd name="f216" fmla="val 1449796"/>
              <a:gd name="f217" fmla="val 1200571"/>
              <a:gd name="f218" fmla="val 1214500"/>
              <a:gd name="f219" fmla="val 1196553"/>
              <a:gd name="f220" fmla="val 971168"/>
              <a:gd name="f221" fmla="val 975187"/>
              <a:gd name="f222" fmla="val 5982829"/>
              <a:gd name="f223" fmla="val 5986868"/>
              <a:gd name="f224" fmla="val 5996739"/>
              <a:gd name="f225" fmla="val 6000778"/>
              <a:gd name="f226" fmla="val 721960"/>
              <a:gd name="f227" fmla="val 482647"/>
              <a:gd name="f228" fmla="val 478628"/>
              <a:gd name="f229" fmla="val 243334"/>
              <a:gd name="f230" fmla="val 253244"/>
              <a:gd name="f231" fmla="val 239315"/>
              <a:gd name="f232" fmla="val 4021"/>
              <a:gd name="f233" fmla="val 13931"/>
              <a:gd name="f234" fmla="val 17950"/>
              <a:gd name="f235" fmla="val 5743551"/>
              <a:gd name="f236" fmla="val 5747589"/>
              <a:gd name="f237" fmla="val 5757460"/>
              <a:gd name="f238" fmla="val 5761499"/>
              <a:gd name="f239" fmla="val 1918510"/>
              <a:gd name="f240" fmla="val 1689112"/>
              <a:gd name="f241" fmla="val 1693131"/>
              <a:gd name="f242" fmla="val 1675183"/>
              <a:gd name="f243" fmla="val 1449797"/>
              <a:gd name="f244" fmla="val 1453815"/>
              <a:gd name="f245" fmla="val 1435868"/>
              <a:gd name="f246" fmla="val 1200572"/>
              <a:gd name="f247" fmla="val 1210482"/>
              <a:gd name="f248" fmla="val 961259"/>
              <a:gd name="f249" fmla="val 971169"/>
              <a:gd name="f250" fmla="val 975188"/>
              <a:gd name="f251" fmla="val 957240"/>
              <a:gd name="f252" fmla="val 5743499"/>
              <a:gd name="f253" fmla="val 5747537"/>
              <a:gd name="f254" fmla="val 5757408"/>
              <a:gd name="f255" fmla="val 5761447"/>
              <a:gd name="f256" fmla="val 731871"/>
              <a:gd name="f257" fmla="val 735889"/>
              <a:gd name="f258" fmla="val 717941"/>
              <a:gd name="f259" fmla="val 482648"/>
              <a:gd name="f260" fmla="val 492558"/>
              <a:gd name="f261" fmla="val 496578"/>
              <a:gd name="f262" fmla="val 478629"/>
              <a:gd name="f263" fmla="val 253245"/>
              <a:gd name="f264" fmla="val 257264"/>
              <a:gd name="f265" fmla="val 13932"/>
              <a:gd name="f266" fmla="val 2"/>
              <a:gd name="f267" fmla="val 5504220"/>
              <a:gd name="f268" fmla="val 5508258"/>
              <a:gd name="f269" fmla="val 5518129"/>
              <a:gd name="f270" fmla="val 5522168"/>
              <a:gd name="f271" fmla="val 2171748"/>
              <a:gd name="f272" fmla="val 1679202"/>
              <a:gd name="f273" fmla="val 1693132"/>
              <a:gd name="f274" fmla="val 1675184"/>
              <a:gd name="f275" fmla="val 1439887"/>
              <a:gd name="f276" fmla="val 1435869"/>
              <a:gd name="f277" fmla="val 1210483"/>
              <a:gd name="f278" fmla="val 1214501"/>
              <a:gd name="f279" fmla="val 1196554"/>
              <a:gd name="f280" fmla="val 961260"/>
              <a:gd name="f281" fmla="val 975189"/>
              <a:gd name="f282" fmla="val 957241"/>
              <a:gd name="f283" fmla="val 721961"/>
              <a:gd name="f284" fmla="val 735890"/>
              <a:gd name="f285" fmla="val 717942"/>
              <a:gd name="f286" fmla="val 482649"/>
              <a:gd name="f287" fmla="val 492559"/>
              <a:gd name="f288" fmla="val 478630"/>
              <a:gd name="f289" fmla="val 243335"/>
              <a:gd name="f290" fmla="val 239316"/>
              <a:gd name="f291" fmla="val 4022"/>
              <a:gd name="f292" fmla="val 17951"/>
              <a:gd name="f293" fmla="val 3"/>
              <a:gd name="f294" fmla="val 5264940"/>
              <a:gd name="f295" fmla="val 2167729"/>
              <a:gd name="f296" fmla="val 5268978"/>
              <a:gd name="f297" fmla="val 5278849"/>
              <a:gd name="f298" fmla="val 5282888"/>
              <a:gd name="f299" fmla="val 1914492"/>
              <a:gd name="f300" fmla="val 1679204"/>
              <a:gd name="f301" fmla="val 1689113"/>
              <a:gd name="f302" fmla="val 1439889"/>
              <a:gd name="f303" fmla="val 1449798"/>
              <a:gd name="f304" fmla="val 1453817"/>
              <a:gd name="f305" fmla="val 1200573"/>
              <a:gd name="f306" fmla="val 1214502"/>
              <a:gd name="f307" fmla="val 971171"/>
              <a:gd name="f308" fmla="val 5264889"/>
              <a:gd name="f309" fmla="val 5268928"/>
              <a:gd name="f310" fmla="val 5278799"/>
              <a:gd name="f311" fmla="val 5282838"/>
              <a:gd name="f312" fmla="val 731872"/>
              <a:gd name="f313" fmla="val 735891"/>
              <a:gd name="f314" fmla="val 717943"/>
              <a:gd name="f315" fmla="val 492560"/>
              <a:gd name="f316" fmla="val 496579"/>
              <a:gd name="f317" fmla="val 243336"/>
              <a:gd name="f318" fmla="val 253246"/>
              <a:gd name="f319" fmla="val 257265"/>
              <a:gd name="f320" fmla="val 239317"/>
              <a:gd name="f321" fmla="val 13933"/>
              <a:gd name="f322" fmla="val 17952"/>
              <a:gd name="f323" fmla="val 2157819"/>
              <a:gd name="f324" fmla="val 5025610"/>
              <a:gd name="f325" fmla="val 5029648"/>
              <a:gd name="f326" fmla="val 5039519"/>
              <a:gd name="f327" fmla="val 5043558"/>
              <a:gd name="f328" fmla="val 2153800"/>
              <a:gd name="f329" fmla="val 1932440"/>
              <a:gd name="f330" fmla="val 1689115"/>
              <a:gd name="f331" fmla="val 1693133"/>
              <a:gd name="f332" fmla="val 1675185"/>
              <a:gd name="f333" fmla="val 1453818"/>
              <a:gd name="f334" fmla="val 1435870"/>
              <a:gd name="f335" fmla="val 1210484"/>
              <a:gd name="f336" fmla="val 1196555"/>
              <a:gd name="f337" fmla="val 961261"/>
              <a:gd name="f338" fmla="val 975190"/>
              <a:gd name="f339" fmla="val 957242"/>
              <a:gd name="f340" fmla="val 5025558"/>
              <a:gd name="f341" fmla="val 5029597"/>
              <a:gd name="f342" fmla="val 5039468"/>
              <a:gd name="f343" fmla="val 5043507"/>
              <a:gd name="f344" fmla="val 721962"/>
              <a:gd name="f345" fmla="val 717944"/>
              <a:gd name="f346" fmla="val 482650"/>
              <a:gd name="f347" fmla="val 496580"/>
              <a:gd name="f348" fmla="val 478631"/>
              <a:gd name="f349" fmla="val 253247"/>
              <a:gd name="f350" fmla="val 257266"/>
              <a:gd name="f351" fmla="val 4024"/>
              <a:gd name="f352" fmla="val 4"/>
              <a:gd name="f353" fmla="val 4786279"/>
              <a:gd name="f354" fmla="val 4790317"/>
              <a:gd name="f355" fmla="val 4800188"/>
              <a:gd name="f356" fmla="val 4804227"/>
              <a:gd name="f357" fmla="val 1679205"/>
              <a:gd name="f358" fmla="val 1693134"/>
              <a:gd name="f359" fmla="val 1675187"/>
              <a:gd name="f360" fmla="val 1439890"/>
              <a:gd name="f361" fmla="val 1449800"/>
              <a:gd name="f362" fmla="val 1200574"/>
              <a:gd name="f363" fmla="val 1214503"/>
              <a:gd name="f364" fmla="val 961262"/>
              <a:gd name="f365" fmla="val 971172"/>
              <a:gd name="f366" fmla="val 721963"/>
              <a:gd name="f367" fmla="val 731873"/>
              <a:gd name="f368" fmla="val 735892"/>
              <a:gd name="f369" fmla="val 482651"/>
              <a:gd name="f370" fmla="val 492561"/>
              <a:gd name="f371" fmla="val 478632"/>
              <a:gd name="f372" fmla="val 243338"/>
              <a:gd name="f373" fmla="val 239318"/>
              <a:gd name="f374" fmla="val 13934"/>
              <a:gd name="f375" fmla="val 17954"/>
              <a:gd name="f376" fmla="val 5"/>
              <a:gd name="f377" fmla="val 4546999"/>
              <a:gd name="f378" fmla="val 4551038"/>
              <a:gd name="f379" fmla="val 4560909"/>
              <a:gd name="f380" fmla="val 4564948"/>
              <a:gd name="f381" fmla="val 2153801"/>
              <a:gd name="f382" fmla="val 1928421"/>
              <a:gd name="f383" fmla="val 1679206"/>
              <a:gd name="f384" fmla="val 1689116"/>
              <a:gd name="f385" fmla="val 1453819"/>
              <a:gd name="f386" fmla="val 1435871"/>
              <a:gd name="f387" fmla="val 1200575"/>
              <a:gd name="f388" fmla="val 1210485"/>
              <a:gd name="f389" fmla="val 1214504"/>
              <a:gd name="f390" fmla="val 1196556"/>
              <a:gd name="f391" fmla="val 975191"/>
              <a:gd name="f392" fmla="val 957243"/>
              <a:gd name="f393" fmla="val 4546948"/>
              <a:gd name="f394" fmla="val 4550987"/>
              <a:gd name="f395" fmla="val 4560858"/>
              <a:gd name="f396" fmla="val 4564897"/>
              <a:gd name="f397" fmla="val 721964"/>
              <a:gd name="f398" fmla="val 731874"/>
              <a:gd name="f399" fmla="val 735893"/>
              <a:gd name="f400" fmla="val 717945"/>
              <a:gd name="f401" fmla="val 492562"/>
              <a:gd name="f402" fmla="val 496581"/>
              <a:gd name="f403" fmla="val 253248"/>
              <a:gd name="f404" fmla="val 257267"/>
              <a:gd name="f405" fmla="val 239319"/>
              <a:gd name="f406" fmla="val 4025"/>
              <a:gd name="f407" fmla="val 13935"/>
              <a:gd name="f408" fmla="val 6"/>
              <a:gd name="f409" fmla="val 4307669"/>
              <a:gd name="f410" fmla="val 2171749"/>
              <a:gd name="f411" fmla="val 4311708"/>
              <a:gd name="f412" fmla="val 4321579"/>
              <a:gd name="f413" fmla="val 4325618"/>
              <a:gd name="f414" fmla="val 1918511"/>
              <a:gd name="f415" fmla="val 1689117"/>
              <a:gd name="f416" fmla="val 1693136"/>
              <a:gd name="f417" fmla="val 1675188"/>
              <a:gd name="f418" fmla="val 1439891"/>
              <a:gd name="f419" fmla="val 1449801"/>
              <a:gd name="f420" fmla="val 1210486"/>
              <a:gd name="f421" fmla="val 1214505"/>
              <a:gd name="f422" fmla="val 961263"/>
              <a:gd name="f423" fmla="val 971173"/>
              <a:gd name="f424" fmla="val 957244"/>
              <a:gd name="f425" fmla="val 4307617"/>
              <a:gd name="f426" fmla="val 4311656"/>
              <a:gd name="f427" fmla="val 4321527"/>
              <a:gd name="f428" fmla="val 4325566"/>
              <a:gd name="f429" fmla="val 721965"/>
              <a:gd name="f430" fmla="val 482652"/>
              <a:gd name="f431" fmla="val 478633"/>
              <a:gd name="f432" fmla="val 243339"/>
              <a:gd name="f433" fmla="val 253249"/>
              <a:gd name="f434" fmla="val 257268"/>
              <a:gd name="f435" fmla="val 239320"/>
              <a:gd name="f436" fmla="val 13936"/>
              <a:gd name="f437" fmla="val 17955"/>
              <a:gd name="f438" fmla="val 7"/>
              <a:gd name="f439" fmla="val 4068339"/>
              <a:gd name="f440" fmla="val 4072377"/>
              <a:gd name="f441" fmla="val 4082248"/>
              <a:gd name="f442" fmla="val 4086287"/>
              <a:gd name="f443" fmla="val 1679207"/>
              <a:gd name="f444" fmla="val 1693137"/>
              <a:gd name="f445" fmla="val 1675189"/>
              <a:gd name="f446" fmla="val 1449802"/>
              <a:gd name="f447" fmla="val 1453820"/>
              <a:gd name="f448" fmla="val 1435873"/>
              <a:gd name="f449" fmla="val 1200576"/>
              <a:gd name="f450" fmla="val 1196558"/>
              <a:gd name="f451" fmla="val 971174"/>
              <a:gd name="f452" fmla="val 975192"/>
              <a:gd name="f453" fmla="val 731876"/>
              <a:gd name="f454" fmla="val 735894"/>
              <a:gd name="f455" fmla="val 717946"/>
              <a:gd name="f456" fmla="val 482653"/>
              <a:gd name="f457" fmla="val 492563"/>
              <a:gd name="f458" fmla="val 496583"/>
              <a:gd name="f459" fmla="val 478634"/>
              <a:gd name="f460" fmla="val 253250"/>
              <a:gd name="f461" fmla="val 257269"/>
              <a:gd name="f462" fmla="val 4026"/>
              <a:gd name="f463" fmla="val 17956"/>
              <a:gd name="f464" fmla="val 2157820"/>
              <a:gd name="f465" fmla="val 3829058"/>
              <a:gd name="f466" fmla="val 2167731"/>
              <a:gd name="f467" fmla="val 3833097"/>
              <a:gd name="f468" fmla="val 3842968"/>
              <a:gd name="f469" fmla="val 3847007"/>
              <a:gd name="f470" fmla="val 1914493"/>
              <a:gd name="f471" fmla="val 1679209"/>
              <a:gd name="f472" fmla="val 1689118"/>
              <a:gd name="f473" fmla="val 1439892"/>
              <a:gd name="f474" fmla="val 1435874"/>
              <a:gd name="f475" fmla="val 1200577"/>
              <a:gd name="f476" fmla="val 1210487"/>
              <a:gd name="f477" fmla="val 1214506"/>
              <a:gd name="f478" fmla="val 961264"/>
              <a:gd name="f479" fmla="val 975193"/>
              <a:gd name="f480" fmla="val 957245"/>
              <a:gd name="f481" fmla="val 3829008"/>
              <a:gd name="f482" fmla="val 3833046"/>
              <a:gd name="f483" fmla="val 3846956"/>
              <a:gd name="f484" fmla="val 721966"/>
              <a:gd name="f485" fmla="val 735895"/>
              <a:gd name="f486" fmla="val 717947"/>
              <a:gd name="f487" fmla="val 482654"/>
              <a:gd name="f488" fmla="val 492564"/>
              <a:gd name="f489" fmla="val 478635"/>
              <a:gd name="f490" fmla="val 243340"/>
              <a:gd name="f491" fmla="val 239321"/>
              <a:gd name="f492" fmla="val 4027"/>
              <a:gd name="f493" fmla="val 13937"/>
              <a:gd name="f494" fmla="val 8"/>
              <a:gd name="f495" fmla="val 3589728"/>
              <a:gd name="f496" fmla="val 3593767"/>
              <a:gd name="f497" fmla="val 3603637"/>
              <a:gd name="f498" fmla="val 3607676"/>
              <a:gd name="f499" fmla="val 1932441"/>
              <a:gd name="f500" fmla="val 1693138"/>
              <a:gd name="f501" fmla="val 1675190"/>
              <a:gd name="f502" fmla="val 1449803"/>
              <a:gd name="f503" fmla="val 1453822"/>
              <a:gd name="f504" fmla="val 1210488"/>
              <a:gd name="f505" fmla="val 1196559"/>
              <a:gd name="f506" fmla="val 961265"/>
              <a:gd name="f507" fmla="val 971175"/>
              <a:gd name="f508" fmla="val 957246"/>
              <a:gd name="f509" fmla="val 3589677"/>
              <a:gd name="f510" fmla="val 3593716"/>
              <a:gd name="f511" fmla="val 3603586"/>
              <a:gd name="f512" fmla="val 3607625"/>
              <a:gd name="f513" fmla="val 731877"/>
              <a:gd name="f514" fmla="val 735896"/>
              <a:gd name="f515" fmla="val 717948"/>
              <a:gd name="f516" fmla="val 492565"/>
              <a:gd name="f517" fmla="val 496584"/>
              <a:gd name="f518" fmla="val 243341"/>
              <a:gd name="f519" fmla="val 253251"/>
              <a:gd name="f520" fmla="val 257270"/>
              <a:gd name="f521" fmla="val 13938"/>
              <a:gd name="f522" fmla="val 17957"/>
              <a:gd name="f523" fmla="val 3350398"/>
              <a:gd name="f524" fmla="val 3354436"/>
              <a:gd name="f525" fmla="val 3364306"/>
              <a:gd name="f526" fmla="val 3368345"/>
              <a:gd name="f527" fmla="val 2153802"/>
              <a:gd name="f528" fmla="val 1928422"/>
              <a:gd name="f529" fmla="val 1679210"/>
              <a:gd name="f530" fmla="val 1689120"/>
              <a:gd name="f531" fmla="val 1675191"/>
              <a:gd name="f532" fmla="val 1439893"/>
              <a:gd name="f533" fmla="val 1453823"/>
              <a:gd name="f534" fmla="val 1435875"/>
              <a:gd name="f535" fmla="val 1200578"/>
              <a:gd name="f536" fmla="val 1214507"/>
              <a:gd name="f537" fmla="val 971176"/>
              <a:gd name="f538" fmla="val 975194"/>
              <a:gd name="f539" fmla="val 721967"/>
              <a:gd name="f540" fmla="val 717949"/>
              <a:gd name="f541" fmla="val 482655"/>
              <a:gd name="f542" fmla="val 478636"/>
              <a:gd name="f543" fmla="val 253252"/>
              <a:gd name="f544" fmla="val 257271"/>
              <a:gd name="f545" fmla="val 239322"/>
              <a:gd name="f546" fmla="val 4029"/>
              <a:gd name="f547" fmla="val 9"/>
              <a:gd name="f548" fmla="val 3111118"/>
              <a:gd name="f549" fmla="val 2171750"/>
              <a:gd name="f550" fmla="val 3115157"/>
              <a:gd name="f551" fmla="val 3125027"/>
              <a:gd name="f552" fmla="val 3129066"/>
              <a:gd name="f553" fmla="val 1918513"/>
              <a:gd name="f554" fmla="val 1679211"/>
              <a:gd name="f555" fmla="val 1689121"/>
              <a:gd name="f556" fmla="val 1693139"/>
              <a:gd name="f557" fmla="val 1439895"/>
              <a:gd name="f558" fmla="val 1449805"/>
              <a:gd name="f559" fmla="val 1210489"/>
              <a:gd name="f560" fmla="val 1196560"/>
              <a:gd name="f561" fmla="val 961266"/>
              <a:gd name="f562" fmla="val 975195"/>
              <a:gd name="f563" fmla="val 957247"/>
              <a:gd name="f564" fmla="val 3111067"/>
              <a:gd name="f565" fmla="val 3115105"/>
              <a:gd name="f566" fmla="val 3124976"/>
              <a:gd name="f567" fmla="val 3129015"/>
              <a:gd name="f568" fmla="val 721968"/>
              <a:gd name="f569" fmla="val 731878"/>
              <a:gd name="f570" fmla="val 735897"/>
              <a:gd name="f571" fmla="val 482656"/>
              <a:gd name="f572" fmla="val 492566"/>
              <a:gd name="f573" fmla="val 496585"/>
              <a:gd name="f574" fmla="val 478637"/>
              <a:gd name="f575" fmla="val 243342"/>
              <a:gd name="f576" fmla="val 239323"/>
              <a:gd name="f577" fmla="val 13939"/>
              <a:gd name="f578" fmla="val 17959"/>
              <a:gd name="f579" fmla="val 10"/>
              <a:gd name="f580" fmla="val 2871788"/>
              <a:gd name="f581" fmla="val 2167732"/>
              <a:gd name="f582" fmla="val 2875826"/>
              <a:gd name="f583" fmla="val 2885696"/>
              <a:gd name="f584" fmla="val 2889735"/>
              <a:gd name="f585" fmla="val 1693141"/>
              <a:gd name="f586" fmla="val 1675193"/>
              <a:gd name="f587" fmla="val 1453824"/>
              <a:gd name="f588" fmla="val 1435876"/>
              <a:gd name="f589" fmla="val 1200579"/>
              <a:gd name="f590" fmla="val 1214509"/>
              <a:gd name="f591" fmla="val 961267"/>
              <a:gd name="f592" fmla="val 971177"/>
              <a:gd name="f593" fmla="val 2871736"/>
              <a:gd name="f594" fmla="val 2875775"/>
              <a:gd name="f595" fmla="val 2885645"/>
              <a:gd name="f596" fmla="val 2889684"/>
              <a:gd name="f597" fmla="val 721969"/>
              <a:gd name="f598" fmla="val 731879"/>
              <a:gd name="f599" fmla="val 735898"/>
              <a:gd name="f600" fmla="val 717950"/>
              <a:gd name="f601" fmla="val 492567"/>
              <a:gd name="f602" fmla="val 496586"/>
              <a:gd name="f603" fmla="val 243343"/>
              <a:gd name="f604" fmla="val 253253"/>
              <a:gd name="f605" fmla="val 257272"/>
              <a:gd name="f606" fmla="val 239324"/>
              <a:gd name="f607" fmla="val 4030"/>
              <a:gd name="f608" fmla="val 13940"/>
              <a:gd name="f609" fmla="val 11"/>
              <a:gd name="f610" fmla="val 2632457"/>
              <a:gd name="f611" fmla="val 2636496"/>
              <a:gd name="f612" fmla="val 2646366"/>
              <a:gd name="f613" fmla="val 2650405"/>
              <a:gd name="f614" fmla="val 2157821"/>
              <a:gd name="f615" fmla="val 1914494"/>
              <a:gd name="f616" fmla="val 1679212"/>
              <a:gd name="f617" fmla="val 1689122"/>
              <a:gd name="f618" fmla="val 1439896"/>
              <a:gd name="f619" fmla="val 1449806"/>
              <a:gd name="f620" fmla="val 1200580"/>
              <a:gd name="f621" fmla="val 1210490"/>
              <a:gd name="f622" fmla="val 1196561"/>
              <a:gd name="f623" fmla="val 971178"/>
              <a:gd name="f624" fmla="val 975196"/>
              <a:gd name="f625" fmla="val 957249"/>
              <a:gd name="f626" fmla="val 721970"/>
              <a:gd name="f627" fmla="val 717951"/>
              <a:gd name="f628" fmla="val 482657"/>
              <a:gd name="f629" fmla="val 478638"/>
              <a:gd name="f630" fmla="val 243344"/>
              <a:gd name="f631" fmla="val 253254"/>
              <a:gd name="f632" fmla="val 257273"/>
              <a:gd name="f633" fmla="val 239325"/>
              <a:gd name="f634" fmla="val 13941"/>
              <a:gd name="f635" fmla="val 17960"/>
              <a:gd name="f636" fmla="val 2393178"/>
              <a:gd name="f637" fmla="val 2397216"/>
              <a:gd name="f638" fmla="val 2407087"/>
              <a:gd name="f639" fmla="val 2411126"/>
              <a:gd name="f640" fmla="val 1932443"/>
              <a:gd name="f641" fmla="val 1689123"/>
              <a:gd name="f642" fmla="val 1693142"/>
              <a:gd name="f643" fmla="val 1675194"/>
              <a:gd name="f644" fmla="val 1453826"/>
              <a:gd name="f645" fmla="val 1435878"/>
              <a:gd name="f646" fmla="val 1210491"/>
              <a:gd name="f647" fmla="val 1214510"/>
              <a:gd name="f648" fmla="val 1196562"/>
              <a:gd name="f649" fmla="val 961268"/>
              <a:gd name="f650" fmla="val 2393127"/>
              <a:gd name="f651" fmla="val 2397165"/>
              <a:gd name="f652" fmla="val 2407036"/>
              <a:gd name="f653" fmla="val 2411074"/>
              <a:gd name="f654" fmla="val 731881"/>
              <a:gd name="f655" fmla="val 735899"/>
              <a:gd name="f656" fmla="val 482658"/>
              <a:gd name="f657" fmla="val 492568"/>
              <a:gd name="f658" fmla="val 496588"/>
              <a:gd name="f659" fmla="val 478639"/>
              <a:gd name="f660" fmla="val 253255"/>
              <a:gd name="f661" fmla="val 257274"/>
              <a:gd name="f662" fmla="val 4031"/>
              <a:gd name="f663" fmla="val 17961"/>
              <a:gd name="f664" fmla="val 12"/>
              <a:gd name="f665" fmla="val 2153996"/>
              <a:gd name="f666" fmla="val 2158034"/>
              <a:gd name="f667" fmla="val 2167907"/>
              <a:gd name="f668" fmla="val 2171946"/>
              <a:gd name="f669" fmla="val 2171947"/>
              <a:gd name="f670" fmla="val 2153995"/>
              <a:gd name="f671" fmla="val 2153976"/>
              <a:gd name="f672" fmla="val 2158014"/>
              <a:gd name="f673" fmla="val 2167886"/>
              <a:gd name="f674" fmla="val 2171926"/>
              <a:gd name="f675" fmla="val 2167887"/>
              <a:gd name="f676" fmla="val 2153956"/>
              <a:gd name="f677" fmla="val 2157994"/>
              <a:gd name="f678" fmla="val 2167867"/>
              <a:gd name="f679" fmla="val 2171905"/>
              <a:gd name="f680" fmla="val 2171906"/>
              <a:gd name="f681" fmla="val 2153955"/>
              <a:gd name="f682" fmla="val 2167866"/>
              <a:gd name="f683" fmla="val 2153936"/>
              <a:gd name="f684" fmla="val 2157974"/>
              <a:gd name="f685" fmla="val 2167846"/>
              <a:gd name="f686" fmla="val 2171885"/>
              <a:gd name="f687" fmla="val 2153935"/>
              <a:gd name="f688" fmla="val 2167845"/>
              <a:gd name="f689" fmla="val 2153916"/>
              <a:gd name="f690" fmla="val 2157955"/>
              <a:gd name="f691" fmla="val 2167826"/>
              <a:gd name="f692" fmla="val 2171865"/>
              <a:gd name="f693" fmla="val 2153915"/>
              <a:gd name="f694" fmla="val 2167825"/>
              <a:gd name="f695" fmla="val 2171864"/>
              <a:gd name="f696" fmla="val 2153896"/>
              <a:gd name="f697" fmla="val 2157935"/>
              <a:gd name="f698" fmla="val 2167805"/>
              <a:gd name="f699" fmla="val 2171844"/>
              <a:gd name="f700" fmla="val 2153895"/>
              <a:gd name="f701" fmla="val 2157934"/>
              <a:gd name="f702" fmla="val 2153876"/>
              <a:gd name="f703" fmla="val 2157914"/>
              <a:gd name="f704" fmla="val 2167786"/>
              <a:gd name="f705" fmla="val 2171824"/>
              <a:gd name="f706" fmla="val 1200582"/>
              <a:gd name="f707" fmla="val 2153867"/>
              <a:gd name="f708" fmla="val 2157906"/>
              <a:gd name="f709" fmla="val 2167776"/>
              <a:gd name="f710" fmla="val 2171815"/>
              <a:gd name="f711" fmla="val 971179"/>
              <a:gd name="f712" fmla="val 975198"/>
              <a:gd name="f713" fmla="val 957250"/>
              <a:gd name="f714" fmla="val 1679214"/>
              <a:gd name="f715" fmla="val 1693144"/>
              <a:gd name="f716" fmla="val 2157905"/>
              <a:gd name="f717" fmla="val 2167775"/>
              <a:gd name="f718" fmla="val 2171814"/>
              <a:gd name="f719" fmla="val 1675195"/>
              <a:gd name="f720" fmla="val 1439897"/>
              <a:gd name="f721" fmla="val 1449807"/>
              <a:gd name="f722" fmla="val 2153855"/>
              <a:gd name="f723" fmla="val 2157892"/>
              <a:gd name="f724" fmla="val 2167763"/>
              <a:gd name="f725" fmla="val 2171803"/>
              <a:gd name="f726" fmla="val 2153850"/>
              <a:gd name="f727" fmla="val 2157889"/>
              <a:gd name="f728" fmla="val 2167759"/>
              <a:gd name="f729" fmla="val 2171798"/>
              <a:gd name="f730" fmla="val 2153803"/>
              <a:gd name="f731" fmla="val 4032"/>
              <a:gd name="f732" fmla="val 2153832"/>
              <a:gd name="f733" fmla="val 13942"/>
              <a:gd name="f734" fmla="val 2157870"/>
              <a:gd name="f735" fmla="val 2167741"/>
              <a:gd name="f736" fmla="val 2171780"/>
              <a:gd name="f737" fmla="val 13"/>
              <a:gd name="f738" fmla="val 721971"/>
              <a:gd name="f739" fmla="val 735900"/>
              <a:gd name="f740" fmla="val 2167740"/>
              <a:gd name="f741" fmla="val 717952"/>
              <a:gd name="f742" fmla="val 482659"/>
              <a:gd name="f743" fmla="val 492569"/>
              <a:gd name="f744" fmla="val 478640"/>
              <a:gd name="f745" fmla="val 243345"/>
              <a:gd name="f746" fmla="val 239326"/>
              <a:gd name="f747" fmla="val 1914701"/>
              <a:gd name="f748" fmla="val 1918739"/>
              <a:gd name="f749" fmla="val 1928610"/>
              <a:gd name="f750" fmla="val 1932649"/>
              <a:gd name="f751" fmla="val 1914699"/>
              <a:gd name="f752" fmla="val 1918738"/>
              <a:gd name="f753" fmla="val 1914682"/>
              <a:gd name="f754" fmla="val 1918721"/>
              <a:gd name="f755" fmla="val 1928592"/>
              <a:gd name="f756" fmla="val 1932631"/>
              <a:gd name="f757" fmla="val 1914681"/>
              <a:gd name="f758" fmla="val 1918719"/>
              <a:gd name="f759" fmla="val 1918720"/>
              <a:gd name="f760" fmla="val 1914664"/>
              <a:gd name="f761" fmla="val 1918702"/>
              <a:gd name="f762" fmla="val 1928573"/>
              <a:gd name="f763" fmla="val 1932612"/>
              <a:gd name="f764" fmla="val 1914663"/>
              <a:gd name="f765" fmla="val 1928572"/>
              <a:gd name="f766" fmla="val 1914662"/>
              <a:gd name="f767" fmla="val 1918701"/>
              <a:gd name="f768" fmla="val 1914645"/>
              <a:gd name="f769" fmla="val 1918684"/>
              <a:gd name="f770" fmla="val 1928555"/>
              <a:gd name="f771" fmla="val 1932594"/>
              <a:gd name="f772" fmla="val 1918682"/>
              <a:gd name="f773" fmla="val 1928554"/>
              <a:gd name="f774" fmla="val 1918683"/>
              <a:gd name="f775" fmla="val 1914627"/>
              <a:gd name="f776" fmla="val 1918666"/>
              <a:gd name="f777" fmla="val 1928536"/>
              <a:gd name="f778" fmla="val 1932575"/>
              <a:gd name="f779" fmla="val 1918664"/>
              <a:gd name="f780" fmla="val 1928535"/>
              <a:gd name="f781" fmla="val 1914626"/>
              <a:gd name="f782" fmla="val 1914608"/>
              <a:gd name="f783" fmla="val 1918647"/>
              <a:gd name="f784" fmla="val 1928518"/>
              <a:gd name="f785" fmla="val 1932557"/>
              <a:gd name="f786" fmla="val 1918646"/>
              <a:gd name="f787" fmla="val 1928517"/>
              <a:gd name="f788" fmla="val 1914590"/>
              <a:gd name="f789" fmla="val 1918629"/>
              <a:gd name="f790" fmla="val 1928499"/>
              <a:gd name="f791" fmla="val 1932538"/>
              <a:gd name="f792" fmla="val 243346"/>
              <a:gd name="f793" fmla="val 1914550"/>
              <a:gd name="f794" fmla="val 253256"/>
              <a:gd name="f795" fmla="val 257275"/>
              <a:gd name="f796" fmla="val 1918589"/>
              <a:gd name="f797" fmla="val 1928459"/>
              <a:gd name="f798" fmla="val 1932498"/>
              <a:gd name="f799" fmla="val 239327"/>
              <a:gd name="f800" fmla="val 13943"/>
              <a:gd name="f801" fmla="val 17962"/>
              <a:gd name="f802" fmla="val 731882"/>
              <a:gd name="f803" fmla="val 735901"/>
              <a:gd name="f804" fmla="val 1918588"/>
              <a:gd name="f805" fmla="val 1932497"/>
              <a:gd name="f806" fmla="val 717953"/>
              <a:gd name="f807" fmla="val 482660"/>
              <a:gd name="f808" fmla="val 492570"/>
              <a:gd name="f809" fmla="val 496589"/>
              <a:gd name="f810" fmla="val 1679215"/>
              <a:gd name="f811" fmla="val 1914535"/>
              <a:gd name="f812" fmla="val 1689125"/>
              <a:gd name="f813" fmla="val 1918573"/>
              <a:gd name="f814" fmla="val 1928444"/>
              <a:gd name="f815" fmla="val 1932482"/>
              <a:gd name="f816" fmla="val 1449808"/>
              <a:gd name="f817" fmla="val 1453827"/>
              <a:gd name="f818" fmla="val 1932483"/>
              <a:gd name="f819" fmla="val 1435879"/>
              <a:gd name="f820" fmla="val 1210492"/>
              <a:gd name="f821" fmla="val 1214511"/>
              <a:gd name="f822" fmla="val 1196563"/>
              <a:gd name="f823" fmla="val 961269"/>
              <a:gd name="f824" fmla="val 1914523"/>
              <a:gd name="f825" fmla="val 1928424"/>
              <a:gd name="f826" fmla="val 1918562"/>
              <a:gd name="f827" fmla="val 1928432"/>
              <a:gd name="f828" fmla="val 1932471"/>
              <a:gd name="f829" fmla="val 1914520"/>
              <a:gd name="f830" fmla="val 2171751"/>
              <a:gd name="f831" fmla="val 1918558"/>
              <a:gd name="f832" fmla="val 1928428"/>
              <a:gd name="f833" fmla="val 1932467"/>
              <a:gd name="f834" fmla="val 1675350"/>
              <a:gd name="f835" fmla="val 1679389"/>
              <a:gd name="f836" fmla="val 1689260"/>
              <a:gd name="f837" fmla="val 1693299"/>
              <a:gd name="f838" fmla="val 1675349"/>
              <a:gd name="f839" fmla="val 1679388"/>
              <a:gd name="f840" fmla="val 1693298"/>
              <a:gd name="f841" fmla="val 1675334"/>
              <a:gd name="f842" fmla="val 1679373"/>
              <a:gd name="f843" fmla="val 1689243"/>
              <a:gd name="f844" fmla="val 1693282"/>
              <a:gd name="f845" fmla="val 1675333"/>
              <a:gd name="f846" fmla="val 1679372"/>
              <a:gd name="f847" fmla="val 1693281"/>
              <a:gd name="f848" fmla="val 1675318"/>
              <a:gd name="f849" fmla="val 1679357"/>
              <a:gd name="f850" fmla="val 1689227"/>
              <a:gd name="f851" fmla="val 1693266"/>
              <a:gd name="f852" fmla="val 1675316"/>
              <a:gd name="f853" fmla="val 1679356"/>
              <a:gd name="f854" fmla="val 1675301"/>
              <a:gd name="f855" fmla="val 1679339"/>
              <a:gd name="f856" fmla="val 1689210"/>
              <a:gd name="f857" fmla="val 1693249"/>
              <a:gd name="f858" fmla="val 1689211"/>
              <a:gd name="f859" fmla="val 1693251"/>
              <a:gd name="f860" fmla="val 1675300"/>
              <a:gd name="f861" fmla="val 1675285"/>
              <a:gd name="f862" fmla="val 1679323"/>
              <a:gd name="f863" fmla="val 1689193"/>
              <a:gd name="f864" fmla="val 1693232"/>
              <a:gd name="f865" fmla="val 1689195"/>
              <a:gd name="f866" fmla="val 1693234"/>
              <a:gd name="f867" fmla="val 1675268"/>
              <a:gd name="f868" fmla="val 1679306"/>
              <a:gd name="f869" fmla="val 1689177"/>
              <a:gd name="f870" fmla="val 1693216"/>
              <a:gd name="f871" fmla="val 1693217"/>
              <a:gd name="f872" fmla="val 1679307"/>
              <a:gd name="f873" fmla="val 1689178"/>
              <a:gd name="f874" fmla="val 961270"/>
              <a:gd name="f875" fmla="val 1675255"/>
              <a:gd name="f876" fmla="val 971180"/>
              <a:gd name="f877" fmla="val 975199"/>
              <a:gd name="f878" fmla="val 1679292"/>
              <a:gd name="f879" fmla="val 1689163"/>
              <a:gd name="f880" fmla="val 1693202"/>
              <a:gd name="f881" fmla="val 957251"/>
              <a:gd name="f882" fmla="val 1675254"/>
              <a:gd name="f883" fmla="val 1689126"/>
              <a:gd name="f884" fmla="val 1693145"/>
              <a:gd name="f885" fmla="val 1675196"/>
              <a:gd name="f886" fmla="val 1439898"/>
              <a:gd name="f887" fmla="val 1453828"/>
              <a:gd name="f888" fmla="val 1435880"/>
              <a:gd name="f889" fmla="val 1200583"/>
              <a:gd name="f890" fmla="val 1210493"/>
              <a:gd name="f891" fmla="val 1196564"/>
              <a:gd name="f892" fmla="val 1675251"/>
              <a:gd name="f893" fmla="val 1679290"/>
              <a:gd name="f894" fmla="val 1689161"/>
              <a:gd name="f895" fmla="val 1693201"/>
              <a:gd name="f896" fmla="val 1918514"/>
              <a:gd name="f897" fmla="val 1675243"/>
              <a:gd name="f898" fmla="val 1679282"/>
              <a:gd name="f899" fmla="val 1689153"/>
              <a:gd name="f900" fmla="val 1693191"/>
              <a:gd name="f901" fmla="val 1675240"/>
              <a:gd name="f902" fmla="val 1679279"/>
              <a:gd name="f903" fmla="val 1689149"/>
              <a:gd name="f904" fmla="val 1693188"/>
              <a:gd name="f905" fmla="val 1675216"/>
              <a:gd name="f906" fmla="val 253257"/>
              <a:gd name="f907" fmla="val 257276"/>
              <a:gd name="f908" fmla="val 1679254"/>
              <a:gd name="f909" fmla="val 1693164"/>
              <a:gd name="f910" fmla="val 4034"/>
              <a:gd name="f911" fmla="val 14"/>
              <a:gd name="f912" fmla="val 721972"/>
              <a:gd name="f913" fmla="val 735902"/>
              <a:gd name="f914" fmla="val 717954"/>
              <a:gd name="f915" fmla="val 492571"/>
              <a:gd name="f916" fmla="val 478641"/>
              <a:gd name="f917" fmla="val 1436001"/>
              <a:gd name="f918" fmla="val 1440038"/>
              <a:gd name="f919" fmla="val 1449910"/>
              <a:gd name="f920" fmla="val 1453949"/>
              <a:gd name="f921" fmla="val 1436000"/>
              <a:gd name="f922" fmla="val 1449909"/>
              <a:gd name="f923" fmla="val 1435986"/>
              <a:gd name="f924" fmla="val 1440024"/>
              <a:gd name="f925" fmla="val 1449895"/>
              <a:gd name="f926" fmla="val 1453934"/>
              <a:gd name="f927" fmla="val 1435972"/>
              <a:gd name="f928" fmla="val 1440010"/>
              <a:gd name="f929" fmla="val 1449881"/>
              <a:gd name="f930" fmla="val 1453920"/>
              <a:gd name="f931" fmla="val 1435971"/>
              <a:gd name="f932" fmla="val 1449880"/>
              <a:gd name="f933" fmla="val 1453919"/>
              <a:gd name="f934" fmla="val 1435958"/>
              <a:gd name="f935" fmla="val 1439995"/>
              <a:gd name="f936" fmla="val 1449866"/>
              <a:gd name="f937" fmla="val 1453905"/>
              <a:gd name="f938" fmla="val 1435956"/>
              <a:gd name="f939" fmla="val 1449865"/>
              <a:gd name="f940" fmla="val 1435943"/>
              <a:gd name="f941" fmla="val 1439981"/>
              <a:gd name="f942" fmla="val 1449852"/>
              <a:gd name="f943" fmla="val 1453891"/>
              <a:gd name="f944" fmla="val 1439980"/>
              <a:gd name="f945" fmla="val 1449851"/>
              <a:gd name="f946" fmla="val 1453890"/>
              <a:gd name="f947" fmla="val 1435928"/>
              <a:gd name="f948" fmla="val 1439967"/>
              <a:gd name="f949" fmla="val 1449837"/>
              <a:gd name="f950" fmla="val 1453877"/>
              <a:gd name="f951" fmla="val 1449836"/>
              <a:gd name="f952" fmla="val 1453876"/>
              <a:gd name="f953" fmla="val 1679216"/>
              <a:gd name="f954" fmla="val 1435922"/>
              <a:gd name="f955" fmla="val 1693146"/>
              <a:gd name="f956" fmla="val 1439960"/>
              <a:gd name="f957" fmla="val 1449831"/>
              <a:gd name="f958" fmla="val 1453870"/>
              <a:gd name="f959" fmla="val 1675198"/>
              <a:gd name="f960" fmla="val 1439900"/>
              <a:gd name="f961" fmla="val 1449810"/>
              <a:gd name="f962" fmla="val 1214512"/>
              <a:gd name="f963" fmla="val 971181"/>
              <a:gd name="f964" fmla="val 975200"/>
              <a:gd name="f965" fmla="val 957252"/>
              <a:gd name="f966" fmla="val 1435914"/>
              <a:gd name="f967" fmla="val 1439952"/>
              <a:gd name="f968" fmla="val 1449823"/>
              <a:gd name="f969" fmla="val 1453862"/>
              <a:gd name="f970" fmla="val 1435912"/>
              <a:gd name="f971" fmla="val 1439950"/>
              <a:gd name="f972" fmla="val 1449821"/>
              <a:gd name="f973" fmla="val 1453860"/>
              <a:gd name="f974" fmla="val 2157823"/>
              <a:gd name="f975" fmla="val 1435909"/>
              <a:gd name="f976" fmla="val 2167733"/>
              <a:gd name="f977" fmla="val 1439947"/>
              <a:gd name="f978" fmla="val 1449818"/>
              <a:gd name="f979" fmla="val 1453857"/>
              <a:gd name="f980" fmla="val 243347"/>
              <a:gd name="f981" fmla="val 1435883"/>
              <a:gd name="f982" fmla="val 1439920"/>
              <a:gd name="f983" fmla="val 1449791"/>
              <a:gd name="f984" fmla="val 1453830"/>
              <a:gd name="f985" fmla="val 239328"/>
              <a:gd name="f986" fmla="val 13944"/>
              <a:gd name="f987" fmla="val 17964"/>
              <a:gd name="f988" fmla="val 15"/>
              <a:gd name="f989" fmla="val 721973"/>
              <a:gd name="f990" fmla="val 1435882"/>
              <a:gd name="f991" fmla="val 731883"/>
              <a:gd name="f992" fmla="val 482661"/>
              <a:gd name="f993" fmla="val 496590"/>
              <a:gd name="f994" fmla="val 478642"/>
              <a:gd name="f995" fmla="val 1196701"/>
              <a:gd name="f996" fmla="val 1200738"/>
              <a:gd name="f997" fmla="val 1210610"/>
              <a:gd name="f998" fmla="val 1214650"/>
              <a:gd name="f999" fmla="val 1200740"/>
              <a:gd name="f1000" fmla="val 1196689"/>
              <a:gd name="f1001" fmla="val 1200726"/>
              <a:gd name="f1002" fmla="val 1210598"/>
              <a:gd name="f1003" fmla="val 1214637"/>
              <a:gd name="f1004" fmla="val 1200728"/>
              <a:gd name="f1005" fmla="val 1196676"/>
              <a:gd name="f1006" fmla="val 1200714"/>
              <a:gd name="f1007" fmla="val 1210586"/>
              <a:gd name="f1008" fmla="val 1214625"/>
              <a:gd name="f1009" fmla="val 1200715"/>
              <a:gd name="f1010" fmla="val 1196664"/>
              <a:gd name="f1011" fmla="val 1200703"/>
              <a:gd name="f1012" fmla="val 1210573"/>
              <a:gd name="f1013" fmla="val 1214612"/>
              <a:gd name="f1014" fmla="val 1200702"/>
              <a:gd name="f1015" fmla="val 1196652"/>
              <a:gd name="f1016" fmla="val 1200690"/>
              <a:gd name="f1017" fmla="val 1210561"/>
              <a:gd name="f1018" fmla="val 1214600"/>
              <a:gd name="f1019" fmla="val 1196651"/>
              <a:gd name="f1020" fmla="val 1200689"/>
              <a:gd name="f1021" fmla="val 1196639"/>
              <a:gd name="f1022" fmla="val 1200678"/>
              <a:gd name="f1023" fmla="val 1210548"/>
              <a:gd name="f1024" fmla="val 1214587"/>
              <a:gd name="f1025" fmla="val 1210549"/>
              <a:gd name="f1026" fmla="val 1200677"/>
              <a:gd name="f1027" fmla="val 1196627"/>
              <a:gd name="f1028" fmla="val 1200665"/>
              <a:gd name="f1029" fmla="val 1210536"/>
              <a:gd name="f1030" fmla="val 1214575"/>
              <a:gd name="f1031" fmla="val 4035"/>
              <a:gd name="f1032" fmla="val 1196600"/>
              <a:gd name="f1033" fmla="val 13945"/>
              <a:gd name="f1034" fmla="val 1200638"/>
              <a:gd name="f1035" fmla="val 1210509"/>
              <a:gd name="f1036" fmla="val 1214548"/>
              <a:gd name="f1037" fmla="val 16"/>
              <a:gd name="f1038" fmla="val 721974"/>
              <a:gd name="f1039" fmla="val 1196599"/>
              <a:gd name="f1040" fmla="val 731884"/>
              <a:gd name="f1041" fmla="val 735903"/>
              <a:gd name="f1042" fmla="val 1214547"/>
              <a:gd name="f1043" fmla="val 717955"/>
              <a:gd name="f1044" fmla="val 492572"/>
              <a:gd name="f1045" fmla="val 496591"/>
              <a:gd name="f1046" fmla="val 243348"/>
              <a:gd name="f1047" fmla="val 253258"/>
              <a:gd name="f1048" fmla="val 257278"/>
              <a:gd name="f1049" fmla="val 239329"/>
              <a:gd name="f1050" fmla="val 1196589"/>
              <a:gd name="f1051" fmla="val 1453829"/>
              <a:gd name="f1052" fmla="val 1200628"/>
              <a:gd name="f1053" fmla="val 1210498"/>
              <a:gd name="f1054" fmla="val 1214537"/>
              <a:gd name="f1055" fmla="val 1435881"/>
              <a:gd name="f1056" fmla="val 1200584"/>
              <a:gd name="f1057" fmla="val 1210494"/>
              <a:gd name="f1058" fmla="val 1196565"/>
              <a:gd name="f1059" fmla="val 961271"/>
              <a:gd name="f1060" fmla="val 1210499"/>
              <a:gd name="f1061" fmla="val 957253"/>
              <a:gd name="f1062" fmla="val 1679217"/>
              <a:gd name="f1063" fmla="val 1689127"/>
              <a:gd name="f1064" fmla="val 1200627"/>
              <a:gd name="f1065" fmla="val 1196581"/>
              <a:gd name="f1066" fmla="val 1200619"/>
              <a:gd name="f1067" fmla="val 1214528"/>
              <a:gd name="f1068" fmla="val 1914495"/>
              <a:gd name="f1069" fmla="val 1196578"/>
              <a:gd name="f1070" fmla="val 1200617"/>
              <a:gd name="f1071" fmla="val 1214526"/>
              <a:gd name="f1072" fmla="val 957358"/>
              <a:gd name="f1073" fmla="val 961396"/>
              <a:gd name="f1074" fmla="val 971266"/>
              <a:gd name="f1075" fmla="val 975304"/>
              <a:gd name="f1076" fmla="val 975305"/>
              <a:gd name="f1077" fmla="val 957347"/>
              <a:gd name="f1078" fmla="val 961385"/>
              <a:gd name="f1079" fmla="val 971255"/>
              <a:gd name="f1080" fmla="val 975293"/>
              <a:gd name="f1081" fmla="val 957335"/>
              <a:gd name="f1082" fmla="val 961373"/>
              <a:gd name="f1083" fmla="val 971244"/>
              <a:gd name="f1084" fmla="val 975282"/>
              <a:gd name="f1085" fmla="val 975283"/>
              <a:gd name="f1086" fmla="val 961374"/>
              <a:gd name="f1087" fmla="val 957324"/>
              <a:gd name="f1088" fmla="val 961363"/>
              <a:gd name="f1089" fmla="val 971232"/>
              <a:gd name="f1090" fmla="val 975271"/>
              <a:gd name="f1091" fmla="val 957313"/>
              <a:gd name="f1092" fmla="val 961351"/>
              <a:gd name="f1093" fmla="val 971222"/>
              <a:gd name="f1094" fmla="val 975260"/>
              <a:gd name="f1095" fmla="val 957309"/>
              <a:gd name="f1096" fmla="val 1689128"/>
              <a:gd name="f1097" fmla="val 1693147"/>
              <a:gd name="f1098" fmla="val 961347"/>
              <a:gd name="f1099" fmla="val 971217"/>
              <a:gd name="f1100" fmla="val 975256"/>
              <a:gd name="f1101" fmla="val 1675199"/>
              <a:gd name="f1102" fmla="val 1439901"/>
              <a:gd name="f1103" fmla="val 1449811"/>
              <a:gd name="f1104" fmla="val 1210495"/>
              <a:gd name="f1105" fmla="val 1214513"/>
              <a:gd name="f1106" fmla="val 1196566"/>
              <a:gd name="f1107" fmla="val 971182"/>
              <a:gd name="f1108" fmla="val 975201"/>
              <a:gd name="f1109" fmla="val 971218"/>
              <a:gd name="f1110" fmla="val 957302"/>
              <a:gd name="f1111" fmla="val 961340"/>
              <a:gd name="f1112" fmla="val 971210"/>
              <a:gd name="f1113" fmla="val 975249"/>
              <a:gd name="f1114" fmla="val 957301"/>
              <a:gd name="f1115" fmla="val 1932444"/>
              <a:gd name="f1116" fmla="val 961339"/>
              <a:gd name="f1117" fmla="val 957299"/>
              <a:gd name="f1118" fmla="val 961337"/>
              <a:gd name="f1119" fmla="val 971207"/>
              <a:gd name="f1120" fmla="val 975246"/>
              <a:gd name="f1121" fmla="val 2153804"/>
              <a:gd name="f1122" fmla="val 957291"/>
              <a:gd name="f1123" fmla="val 961329"/>
              <a:gd name="f1124" fmla="val 971199"/>
              <a:gd name="f1125" fmla="val 975238"/>
              <a:gd name="f1126" fmla="val 957266"/>
              <a:gd name="f1127" fmla="val 961305"/>
              <a:gd name="f1128" fmla="val 975214"/>
              <a:gd name="f1129" fmla="val 717956"/>
              <a:gd name="f1130" fmla="val 482662"/>
              <a:gd name="f1131" fmla="val 478643"/>
              <a:gd name="f1132" fmla="val 243349"/>
              <a:gd name="f1133" fmla="val 253259"/>
              <a:gd name="f1134" fmla="val 239330"/>
              <a:gd name="f1135" fmla="val 4036"/>
              <a:gd name="f1136" fmla="val 13946"/>
              <a:gd name="f1137" fmla="val 17965"/>
              <a:gd name="f1138" fmla="val 718040"/>
              <a:gd name="f1139" fmla="val 722078"/>
              <a:gd name="f1140" fmla="val 731948"/>
              <a:gd name="f1141" fmla="val 735987"/>
              <a:gd name="f1142" fmla="val 731949"/>
              <a:gd name="f1143" fmla="val 735988"/>
              <a:gd name="f1144" fmla="val 718028"/>
              <a:gd name="f1145" fmla="val 722066"/>
              <a:gd name="f1146" fmla="val 731935"/>
              <a:gd name="f1147" fmla="val 735975"/>
              <a:gd name="f1148" fmla="val 731936"/>
              <a:gd name="f1149" fmla="val 718015"/>
              <a:gd name="f1150" fmla="val 722053"/>
              <a:gd name="f1151" fmla="val 731924"/>
              <a:gd name="f1152" fmla="val 735963"/>
              <a:gd name="f1153" fmla="val 718003"/>
              <a:gd name="f1154" fmla="val 722041"/>
              <a:gd name="f1155" fmla="val 731911"/>
              <a:gd name="f1156" fmla="val 735950"/>
              <a:gd name="f1157" fmla="val 731912"/>
              <a:gd name="f1158" fmla="val 735951"/>
              <a:gd name="f1159" fmla="val 717990"/>
              <a:gd name="f1160" fmla="val 722028"/>
              <a:gd name="f1161" fmla="val 731899"/>
              <a:gd name="f1162" fmla="val 735938"/>
              <a:gd name="f1163" fmla="val 722029"/>
              <a:gd name="f1164" fmla="val 961272"/>
              <a:gd name="f1165" fmla="val 717980"/>
              <a:gd name="f1166" fmla="val 975202"/>
              <a:gd name="f1167" fmla="val 722018"/>
              <a:gd name="f1168" fmla="val 731889"/>
              <a:gd name="f1169" fmla="val 735928"/>
              <a:gd name="f1170" fmla="val 957254"/>
              <a:gd name="f1171" fmla="val 1679219"/>
              <a:gd name="f1172" fmla="val 717979"/>
              <a:gd name="f1173" fmla="val 1693149"/>
              <a:gd name="f1174" fmla="val 735927"/>
              <a:gd name="f1175" fmla="val 1675200"/>
              <a:gd name="f1176" fmla="val 1453831"/>
              <a:gd name="f1177" fmla="val 1200585"/>
              <a:gd name="f1178" fmla="val 717978"/>
              <a:gd name="f1179" fmla="val 722016"/>
              <a:gd name="f1180" fmla="val 731887"/>
              <a:gd name="f1181" fmla="val 735926"/>
              <a:gd name="f1182" fmla="val 717970"/>
              <a:gd name="f1183" fmla="val 722009"/>
              <a:gd name="f1184" fmla="val 735918"/>
              <a:gd name="f1185" fmla="val 717968"/>
              <a:gd name="f1186" fmla="val 2171753"/>
              <a:gd name="f1187" fmla="val 722006"/>
              <a:gd name="f1188" fmla="val 735916"/>
              <a:gd name="f1189" fmla="val 717966"/>
              <a:gd name="f1190" fmla="val 722004"/>
              <a:gd name="f1191" fmla="val 731875"/>
              <a:gd name="f1192" fmla="val 735914"/>
              <a:gd name="f1193" fmla="val 253260"/>
              <a:gd name="f1194" fmla="val 257279"/>
              <a:gd name="f1195" fmla="val 721977"/>
              <a:gd name="f1196" fmla="val 731847"/>
              <a:gd name="f1197" fmla="val 735886"/>
              <a:gd name="f1198" fmla="val 13947"/>
              <a:gd name="f1199" fmla="val 721978"/>
              <a:gd name="f1200" fmla="val 731848"/>
              <a:gd name="f1201" fmla="val 17"/>
              <a:gd name="f1202" fmla="val 721975"/>
              <a:gd name="f1203" fmla="val 731885"/>
              <a:gd name="f1204" fmla="val 735904"/>
              <a:gd name="f1205" fmla="val 482663"/>
              <a:gd name="f1206" fmla="val 492573"/>
              <a:gd name="f1207" fmla="val 496593"/>
              <a:gd name="f1208" fmla="val 478760"/>
              <a:gd name="f1209" fmla="val 482801"/>
              <a:gd name="f1210" fmla="val 492670"/>
              <a:gd name="f1211" fmla="val 496707"/>
              <a:gd name="f1212" fmla="val 478748"/>
              <a:gd name="f1213" fmla="val 482789"/>
              <a:gd name="f1214" fmla="val 492657"/>
              <a:gd name="f1215" fmla="val 496695"/>
              <a:gd name="f1216" fmla="val 478736"/>
              <a:gd name="f1217" fmla="val 482776"/>
              <a:gd name="f1218" fmla="val 492645"/>
              <a:gd name="f1219" fmla="val 496683"/>
              <a:gd name="f1220" fmla="val 478724"/>
              <a:gd name="f1221" fmla="val 482764"/>
              <a:gd name="f1222" fmla="val 492633"/>
              <a:gd name="f1223" fmla="val 496671"/>
              <a:gd name="f1224" fmla="val 478712"/>
              <a:gd name="f1225" fmla="val 482751"/>
              <a:gd name="f1226" fmla="val 492620"/>
              <a:gd name="f1227" fmla="val 496658"/>
              <a:gd name="f1228" fmla="val 496659"/>
              <a:gd name="f1229" fmla="val 478711"/>
              <a:gd name="f1230" fmla="val 478699"/>
              <a:gd name="f1231" fmla="val 482738"/>
              <a:gd name="f1232" fmla="val 492608"/>
              <a:gd name="f1233" fmla="val 496646"/>
              <a:gd name="f1234" fmla="val 496647"/>
              <a:gd name="f1235" fmla="val 482739"/>
              <a:gd name="f1236" fmla="val 478698"/>
              <a:gd name="f1237" fmla="val 478687"/>
              <a:gd name="f1238" fmla="val 482726"/>
              <a:gd name="f1239" fmla="val 492596"/>
              <a:gd name="f1240" fmla="val 496634"/>
              <a:gd name="f1241" fmla="val 721976"/>
              <a:gd name="f1242" fmla="val 478660"/>
              <a:gd name="f1243" fmla="val 731886"/>
              <a:gd name="f1244" fmla="val 735905"/>
              <a:gd name="f1245" fmla="val 482698"/>
              <a:gd name="f1246" fmla="val 496608"/>
              <a:gd name="f1247" fmla="val 717957"/>
              <a:gd name="f1248" fmla="val 482664"/>
              <a:gd name="f1249" fmla="val 492574"/>
              <a:gd name="f1250" fmla="val 478645"/>
              <a:gd name="f1251" fmla="val 243350"/>
              <a:gd name="f1252" fmla="val 239331"/>
              <a:gd name="f1253" fmla="val 4037"/>
              <a:gd name="f1254" fmla="val 17966"/>
              <a:gd name="f1255" fmla="val 18"/>
              <a:gd name="f1256" fmla="val 1679220"/>
              <a:gd name="f1257" fmla="val 478650"/>
              <a:gd name="f1258" fmla="val 1689130"/>
              <a:gd name="f1259" fmla="val 482688"/>
              <a:gd name="f1260" fmla="val 496598"/>
              <a:gd name="f1261" fmla="val 1439902"/>
              <a:gd name="f1262" fmla="val 1449812"/>
              <a:gd name="f1263" fmla="val 1210496"/>
              <a:gd name="f1264" fmla="val 1214515"/>
              <a:gd name="f1265" fmla="val 482689"/>
              <a:gd name="f1266" fmla="val 1196567"/>
              <a:gd name="f1267" fmla="val 961273"/>
              <a:gd name="f1268" fmla="val 971183"/>
              <a:gd name="f1269" fmla="val 1918515"/>
              <a:gd name="f1270" fmla="val 1928425"/>
              <a:gd name="f1271" fmla="val 482679"/>
              <a:gd name="f1272" fmla="val 492550"/>
              <a:gd name="f1273" fmla="val 2167734"/>
              <a:gd name="f1274" fmla="val 482677"/>
              <a:gd name="f1275" fmla="val 492548"/>
              <a:gd name="f1276" fmla="val 496587"/>
              <a:gd name="f1277" fmla="val 239432"/>
              <a:gd name="f1278" fmla="val 243470"/>
              <a:gd name="f1279" fmla="val 253341"/>
              <a:gd name="f1280" fmla="val 257380"/>
              <a:gd name="f1281" fmla="val 239420"/>
              <a:gd name="f1282" fmla="val 243457"/>
              <a:gd name="f1283" fmla="val 253328"/>
              <a:gd name="f1284" fmla="val 257367"/>
              <a:gd name="f1285" fmla="val 239419"/>
              <a:gd name="f1286" fmla="val 239407"/>
              <a:gd name="f1287" fmla="val 243445"/>
              <a:gd name="f1288" fmla="val 253316"/>
              <a:gd name="f1289" fmla="val 257355"/>
              <a:gd name="f1290" fmla="val 239395"/>
              <a:gd name="f1291" fmla="val 243432"/>
              <a:gd name="f1292" fmla="val 253303"/>
              <a:gd name="f1293" fmla="val 257342"/>
              <a:gd name="f1294" fmla="val 243433"/>
              <a:gd name="f1295" fmla="val 239394"/>
              <a:gd name="f1296" fmla="val 239382"/>
              <a:gd name="f1297" fmla="val 243420"/>
              <a:gd name="f1298" fmla="val 253291"/>
              <a:gd name="f1299" fmla="val 257330"/>
              <a:gd name="f1300" fmla="val 243421"/>
              <a:gd name="f1301" fmla="val 253292"/>
              <a:gd name="f1302" fmla="val 239371"/>
              <a:gd name="f1303" fmla="val 1689131"/>
              <a:gd name="f1304" fmla="val 1693150"/>
              <a:gd name="f1305" fmla="val 243409"/>
              <a:gd name="f1306" fmla="val 253280"/>
              <a:gd name="f1307" fmla="val 257319"/>
              <a:gd name="f1308" fmla="val 1675202"/>
              <a:gd name="f1309" fmla="val 1449813"/>
              <a:gd name="f1310" fmla="val 1453832"/>
              <a:gd name="f1311" fmla="val 1435884"/>
              <a:gd name="f1312" fmla="val 1200587"/>
              <a:gd name="f1313" fmla="val 971184"/>
              <a:gd name="f1314" fmla="val 975203"/>
              <a:gd name="f1315" fmla="val 957255"/>
              <a:gd name="f1316" fmla="val 239370"/>
              <a:gd name="f1317" fmla="val 243408"/>
              <a:gd name="f1318" fmla="val 253278"/>
              <a:gd name="f1319" fmla="val 257317"/>
              <a:gd name="f1320" fmla="val 253279"/>
              <a:gd name="f1321" fmla="val 257318"/>
              <a:gd name="f1322" fmla="val 239369"/>
              <a:gd name="f1323" fmla="val 243407"/>
              <a:gd name="f1324" fmla="val 239361"/>
              <a:gd name="f1325" fmla="val 243400"/>
              <a:gd name="f1326" fmla="val 253271"/>
              <a:gd name="f1327" fmla="val 257310"/>
              <a:gd name="f1328" fmla="val 2157824"/>
              <a:gd name="f1329" fmla="val 239359"/>
              <a:gd name="f1330" fmla="val 243397"/>
              <a:gd name="f1331" fmla="val 253268"/>
              <a:gd name="f1332" fmla="val 257307"/>
              <a:gd name="f1333" fmla="val 239357"/>
              <a:gd name="f1334" fmla="val 243395"/>
              <a:gd name="f1335" fmla="val 253267"/>
              <a:gd name="f1336" fmla="val 257306"/>
              <a:gd name="f1337" fmla="val 735906"/>
              <a:gd name="f1338" fmla="val 243368"/>
              <a:gd name="f1339" fmla="val 253239"/>
              <a:gd name="f1340" fmla="val 717958"/>
              <a:gd name="f1341" fmla="val 492575"/>
              <a:gd name="f1342" fmla="val 496594"/>
              <a:gd name="f1343" fmla="val 253261"/>
              <a:gd name="f1344" fmla="val 257280"/>
              <a:gd name="f1345" fmla="val 239332"/>
              <a:gd name="f1346" fmla="val 13948"/>
              <a:gd name="f1347" fmla="val 17967"/>
              <a:gd name="f1348" fmla="val 106"/>
              <a:gd name="f1349" fmla="val 4144"/>
              <a:gd name="f1350" fmla="val 14015"/>
              <a:gd name="f1351" fmla="val 18054"/>
              <a:gd name="f1352" fmla="val 4145"/>
              <a:gd name="f1353" fmla="val 14016"/>
              <a:gd name="f1354" fmla="val 18055"/>
              <a:gd name="f1355" fmla="val 93"/>
              <a:gd name="f1356" fmla="val 4132"/>
              <a:gd name="f1357" fmla="val 14002"/>
              <a:gd name="f1358" fmla="val 18041"/>
              <a:gd name="f1359" fmla="val 14003"/>
              <a:gd name="f1360" fmla="val 18042"/>
              <a:gd name="f1361" fmla="val 81"/>
              <a:gd name="f1362" fmla="val 4119"/>
              <a:gd name="f1363" fmla="val 13990"/>
              <a:gd name="f1364" fmla="val 18029"/>
              <a:gd name="f1365" fmla="val 80"/>
              <a:gd name="f1366" fmla="val 68"/>
              <a:gd name="f1367" fmla="val 4106"/>
              <a:gd name="f1368" fmla="val 13976"/>
              <a:gd name="f1369" fmla="val 18015"/>
              <a:gd name="f1370" fmla="val 13977"/>
              <a:gd name="f1371" fmla="val 18016"/>
              <a:gd name="f1372" fmla="val 67"/>
              <a:gd name="f1373" fmla="val 4105"/>
              <a:gd name="f1374" fmla="val 54"/>
              <a:gd name="f1375" fmla="val 4093"/>
              <a:gd name="f1376" fmla="val 13963"/>
              <a:gd name="f1377" fmla="val 18002"/>
              <a:gd name="f1378" fmla="val 13964"/>
              <a:gd name="f1379" fmla="val 18003"/>
              <a:gd name="f1380" fmla="val 42"/>
              <a:gd name="f1381" fmla="val 4080"/>
              <a:gd name="f1382" fmla="val 13951"/>
              <a:gd name="f1383" fmla="val 17990"/>
              <a:gd name="f1384" fmla="val 41"/>
              <a:gd name="f1385" fmla="val 961275"/>
              <a:gd name="f1386" fmla="val 975204"/>
              <a:gd name="f1387" fmla="val 957256"/>
              <a:gd name="f1388" fmla="val 1679221"/>
              <a:gd name="f1389" fmla="val 1693151"/>
              <a:gd name="f1390" fmla="val 4079"/>
              <a:gd name="f1391" fmla="val 13950"/>
              <a:gd name="f1392" fmla="val 17989"/>
              <a:gd name="f1393" fmla="val 1675203"/>
              <a:gd name="f1394" fmla="val 1439904"/>
              <a:gd name="f1395" fmla="val 1453833"/>
              <a:gd name="f1396" fmla="val 1435885"/>
              <a:gd name="f1397" fmla="val 1210497"/>
              <a:gd name="f1398" fmla="val 1214516"/>
              <a:gd name="f1399" fmla="val 1196568"/>
              <a:gd name="f1400" fmla="val 31"/>
              <a:gd name="f1401" fmla="val 4069"/>
              <a:gd name="f1402" fmla="val 17979"/>
              <a:gd name="f1403" fmla="val 1914497"/>
              <a:gd name="f1404" fmla="val 29"/>
              <a:gd name="f1405" fmla="val 4067"/>
              <a:gd name="f1406" fmla="val 17977"/>
              <a:gd name="f1407" fmla="val 28"/>
              <a:gd name="f1408" fmla="val 4039"/>
              <a:gd name="f1409" fmla="val 13910"/>
              <a:gd name="f1410" fmla="val 717959"/>
              <a:gd name="f1411" fmla="val 482665"/>
              <a:gd name="f1412" fmla="val 478646"/>
              <a:gd name="f1413" fmla="val 243351"/>
              <a:gd name="f1414" fmla="val 257281"/>
              <a:gd name="f1415" fmla="val 19"/>
              <a:gd name="f1416" fmla="+- 0 0 -90"/>
              <a:gd name="f1417" fmla="*/ f3 1 9586368"/>
              <a:gd name="f1418" fmla="*/ f4 1 6479439"/>
              <a:gd name="f1419" fmla="+- f7 0 f5"/>
              <a:gd name="f1420" fmla="+- f6 0 f5"/>
              <a:gd name="f1421" fmla="*/ f1416 f0 1"/>
              <a:gd name="f1422" fmla="*/ f1420 1 9586368"/>
              <a:gd name="f1423" fmla="*/ f1419 1 6479439"/>
              <a:gd name="f1424" fmla="*/ 2157895 f1420 1"/>
              <a:gd name="f1425" fmla="*/ 6461491 f1419 1"/>
              <a:gd name="f1426" fmla="*/ 2167802 f1420 1"/>
              <a:gd name="f1427" fmla="*/ 2171820 f1420 1"/>
              <a:gd name="f1428" fmla="*/ 6465529 f1419 1"/>
              <a:gd name="f1429" fmla="*/ 6475400 f1419 1"/>
              <a:gd name="f1430" fmla="*/ 6479439 f1419 1"/>
              <a:gd name="f1431" fmla="*/ 2153871 f1420 1"/>
              <a:gd name="f1432" fmla="*/ 1918509 f1420 1"/>
              <a:gd name="f1433" fmla="*/ 1928419 f1420 1"/>
              <a:gd name="f1434" fmla="*/ 1932437 f1420 1"/>
              <a:gd name="f1435" fmla="*/ 1914490 f1420 1"/>
              <a:gd name="f1436" fmla="*/ 1679200 f1420 1"/>
              <a:gd name="f1437" fmla="*/ 1689110 f1420 1"/>
              <a:gd name="f1438" fmla="*/ 1693128 f1420 1"/>
              <a:gd name="f1439" fmla="*/ 1675180 f1420 1"/>
              <a:gd name="f1440" fmla="*/ 1439885 f1420 1"/>
              <a:gd name="f1441" fmla="*/ 1449795 f1420 1"/>
              <a:gd name="f1442" fmla="*/ 1453813 f1420 1"/>
              <a:gd name="f1443" fmla="*/ 1435865 f1420 1"/>
              <a:gd name="f1444" fmla="*/ 1200570 f1420 1"/>
              <a:gd name="f1445" fmla="*/ 1210480 f1420 1"/>
              <a:gd name="f1446" fmla="*/ 1214498 f1420 1"/>
              <a:gd name="f1447" fmla="*/ 1196551 f1420 1"/>
              <a:gd name="f1448" fmla="*/ 961257 f1420 1"/>
              <a:gd name="f1449" fmla="*/ 971167 f1420 1"/>
              <a:gd name="f1450" fmla="*/ 975186 f1420 1"/>
              <a:gd name="f1451" fmla="*/ 957238 f1420 1"/>
              <a:gd name="f1452" fmla="*/ 9572438 f1420 1"/>
              <a:gd name="f1453" fmla="*/ 6461440 f1419 1"/>
              <a:gd name="f1454" fmla="*/ 9582349 f1420 1"/>
              <a:gd name="f1455" fmla="*/ 9586368 f1420 1"/>
              <a:gd name="f1456" fmla="*/ 6465478 f1419 1"/>
              <a:gd name="f1457" fmla="*/ 6475349 f1419 1"/>
              <a:gd name="f1458" fmla="*/ 6479388 f1419 1"/>
              <a:gd name="f1459" fmla="*/ 9568419 f1420 1"/>
              <a:gd name="f1460" fmla="*/ 9333125 f1420 1"/>
              <a:gd name="f1461" fmla="*/ 9343036 f1420 1"/>
              <a:gd name="f1462" fmla="*/ 9347055 f1420 1"/>
              <a:gd name="f1463" fmla="*/ 9329106 f1420 1"/>
              <a:gd name="f1464" fmla="*/ 9093811 f1420 1"/>
              <a:gd name="f1465" fmla="*/ 9103722 f1420 1"/>
              <a:gd name="f1466" fmla="*/ 9107741 f1420 1"/>
              <a:gd name="f1467" fmla="*/ 9089792 f1420 1"/>
              <a:gd name="f1468" fmla="*/ 8854496 f1420 1"/>
              <a:gd name="f1469" fmla="*/ 8864407 f1420 1"/>
              <a:gd name="f1470" fmla="*/ 8868426 f1420 1"/>
              <a:gd name="f1471" fmla="*/ 8850477 f1420 1"/>
              <a:gd name="f1472" fmla="*/ 8615184 f1420 1"/>
              <a:gd name="f1473" fmla="*/ 8625095 f1420 1"/>
              <a:gd name="f1474" fmla="*/ 8629114 f1420 1"/>
              <a:gd name="f1475" fmla="*/ 8611165 f1420 1"/>
              <a:gd name="f1476" fmla="*/ 8375869 f1420 1"/>
              <a:gd name="f1477" fmla="*/ 8385779 f1420 1"/>
              <a:gd name="f1478" fmla="*/ 8389799 f1420 1"/>
              <a:gd name="f1479" fmla="*/ 8371850 f1420 1"/>
              <a:gd name="f1480" fmla="*/ 8136553 f1420 1"/>
              <a:gd name="f1481" fmla="*/ 8146464 f1420 1"/>
              <a:gd name="f1482" fmla="*/ 8150483 f1420 1"/>
              <a:gd name="f1483" fmla="*/ 8132534 f1420 1"/>
              <a:gd name="f1484" fmla="*/ 7897241 f1420 1"/>
              <a:gd name="f1485" fmla="*/ 7907151 f1420 1"/>
              <a:gd name="f1486" fmla="*/ 7911170 f1420 1"/>
              <a:gd name="f1487" fmla="*/ 7893222 f1420 1"/>
              <a:gd name="f1488" fmla="*/ 7657926 f1420 1"/>
              <a:gd name="f1489" fmla="*/ 7667836 f1420 1"/>
              <a:gd name="f1490" fmla="*/ 7671855 f1420 1"/>
              <a:gd name="f1491" fmla="*/ 7653906 f1420 1"/>
              <a:gd name="f1492" fmla="*/ 7418611 f1420 1"/>
              <a:gd name="f1493" fmla="*/ 7428521 f1420 1"/>
              <a:gd name="f1494" fmla="*/ 7432540 f1420 1"/>
              <a:gd name="f1495" fmla="*/ 7414592 f1420 1"/>
              <a:gd name="f1496" fmla="*/ 7179298 f1420 1"/>
              <a:gd name="f1497" fmla="*/ 7189209 f1420 1"/>
              <a:gd name="f1498" fmla="*/ 7193228 f1420 1"/>
              <a:gd name="f1499" fmla="*/ 7175279 f1420 1"/>
              <a:gd name="f1500" fmla="*/ 6939983 f1420 1"/>
              <a:gd name="f1501" fmla="*/ 6949894 f1420 1"/>
              <a:gd name="f1502" fmla="*/ 6953913 f1420 1"/>
              <a:gd name="f1503" fmla="*/ 6935964 f1420 1"/>
              <a:gd name="f1504" fmla="*/ 6700670 f1420 1"/>
              <a:gd name="f1505" fmla="*/ 6710581 f1420 1"/>
              <a:gd name="f1506" fmla="*/ 6714600 f1420 1"/>
              <a:gd name="f1507" fmla="*/ 6696651 f1420 1"/>
              <a:gd name="f1508" fmla="*/ 6461356 f1420 1"/>
              <a:gd name="f1509" fmla="*/ 6471266 f1420 1"/>
              <a:gd name="f1510" fmla="*/ 6475285 f1420 1"/>
              <a:gd name="f1511" fmla="*/ 6457337 f1420 1"/>
              <a:gd name="f1512" fmla="*/ 6222042 f1420 1"/>
              <a:gd name="f1513" fmla="*/ 6231952 f1420 1"/>
              <a:gd name="f1514" fmla="*/ 6235971 f1420 1"/>
              <a:gd name="f1515" fmla="*/ 6218023 f1420 1"/>
              <a:gd name="f1516" fmla="*/ 5982729 f1420 1"/>
              <a:gd name="f1517" fmla="*/ 5992639 f1420 1"/>
              <a:gd name="f1518" fmla="*/ 5996658 f1420 1"/>
              <a:gd name="f1519" fmla="*/ 5978710 f1420 1"/>
              <a:gd name="f1520" fmla="*/ 5743412 f1420 1"/>
              <a:gd name="f1521" fmla="*/ 5753323 f1420 1"/>
              <a:gd name="f1522" fmla="*/ 5757342 f1420 1"/>
              <a:gd name="f1523" fmla="*/ 5739393 f1420 1"/>
              <a:gd name="f1524" fmla="*/ 5504099 f1420 1"/>
              <a:gd name="f1525" fmla="*/ 5514010 f1420 1"/>
              <a:gd name="f1526" fmla="*/ 5518029 f1420 1"/>
              <a:gd name="f1527" fmla="*/ 5500080 f1420 1"/>
              <a:gd name="f1528" fmla="*/ 5264784 f1420 1"/>
              <a:gd name="f1529" fmla="*/ 5274694 f1420 1"/>
              <a:gd name="f1530" fmla="*/ 5278713 f1420 1"/>
              <a:gd name="f1531" fmla="*/ 5260765 f1420 1"/>
              <a:gd name="f1532" fmla="*/ 5025470 f1420 1"/>
              <a:gd name="f1533" fmla="*/ 5035381 f1420 1"/>
              <a:gd name="f1534" fmla="*/ 5039400 f1420 1"/>
              <a:gd name="f1535" fmla="*/ 5021451 f1420 1"/>
              <a:gd name="f1536" fmla="*/ 4786241 f1420 1"/>
              <a:gd name="f1537" fmla="*/ 4796152 f1420 1"/>
              <a:gd name="f1538" fmla="*/ 4800171 f1420 1"/>
              <a:gd name="f1539" fmla="*/ 4782224 f1420 1"/>
              <a:gd name="f1540" fmla="*/ 4546929 f1420 1"/>
              <a:gd name="f1541" fmla="*/ 4556840 f1420 1"/>
              <a:gd name="f1542" fmla="*/ 4560859 f1420 1"/>
              <a:gd name="f1543" fmla="*/ 4542910 f1420 1"/>
              <a:gd name="f1544" fmla="*/ 4307612 f1420 1"/>
              <a:gd name="f1545" fmla="*/ 4317523 f1420 1"/>
              <a:gd name="f1546" fmla="*/ 4321543 f1420 1"/>
              <a:gd name="f1547" fmla="*/ 4303595 f1420 1"/>
              <a:gd name="f1548" fmla="*/ 4068297 f1420 1"/>
              <a:gd name="f1549" fmla="*/ 4078210 f1420 1"/>
              <a:gd name="f1550" fmla="*/ 4082229 f1420 1"/>
              <a:gd name="f1551" fmla="*/ 4064278 f1420 1"/>
              <a:gd name="f1552" fmla="*/ 3828990 f1420 1"/>
              <a:gd name="f1553" fmla="*/ 3838899 f1420 1"/>
              <a:gd name="f1554" fmla="*/ 3842917 f1420 1"/>
              <a:gd name="f1555" fmla="*/ 3824971 f1420 1"/>
              <a:gd name="f1556" fmla="*/ 3589676 f1420 1"/>
              <a:gd name="f1557" fmla="*/ 3599585 f1420 1"/>
              <a:gd name="f1558" fmla="*/ 3603604 f1420 1"/>
              <a:gd name="f1559" fmla="*/ 3585657 f1420 1"/>
              <a:gd name="f1560" fmla="*/ 3350359 f1420 1"/>
              <a:gd name="f1561" fmla="*/ 3360268 f1420 1"/>
              <a:gd name="f1562" fmla="*/ 3364287 f1420 1"/>
              <a:gd name="f1563" fmla="*/ 3346340 f1420 1"/>
              <a:gd name="f1564" fmla="*/ 3111048 f1420 1"/>
              <a:gd name="f1565" fmla="*/ 3120959 f1420 1"/>
              <a:gd name="f1566" fmla="*/ 3124977 f1420 1"/>
              <a:gd name="f1567" fmla="*/ 3107029 f1420 1"/>
              <a:gd name="f1568" fmla="*/ 2871737 f1420 1"/>
              <a:gd name="f1569" fmla="*/ 2881646 f1420 1"/>
              <a:gd name="f1570" fmla="*/ 2885666 f1420 1"/>
              <a:gd name="f1571" fmla="*/ 2867717 f1420 1"/>
              <a:gd name="f1572" fmla="*/ 2632423 f1420 1"/>
              <a:gd name="f1573" fmla="*/ 2642334 f1420 1"/>
              <a:gd name="f1574" fmla="*/ 2646352 f1420 1"/>
              <a:gd name="f1575" fmla="*/ 2628404 f1420 1"/>
              <a:gd name="f1576" fmla="*/ 2393104 f1420 1"/>
              <a:gd name="f1577" fmla="*/ 2403015 f1420 1"/>
              <a:gd name="f1578" fmla="*/ 2407034 f1420 1"/>
              <a:gd name="f1579" fmla="*/ 2389087 f1420 1"/>
              <a:gd name="f1580" fmla="*/ 721958 f1420 1"/>
              <a:gd name="f1581" fmla="*/ 731868 f1420 1"/>
              <a:gd name="f1582" fmla="*/ 735887 f1420 1"/>
              <a:gd name="f1583" fmla="*/ 717939 f1420 1"/>
              <a:gd name="f1584" fmla="*/ 482646 f1420 1"/>
              <a:gd name="f1585" fmla="*/ 492556 f1420 1"/>
              <a:gd name="f1586" fmla="*/ 496575 f1420 1"/>
              <a:gd name="f1587" fmla="*/ 478627 f1420 1"/>
              <a:gd name="f1588" fmla="*/ 243332 f1420 1"/>
              <a:gd name="f1589" fmla="*/ 253242 f1420 1"/>
              <a:gd name="f1590" fmla="*/ 257261 f1420 1"/>
              <a:gd name="f1591" fmla="*/ 239313 f1420 1"/>
              <a:gd name="f1592" fmla="*/ 4019 f1420 1"/>
              <a:gd name="f1593" fmla="*/ 13929 f1420 1"/>
              <a:gd name="f1594" fmla="*/ 17949 f1420 1"/>
              <a:gd name="f1595" fmla="*/ 0 f1420 1"/>
              <a:gd name="f1596" fmla="*/ 6222160 f1419 1"/>
              <a:gd name="f1597" fmla="*/ 6226198 f1419 1"/>
              <a:gd name="f1598" fmla="*/ 6236069 f1419 1"/>
              <a:gd name="f1599" fmla="*/ 6240109 f1419 1"/>
              <a:gd name="f1600" fmla="*/ 2157818 f1420 1"/>
              <a:gd name="f1601" fmla="*/ 2167728 f1420 1"/>
              <a:gd name="f1602" fmla="*/ 2171746 f1420 1"/>
              <a:gd name="f1603" fmla="*/ 2153799 f1420 1"/>
              <a:gd name="f1604" fmla="*/ 1932438 f1420 1"/>
              <a:gd name="f1605" fmla="*/ 1693129 f1420 1"/>
              <a:gd name="f1606" fmla="*/ 1675182 f1420 1"/>
              <a:gd name="f1607" fmla="*/ 1453814 f1420 1"/>
              <a:gd name="f1608" fmla="*/ 1435866 f1420 1"/>
              <a:gd name="f1609" fmla="*/ 1210481 f1420 1"/>
              <a:gd name="f1610" fmla="*/ 1214499 f1420 1"/>
              <a:gd name="f1611" fmla="*/ 961258 f1420 1"/>
              <a:gd name="f1612" fmla="*/ 957239 f1420 1"/>
              <a:gd name="f1613" fmla="*/ 721959 f1420 1"/>
              <a:gd name="f1614" fmla="*/ 731869 f1420 1"/>
              <a:gd name="f1615" fmla="*/ 735888 f1420 1"/>
              <a:gd name="f1616" fmla="*/ 717940 f1420 1"/>
              <a:gd name="f1617" fmla="*/ 492557 f1420 1"/>
              <a:gd name="f1618" fmla="*/ 496576 f1420 1"/>
              <a:gd name="f1619" fmla="*/ 243333 f1420 1"/>
              <a:gd name="f1620" fmla="*/ 253243 f1420 1"/>
              <a:gd name="f1621" fmla="*/ 257263 f1420 1"/>
              <a:gd name="f1622" fmla="*/ 239314 f1420 1"/>
              <a:gd name="f1623" fmla="*/ 4020 f1420 1"/>
              <a:gd name="f1624" fmla="*/ 13930 f1420 1"/>
              <a:gd name="f1625" fmla="*/ 1 f1420 1"/>
              <a:gd name="f1626" fmla="*/ 5982881 f1419 1"/>
              <a:gd name="f1627" fmla="*/ 2171747 f1420 1"/>
              <a:gd name="f1628" fmla="*/ 5986919 f1419 1"/>
              <a:gd name="f1629" fmla="*/ 5996790 f1419 1"/>
              <a:gd name="f1630" fmla="*/ 6000829 f1419 1"/>
              <a:gd name="f1631" fmla="*/ 1928420 f1420 1"/>
              <a:gd name="f1632" fmla="*/ 1679201 f1420 1"/>
              <a:gd name="f1633" fmla="*/ 1689111 f1420 1"/>
              <a:gd name="f1634" fmla="*/ 1439886 f1420 1"/>
              <a:gd name="f1635" fmla="*/ 1449796 f1420 1"/>
              <a:gd name="f1636" fmla="*/ 1200571 f1420 1"/>
              <a:gd name="f1637" fmla="*/ 1214500 f1420 1"/>
              <a:gd name="f1638" fmla="*/ 1196553 f1420 1"/>
              <a:gd name="f1639" fmla="*/ 971168 f1420 1"/>
              <a:gd name="f1640" fmla="*/ 975187 f1420 1"/>
              <a:gd name="f1641" fmla="*/ 5982829 f1419 1"/>
              <a:gd name="f1642" fmla="*/ 5986868 f1419 1"/>
              <a:gd name="f1643" fmla="*/ 5996739 f1419 1"/>
              <a:gd name="f1644" fmla="*/ 6000778 f1419 1"/>
              <a:gd name="f1645" fmla="*/ 721960 f1420 1"/>
              <a:gd name="f1646" fmla="*/ 482647 f1420 1"/>
              <a:gd name="f1647" fmla="*/ 478628 f1420 1"/>
              <a:gd name="f1648" fmla="*/ 243334 f1420 1"/>
              <a:gd name="f1649" fmla="*/ 253244 f1420 1"/>
              <a:gd name="f1650" fmla="*/ 239315 f1420 1"/>
              <a:gd name="f1651" fmla="*/ 4021 f1420 1"/>
              <a:gd name="f1652" fmla="*/ 13931 f1420 1"/>
              <a:gd name="f1653" fmla="*/ 17950 f1420 1"/>
              <a:gd name="f1654" fmla="*/ 5743551 f1419 1"/>
              <a:gd name="f1655" fmla="*/ 5747589 f1419 1"/>
              <a:gd name="f1656" fmla="*/ 5757460 f1419 1"/>
              <a:gd name="f1657" fmla="*/ 5761499 f1419 1"/>
              <a:gd name="f1658" fmla="*/ 1918510 f1420 1"/>
              <a:gd name="f1659" fmla="*/ 1689112 f1420 1"/>
              <a:gd name="f1660" fmla="*/ 1693131 f1420 1"/>
              <a:gd name="f1661" fmla="*/ 1675183 f1420 1"/>
              <a:gd name="f1662" fmla="*/ 1449797 f1420 1"/>
              <a:gd name="f1663" fmla="*/ 1453815 f1420 1"/>
              <a:gd name="f1664" fmla="*/ 1435868 f1420 1"/>
              <a:gd name="f1665" fmla="*/ 1200572 f1420 1"/>
              <a:gd name="f1666" fmla="*/ 1210482 f1420 1"/>
              <a:gd name="f1667" fmla="*/ 961259 f1420 1"/>
              <a:gd name="f1668" fmla="*/ 971169 f1420 1"/>
              <a:gd name="f1669" fmla="*/ 975188 f1420 1"/>
              <a:gd name="f1670" fmla="*/ 957240 f1420 1"/>
              <a:gd name="f1671" fmla="*/ 5743499 f1419 1"/>
              <a:gd name="f1672" fmla="*/ 5747537 f1419 1"/>
              <a:gd name="f1673" fmla="*/ 5757408 f1419 1"/>
              <a:gd name="f1674" fmla="*/ 5761447 f1419 1"/>
              <a:gd name="f1675" fmla="*/ 731871 f1420 1"/>
              <a:gd name="f1676" fmla="*/ 735889 f1420 1"/>
              <a:gd name="f1677" fmla="*/ 717941 f1420 1"/>
              <a:gd name="f1678" fmla="*/ 482648 f1420 1"/>
              <a:gd name="f1679" fmla="*/ 492558 f1420 1"/>
              <a:gd name="f1680" fmla="*/ 496578 f1420 1"/>
              <a:gd name="f1681" fmla="*/ 478629 f1420 1"/>
              <a:gd name="f1682" fmla="*/ 253245 f1420 1"/>
              <a:gd name="f1683" fmla="*/ 257264 f1420 1"/>
              <a:gd name="f1684" fmla="*/ 13932 f1420 1"/>
              <a:gd name="f1685" fmla="*/ 2 f1420 1"/>
              <a:gd name="f1686" fmla="*/ 5504220 f1419 1"/>
              <a:gd name="f1687" fmla="*/ 5508258 f1419 1"/>
              <a:gd name="f1688" fmla="*/ 5518129 f1419 1"/>
              <a:gd name="f1689" fmla="*/ 5522168 f1419 1"/>
              <a:gd name="f1690" fmla="*/ 2171748 f1420 1"/>
              <a:gd name="f1691" fmla="*/ 1679202 f1420 1"/>
              <a:gd name="f1692" fmla="*/ 1693132 f1420 1"/>
              <a:gd name="f1693" fmla="*/ 1675184 f1420 1"/>
              <a:gd name="f1694" fmla="*/ 1439887 f1420 1"/>
              <a:gd name="f1695" fmla="*/ 1435869 f1420 1"/>
              <a:gd name="f1696" fmla="*/ 1210483 f1420 1"/>
              <a:gd name="f1697" fmla="*/ 1214501 f1420 1"/>
              <a:gd name="f1698" fmla="*/ 1196554 f1420 1"/>
              <a:gd name="f1699" fmla="*/ 961260 f1420 1"/>
              <a:gd name="f1700" fmla="*/ 975189 f1420 1"/>
              <a:gd name="f1701" fmla="*/ 957241 f1420 1"/>
              <a:gd name="f1702" fmla="*/ 721961 f1420 1"/>
              <a:gd name="f1703" fmla="*/ 735890 f1420 1"/>
              <a:gd name="f1704" fmla="*/ 717942 f1420 1"/>
              <a:gd name="f1705" fmla="*/ 482649 f1420 1"/>
              <a:gd name="f1706" fmla="*/ 492559 f1420 1"/>
              <a:gd name="f1707" fmla="*/ 478630 f1420 1"/>
              <a:gd name="f1708" fmla="*/ 243335 f1420 1"/>
              <a:gd name="f1709" fmla="*/ 239316 f1420 1"/>
              <a:gd name="f1710" fmla="*/ 4022 f1420 1"/>
              <a:gd name="f1711" fmla="*/ 17951 f1420 1"/>
              <a:gd name="f1712" fmla="*/ 3 f1420 1"/>
              <a:gd name="f1713" fmla="*/ 5264940 f1419 1"/>
              <a:gd name="f1714" fmla="*/ 2167729 f1420 1"/>
              <a:gd name="f1715" fmla="*/ 5268978 f1419 1"/>
              <a:gd name="f1716" fmla="*/ 5278849 f1419 1"/>
              <a:gd name="f1717" fmla="*/ 5282888 f1419 1"/>
              <a:gd name="f1718" fmla="*/ 1914492 f1420 1"/>
              <a:gd name="f1719" fmla="*/ 1679204 f1420 1"/>
              <a:gd name="f1720" fmla="*/ 1689113 f1420 1"/>
              <a:gd name="f1721" fmla="*/ 1439889 f1420 1"/>
              <a:gd name="f1722" fmla="*/ 1449798 f1420 1"/>
              <a:gd name="f1723" fmla="*/ 1453817 f1420 1"/>
              <a:gd name="f1724" fmla="*/ 1200573 f1420 1"/>
              <a:gd name="f1725" fmla="*/ 1214502 f1420 1"/>
              <a:gd name="f1726" fmla="*/ 971171 f1420 1"/>
              <a:gd name="f1727" fmla="*/ 5264889 f1419 1"/>
              <a:gd name="f1728" fmla="*/ 5268928 f1419 1"/>
              <a:gd name="f1729" fmla="*/ 5278799 f1419 1"/>
              <a:gd name="f1730" fmla="*/ 5282838 f1419 1"/>
              <a:gd name="f1731" fmla="*/ 731872 f1420 1"/>
              <a:gd name="f1732" fmla="*/ 735891 f1420 1"/>
              <a:gd name="f1733" fmla="*/ 717943 f1420 1"/>
              <a:gd name="f1734" fmla="*/ 492560 f1420 1"/>
              <a:gd name="f1735" fmla="*/ 496579 f1420 1"/>
              <a:gd name="f1736" fmla="*/ 243336 f1420 1"/>
              <a:gd name="f1737" fmla="*/ 253246 f1420 1"/>
              <a:gd name="f1738" fmla="*/ 257265 f1420 1"/>
              <a:gd name="f1739" fmla="*/ 239317 f1420 1"/>
              <a:gd name="f1740" fmla="*/ 13933 f1420 1"/>
              <a:gd name="f1741" fmla="*/ 17952 f1420 1"/>
              <a:gd name="f1742" fmla="*/ 2157819 f1420 1"/>
              <a:gd name="f1743" fmla="*/ 5025610 f1419 1"/>
              <a:gd name="f1744" fmla="*/ 5029648 f1419 1"/>
              <a:gd name="f1745" fmla="*/ 5039519 f1419 1"/>
              <a:gd name="f1746" fmla="*/ 5043558 f1419 1"/>
              <a:gd name="f1747" fmla="*/ 2153800 f1420 1"/>
              <a:gd name="f1748" fmla="*/ 1932440 f1420 1"/>
              <a:gd name="f1749" fmla="*/ 1689115 f1420 1"/>
              <a:gd name="f1750" fmla="*/ 1693133 f1420 1"/>
              <a:gd name="f1751" fmla="*/ 1675185 f1420 1"/>
              <a:gd name="f1752" fmla="*/ 1453818 f1420 1"/>
              <a:gd name="f1753" fmla="*/ 1435870 f1420 1"/>
              <a:gd name="f1754" fmla="*/ 1210484 f1420 1"/>
              <a:gd name="f1755" fmla="*/ 1196555 f1420 1"/>
              <a:gd name="f1756" fmla="*/ 961261 f1420 1"/>
              <a:gd name="f1757" fmla="*/ 975190 f1420 1"/>
              <a:gd name="f1758" fmla="*/ 957242 f1420 1"/>
              <a:gd name="f1759" fmla="*/ 5025558 f1419 1"/>
              <a:gd name="f1760" fmla="*/ 5029597 f1419 1"/>
              <a:gd name="f1761" fmla="*/ 5039468 f1419 1"/>
              <a:gd name="f1762" fmla="*/ 5043507 f1419 1"/>
              <a:gd name="f1763" fmla="*/ 721962 f1420 1"/>
              <a:gd name="f1764" fmla="*/ 717944 f1420 1"/>
              <a:gd name="f1765" fmla="*/ 482650 f1420 1"/>
              <a:gd name="f1766" fmla="*/ 496580 f1420 1"/>
              <a:gd name="f1767" fmla="*/ 478631 f1420 1"/>
              <a:gd name="f1768" fmla="*/ 253247 f1420 1"/>
              <a:gd name="f1769" fmla="*/ 257266 f1420 1"/>
              <a:gd name="f1770" fmla="*/ 4024 f1420 1"/>
              <a:gd name="f1771" fmla="*/ 4 f1420 1"/>
              <a:gd name="f1772" fmla="*/ 4786279 f1419 1"/>
              <a:gd name="f1773" fmla="*/ 4790317 f1419 1"/>
              <a:gd name="f1774" fmla="*/ 4800188 f1419 1"/>
              <a:gd name="f1775" fmla="*/ 4804227 f1419 1"/>
              <a:gd name="f1776" fmla="*/ 1679205 f1420 1"/>
              <a:gd name="f1777" fmla="*/ 1693134 f1420 1"/>
              <a:gd name="f1778" fmla="*/ 1675187 f1420 1"/>
              <a:gd name="f1779" fmla="*/ 1439890 f1420 1"/>
              <a:gd name="f1780" fmla="*/ 1449800 f1420 1"/>
              <a:gd name="f1781" fmla="*/ 1200574 f1420 1"/>
              <a:gd name="f1782" fmla="*/ 1214503 f1420 1"/>
              <a:gd name="f1783" fmla="*/ 961262 f1420 1"/>
              <a:gd name="f1784" fmla="*/ 971172 f1420 1"/>
              <a:gd name="f1785" fmla="*/ 721963 f1420 1"/>
              <a:gd name="f1786" fmla="*/ 731873 f1420 1"/>
              <a:gd name="f1787" fmla="*/ 735892 f1420 1"/>
              <a:gd name="f1788" fmla="*/ 482651 f1420 1"/>
              <a:gd name="f1789" fmla="*/ 492561 f1420 1"/>
              <a:gd name="f1790" fmla="*/ 478632 f1420 1"/>
              <a:gd name="f1791" fmla="*/ 243338 f1420 1"/>
              <a:gd name="f1792" fmla="*/ 239318 f1420 1"/>
              <a:gd name="f1793" fmla="*/ 13934 f1420 1"/>
              <a:gd name="f1794" fmla="*/ 17954 f1420 1"/>
              <a:gd name="f1795" fmla="*/ 5 f1420 1"/>
              <a:gd name="f1796" fmla="*/ 4546999 f1419 1"/>
              <a:gd name="f1797" fmla="*/ 4551038 f1419 1"/>
              <a:gd name="f1798" fmla="*/ 4560909 f1419 1"/>
              <a:gd name="f1799" fmla="*/ 4564948 f1419 1"/>
              <a:gd name="f1800" fmla="*/ 2153801 f1420 1"/>
              <a:gd name="f1801" fmla="*/ 1928421 f1420 1"/>
              <a:gd name="f1802" fmla="*/ 1679206 f1420 1"/>
              <a:gd name="f1803" fmla="*/ 1689116 f1420 1"/>
              <a:gd name="f1804" fmla="*/ 1453819 f1420 1"/>
              <a:gd name="f1805" fmla="*/ 1435871 f1420 1"/>
              <a:gd name="f1806" fmla="*/ 1200575 f1420 1"/>
              <a:gd name="f1807" fmla="*/ 1210485 f1420 1"/>
              <a:gd name="f1808" fmla="*/ 1214504 f1420 1"/>
              <a:gd name="f1809" fmla="*/ 1196556 f1420 1"/>
              <a:gd name="f1810" fmla="*/ 975191 f1420 1"/>
              <a:gd name="f1811" fmla="*/ 957243 f1420 1"/>
              <a:gd name="f1812" fmla="*/ 4546948 f1419 1"/>
              <a:gd name="f1813" fmla="*/ 4550987 f1419 1"/>
              <a:gd name="f1814" fmla="*/ 4560858 f1419 1"/>
              <a:gd name="f1815" fmla="*/ 4564897 f1419 1"/>
              <a:gd name="f1816" fmla="*/ 721964 f1420 1"/>
              <a:gd name="f1817" fmla="*/ 731874 f1420 1"/>
              <a:gd name="f1818" fmla="*/ 735893 f1420 1"/>
              <a:gd name="f1819" fmla="*/ 717945 f1420 1"/>
              <a:gd name="f1820" fmla="*/ 492562 f1420 1"/>
              <a:gd name="f1821" fmla="*/ 496581 f1420 1"/>
              <a:gd name="f1822" fmla="*/ 253248 f1420 1"/>
              <a:gd name="f1823" fmla="*/ 257267 f1420 1"/>
              <a:gd name="f1824" fmla="*/ 239319 f1420 1"/>
              <a:gd name="f1825" fmla="*/ 4025 f1420 1"/>
              <a:gd name="f1826" fmla="*/ 13935 f1420 1"/>
              <a:gd name="f1827" fmla="*/ 6 f1420 1"/>
              <a:gd name="f1828" fmla="*/ 4307669 f1419 1"/>
              <a:gd name="f1829" fmla="*/ 2171749 f1420 1"/>
              <a:gd name="f1830" fmla="*/ 4311708 f1419 1"/>
              <a:gd name="f1831" fmla="*/ 4321579 f1419 1"/>
              <a:gd name="f1832" fmla="*/ 4325618 f1419 1"/>
              <a:gd name="f1833" fmla="*/ 1918511 f1420 1"/>
              <a:gd name="f1834" fmla="*/ 1689117 f1420 1"/>
              <a:gd name="f1835" fmla="*/ 1693136 f1420 1"/>
              <a:gd name="f1836" fmla="*/ 1675188 f1420 1"/>
              <a:gd name="f1837" fmla="*/ 1439891 f1420 1"/>
              <a:gd name="f1838" fmla="*/ 1449801 f1420 1"/>
              <a:gd name="f1839" fmla="*/ 1210486 f1420 1"/>
              <a:gd name="f1840" fmla="*/ 1214505 f1420 1"/>
              <a:gd name="f1841" fmla="*/ 961263 f1420 1"/>
              <a:gd name="f1842" fmla="*/ 971173 f1420 1"/>
              <a:gd name="f1843" fmla="*/ 957244 f1420 1"/>
              <a:gd name="f1844" fmla="*/ 4307617 f1419 1"/>
              <a:gd name="f1845" fmla="*/ 4311656 f1419 1"/>
              <a:gd name="f1846" fmla="*/ 4321527 f1419 1"/>
              <a:gd name="f1847" fmla="*/ 4325566 f1419 1"/>
              <a:gd name="f1848" fmla="*/ 721965 f1420 1"/>
              <a:gd name="f1849" fmla="*/ 482652 f1420 1"/>
              <a:gd name="f1850" fmla="*/ 478633 f1420 1"/>
              <a:gd name="f1851" fmla="*/ 243339 f1420 1"/>
              <a:gd name="f1852" fmla="*/ 253249 f1420 1"/>
              <a:gd name="f1853" fmla="*/ 257268 f1420 1"/>
              <a:gd name="f1854" fmla="*/ 239320 f1420 1"/>
              <a:gd name="f1855" fmla="*/ 13936 f1420 1"/>
              <a:gd name="f1856" fmla="*/ 17955 f1420 1"/>
              <a:gd name="f1857" fmla="*/ 7 f1420 1"/>
              <a:gd name="f1858" fmla="*/ 4068339 f1419 1"/>
              <a:gd name="f1859" fmla="*/ 4072377 f1419 1"/>
              <a:gd name="f1860" fmla="*/ 4082248 f1419 1"/>
              <a:gd name="f1861" fmla="*/ 4086287 f1419 1"/>
              <a:gd name="f1862" fmla="*/ 1679207 f1420 1"/>
              <a:gd name="f1863" fmla="*/ 1693137 f1420 1"/>
              <a:gd name="f1864" fmla="*/ 1675189 f1420 1"/>
              <a:gd name="f1865" fmla="*/ 1449802 f1420 1"/>
              <a:gd name="f1866" fmla="*/ 1453820 f1420 1"/>
              <a:gd name="f1867" fmla="*/ 1435873 f1420 1"/>
              <a:gd name="f1868" fmla="*/ 1200576 f1420 1"/>
              <a:gd name="f1869" fmla="*/ 1196558 f1420 1"/>
              <a:gd name="f1870" fmla="*/ 971174 f1420 1"/>
              <a:gd name="f1871" fmla="*/ 975192 f1420 1"/>
              <a:gd name="f1872" fmla="*/ 731876 f1420 1"/>
              <a:gd name="f1873" fmla="*/ 735894 f1420 1"/>
              <a:gd name="f1874" fmla="*/ 717946 f1420 1"/>
              <a:gd name="f1875" fmla="*/ 482653 f1420 1"/>
              <a:gd name="f1876" fmla="*/ 492563 f1420 1"/>
              <a:gd name="f1877" fmla="*/ 496583 f1420 1"/>
              <a:gd name="f1878" fmla="*/ 478634 f1420 1"/>
              <a:gd name="f1879" fmla="*/ 253250 f1420 1"/>
              <a:gd name="f1880" fmla="*/ 257269 f1420 1"/>
              <a:gd name="f1881" fmla="*/ 4026 f1420 1"/>
              <a:gd name="f1882" fmla="*/ 17956 f1420 1"/>
              <a:gd name="f1883" fmla="*/ 2157820 f1420 1"/>
              <a:gd name="f1884" fmla="*/ 3829058 f1419 1"/>
              <a:gd name="f1885" fmla="*/ 2167731 f1420 1"/>
              <a:gd name="f1886" fmla="*/ 3833097 f1419 1"/>
              <a:gd name="f1887" fmla="*/ 3842968 f1419 1"/>
              <a:gd name="f1888" fmla="*/ 3847007 f1419 1"/>
              <a:gd name="f1889" fmla="*/ 1914493 f1420 1"/>
              <a:gd name="f1890" fmla="*/ 1679209 f1420 1"/>
              <a:gd name="f1891" fmla="*/ 1689118 f1420 1"/>
              <a:gd name="f1892" fmla="*/ 1439892 f1420 1"/>
              <a:gd name="f1893" fmla="*/ 1435874 f1420 1"/>
              <a:gd name="f1894" fmla="*/ 1200577 f1420 1"/>
              <a:gd name="f1895" fmla="*/ 1210487 f1420 1"/>
              <a:gd name="f1896" fmla="*/ 1214506 f1420 1"/>
              <a:gd name="f1897" fmla="*/ 961264 f1420 1"/>
              <a:gd name="f1898" fmla="*/ 975193 f1420 1"/>
              <a:gd name="f1899" fmla="*/ 957245 f1420 1"/>
              <a:gd name="f1900" fmla="*/ 3829008 f1419 1"/>
              <a:gd name="f1901" fmla="*/ 3833046 f1419 1"/>
              <a:gd name="f1902" fmla="*/ 3842917 f1419 1"/>
              <a:gd name="f1903" fmla="*/ 3846956 f1419 1"/>
              <a:gd name="f1904" fmla="*/ 721966 f1420 1"/>
              <a:gd name="f1905" fmla="*/ 735895 f1420 1"/>
              <a:gd name="f1906" fmla="*/ 717947 f1420 1"/>
              <a:gd name="f1907" fmla="*/ 482654 f1420 1"/>
              <a:gd name="f1908" fmla="*/ 492564 f1420 1"/>
              <a:gd name="f1909" fmla="*/ 478635 f1420 1"/>
              <a:gd name="f1910" fmla="*/ 243340 f1420 1"/>
              <a:gd name="f1911" fmla="*/ 239321 f1420 1"/>
              <a:gd name="f1912" fmla="*/ 4027 f1420 1"/>
              <a:gd name="f1913" fmla="*/ 13937 f1420 1"/>
              <a:gd name="f1914" fmla="*/ 8 f1420 1"/>
              <a:gd name="f1915" fmla="*/ 3589728 f1419 1"/>
              <a:gd name="f1916" fmla="*/ 3593767 f1419 1"/>
              <a:gd name="f1917" fmla="*/ 3603637 f1419 1"/>
              <a:gd name="f1918" fmla="*/ 3607676 f1419 1"/>
              <a:gd name="f1919" fmla="*/ 1932441 f1420 1"/>
              <a:gd name="f1920" fmla="*/ 1693138 f1420 1"/>
              <a:gd name="f1921" fmla="*/ 1675190 f1420 1"/>
              <a:gd name="f1922" fmla="*/ 1449803 f1420 1"/>
              <a:gd name="f1923" fmla="*/ 1453822 f1420 1"/>
              <a:gd name="f1924" fmla="*/ 1210488 f1420 1"/>
              <a:gd name="f1925" fmla="*/ 1196559 f1420 1"/>
              <a:gd name="f1926" fmla="*/ 961265 f1420 1"/>
              <a:gd name="f1927" fmla="*/ 971175 f1420 1"/>
              <a:gd name="f1928" fmla="*/ 957246 f1420 1"/>
              <a:gd name="f1929" fmla="*/ 3589677 f1419 1"/>
              <a:gd name="f1930" fmla="*/ 3593716 f1419 1"/>
              <a:gd name="f1931" fmla="*/ 3603586 f1419 1"/>
              <a:gd name="f1932" fmla="*/ 3607625 f1419 1"/>
              <a:gd name="f1933" fmla="*/ 731877 f1420 1"/>
              <a:gd name="f1934" fmla="*/ 735896 f1420 1"/>
              <a:gd name="f1935" fmla="*/ 717948 f1420 1"/>
              <a:gd name="f1936" fmla="*/ 492565 f1420 1"/>
              <a:gd name="f1937" fmla="*/ 496584 f1420 1"/>
              <a:gd name="f1938" fmla="*/ 243341 f1420 1"/>
              <a:gd name="f1939" fmla="*/ 253251 f1420 1"/>
              <a:gd name="f1940" fmla="*/ 257270 f1420 1"/>
              <a:gd name="f1941" fmla="*/ 13938 f1420 1"/>
              <a:gd name="f1942" fmla="*/ 17957 f1420 1"/>
              <a:gd name="f1943" fmla="*/ 3350398 f1419 1"/>
              <a:gd name="f1944" fmla="*/ 3354436 f1419 1"/>
              <a:gd name="f1945" fmla="*/ 3364306 f1419 1"/>
              <a:gd name="f1946" fmla="*/ 3368345 f1419 1"/>
              <a:gd name="f1947" fmla="*/ 2153802 f1420 1"/>
              <a:gd name="f1948" fmla="*/ 1928422 f1420 1"/>
              <a:gd name="f1949" fmla="*/ 1679210 f1420 1"/>
              <a:gd name="f1950" fmla="*/ 1689120 f1420 1"/>
              <a:gd name="f1951" fmla="*/ 1675191 f1420 1"/>
              <a:gd name="f1952" fmla="*/ 1439893 f1420 1"/>
              <a:gd name="f1953" fmla="*/ 1453823 f1420 1"/>
              <a:gd name="f1954" fmla="*/ 1435875 f1420 1"/>
              <a:gd name="f1955" fmla="*/ 1200578 f1420 1"/>
              <a:gd name="f1956" fmla="*/ 1214507 f1420 1"/>
              <a:gd name="f1957" fmla="*/ 971176 f1420 1"/>
              <a:gd name="f1958" fmla="*/ 975194 f1420 1"/>
              <a:gd name="f1959" fmla="*/ 721967 f1420 1"/>
              <a:gd name="f1960" fmla="*/ 717949 f1420 1"/>
              <a:gd name="f1961" fmla="*/ 482655 f1420 1"/>
              <a:gd name="f1962" fmla="*/ 478636 f1420 1"/>
              <a:gd name="f1963" fmla="*/ 253252 f1420 1"/>
              <a:gd name="f1964" fmla="*/ 257271 f1420 1"/>
              <a:gd name="f1965" fmla="*/ 239322 f1420 1"/>
              <a:gd name="f1966" fmla="*/ 4029 f1420 1"/>
              <a:gd name="f1967" fmla="*/ 9 f1420 1"/>
              <a:gd name="f1968" fmla="*/ 3111118 f1419 1"/>
              <a:gd name="f1969" fmla="*/ 2171750 f1420 1"/>
              <a:gd name="f1970" fmla="*/ 3115157 f1419 1"/>
              <a:gd name="f1971" fmla="*/ 3125027 f1419 1"/>
              <a:gd name="f1972" fmla="*/ 3129066 f1419 1"/>
              <a:gd name="f1973" fmla="*/ 1918513 f1420 1"/>
              <a:gd name="f1974" fmla="*/ 1679211 f1420 1"/>
              <a:gd name="f1975" fmla="*/ 1689121 f1420 1"/>
              <a:gd name="f1976" fmla="*/ 1693139 f1420 1"/>
              <a:gd name="f1977" fmla="*/ 1439895 f1420 1"/>
              <a:gd name="f1978" fmla="*/ 1449805 f1420 1"/>
              <a:gd name="f1979" fmla="*/ 1210489 f1420 1"/>
              <a:gd name="f1980" fmla="*/ 1196560 f1420 1"/>
              <a:gd name="f1981" fmla="*/ 961266 f1420 1"/>
              <a:gd name="f1982" fmla="*/ 975195 f1420 1"/>
              <a:gd name="f1983" fmla="*/ 957247 f1420 1"/>
              <a:gd name="f1984" fmla="*/ 3111067 f1419 1"/>
              <a:gd name="f1985" fmla="*/ 3115105 f1419 1"/>
              <a:gd name="f1986" fmla="*/ 3124976 f1419 1"/>
              <a:gd name="f1987" fmla="*/ 3129015 f1419 1"/>
              <a:gd name="f1988" fmla="*/ 721968 f1420 1"/>
              <a:gd name="f1989" fmla="*/ 731878 f1420 1"/>
              <a:gd name="f1990" fmla="*/ 735897 f1420 1"/>
              <a:gd name="f1991" fmla="*/ 482656 f1420 1"/>
              <a:gd name="f1992" fmla="*/ 492566 f1420 1"/>
              <a:gd name="f1993" fmla="*/ 496585 f1420 1"/>
              <a:gd name="f1994" fmla="*/ 478637 f1420 1"/>
              <a:gd name="f1995" fmla="*/ 243342 f1420 1"/>
              <a:gd name="f1996" fmla="*/ 239323 f1420 1"/>
              <a:gd name="f1997" fmla="*/ 13939 f1420 1"/>
              <a:gd name="f1998" fmla="*/ 17959 f1420 1"/>
              <a:gd name="f1999" fmla="*/ 10 f1420 1"/>
              <a:gd name="f2000" fmla="*/ 2871788 f1419 1"/>
              <a:gd name="f2001" fmla="*/ 2167732 f1420 1"/>
              <a:gd name="f2002" fmla="*/ 2875826 f1419 1"/>
              <a:gd name="f2003" fmla="*/ 2885696 f1419 1"/>
              <a:gd name="f2004" fmla="*/ 2889735 f1419 1"/>
              <a:gd name="f2005" fmla="*/ 1693141 f1420 1"/>
              <a:gd name="f2006" fmla="*/ 1675193 f1420 1"/>
              <a:gd name="f2007" fmla="*/ 1453824 f1420 1"/>
              <a:gd name="f2008" fmla="*/ 1435876 f1420 1"/>
              <a:gd name="f2009" fmla="*/ 1200579 f1420 1"/>
              <a:gd name="f2010" fmla="*/ 1214509 f1420 1"/>
              <a:gd name="f2011" fmla="*/ 961267 f1420 1"/>
              <a:gd name="f2012" fmla="*/ 971177 f1420 1"/>
              <a:gd name="f2013" fmla="*/ 2871736 f1419 1"/>
              <a:gd name="f2014" fmla="*/ 2875775 f1419 1"/>
              <a:gd name="f2015" fmla="*/ 2885645 f1419 1"/>
              <a:gd name="f2016" fmla="*/ 2889684 f1419 1"/>
              <a:gd name="f2017" fmla="*/ 721969 f1420 1"/>
              <a:gd name="f2018" fmla="*/ 731879 f1420 1"/>
              <a:gd name="f2019" fmla="*/ 735898 f1420 1"/>
              <a:gd name="f2020" fmla="*/ 717950 f1420 1"/>
              <a:gd name="f2021" fmla="*/ 492567 f1420 1"/>
              <a:gd name="f2022" fmla="*/ 496586 f1420 1"/>
              <a:gd name="f2023" fmla="*/ 243343 f1420 1"/>
              <a:gd name="f2024" fmla="*/ 253253 f1420 1"/>
              <a:gd name="f2025" fmla="*/ 257272 f1420 1"/>
              <a:gd name="f2026" fmla="*/ 239324 f1420 1"/>
              <a:gd name="f2027" fmla="*/ 4030 f1420 1"/>
              <a:gd name="f2028" fmla="*/ 13940 f1420 1"/>
              <a:gd name="f2029" fmla="*/ 11 f1420 1"/>
              <a:gd name="f2030" fmla="*/ 2632457 f1419 1"/>
              <a:gd name="f2031" fmla="*/ 2636496 f1419 1"/>
              <a:gd name="f2032" fmla="*/ 2646366 f1419 1"/>
              <a:gd name="f2033" fmla="*/ 2650405 f1419 1"/>
              <a:gd name="f2034" fmla="*/ 2157821 f1420 1"/>
              <a:gd name="f2035" fmla="*/ 1914494 f1420 1"/>
              <a:gd name="f2036" fmla="*/ 1679212 f1420 1"/>
              <a:gd name="f2037" fmla="*/ 1689122 f1420 1"/>
              <a:gd name="f2038" fmla="*/ 1439896 f1420 1"/>
              <a:gd name="f2039" fmla="*/ 1449806 f1420 1"/>
              <a:gd name="f2040" fmla="*/ 1200580 f1420 1"/>
              <a:gd name="f2041" fmla="*/ 1210490 f1420 1"/>
              <a:gd name="f2042" fmla="*/ 1196561 f1420 1"/>
              <a:gd name="f2043" fmla="*/ 971178 f1420 1"/>
              <a:gd name="f2044" fmla="*/ 975196 f1420 1"/>
              <a:gd name="f2045" fmla="*/ 957249 f1420 1"/>
              <a:gd name="f2046" fmla="*/ 721970 f1420 1"/>
              <a:gd name="f2047" fmla="*/ 717951 f1420 1"/>
              <a:gd name="f2048" fmla="*/ 482657 f1420 1"/>
              <a:gd name="f2049" fmla="*/ 478638 f1420 1"/>
              <a:gd name="f2050" fmla="*/ 243344 f1420 1"/>
              <a:gd name="f2051" fmla="*/ 253254 f1420 1"/>
              <a:gd name="f2052" fmla="*/ 257273 f1420 1"/>
              <a:gd name="f2053" fmla="*/ 239325 f1420 1"/>
              <a:gd name="f2054" fmla="*/ 13941 f1420 1"/>
              <a:gd name="f2055" fmla="*/ 17960 f1420 1"/>
              <a:gd name="f2056" fmla="*/ 2393178 f1419 1"/>
              <a:gd name="f2057" fmla="*/ 2397216 f1419 1"/>
              <a:gd name="f2058" fmla="*/ 2407087 f1419 1"/>
              <a:gd name="f2059" fmla="*/ 2411126 f1419 1"/>
              <a:gd name="f2060" fmla="*/ 1932443 f1420 1"/>
              <a:gd name="f2061" fmla="*/ 1689123 f1420 1"/>
              <a:gd name="f2062" fmla="*/ 1693142 f1420 1"/>
              <a:gd name="f2063" fmla="*/ 1675194 f1420 1"/>
              <a:gd name="f2064" fmla="*/ 1453826 f1420 1"/>
              <a:gd name="f2065" fmla="*/ 1435878 f1420 1"/>
              <a:gd name="f2066" fmla="*/ 1210491 f1420 1"/>
              <a:gd name="f2067" fmla="*/ 1214510 f1420 1"/>
              <a:gd name="f2068" fmla="*/ 1196562 f1420 1"/>
              <a:gd name="f2069" fmla="*/ 961268 f1420 1"/>
              <a:gd name="f2070" fmla="*/ 2393127 f1419 1"/>
              <a:gd name="f2071" fmla="*/ 2397165 f1419 1"/>
              <a:gd name="f2072" fmla="*/ 2407036 f1419 1"/>
              <a:gd name="f2073" fmla="*/ 2411074 f1419 1"/>
              <a:gd name="f2074" fmla="*/ 731881 f1420 1"/>
              <a:gd name="f2075" fmla="*/ 735899 f1420 1"/>
              <a:gd name="f2076" fmla="*/ 482658 f1420 1"/>
              <a:gd name="f2077" fmla="*/ 492568 f1420 1"/>
              <a:gd name="f2078" fmla="*/ 496588 f1420 1"/>
              <a:gd name="f2079" fmla="*/ 478639 f1420 1"/>
              <a:gd name="f2080" fmla="*/ 253255 f1420 1"/>
              <a:gd name="f2081" fmla="*/ 257274 f1420 1"/>
              <a:gd name="f2082" fmla="*/ 4031 f1420 1"/>
              <a:gd name="f2083" fmla="*/ 17961 f1420 1"/>
              <a:gd name="f2084" fmla="*/ 12 f1420 1"/>
              <a:gd name="f2085" fmla="*/ 2153996 f1419 1"/>
              <a:gd name="f2086" fmla="*/ 2158034 f1419 1"/>
              <a:gd name="f2087" fmla="*/ 2167907 f1419 1"/>
              <a:gd name="f2088" fmla="*/ 2171946 f1419 1"/>
              <a:gd name="f2089" fmla="*/ 2171947 f1419 1"/>
              <a:gd name="f2090" fmla="*/ 2153995 f1419 1"/>
              <a:gd name="f2091" fmla="*/ 2153976 f1419 1"/>
              <a:gd name="f2092" fmla="*/ 2158014 f1419 1"/>
              <a:gd name="f2093" fmla="*/ 2167886 f1419 1"/>
              <a:gd name="f2094" fmla="*/ 2171926 f1419 1"/>
              <a:gd name="f2095" fmla="*/ 2167887 f1419 1"/>
              <a:gd name="f2096" fmla="*/ 2153956 f1419 1"/>
              <a:gd name="f2097" fmla="*/ 2157994 f1419 1"/>
              <a:gd name="f2098" fmla="*/ 2167867 f1419 1"/>
              <a:gd name="f2099" fmla="*/ 2171905 f1419 1"/>
              <a:gd name="f2100" fmla="*/ 2171906 f1419 1"/>
              <a:gd name="f2101" fmla="*/ 2153955 f1419 1"/>
              <a:gd name="f2102" fmla="*/ 2167866 f1419 1"/>
              <a:gd name="f2103" fmla="*/ 2153936 f1419 1"/>
              <a:gd name="f2104" fmla="*/ 2157974 f1419 1"/>
              <a:gd name="f2105" fmla="*/ 2167846 f1419 1"/>
              <a:gd name="f2106" fmla="*/ 2171885 f1419 1"/>
              <a:gd name="f2107" fmla="*/ 2153935 f1419 1"/>
              <a:gd name="f2108" fmla="*/ 2167845 f1419 1"/>
              <a:gd name="f2109" fmla="*/ 2153916 f1419 1"/>
              <a:gd name="f2110" fmla="*/ 2157955 f1419 1"/>
              <a:gd name="f2111" fmla="*/ 2167826 f1419 1"/>
              <a:gd name="f2112" fmla="*/ 2171865 f1419 1"/>
              <a:gd name="f2113" fmla="*/ 2153915 f1419 1"/>
              <a:gd name="f2114" fmla="*/ 2167825 f1419 1"/>
              <a:gd name="f2115" fmla="*/ 2171864 f1419 1"/>
              <a:gd name="f2116" fmla="*/ 2153896 f1419 1"/>
              <a:gd name="f2117" fmla="*/ 2157935 f1419 1"/>
              <a:gd name="f2118" fmla="*/ 2167805 f1419 1"/>
              <a:gd name="f2119" fmla="*/ 2171844 f1419 1"/>
              <a:gd name="f2120" fmla="*/ 2153895 f1419 1"/>
              <a:gd name="f2121" fmla="*/ 2157934 f1419 1"/>
              <a:gd name="f2122" fmla="*/ 2153876 f1419 1"/>
              <a:gd name="f2123" fmla="*/ 2157914 f1419 1"/>
              <a:gd name="f2124" fmla="*/ 2167786 f1419 1"/>
              <a:gd name="f2125" fmla="*/ 2171824 f1419 1"/>
              <a:gd name="f2126" fmla="*/ 1200582 f1420 1"/>
              <a:gd name="f2127" fmla="*/ 2153867 f1419 1"/>
              <a:gd name="f2128" fmla="*/ 2157906 f1419 1"/>
              <a:gd name="f2129" fmla="*/ 2167776 f1419 1"/>
              <a:gd name="f2130" fmla="*/ 2171815 f1419 1"/>
              <a:gd name="f2131" fmla="*/ 971179 f1420 1"/>
              <a:gd name="f2132" fmla="*/ 975198 f1420 1"/>
              <a:gd name="f2133" fmla="*/ 957250 f1420 1"/>
              <a:gd name="f2134" fmla="*/ 1679214 f1420 1"/>
              <a:gd name="f2135" fmla="*/ 1693144 f1420 1"/>
              <a:gd name="f2136" fmla="*/ 2157905 f1419 1"/>
              <a:gd name="f2137" fmla="*/ 2167775 f1419 1"/>
              <a:gd name="f2138" fmla="*/ 2171814 f1419 1"/>
              <a:gd name="f2139" fmla="*/ 1675195 f1420 1"/>
              <a:gd name="f2140" fmla="*/ 1439897 f1420 1"/>
              <a:gd name="f2141" fmla="*/ 1449807 f1420 1"/>
              <a:gd name="f2142" fmla="*/ 2153855 f1419 1"/>
              <a:gd name="f2143" fmla="*/ 2157892 f1419 1"/>
              <a:gd name="f2144" fmla="*/ 2167763 f1419 1"/>
              <a:gd name="f2145" fmla="*/ 2171803 f1419 1"/>
              <a:gd name="f2146" fmla="*/ 2153850 f1419 1"/>
              <a:gd name="f2147" fmla="*/ 2157889 f1419 1"/>
              <a:gd name="f2148" fmla="*/ 2167759 f1419 1"/>
              <a:gd name="f2149" fmla="*/ 2171798 f1419 1"/>
              <a:gd name="f2150" fmla="*/ 2153803 f1420 1"/>
              <a:gd name="f2151" fmla="*/ 4032 f1420 1"/>
              <a:gd name="f2152" fmla="*/ 2153832 f1419 1"/>
              <a:gd name="f2153" fmla="*/ 13942 f1420 1"/>
              <a:gd name="f2154" fmla="*/ 2157870 f1419 1"/>
              <a:gd name="f2155" fmla="*/ 2167741 f1419 1"/>
              <a:gd name="f2156" fmla="*/ 2171780 f1419 1"/>
              <a:gd name="f2157" fmla="*/ 13 f1420 1"/>
              <a:gd name="f2158" fmla="*/ 721971 f1420 1"/>
              <a:gd name="f2159" fmla="*/ 735900 f1420 1"/>
              <a:gd name="f2160" fmla="*/ 2167740 f1419 1"/>
              <a:gd name="f2161" fmla="*/ 717952 f1420 1"/>
              <a:gd name="f2162" fmla="*/ 482659 f1420 1"/>
              <a:gd name="f2163" fmla="*/ 492569 f1420 1"/>
              <a:gd name="f2164" fmla="*/ 478640 f1420 1"/>
              <a:gd name="f2165" fmla="*/ 243345 f1420 1"/>
              <a:gd name="f2166" fmla="*/ 239326 f1420 1"/>
              <a:gd name="f2167" fmla="*/ 1914701 f1419 1"/>
              <a:gd name="f2168" fmla="*/ 1918739 f1419 1"/>
              <a:gd name="f2169" fmla="*/ 1928610 f1419 1"/>
              <a:gd name="f2170" fmla="*/ 1932649 f1419 1"/>
              <a:gd name="f2171" fmla="*/ 1914699 f1419 1"/>
              <a:gd name="f2172" fmla="*/ 1918738 f1419 1"/>
              <a:gd name="f2173" fmla="*/ 1914682 f1419 1"/>
              <a:gd name="f2174" fmla="*/ 1918721 f1419 1"/>
              <a:gd name="f2175" fmla="*/ 1928592 f1419 1"/>
              <a:gd name="f2176" fmla="*/ 1932631 f1419 1"/>
              <a:gd name="f2177" fmla="*/ 1914681 f1419 1"/>
              <a:gd name="f2178" fmla="*/ 1918719 f1419 1"/>
              <a:gd name="f2179" fmla="*/ 1918720 f1419 1"/>
              <a:gd name="f2180" fmla="*/ 1914664 f1419 1"/>
              <a:gd name="f2181" fmla="*/ 1918702 f1419 1"/>
              <a:gd name="f2182" fmla="*/ 1928573 f1419 1"/>
              <a:gd name="f2183" fmla="*/ 1932612 f1419 1"/>
              <a:gd name="f2184" fmla="*/ 1914663 f1419 1"/>
              <a:gd name="f2185" fmla="*/ 1928572 f1419 1"/>
              <a:gd name="f2186" fmla="*/ 1914662 f1419 1"/>
              <a:gd name="f2187" fmla="*/ 1918701 f1419 1"/>
              <a:gd name="f2188" fmla="*/ 1914645 f1419 1"/>
              <a:gd name="f2189" fmla="*/ 1918684 f1419 1"/>
              <a:gd name="f2190" fmla="*/ 1928555 f1419 1"/>
              <a:gd name="f2191" fmla="*/ 1932594 f1419 1"/>
              <a:gd name="f2192" fmla="*/ 1918682 f1419 1"/>
              <a:gd name="f2193" fmla="*/ 1928554 f1419 1"/>
              <a:gd name="f2194" fmla="*/ 1918683 f1419 1"/>
              <a:gd name="f2195" fmla="*/ 1914627 f1419 1"/>
              <a:gd name="f2196" fmla="*/ 1918666 f1419 1"/>
              <a:gd name="f2197" fmla="*/ 1928536 f1419 1"/>
              <a:gd name="f2198" fmla="*/ 1932575 f1419 1"/>
              <a:gd name="f2199" fmla="*/ 1918664 f1419 1"/>
              <a:gd name="f2200" fmla="*/ 1928535 f1419 1"/>
              <a:gd name="f2201" fmla="*/ 1914626 f1419 1"/>
              <a:gd name="f2202" fmla="*/ 1914608 f1419 1"/>
              <a:gd name="f2203" fmla="*/ 1918647 f1419 1"/>
              <a:gd name="f2204" fmla="*/ 1928518 f1419 1"/>
              <a:gd name="f2205" fmla="*/ 1932557 f1419 1"/>
              <a:gd name="f2206" fmla="*/ 1918646 f1419 1"/>
              <a:gd name="f2207" fmla="*/ 1928517 f1419 1"/>
              <a:gd name="f2208" fmla="*/ 1914590 f1419 1"/>
              <a:gd name="f2209" fmla="*/ 1918629 f1419 1"/>
              <a:gd name="f2210" fmla="*/ 1928499 f1419 1"/>
              <a:gd name="f2211" fmla="*/ 1932538 f1419 1"/>
              <a:gd name="f2212" fmla="*/ 243346 f1420 1"/>
              <a:gd name="f2213" fmla="*/ 1914550 f1419 1"/>
              <a:gd name="f2214" fmla="*/ 253256 f1420 1"/>
              <a:gd name="f2215" fmla="*/ 257275 f1420 1"/>
              <a:gd name="f2216" fmla="*/ 1918589 f1419 1"/>
              <a:gd name="f2217" fmla="*/ 1928459 f1419 1"/>
              <a:gd name="f2218" fmla="*/ 1932498 f1419 1"/>
              <a:gd name="f2219" fmla="*/ 239327 f1420 1"/>
              <a:gd name="f2220" fmla="*/ 13943 f1420 1"/>
              <a:gd name="f2221" fmla="*/ 17962 f1420 1"/>
              <a:gd name="f2222" fmla="*/ 731882 f1420 1"/>
              <a:gd name="f2223" fmla="*/ 735901 f1420 1"/>
              <a:gd name="f2224" fmla="*/ 1918588 f1419 1"/>
              <a:gd name="f2225" fmla="*/ 1932497 f1419 1"/>
              <a:gd name="f2226" fmla="*/ 717953 f1420 1"/>
              <a:gd name="f2227" fmla="*/ 482660 f1420 1"/>
              <a:gd name="f2228" fmla="*/ 492570 f1420 1"/>
              <a:gd name="f2229" fmla="*/ 496589 f1420 1"/>
              <a:gd name="f2230" fmla="*/ 1679215 f1420 1"/>
              <a:gd name="f2231" fmla="*/ 1914535 f1419 1"/>
              <a:gd name="f2232" fmla="*/ 1689125 f1420 1"/>
              <a:gd name="f2233" fmla="*/ 1918573 f1419 1"/>
              <a:gd name="f2234" fmla="*/ 1928444 f1419 1"/>
              <a:gd name="f2235" fmla="*/ 1932482 f1419 1"/>
              <a:gd name="f2236" fmla="*/ 1449808 f1420 1"/>
              <a:gd name="f2237" fmla="*/ 1453827 f1420 1"/>
              <a:gd name="f2238" fmla="*/ 1932483 f1419 1"/>
              <a:gd name="f2239" fmla="*/ 1435879 f1420 1"/>
              <a:gd name="f2240" fmla="*/ 1210492 f1420 1"/>
              <a:gd name="f2241" fmla="*/ 1214511 f1420 1"/>
              <a:gd name="f2242" fmla="*/ 1196563 f1420 1"/>
              <a:gd name="f2243" fmla="*/ 961269 f1420 1"/>
              <a:gd name="f2244" fmla="*/ 1914523 f1419 1"/>
              <a:gd name="f2245" fmla="*/ 1928424 f1420 1"/>
              <a:gd name="f2246" fmla="*/ 1918562 f1419 1"/>
              <a:gd name="f2247" fmla="*/ 1928432 f1419 1"/>
              <a:gd name="f2248" fmla="*/ 1932471 f1419 1"/>
              <a:gd name="f2249" fmla="*/ 1914520 f1419 1"/>
              <a:gd name="f2250" fmla="*/ 2171751 f1420 1"/>
              <a:gd name="f2251" fmla="*/ 1918558 f1419 1"/>
              <a:gd name="f2252" fmla="*/ 1928428 f1419 1"/>
              <a:gd name="f2253" fmla="*/ 1932467 f1419 1"/>
              <a:gd name="f2254" fmla="*/ 1675350 f1419 1"/>
              <a:gd name="f2255" fmla="*/ 1679389 f1419 1"/>
              <a:gd name="f2256" fmla="*/ 1689260 f1419 1"/>
              <a:gd name="f2257" fmla="*/ 1693299 f1419 1"/>
              <a:gd name="f2258" fmla="*/ 1675349 f1419 1"/>
              <a:gd name="f2259" fmla="*/ 1679388 f1419 1"/>
              <a:gd name="f2260" fmla="*/ 1693298 f1419 1"/>
              <a:gd name="f2261" fmla="*/ 1675334 f1419 1"/>
              <a:gd name="f2262" fmla="*/ 1679373 f1419 1"/>
              <a:gd name="f2263" fmla="*/ 1689243 f1419 1"/>
              <a:gd name="f2264" fmla="*/ 1693282 f1419 1"/>
              <a:gd name="f2265" fmla="*/ 1675333 f1419 1"/>
              <a:gd name="f2266" fmla="*/ 1679372 f1419 1"/>
              <a:gd name="f2267" fmla="*/ 1693281 f1419 1"/>
              <a:gd name="f2268" fmla="*/ 1675318 f1419 1"/>
              <a:gd name="f2269" fmla="*/ 1679357 f1419 1"/>
              <a:gd name="f2270" fmla="*/ 1689227 f1419 1"/>
              <a:gd name="f2271" fmla="*/ 1693266 f1419 1"/>
              <a:gd name="f2272" fmla="*/ 1675316 f1419 1"/>
              <a:gd name="f2273" fmla="*/ 1679356 f1419 1"/>
              <a:gd name="f2274" fmla="*/ 1675301 f1419 1"/>
              <a:gd name="f2275" fmla="*/ 1679339 f1419 1"/>
              <a:gd name="f2276" fmla="*/ 1689210 f1419 1"/>
              <a:gd name="f2277" fmla="*/ 1693249 f1419 1"/>
              <a:gd name="f2278" fmla="*/ 1689211 f1419 1"/>
              <a:gd name="f2279" fmla="*/ 1693251 f1419 1"/>
              <a:gd name="f2280" fmla="*/ 1675300 f1419 1"/>
              <a:gd name="f2281" fmla="*/ 1675285 f1419 1"/>
              <a:gd name="f2282" fmla="*/ 1679323 f1419 1"/>
              <a:gd name="f2283" fmla="*/ 1689193 f1419 1"/>
              <a:gd name="f2284" fmla="*/ 1693232 f1419 1"/>
              <a:gd name="f2285" fmla="*/ 1689195 f1419 1"/>
              <a:gd name="f2286" fmla="*/ 1693234 f1419 1"/>
              <a:gd name="f2287" fmla="*/ 1675268 f1419 1"/>
              <a:gd name="f2288" fmla="*/ 1679306 f1419 1"/>
              <a:gd name="f2289" fmla="*/ 1689177 f1419 1"/>
              <a:gd name="f2290" fmla="*/ 1693216 f1419 1"/>
              <a:gd name="f2291" fmla="*/ 1693217 f1419 1"/>
              <a:gd name="f2292" fmla="*/ 1679307 f1419 1"/>
              <a:gd name="f2293" fmla="*/ 1689178 f1419 1"/>
              <a:gd name="f2294" fmla="*/ 961270 f1420 1"/>
              <a:gd name="f2295" fmla="*/ 1675255 f1419 1"/>
              <a:gd name="f2296" fmla="*/ 971180 f1420 1"/>
              <a:gd name="f2297" fmla="*/ 975199 f1420 1"/>
              <a:gd name="f2298" fmla="*/ 1679292 f1419 1"/>
              <a:gd name="f2299" fmla="*/ 1689163 f1419 1"/>
              <a:gd name="f2300" fmla="*/ 1693202 f1419 1"/>
              <a:gd name="f2301" fmla="*/ 957251 f1420 1"/>
              <a:gd name="f2302" fmla="*/ 1675254 f1419 1"/>
              <a:gd name="f2303" fmla="*/ 1689126 f1420 1"/>
              <a:gd name="f2304" fmla="*/ 1693145 f1420 1"/>
              <a:gd name="f2305" fmla="*/ 1675196 f1420 1"/>
              <a:gd name="f2306" fmla="*/ 1439898 f1420 1"/>
              <a:gd name="f2307" fmla="*/ 1453828 f1420 1"/>
              <a:gd name="f2308" fmla="*/ 1435880 f1420 1"/>
              <a:gd name="f2309" fmla="*/ 1200583 f1420 1"/>
              <a:gd name="f2310" fmla="*/ 1210493 f1420 1"/>
              <a:gd name="f2311" fmla="*/ 1196564 f1420 1"/>
              <a:gd name="f2312" fmla="*/ 1675251 f1419 1"/>
              <a:gd name="f2313" fmla="*/ 1679290 f1419 1"/>
              <a:gd name="f2314" fmla="*/ 1689161 f1419 1"/>
              <a:gd name="f2315" fmla="*/ 1693201 f1419 1"/>
              <a:gd name="f2316" fmla="*/ 1918514 f1420 1"/>
              <a:gd name="f2317" fmla="*/ 1675243 f1419 1"/>
              <a:gd name="f2318" fmla="*/ 1679282 f1419 1"/>
              <a:gd name="f2319" fmla="*/ 1689153 f1419 1"/>
              <a:gd name="f2320" fmla="*/ 1693191 f1419 1"/>
              <a:gd name="f2321" fmla="*/ 1675240 f1419 1"/>
              <a:gd name="f2322" fmla="*/ 1679279 f1419 1"/>
              <a:gd name="f2323" fmla="*/ 1689149 f1419 1"/>
              <a:gd name="f2324" fmla="*/ 1693188 f1419 1"/>
              <a:gd name="f2325" fmla="*/ 1675216 f1419 1"/>
              <a:gd name="f2326" fmla="*/ 253257 f1420 1"/>
              <a:gd name="f2327" fmla="*/ 257276 f1420 1"/>
              <a:gd name="f2328" fmla="*/ 1679254 f1419 1"/>
              <a:gd name="f2329" fmla="*/ 1689125 f1419 1"/>
              <a:gd name="f2330" fmla="*/ 1693164 f1419 1"/>
              <a:gd name="f2331" fmla="*/ 4034 f1420 1"/>
              <a:gd name="f2332" fmla="*/ 14 f1420 1"/>
              <a:gd name="f2333" fmla="*/ 721972 f1420 1"/>
              <a:gd name="f2334" fmla="*/ 735902 f1420 1"/>
              <a:gd name="f2335" fmla="*/ 717954 f1420 1"/>
              <a:gd name="f2336" fmla="*/ 492571 f1420 1"/>
              <a:gd name="f2337" fmla="*/ 478641 f1420 1"/>
              <a:gd name="f2338" fmla="*/ 1436001 f1419 1"/>
              <a:gd name="f2339" fmla="*/ 1440038 f1419 1"/>
              <a:gd name="f2340" fmla="*/ 1449910 f1419 1"/>
              <a:gd name="f2341" fmla="*/ 1453949 f1419 1"/>
              <a:gd name="f2342" fmla="*/ 1436000 f1419 1"/>
              <a:gd name="f2343" fmla="*/ 1449909 f1419 1"/>
              <a:gd name="f2344" fmla="*/ 1435986 f1419 1"/>
              <a:gd name="f2345" fmla="*/ 1440024 f1419 1"/>
              <a:gd name="f2346" fmla="*/ 1449895 f1419 1"/>
              <a:gd name="f2347" fmla="*/ 1453934 f1419 1"/>
              <a:gd name="f2348" fmla="*/ 1435972 f1419 1"/>
              <a:gd name="f2349" fmla="*/ 1440010 f1419 1"/>
              <a:gd name="f2350" fmla="*/ 1449881 f1419 1"/>
              <a:gd name="f2351" fmla="*/ 1453920 f1419 1"/>
              <a:gd name="f2352" fmla="*/ 1435971 f1419 1"/>
              <a:gd name="f2353" fmla="*/ 1449880 f1419 1"/>
              <a:gd name="f2354" fmla="*/ 1453919 f1419 1"/>
              <a:gd name="f2355" fmla="*/ 1435958 f1419 1"/>
              <a:gd name="f2356" fmla="*/ 1439995 f1419 1"/>
              <a:gd name="f2357" fmla="*/ 1449866 f1419 1"/>
              <a:gd name="f2358" fmla="*/ 1453905 f1419 1"/>
              <a:gd name="f2359" fmla="*/ 1435956 f1419 1"/>
              <a:gd name="f2360" fmla="*/ 1449865 f1419 1"/>
              <a:gd name="f2361" fmla="*/ 1435943 f1419 1"/>
              <a:gd name="f2362" fmla="*/ 1439981 f1419 1"/>
              <a:gd name="f2363" fmla="*/ 1449852 f1419 1"/>
              <a:gd name="f2364" fmla="*/ 1453891 f1419 1"/>
              <a:gd name="f2365" fmla="*/ 1439980 f1419 1"/>
              <a:gd name="f2366" fmla="*/ 1449851 f1419 1"/>
              <a:gd name="f2367" fmla="*/ 1453890 f1419 1"/>
              <a:gd name="f2368" fmla="*/ 1435928 f1419 1"/>
              <a:gd name="f2369" fmla="*/ 1439967 f1419 1"/>
              <a:gd name="f2370" fmla="*/ 1449837 f1419 1"/>
              <a:gd name="f2371" fmla="*/ 1453877 f1419 1"/>
              <a:gd name="f2372" fmla="*/ 1449836 f1419 1"/>
              <a:gd name="f2373" fmla="*/ 1453876 f1419 1"/>
              <a:gd name="f2374" fmla="*/ 1679216 f1420 1"/>
              <a:gd name="f2375" fmla="*/ 1435922 f1419 1"/>
              <a:gd name="f2376" fmla="*/ 1693146 f1420 1"/>
              <a:gd name="f2377" fmla="*/ 1439960 f1419 1"/>
              <a:gd name="f2378" fmla="*/ 1449831 f1419 1"/>
              <a:gd name="f2379" fmla="*/ 1453870 f1419 1"/>
              <a:gd name="f2380" fmla="*/ 1675198 f1420 1"/>
              <a:gd name="f2381" fmla="*/ 1439900 f1420 1"/>
              <a:gd name="f2382" fmla="*/ 1449810 f1420 1"/>
              <a:gd name="f2383" fmla="*/ 1214512 f1420 1"/>
              <a:gd name="f2384" fmla="*/ 971181 f1420 1"/>
              <a:gd name="f2385" fmla="*/ 975200 f1420 1"/>
              <a:gd name="f2386" fmla="*/ 957252 f1420 1"/>
              <a:gd name="f2387" fmla="*/ 1435914 f1419 1"/>
              <a:gd name="f2388" fmla="*/ 1439952 f1419 1"/>
              <a:gd name="f2389" fmla="*/ 1449823 f1419 1"/>
              <a:gd name="f2390" fmla="*/ 1453862 f1419 1"/>
              <a:gd name="f2391" fmla="*/ 1435912 f1419 1"/>
              <a:gd name="f2392" fmla="*/ 1439950 f1419 1"/>
              <a:gd name="f2393" fmla="*/ 1449821 f1419 1"/>
              <a:gd name="f2394" fmla="*/ 1453860 f1419 1"/>
              <a:gd name="f2395" fmla="*/ 2157823 f1420 1"/>
              <a:gd name="f2396" fmla="*/ 1435909 f1419 1"/>
              <a:gd name="f2397" fmla="*/ 2167733 f1420 1"/>
              <a:gd name="f2398" fmla="*/ 1439947 f1419 1"/>
              <a:gd name="f2399" fmla="*/ 1449818 f1419 1"/>
              <a:gd name="f2400" fmla="*/ 1453857 f1419 1"/>
              <a:gd name="f2401" fmla="*/ 243347 f1420 1"/>
              <a:gd name="f2402" fmla="*/ 1435883 f1419 1"/>
              <a:gd name="f2403" fmla="*/ 1439920 f1419 1"/>
              <a:gd name="f2404" fmla="*/ 1449791 f1419 1"/>
              <a:gd name="f2405" fmla="*/ 1453830 f1419 1"/>
              <a:gd name="f2406" fmla="*/ 239328 f1420 1"/>
              <a:gd name="f2407" fmla="*/ 13944 f1420 1"/>
              <a:gd name="f2408" fmla="*/ 17964 f1420 1"/>
              <a:gd name="f2409" fmla="*/ 15 f1420 1"/>
              <a:gd name="f2410" fmla="*/ 721973 f1420 1"/>
              <a:gd name="f2411" fmla="*/ 1435882 f1419 1"/>
              <a:gd name="f2412" fmla="*/ 731883 f1420 1"/>
              <a:gd name="f2413" fmla="*/ 482661 f1420 1"/>
              <a:gd name="f2414" fmla="*/ 496590 f1420 1"/>
              <a:gd name="f2415" fmla="*/ 478642 f1420 1"/>
              <a:gd name="f2416" fmla="*/ 1196701 f1419 1"/>
              <a:gd name="f2417" fmla="*/ 1200738 f1419 1"/>
              <a:gd name="f2418" fmla="*/ 1210610 f1419 1"/>
              <a:gd name="f2419" fmla="*/ 1214650 f1419 1"/>
              <a:gd name="f2420" fmla="*/ 1200740 f1419 1"/>
              <a:gd name="f2421" fmla="*/ 1196689 f1419 1"/>
              <a:gd name="f2422" fmla="*/ 1200726 f1419 1"/>
              <a:gd name="f2423" fmla="*/ 1210598 f1419 1"/>
              <a:gd name="f2424" fmla="*/ 1214637 f1419 1"/>
              <a:gd name="f2425" fmla="*/ 1200728 f1419 1"/>
              <a:gd name="f2426" fmla="*/ 1196676 f1419 1"/>
              <a:gd name="f2427" fmla="*/ 1200714 f1419 1"/>
              <a:gd name="f2428" fmla="*/ 1210586 f1419 1"/>
              <a:gd name="f2429" fmla="*/ 1214625 f1419 1"/>
              <a:gd name="f2430" fmla="*/ 1200715 f1419 1"/>
              <a:gd name="f2431" fmla="*/ 1196664 f1419 1"/>
              <a:gd name="f2432" fmla="*/ 1200703 f1419 1"/>
              <a:gd name="f2433" fmla="*/ 1210573 f1419 1"/>
              <a:gd name="f2434" fmla="*/ 1214612 f1419 1"/>
              <a:gd name="f2435" fmla="*/ 1200702 f1419 1"/>
              <a:gd name="f2436" fmla="*/ 1196652 f1419 1"/>
              <a:gd name="f2437" fmla="*/ 1200690 f1419 1"/>
              <a:gd name="f2438" fmla="*/ 1210561 f1419 1"/>
              <a:gd name="f2439" fmla="*/ 1214600 f1419 1"/>
              <a:gd name="f2440" fmla="*/ 1196651 f1419 1"/>
              <a:gd name="f2441" fmla="*/ 1200689 f1419 1"/>
              <a:gd name="f2442" fmla="*/ 1196639 f1419 1"/>
              <a:gd name="f2443" fmla="*/ 1200678 f1419 1"/>
              <a:gd name="f2444" fmla="*/ 1210548 f1419 1"/>
              <a:gd name="f2445" fmla="*/ 1214587 f1419 1"/>
              <a:gd name="f2446" fmla="*/ 1210549 f1419 1"/>
              <a:gd name="f2447" fmla="*/ 1200677 f1419 1"/>
              <a:gd name="f2448" fmla="*/ 1196627 f1419 1"/>
              <a:gd name="f2449" fmla="*/ 1200665 f1419 1"/>
              <a:gd name="f2450" fmla="*/ 1210536 f1419 1"/>
              <a:gd name="f2451" fmla="*/ 1214575 f1419 1"/>
              <a:gd name="f2452" fmla="*/ 4035 f1420 1"/>
              <a:gd name="f2453" fmla="*/ 1196600 f1419 1"/>
              <a:gd name="f2454" fmla="*/ 13945 f1420 1"/>
              <a:gd name="f2455" fmla="*/ 1200638 f1419 1"/>
              <a:gd name="f2456" fmla="*/ 1210509 f1419 1"/>
              <a:gd name="f2457" fmla="*/ 1214548 f1419 1"/>
              <a:gd name="f2458" fmla="*/ 16 f1420 1"/>
              <a:gd name="f2459" fmla="*/ 721974 f1420 1"/>
              <a:gd name="f2460" fmla="*/ 1196599 f1419 1"/>
              <a:gd name="f2461" fmla="*/ 731884 f1420 1"/>
              <a:gd name="f2462" fmla="*/ 735903 f1420 1"/>
              <a:gd name="f2463" fmla="*/ 1214547 f1419 1"/>
              <a:gd name="f2464" fmla="*/ 717955 f1420 1"/>
              <a:gd name="f2465" fmla="*/ 492572 f1420 1"/>
              <a:gd name="f2466" fmla="*/ 496591 f1420 1"/>
              <a:gd name="f2467" fmla="*/ 243348 f1420 1"/>
              <a:gd name="f2468" fmla="*/ 253258 f1420 1"/>
              <a:gd name="f2469" fmla="*/ 257278 f1420 1"/>
              <a:gd name="f2470" fmla="*/ 239329 f1420 1"/>
              <a:gd name="f2471" fmla="*/ 1196589 f1419 1"/>
              <a:gd name="f2472" fmla="*/ 1453829 f1420 1"/>
              <a:gd name="f2473" fmla="*/ 1200628 f1419 1"/>
              <a:gd name="f2474" fmla="*/ 1210498 f1419 1"/>
              <a:gd name="f2475" fmla="*/ 1214537 f1419 1"/>
              <a:gd name="f2476" fmla="*/ 1435881 f1420 1"/>
              <a:gd name="f2477" fmla="*/ 1200584 f1420 1"/>
              <a:gd name="f2478" fmla="*/ 1210494 f1420 1"/>
              <a:gd name="f2479" fmla="*/ 1196565 f1420 1"/>
              <a:gd name="f2480" fmla="*/ 961271 f1420 1"/>
              <a:gd name="f2481" fmla="*/ 1210499 f1419 1"/>
              <a:gd name="f2482" fmla="*/ 957253 f1420 1"/>
              <a:gd name="f2483" fmla="*/ 1679217 f1420 1"/>
              <a:gd name="f2484" fmla="*/ 1689127 f1420 1"/>
              <a:gd name="f2485" fmla="*/ 1200627 f1419 1"/>
              <a:gd name="f2486" fmla="*/ 1196581 f1419 1"/>
              <a:gd name="f2487" fmla="*/ 1200619 f1419 1"/>
              <a:gd name="f2488" fmla="*/ 1210489 f1419 1"/>
              <a:gd name="f2489" fmla="*/ 1214528 f1419 1"/>
              <a:gd name="f2490" fmla="*/ 1914495 f1420 1"/>
              <a:gd name="f2491" fmla="*/ 1196578 f1419 1"/>
              <a:gd name="f2492" fmla="*/ 1200617 f1419 1"/>
              <a:gd name="f2493" fmla="*/ 1210488 f1419 1"/>
              <a:gd name="f2494" fmla="*/ 1214526 f1419 1"/>
              <a:gd name="f2495" fmla="*/ 957358 f1419 1"/>
              <a:gd name="f2496" fmla="*/ 961396 f1419 1"/>
              <a:gd name="f2497" fmla="*/ 971266 f1419 1"/>
              <a:gd name="f2498" fmla="*/ 975304 f1419 1"/>
              <a:gd name="f2499" fmla="*/ 975305 f1419 1"/>
              <a:gd name="f2500" fmla="*/ 957347 f1419 1"/>
              <a:gd name="f2501" fmla="*/ 961385 f1419 1"/>
              <a:gd name="f2502" fmla="*/ 971255 f1419 1"/>
              <a:gd name="f2503" fmla="*/ 975293 f1419 1"/>
              <a:gd name="f2504" fmla="*/ 957335 f1419 1"/>
              <a:gd name="f2505" fmla="*/ 961373 f1419 1"/>
              <a:gd name="f2506" fmla="*/ 971244 f1419 1"/>
              <a:gd name="f2507" fmla="*/ 975282 f1419 1"/>
              <a:gd name="f2508" fmla="*/ 975283 f1419 1"/>
              <a:gd name="f2509" fmla="*/ 961374 f1419 1"/>
              <a:gd name="f2510" fmla="*/ 957324 f1419 1"/>
              <a:gd name="f2511" fmla="*/ 961363 f1419 1"/>
              <a:gd name="f2512" fmla="*/ 971232 f1419 1"/>
              <a:gd name="f2513" fmla="*/ 975271 f1419 1"/>
              <a:gd name="f2514" fmla="*/ 957313 f1419 1"/>
              <a:gd name="f2515" fmla="*/ 961351 f1419 1"/>
              <a:gd name="f2516" fmla="*/ 971222 f1419 1"/>
              <a:gd name="f2517" fmla="*/ 975260 f1419 1"/>
              <a:gd name="f2518" fmla="*/ 957309 f1419 1"/>
              <a:gd name="f2519" fmla="*/ 1689128 f1420 1"/>
              <a:gd name="f2520" fmla="*/ 1693147 f1420 1"/>
              <a:gd name="f2521" fmla="*/ 961347 f1419 1"/>
              <a:gd name="f2522" fmla="*/ 971217 f1419 1"/>
              <a:gd name="f2523" fmla="*/ 975256 f1419 1"/>
              <a:gd name="f2524" fmla="*/ 1675199 f1420 1"/>
              <a:gd name="f2525" fmla="*/ 1439901 f1420 1"/>
              <a:gd name="f2526" fmla="*/ 1449811 f1420 1"/>
              <a:gd name="f2527" fmla="*/ 1210495 f1420 1"/>
              <a:gd name="f2528" fmla="*/ 1214513 f1420 1"/>
              <a:gd name="f2529" fmla="*/ 1196566 f1420 1"/>
              <a:gd name="f2530" fmla="*/ 971182 f1420 1"/>
              <a:gd name="f2531" fmla="*/ 975201 f1420 1"/>
              <a:gd name="f2532" fmla="*/ 971218 f1419 1"/>
              <a:gd name="f2533" fmla="*/ 957302 f1419 1"/>
              <a:gd name="f2534" fmla="*/ 961340 f1419 1"/>
              <a:gd name="f2535" fmla="*/ 971210 f1419 1"/>
              <a:gd name="f2536" fmla="*/ 975249 f1419 1"/>
              <a:gd name="f2537" fmla="*/ 957301 f1419 1"/>
              <a:gd name="f2538" fmla="*/ 1932444 f1420 1"/>
              <a:gd name="f2539" fmla="*/ 961339 f1419 1"/>
              <a:gd name="f2540" fmla="*/ 957299 f1419 1"/>
              <a:gd name="f2541" fmla="*/ 961337 f1419 1"/>
              <a:gd name="f2542" fmla="*/ 971207 f1419 1"/>
              <a:gd name="f2543" fmla="*/ 975246 f1419 1"/>
              <a:gd name="f2544" fmla="*/ 2153804 f1420 1"/>
              <a:gd name="f2545" fmla="*/ 957291 f1419 1"/>
              <a:gd name="f2546" fmla="*/ 961329 f1419 1"/>
              <a:gd name="f2547" fmla="*/ 971199 f1419 1"/>
              <a:gd name="f2548" fmla="*/ 975238 f1419 1"/>
              <a:gd name="f2549" fmla="*/ 957266 f1419 1"/>
              <a:gd name="f2550" fmla="*/ 961305 f1419 1"/>
              <a:gd name="f2551" fmla="*/ 971175 f1419 1"/>
              <a:gd name="f2552" fmla="*/ 975214 f1419 1"/>
              <a:gd name="f2553" fmla="*/ 717956 f1420 1"/>
              <a:gd name="f2554" fmla="*/ 482662 f1420 1"/>
              <a:gd name="f2555" fmla="*/ 478643 f1420 1"/>
              <a:gd name="f2556" fmla="*/ 243349 f1420 1"/>
              <a:gd name="f2557" fmla="*/ 253259 f1420 1"/>
              <a:gd name="f2558" fmla="*/ 239330 f1420 1"/>
              <a:gd name="f2559" fmla="*/ 4036 f1420 1"/>
              <a:gd name="f2560" fmla="*/ 13946 f1420 1"/>
              <a:gd name="f2561" fmla="*/ 17965 f1420 1"/>
              <a:gd name="f2562" fmla="*/ 971176 f1419 1"/>
              <a:gd name="f2563" fmla="*/ 718040 f1419 1"/>
              <a:gd name="f2564" fmla="*/ 722078 f1419 1"/>
              <a:gd name="f2565" fmla="*/ 731948 f1419 1"/>
              <a:gd name="f2566" fmla="*/ 735987 f1419 1"/>
              <a:gd name="f2567" fmla="*/ 731949 f1419 1"/>
              <a:gd name="f2568" fmla="*/ 735988 f1419 1"/>
              <a:gd name="f2569" fmla="*/ 718028 f1419 1"/>
              <a:gd name="f2570" fmla="*/ 722066 f1419 1"/>
              <a:gd name="f2571" fmla="*/ 731935 f1419 1"/>
              <a:gd name="f2572" fmla="*/ 735975 f1419 1"/>
              <a:gd name="f2573" fmla="*/ 731936 f1419 1"/>
              <a:gd name="f2574" fmla="*/ 718015 f1419 1"/>
              <a:gd name="f2575" fmla="*/ 722053 f1419 1"/>
              <a:gd name="f2576" fmla="*/ 731924 f1419 1"/>
              <a:gd name="f2577" fmla="*/ 735963 f1419 1"/>
              <a:gd name="f2578" fmla="*/ 718003 f1419 1"/>
              <a:gd name="f2579" fmla="*/ 722041 f1419 1"/>
              <a:gd name="f2580" fmla="*/ 731911 f1419 1"/>
              <a:gd name="f2581" fmla="*/ 735950 f1419 1"/>
              <a:gd name="f2582" fmla="*/ 731912 f1419 1"/>
              <a:gd name="f2583" fmla="*/ 735951 f1419 1"/>
              <a:gd name="f2584" fmla="*/ 717990 f1419 1"/>
              <a:gd name="f2585" fmla="*/ 722028 f1419 1"/>
              <a:gd name="f2586" fmla="*/ 731899 f1419 1"/>
              <a:gd name="f2587" fmla="*/ 735938 f1419 1"/>
              <a:gd name="f2588" fmla="*/ 722029 f1419 1"/>
              <a:gd name="f2589" fmla="*/ 961272 f1420 1"/>
              <a:gd name="f2590" fmla="*/ 717980 f1419 1"/>
              <a:gd name="f2591" fmla="*/ 975202 f1420 1"/>
              <a:gd name="f2592" fmla="*/ 722018 f1419 1"/>
              <a:gd name="f2593" fmla="*/ 731889 f1419 1"/>
              <a:gd name="f2594" fmla="*/ 735928 f1419 1"/>
              <a:gd name="f2595" fmla="*/ 957254 f1420 1"/>
              <a:gd name="f2596" fmla="*/ 1679219 f1420 1"/>
              <a:gd name="f2597" fmla="*/ 717979 f1419 1"/>
              <a:gd name="f2598" fmla="*/ 1693149 f1420 1"/>
              <a:gd name="f2599" fmla="*/ 735927 f1419 1"/>
              <a:gd name="f2600" fmla="*/ 1675200 f1420 1"/>
              <a:gd name="f2601" fmla="*/ 1453831 f1420 1"/>
              <a:gd name="f2602" fmla="*/ 1435883 f1420 1"/>
              <a:gd name="f2603" fmla="*/ 1200585 f1420 1"/>
              <a:gd name="f2604" fmla="*/ 717978 f1419 1"/>
              <a:gd name="f2605" fmla="*/ 722016 f1419 1"/>
              <a:gd name="f2606" fmla="*/ 731887 f1419 1"/>
              <a:gd name="f2607" fmla="*/ 735926 f1419 1"/>
              <a:gd name="f2608" fmla="*/ 717970 f1419 1"/>
              <a:gd name="f2609" fmla="*/ 722009 f1419 1"/>
              <a:gd name="f2610" fmla="*/ 731879 f1419 1"/>
              <a:gd name="f2611" fmla="*/ 735918 f1419 1"/>
              <a:gd name="f2612" fmla="*/ 717968 f1419 1"/>
              <a:gd name="f2613" fmla="*/ 2171753 f1420 1"/>
              <a:gd name="f2614" fmla="*/ 722006 f1419 1"/>
              <a:gd name="f2615" fmla="*/ 731877 f1419 1"/>
              <a:gd name="f2616" fmla="*/ 735916 f1419 1"/>
              <a:gd name="f2617" fmla="*/ 717966 f1419 1"/>
              <a:gd name="f2618" fmla="*/ 722004 f1419 1"/>
              <a:gd name="f2619" fmla="*/ 731875 f1419 1"/>
              <a:gd name="f2620" fmla="*/ 735914 f1419 1"/>
              <a:gd name="f2621" fmla="*/ 717939 f1419 1"/>
              <a:gd name="f2622" fmla="*/ 253260 f1420 1"/>
              <a:gd name="f2623" fmla="*/ 257279 f1420 1"/>
              <a:gd name="f2624" fmla="*/ 721977 f1419 1"/>
              <a:gd name="f2625" fmla="*/ 731847 f1419 1"/>
              <a:gd name="f2626" fmla="*/ 735886 f1419 1"/>
              <a:gd name="f2627" fmla="*/ 13947 f1420 1"/>
              <a:gd name="f2628" fmla="*/ 721978 f1419 1"/>
              <a:gd name="f2629" fmla="*/ 731848 f1419 1"/>
              <a:gd name="f2630" fmla="*/ 17 f1420 1"/>
              <a:gd name="f2631" fmla="*/ 721975 f1420 1"/>
              <a:gd name="f2632" fmla="*/ 731885 f1420 1"/>
              <a:gd name="f2633" fmla="*/ 735904 f1420 1"/>
              <a:gd name="f2634" fmla="*/ 482663 f1420 1"/>
              <a:gd name="f2635" fmla="*/ 492573 f1420 1"/>
              <a:gd name="f2636" fmla="*/ 496593 f1420 1"/>
              <a:gd name="f2637" fmla="*/ 478760 f1419 1"/>
              <a:gd name="f2638" fmla="*/ 482801 f1419 1"/>
              <a:gd name="f2639" fmla="*/ 492670 f1419 1"/>
              <a:gd name="f2640" fmla="*/ 496707 f1419 1"/>
              <a:gd name="f2641" fmla="*/ 478748 f1419 1"/>
              <a:gd name="f2642" fmla="*/ 482789 f1419 1"/>
              <a:gd name="f2643" fmla="*/ 492657 f1419 1"/>
              <a:gd name="f2644" fmla="*/ 496695 f1419 1"/>
              <a:gd name="f2645" fmla="*/ 478736 f1419 1"/>
              <a:gd name="f2646" fmla="*/ 482776 f1419 1"/>
              <a:gd name="f2647" fmla="*/ 492645 f1419 1"/>
              <a:gd name="f2648" fmla="*/ 496683 f1419 1"/>
              <a:gd name="f2649" fmla="*/ 478724 f1419 1"/>
              <a:gd name="f2650" fmla="*/ 482764 f1419 1"/>
              <a:gd name="f2651" fmla="*/ 492633 f1419 1"/>
              <a:gd name="f2652" fmla="*/ 496671 f1419 1"/>
              <a:gd name="f2653" fmla="*/ 478712 f1419 1"/>
              <a:gd name="f2654" fmla="*/ 482751 f1419 1"/>
              <a:gd name="f2655" fmla="*/ 492620 f1419 1"/>
              <a:gd name="f2656" fmla="*/ 496658 f1419 1"/>
              <a:gd name="f2657" fmla="*/ 496659 f1419 1"/>
              <a:gd name="f2658" fmla="*/ 478711 f1419 1"/>
              <a:gd name="f2659" fmla="*/ 478699 f1419 1"/>
              <a:gd name="f2660" fmla="*/ 482738 f1419 1"/>
              <a:gd name="f2661" fmla="*/ 492608 f1419 1"/>
              <a:gd name="f2662" fmla="*/ 496646 f1419 1"/>
              <a:gd name="f2663" fmla="*/ 496647 f1419 1"/>
              <a:gd name="f2664" fmla="*/ 482739 f1419 1"/>
              <a:gd name="f2665" fmla="*/ 478698 f1419 1"/>
              <a:gd name="f2666" fmla="*/ 478687 f1419 1"/>
              <a:gd name="f2667" fmla="*/ 482726 f1419 1"/>
              <a:gd name="f2668" fmla="*/ 492596 f1419 1"/>
              <a:gd name="f2669" fmla="*/ 496634 f1419 1"/>
              <a:gd name="f2670" fmla="*/ 721976 f1420 1"/>
              <a:gd name="f2671" fmla="*/ 478660 f1419 1"/>
              <a:gd name="f2672" fmla="*/ 731886 f1420 1"/>
              <a:gd name="f2673" fmla="*/ 735905 f1420 1"/>
              <a:gd name="f2674" fmla="*/ 482698 f1419 1"/>
              <a:gd name="f2675" fmla="*/ 492569 f1419 1"/>
              <a:gd name="f2676" fmla="*/ 496608 f1419 1"/>
              <a:gd name="f2677" fmla="*/ 717957 f1420 1"/>
              <a:gd name="f2678" fmla="*/ 482664 f1420 1"/>
              <a:gd name="f2679" fmla="*/ 492574 f1420 1"/>
              <a:gd name="f2680" fmla="*/ 478645 f1420 1"/>
              <a:gd name="f2681" fmla="*/ 243350 f1420 1"/>
              <a:gd name="f2682" fmla="*/ 239331 f1420 1"/>
              <a:gd name="f2683" fmla="*/ 4037 f1420 1"/>
              <a:gd name="f2684" fmla="*/ 17966 f1420 1"/>
              <a:gd name="f2685" fmla="*/ 18 f1420 1"/>
              <a:gd name="f2686" fmla="*/ 1679220 f1420 1"/>
              <a:gd name="f2687" fmla="*/ 478650 f1419 1"/>
              <a:gd name="f2688" fmla="*/ 1689130 f1420 1"/>
              <a:gd name="f2689" fmla="*/ 482688 f1419 1"/>
              <a:gd name="f2690" fmla="*/ 492559 f1419 1"/>
              <a:gd name="f2691" fmla="*/ 496598 f1419 1"/>
              <a:gd name="f2692" fmla="*/ 1439902 f1420 1"/>
              <a:gd name="f2693" fmla="*/ 1449812 f1420 1"/>
              <a:gd name="f2694" fmla="*/ 1210496 f1420 1"/>
              <a:gd name="f2695" fmla="*/ 1214515 f1420 1"/>
              <a:gd name="f2696" fmla="*/ 482689 f1419 1"/>
              <a:gd name="f2697" fmla="*/ 1196567 f1420 1"/>
              <a:gd name="f2698" fmla="*/ 961273 f1420 1"/>
              <a:gd name="f2699" fmla="*/ 971183 f1420 1"/>
              <a:gd name="f2700" fmla="*/ 1918515 f1420 1"/>
              <a:gd name="f2701" fmla="*/ 478641 f1419 1"/>
              <a:gd name="f2702" fmla="*/ 1928425 f1420 1"/>
              <a:gd name="f2703" fmla="*/ 482679 f1419 1"/>
              <a:gd name="f2704" fmla="*/ 492550 f1419 1"/>
              <a:gd name="f2705" fmla="*/ 496589 f1419 1"/>
              <a:gd name="f2706" fmla="*/ 478638 f1419 1"/>
              <a:gd name="f2707" fmla="*/ 2167734 f1420 1"/>
              <a:gd name="f2708" fmla="*/ 482677 f1419 1"/>
              <a:gd name="f2709" fmla="*/ 492548 f1419 1"/>
              <a:gd name="f2710" fmla="*/ 496587 f1419 1"/>
              <a:gd name="f2711" fmla="*/ 239432 f1419 1"/>
              <a:gd name="f2712" fmla="*/ 243470 f1419 1"/>
              <a:gd name="f2713" fmla="*/ 253341 f1419 1"/>
              <a:gd name="f2714" fmla="*/ 257380 f1419 1"/>
              <a:gd name="f2715" fmla="*/ 239420 f1419 1"/>
              <a:gd name="f2716" fmla="*/ 243457 f1419 1"/>
              <a:gd name="f2717" fmla="*/ 253328 f1419 1"/>
              <a:gd name="f2718" fmla="*/ 257367 f1419 1"/>
              <a:gd name="f2719" fmla="*/ 239419 f1419 1"/>
              <a:gd name="f2720" fmla="*/ 239407 f1419 1"/>
              <a:gd name="f2721" fmla="*/ 243445 f1419 1"/>
              <a:gd name="f2722" fmla="*/ 253316 f1419 1"/>
              <a:gd name="f2723" fmla="*/ 257355 f1419 1"/>
              <a:gd name="f2724" fmla="*/ 239395 f1419 1"/>
              <a:gd name="f2725" fmla="*/ 243432 f1419 1"/>
              <a:gd name="f2726" fmla="*/ 253303 f1419 1"/>
              <a:gd name="f2727" fmla="*/ 257342 f1419 1"/>
              <a:gd name="f2728" fmla="*/ 243433 f1419 1"/>
              <a:gd name="f2729" fmla="*/ 239394 f1419 1"/>
              <a:gd name="f2730" fmla="*/ 239382 f1419 1"/>
              <a:gd name="f2731" fmla="*/ 243420 f1419 1"/>
              <a:gd name="f2732" fmla="*/ 253291 f1419 1"/>
              <a:gd name="f2733" fmla="*/ 257330 f1419 1"/>
              <a:gd name="f2734" fmla="*/ 243421 f1419 1"/>
              <a:gd name="f2735" fmla="*/ 253292 f1419 1"/>
              <a:gd name="f2736" fmla="*/ 239371 f1419 1"/>
              <a:gd name="f2737" fmla="*/ 1689131 f1420 1"/>
              <a:gd name="f2738" fmla="*/ 1693150 f1420 1"/>
              <a:gd name="f2739" fmla="*/ 243409 f1419 1"/>
              <a:gd name="f2740" fmla="*/ 253280 f1419 1"/>
              <a:gd name="f2741" fmla="*/ 257319 f1419 1"/>
              <a:gd name="f2742" fmla="*/ 1675202 f1420 1"/>
              <a:gd name="f2743" fmla="*/ 1449813 f1420 1"/>
              <a:gd name="f2744" fmla="*/ 1453832 f1420 1"/>
              <a:gd name="f2745" fmla="*/ 1435884 f1420 1"/>
              <a:gd name="f2746" fmla="*/ 1200587 f1420 1"/>
              <a:gd name="f2747" fmla="*/ 971184 f1420 1"/>
              <a:gd name="f2748" fmla="*/ 975203 f1420 1"/>
              <a:gd name="f2749" fmla="*/ 957255 f1420 1"/>
              <a:gd name="f2750" fmla="*/ 239370 f1419 1"/>
              <a:gd name="f2751" fmla="*/ 243408 f1419 1"/>
              <a:gd name="f2752" fmla="*/ 253278 f1419 1"/>
              <a:gd name="f2753" fmla="*/ 257317 f1419 1"/>
              <a:gd name="f2754" fmla="*/ 253279 f1419 1"/>
              <a:gd name="f2755" fmla="*/ 257318 f1419 1"/>
              <a:gd name="f2756" fmla="*/ 239369 f1419 1"/>
              <a:gd name="f2757" fmla="*/ 243407 f1419 1"/>
              <a:gd name="f2758" fmla="*/ 239361 f1419 1"/>
              <a:gd name="f2759" fmla="*/ 243400 f1419 1"/>
              <a:gd name="f2760" fmla="*/ 253271 f1419 1"/>
              <a:gd name="f2761" fmla="*/ 257310 f1419 1"/>
              <a:gd name="f2762" fmla="*/ 2157824 f1420 1"/>
              <a:gd name="f2763" fmla="*/ 239359 f1419 1"/>
              <a:gd name="f2764" fmla="*/ 243397 f1419 1"/>
              <a:gd name="f2765" fmla="*/ 253268 f1419 1"/>
              <a:gd name="f2766" fmla="*/ 257307 f1419 1"/>
              <a:gd name="f2767" fmla="*/ 239357 f1419 1"/>
              <a:gd name="f2768" fmla="*/ 243395 f1419 1"/>
              <a:gd name="f2769" fmla="*/ 253267 f1419 1"/>
              <a:gd name="f2770" fmla="*/ 257306 f1419 1"/>
              <a:gd name="f2771" fmla="*/ 239330 f1419 1"/>
              <a:gd name="f2772" fmla="*/ 731887 f1420 1"/>
              <a:gd name="f2773" fmla="*/ 735906 f1420 1"/>
              <a:gd name="f2774" fmla="*/ 243368 f1419 1"/>
              <a:gd name="f2775" fmla="*/ 253239 f1419 1"/>
              <a:gd name="f2776" fmla="*/ 257278 f1419 1"/>
              <a:gd name="f2777" fmla="*/ 717958 f1420 1"/>
              <a:gd name="f2778" fmla="*/ 492575 f1420 1"/>
              <a:gd name="f2779" fmla="*/ 496594 f1420 1"/>
              <a:gd name="f2780" fmla="*/ 253261 f1420 1"/>
              <a:gd name="f2781" fmla="*/ 257280 f1420 1"/>
              <a:gd name="f2782" fmla="*/ 239332 f1420 1"/>
              <a:gd name="f2783" fmla="*/ 13948 f1420 1"/>
              <a:gd name="f2784" fmla="*/ 17967 f1420 1"/>
              <a:gd name="f2785" fmla="*/ 106 f1419 1"/>
              <a:gd name="f2786" fmla="*/ 4144 f1419 1"/>
              <a:gd name="f2787" fmla="*/ 14015 f1419 1"/>
              <a:gd name="f2788" fmla="*/ 18054 f1419 1"/>
              <a:gd name="f2789" fmla="*/ 4145 f1419 1"/>
              <a:gd name="f2790" fmla="*/ 14016 f1419 1"/>
              <a:gd name="f2791" fmla="*/ 18055 f1419 1"/>
              <a:gd name="f2792" fmla="*/ 93 f1419 1"/>
              <a:gd name="f2793" fmla="*/ 4132 f1419 1"/>
              <a:gd name="f2794" fmla="*/ 14002 f1419 1"/>
              <a:gd name="f2795" fmla="*/ 18041 f1419 1"/>
              <a:gd name="f2796" fmla="*/ 14003 f1419 1"/>
              <a:gd name="f2797" fmla="*/ 18042 f1419 1"/>
              <a:gd name="f2798" fmla="*/ 81 f1419 1"/>
              <a:gd name="f2799" fmla="*/ 4119 f1419 1"/>
              <a:gd name="f2800" fmla="*/ 13990 f1419 1"/>
              <a:gd name="f2801" fmla="*/ 18029 f1419 1"/>
              <a:gd name="f2802" fmla="*/ 80 f1419 1"/>
              <a:gd name="f2803" fmla="*/ 68 f1419 1"/>
              <a:gd name="f2804" fmla="*/ 4106 f1419 1"/>
              <a:gd name="f2805" fmla="*/ 13976 f1419 1"/>
              <a:gd name="f2806" fmla="*/ 18015 f1419 1"/>
              <a:gd name="f2807" fmla="*/ 13977 f1419 1"/>
              <a:gd name="f2808" fmla="*/ 18016 f1419 1"/>
              <a:gd name="f2809" fmla="*/ 67 f1419 1"/>
              <a:gd name="f2810" fmla="*/ 4105 f1419 1"/>
              <a:gd name="f2811" fmla="*/ 54 f1419 1"/>
              <a:gd name="f2812" fmla="*/ 4093 f1419 1"/>
              <a:gd name="f2813" fmla="*/ 13963 f1419 1"/>
              <a:gd name="f2814" fmla="*/ 18002 f1419 1"/>
              <a:gd name="f2815" fmla="*/ 13964 f1419 1"/>
              <a:gd name="f2816" fmla="*/ 18003 f1419 1"/>
              <a:gd name="f2817" fmla="*/ 42 f1419 1"/>
              <a:gd name="f2818" fmla="*/ 4080 f1419 1"/>
              <a:gd name="f2819" fmla="*/ 13951 f1419 1"/>
              <a:gd name="f2820" fmla="*/ 17990 f1419 1"/>
              <a:gd name="f2821" fmla="*/ 41 f1419 1"/>
              <a:gd name="f2822" fmla="*/ 961275 f1420 1"/>
              <a:gd name="f2823" fmla="*/ 975204 f1420 1"/>
              <a:gd name="f2824" fmla="*/ 957256 f1420 1"/>
              <a:gd name="f2825" fmla="*/ 1679221 f1420 1"/>
              <a:gd name="f2826" fmla="*/ 1693151 f1420 1"/>
              <a:gd name="f2827" fmla="*/ 4079 f1419 1"/>
              <a:gd name="f2828" fmla="*/ 13950 f1419 1"/>
              <a:gd name="f2829" fmla="*/ 17989 f1419 1"/>
              <a:gd name="f2830" fmla="*/ 1675203 f1420 1"/>
              <a:gd name="f2831" fmla="*/ 1439904 f1420 1"/>
              <a:gd name="f2832" fmla="*/ 1453833 f1420 1"/>
              <a:gd name="f2833" fmla="*/ 1435885 f1420 1"/>
              <a:gd name="f2834" fmla="*/ 1210497 f1420 1"/>
              <a:gd name="f2835" fmla="*/ 1214516 f1420 1"/>
              <a:gd name="f2836" fmla="*/ 1196568 f1420 1"/>
              <a:gd name="f2837" fmla="*/ 31 f1419 1"/>
              <a:gd name="f2838" fmla="*/ 4069 f1419 1"/>
              <a:gd name="f2839" fmla="*/ 13940 f1419 1"/>
              <a:gd name="f2840" fmla="*/ 17979 f1419 1"/>
              <a:gd name="f2841" fmla="*/ 1914497 f1420 1"/>
              <a:gd name="f2842" fmla="*/ 29 f1419 1"/>
              <a:gd name="f2843" fmla="*/ 4067 f1419 1"/>
              <a:gd name="f2844" fmla="*/ 13938 f1419 1"/>
              <a:gd name="f2845" fmla="*/ 17977 f1419 1"/>
              <a:gd name="f2846" fmla="*/ 28 f1419 1"/>
              <a:gd name="f2847" fmla="*/ 721977 f1420 1"/>
              <a:gd name="f2848" fmla="*/ 0 f1419 1"/>
              <a:gd name="f2849" fmla="*/ 4039 f1419 1"/>
              <a:gd name="f2850" fmla="*/ 13910 f1419 1"/>
              <a:gd name="f2851" fmla="*/ 17949 f1419 1"/>
              <a:gd name="f2852" fmla="*/ 717959 f1420 1"/>
              <a:gd name="f2853" fmla="*/ 482665 f1420 1"/>
              <a:gd name="f2854" fmla="*/ 478646 f1420 1"/>
              <a:gd name="f2855" fmla="*/ 243351 f1420 1"/>
              <a:gd name="f2856" fmla="*/ 257281 f1420 1"/>
              <a:gd name="f2857" fmla="*/ 4039 f1420 1"/>
              <a:gd name="f2858" fmla="*/ 19 f1420 1"/>
              <a:gd name="f2859" fmla="*/ f1421 1 f2"/>
              <a:gd name="f2860" fmla="*/ f1424 1 9586368"/>
              <a:gd name="f2861" fmla="*/ f1425 1 6479439"/>
              <a:gd name="f2862" fmla="*/ f1426 1 9586368"/>
              <a:gd name="f2863" fmla="*/ f1427 1 9586368"/>
              <a:gd name="f2864" fmla="*/ f1428 1 6479439"/>
              <a:gd name="f2865" fmla="*/ f1429 1 6479439"/>
              <a:gd name="f2866" fmla="*/ f1430 1 6479439"/>
              <a:gd name="f2867" fmla="*/ f1431 1 9586368"/>
              <a:gd name="f2868" fmla="*/ f1432 1 9586368"/>
              <a:gd name="f2869" fmla="*/ f1433 1 9586368"/>
              <a:gd name="f2870" fmla="*/ f1434 1 9586368"/>
              <a:gd name="f2871" fmla="*/ f1435 1 9586368"/>
              <a:gd name="f2872" fmla="*/ f1436 1 9586368"/>
              <a:gd name="f2873" fmla="*/ f1437 1 9586368"/>
              <a:gd name="f2874" fmla="*/ f1438 1 9586368"/>
              <a:gd name="f2875" fmla="*/ f1439 1 9586368"/>
              <a:gd name="f2876" fmla="*/ f1440 1 9586368"/>
              <a:gd name="f2877" fmla="*/ f1441 1 9586368"/>
              <a:gd name="f2878" fmla="*/ f1442 1 9586368"/>
              <a:gd name="f2879" fmla="*/ f1443 1 9586368"/>
              <a:gd name="f2880" fmla="*/ f1444 1 9586368"/>
              <a:gd name="f2881" fmla="*/ f1445 1 9586368"/>
              <a:gd name="f2882" fmla="*/ f1446 1 9586368"/>
              <a:gd name="f2883" fmla="*/ f1447 1 9586368"/>
              <a:gd name="f2884" fmla="*/ f1448 1 9586368"/>
              <a:gd name="f2885" fmla="*/ f1449 1 9586368"/>
              <a:gd name="f2886" fmla="*/ f1450 1 9586368"/>
              <a:gd name="f2887" fmla="*/ f1451 1 9586368"/>
              <a:gd name="f2888" fmla="*/ f1452 1 9586368"/>
              <a:gd name="f2889" fmla="*/ f1453 1 6479439"/>
              <a:gd name="f2890" fmla="*/ f1454 1 9586368"/>
              <a:gd name="f2891" fmla="*/ f1455 1 9586368"/>
              <a:gd name="f2892" fmla="*/ f1456 1 6479439"/>
              <a:gd name="f2893" fmla="*/ f1457 1 6479439"/>
              <a:gd name="f2894" fmla="*/ f1458 1 6479439"/>
              <a:gd name="f2895" fmla="*/ f1459 1 9586368"/>
              <a:gd name="f2896" fmla="*/ f1460 1 9586368"/>
              <a:gd name="f2897" fmla="*/ f1461 1 9586368"/>
              <a:gd name="f2898" fmla="*/ f1462 1 9586368"/>
              <a:gd name="f2899" fmla="*/ f1463 1 9586368"/>
              <a:gd name="f2900" fmla="*/ f1464 1 9586368"/>
              <a:gd name="f2901" fmla="*/ f1465 1 9586368"/>
              <a:gd name="f2902" fmla="*/ f1466 1 9586368"/>
              <a:gd name="f2903" fmla="*/ f1467 1 9586368"/>
              <a:gd name="f2904" fmla="*/ f1468 1 9586368"/>
              <a:gd name="f2905" fmla="*/ f1469 1 9586368"/>
              <a:gd name="f2906" fmla="*/ f1470 1 9586368"/>
              <a:gd name="f2907" fmla="*/ f1471 1 9586368"/>
              <a:gd name="f2908" fmla="*/ f1472 1 9586368"/>
              <a:gd name="f2909" fmla="*/ f1473 1 9586368"/>
              <a:gd name="f2910" fmla="*/ f1474 1 9586368"/>
              <a:gd name="f2911" fmla="*/ f1475 1 9586368"/>
              <a:gd name="f2912" fmla="*/ f1476 1 9586368"/>
              <a:gd name="f2913" fmla="*/ f1477 1 9586368"/>
              <a:gd name="f2914" fmla="*/ f1478 1 9586368"/>
              <a:gd name="f2915" fmla="*/ f1479 1 9586368"/>
              <a:gd name="f2916" fmla="*/ f1480 1 9586368"/>
              <a:gd name="f2917" fmla="*/ f1481 1 9586368"/>
              <a:gd name="f2918" fmla="*/ f1482 1 9586368"/>
              <a:gd name="f2919" fmla="*/ f1483 1 9586368"/>
              <a:gd name="f2920" fmla="*/ f1484 1 9586368"/>
              <a:gd name="f2921" fmla="*/ f1485 1 9586368"/>
              <a:gd name="f2922" fmla="*/ f1486 1 9586368"/>
              <a:gd name="f2923" fmla="*/ f1487 1 9586368"/>
              <a:gd name="f2924" fmla="*/ f1488 1 9586368"/>
              <a:gd name="f2925" fmla="*/ f1489 1 9586368"/>
              <a:gd name="f2926" fmla="*/ f1490 1 9586368"/>
              <a:gd name="f2927" fmla="*/ f1491 1 9586368"/>
              <a:gd name="f2928" fmla="*/ f1492 1 9586368"/>
              <a:gd name="f2929" fmla="*/ f1493 1 9586368"/>
              <a:gd name="f2930" fmla="*/ f1494 1 9586368"/>
              <a:gd name="f2931" fmla="*/ f1495 1 9586368"/>
              <a:gd name="f2932" fmla="*/ f1496 1 9586368"/>
              <a:gd name="f2933" fmla="*/ f1497 1 9586368"/>
              <a:gd name="f2934" fmla="*/ f1498 1 9586368"/>
              <a:gd name="f2935" fmla="*/ f1499 1 9586368"/>
              <a:gd name="f2936" fmla="*/ f1500 1 9586368"/>
              <a:gd name="f2937" fmla="*/ f1501 1 9586368"/>
              <a:gd name="f2938" fmla="*/ f1502 1 9586368"/>
              <a:gd name="f2939" fmla="*/ f1503 1 9586368"/>
              <a:gd name="f2940" fmla="*/ f1504 1 9586368"/>
              <a:gd name="f2941" fmla="*/ f1505 1 9586368"/>
              <a:gd name="f2942" fmla="*/ f1506 1 9586368"/>
              <a:gd name="f2943" fmla="*/ f1507 1 9586368"/>
              <a:gd name="f2944" fmla="*/ f1508 1 9586368"/>
              <a:gd name="f2945" fmla="*/ f1509 1 9586368"/>
              <a:gd name="f2946" fmla="*/ f1510 1 9586368"/>
              <a:gd name="f2947" fmla="*/ f1511 1 9586368"/>
              <a:gd name="f2948" fmla="*/ f1512 1 9586368"/>
              <a:gd name="f2949" fmla="*/ f1513 1 9586368"/>
              <a:gd name="f2950" fmla="*/ f1514 1 9586368"/>
              <a:gd name="f2951" fmla="*/ f1515 1 9586368"/>
              <a:gd name="f2952" fmla="*/ f1516 1 9586368"/>
              <a:gd name="f2953" fmla="*/ f1517 1 9586368"/>
              <a:gd name="f2954" fmla="*/ f1518 1 9586368"/>
              <a:gd name="f2955" fmla="*/ f1519 1 9586368"/>
              <a:gd name="f2956" fmla="*/ f1520 1 9586368"/>
              <a:gd name="f2957" fmla="*/ f1521 1 9586368"/>
              <a:gd name="f2958" fmla="*/ f1522 1 9586368"/>
              <a:gd name="f2959" fmla="*/ f1523 1 9586368"/>
              <a:gd name="f2960" fmla="*/ f1524 1 9586368"/>
              <a:gd name="f2961" fmla="*/ f1525 1 9586368"/>
              <a:gd name="f2962" fmla="*/ f1526 1 9586368"/>
              <a:gd name="f2963" fmla="*/ f1527 1 9586368"/>
              <a:gd name="f2964" fmla="*/ f1528 1 9586368"/>
              <a:gd name="f2965" fmla="*/ f1529 1 9586368"/>
              <a:gd name="f2966" fmla="*/ f1530 1 9586368"/>
              <a:gd name="f2967" fmla="*/ f1531 1 9586368"/>
              <a:gd name="f2968" fmla="*/ f1532 1 9586368"/>
              <a:gd name="f2969" fmla="*/ f1533 1 9586368"/>
              <a:gd name="f2970" fmla="*/ f1534 1 9586368"/>
              <a:gd name="f2971" fmla="*/ f1535 1 9586368"/>
              <a:gd name="f2972" fmla="*/ f1536 1 9586368"/>
              <a:gd name="f2973" fmla="*/ f1537 1 9586368"/>
              <a:gd name="f2974" fmla="*/ f1538 1 9586368"/>
              <a:gd name="f2975" fmla="*/ f1539 1 9586368"/>
              <a:gd name="f2976" fmla="*/ f1540 1 9586368"/>
              <a:gd name="f2977" fmla="*/ f1541 1 9586368"/>
              <a:gd name="f2978" fmla="*/ f1542 1 9586368"/>
              <a:gd name="f2979" fmla="*/ f1543 1 9586368"/>
              <a:gd name="f2980" fmla="*/ f1544 1 9586368"/>
              <a:gd name="f2981" fmla="*/ f1545 1 9586368"/>
              <a:gd name="f2982" fmla="*/ f1546 1 9586368"/>
              <a:gd name="f2983" fmla="*/ f1547 1 9586368"/>
              <a:gd name="f2984" fmla="*/ f1548 1 9586368"/>
              <a:gd name="f2985" fmla="*/ f1549 1 9586368"/>
              <a:gd name="f2986" fmla="*/ f1550 1 9586368"/>
              <a:gd name="f2987" fmla="*/ f1551 1 9586368"/>
              <a:gd name="f2988" fmla="*/ f1552 1 9586368"/>
              <a:gd name="f2989" fmla="*/ f1553 1 9586368"/>
              <a:gd name="f2990" fmla="*/ f1554 1 9586368"/>
              <a:gd name="f2991" fmla="*/ f1555 1 9586368"/>
              <a:gd name="f2992" fmla="*/ f1556 1 9586368"/>
              <a:gd name="f2993" fmla="*/ f1557 1 9586368"/>
              <a:gd name="f2994" fmla="*/ f1558 1 9586368"/>
              <a:gd name="f2995" fmla="*/ f1559 1 9586368"/>
              <a:gd name="f2996" fmla="*/ f1560 1 9586368"/>
              <a:gd name="f2997" fmla="*/ f1561 1 9586368"/>
              <a:gd name="f2998" fmla="*/ f1562 1 9586368"/>
              <a:gd name="f2999" fmla="*/ f1563 1 9586368"/>
              <a:gd name="f3000" fmla="*/ f1564 1 9586368"/>
              <a:gd name="f3001" fmla="*/ f1565 1 9586368"/>
              <a:gd name="f3002" fmla="*/ f1566 1 9586368"/>
              <a:gd name="f3003" fmla="*/ f1567 1 9586368"/>
              <a:gd name="f3004" fmla="*/ f1568 1 9586368"/>
              <a:gd name="f3005" fmla="*/ f1569 1 9586368"/>
              <a:gd name="f3006" fmla="*/ f1570 1 9586368"/>
              <a:gd name="f3007" fmla="*/ f1571 1 9586368"/>
              <a:gd name="f3008" fmla="*/ f1572 1 9586368"/>
              <a:gd name="f3009" fmla="*/ f1573 1 9586368"/>
              <a:gd name="f3010" fmla="*/ f1574 1 9586368"/>
              <a:gd name="f3011" fmla="*/ f1575 1 9586368"/>
              <a:gd name="f3012" fmla="*/ f1576 1 9586368"/>
              <a:gd name="f3013" fmla="*/ f1577 1 9586368"/>
              <a:gd name="f3014" fmla="*/ f1578 1 9586368"/>
              <a:gd name="f3015" fmla="*/ f1579 1 9586368"/>
              <a:gd name="f3016" fmla="*/ f1580 1 9586368"/>
              <a:gd name="f3017" fmla="*/ f1581 1 9586368"/>
              <a:gd name="f3018" fmla="*/ f1582 1 9586368"/>
              <a:gd name="f3019" fmla="*/ f1583 1 9586368"/>
              <a:gd name="f3020" fmla="*/ f1584 1 9586368"/>
              <a:gd name="f3021" fmla="*/ f1585 1 9586368"/>
              <a:gd name="f3022" fmla="*/ f1586 1 9586368"/>
              <a:gd name="f3023" fmla="*/ f1587 1 9586368"/>
              <a:gd name="f3024" fmla="*/ f1588 1 9586368"/>
              <a:gd name="f3025" fmla="*/ f1589 1 9586368"/>
              <a:gd name="f3026" fmla="*/ f1590 1 9586368"/>
              <a:gd name="f3027" fmla="*/ f1591 1 9586368"/>
              <a:gd name="f3028" fmla="*/ f1592 1 9586368"/>
              <a:gd name="f3029" fmla="*/ f1593 1 9586368"/>
              <a:gd name="f3030" fmla="*/ f1594 1 9586368"/>
              <a:gd name="f3031" fmla="*/ f1595 1 9586368"/>
              <a:gd name="f3032" fmla="*/ f1596 1 6479439"/>
              <a:gd name="f3033" fmla="*/ f1597 1 6479439"/>
              <a:gd name="f3034" fmla="*/ f1598 1 6479439"/>
              <a:gd name="f3035" fmla="*/ f1599 1 6479439"/>
              <a:gd name="f3036" fmla="*/ f1600 1 9586368"/>
              <a:gd name="f3037" fmla="*/ f1601 1 9586368"/>
              <a:gd name="f3038" fmla="*/ f1602 1 9586368"/>
              <a:gd name="f3039" fmla="*/ f1603 1 9586368"/>
              <a:gd name="f3040" fmla="*/ f1604 1 9586368"/>
              <a:gd name="f3041" fmla="*/ f1605 1 9586368"/>
              <a:gd name="f3042" fmla="*/ f1606 1 9586368"/>
              <a:gd name="f3043" fmla="*/ f1607 1 9586368"/>
              <a:gd name="f3044" fmla="*/ f1608 1 9586368"/>
              <a:gd name="f3045" fmla="*/ f1609 1 9586368"/>
              <a:gd name="f3046" fmla="*/ f1610 1 9586368"/>
              <a:gd name="f3047" fmla="*/ f1611 1 9586368"/>
              <a:gd name="f3048" fmla="*/ f1612 1 9586368"/>
              <a:gd name="f3049" fmla="*/ f1613 1 9586368"/>
              <a:gd name="f3050" fmla="*/ f1614 1 9586368"/>
              <a:gd name="f3051" fmla="*/ f1615 1 9586368"/>
              <a:gd name="f3052" fmla="*/ f1616 1 9586368"/>
              <a:gd name="f3053" fmla="*/ f1617 1 9586368"/>
              <a:gd name="f3054" fmla="*/ f1618 1 9586368"/>
              <a:gd name="f3055" fmla="*/ f1619 1 9586368"/>
              <a:gd name="f3056" fmla="*/ f1620 1 9586368"/>
              <a:gd name="f3057" fmla="*/ f1621 1 9586368"/>
              <a:gd name="f3058" fmla="*/ f1622 1 9586368"/>
              <a:gd name="f3059" fmla="*/ f1623 1 9586368"/>
              <a:gd name="f3060" fmla="*/ f1624 1 9586368"/>
              <a:gd name="f3061" fmla="*/ f1625 1 9586368"/>
              <a:gd name="f3062" fmla="*/ f1626 1 6479439"/>
              <a:gd name="f3063" fmla="*/ f1627 1 9586368"/>
              <a:gd name="f3064" fmla="*/ f1628 1 6479439"/>
              <a:gd name="f3065" fmla="*/ f1629 1 6479439"/>
              <a:gd name="f3066" fmla="*/ f1630 1 6479439"/>
              <a:gd name="f3067" fmla="*/ f1631 1 9586368"/>
              <a:gd name="f3068" fmla="*/ f1632 1 9586368"/>
              <a:gd name="f3069" fmla="*/ f1633 1 9586368"/>
              <a:gd name="f3070" fmla="*/ f1634 1 9586368"/>
              <a:gd name="f3071" fmla="*/ f1635 1 9586368"/>
              <a:gd name="f3072" fmla="*/ f1636 1 9586368"/>
              <a:gd name="f3073" fmla="*/ f1637 1 9586368"/>
              <a:gd name="f3074" fmla="*/ f1638 1 9586368"/>
              <a:gd name="f3075" fmla="*/ f1639 1 9586368"/>
              <a:gd name="f3076" fmla="*/ f1640 1 9586368"/>
              <a:gd name="f3077" fmla="*/ f1641 1 6479439"/>
              <a:gd name="f3078" fmla="*/ f1642 1 6479439"/>
              <a:gd name="f3079" fmla="*/ f1643 1 6479439"/>
              <a:gd name="f3080" fmla="*/ f1644 1 6479439"/>
              <a:gd name="f3081" fmla="*/ f1645 1 9586368"/>
              <a:gd name="f3082" fmla="*/ f1646 1 9586368"/>
              <a:gd name="f3083" fmla="*/ f1647 1 9586368"/>
              <a:gd name="f3084" fmla="*/ f1648 1 9586368"/>
              <a:gd name="f3085" fmla="*/ f1649 1 9586368"/>
              <a:gd name="f3086" fmla="*/ f1650 1 9586368"/>
              <a:gd name="f3087" fmla="*/ f1651 1 9586368"/>
              <a:gd name="f3088" fmla="*/ f1652 1 9586368"/>
              <a:gd name="f3089" fmla="*/ f1653 1 9586368"/>
              <a:gd name="f3090" fmla="*/ f1654 1 6479439"/>
              <a:gd name="f3091" fmla="*/ f1655 1 6479439"/>
              <a:gd name="f3092" fmla="*/ f1656 1 6479439"/>
              <a:gd name="f3093" fmla="*/ f1657 1 6479439"/>
              <a:gd name="f3094" fmla="*/ f1658 1 9586368"/>
              <a:gd name="f3095" fmla="*/ f1659 1 9586368"/>
              <a:gd name="f3096" fmla="*/ f1660 1 9586368"/>
              <a:gd name="f3097" fmla="*/ f1661 1 9586368"/>
              <a:gd name="f3098" fmla="*/ f1662 1 9586368"/>
              <a:gd name="f3099" fmla="*/ f1663 1 9586368"/>
              <a:gd name="f3100" fmla="*/ f1664 1 9586368"/>
              <a:gd name="f3101" fmla="*/ f1665 1 9586368"/>
              <a:gd name="f3102" fmla="*/ f1666 1 9586368"/>
              <a:gd name="f3103" fmla="*/ f1667 1 9586368"/>
              <a:gd name="f3104" fmla="*/ f1668 1 9586368"/>
              <a:gd name="f3105" fmla="*/ f1669 1 9586368"/>
              <a:gd name="f3106" fmla="*/ f1670 1 9586368"/>
              <a:gd name="f3107" fmla="*/ f1671 1 6479439"/>
              <a:gd name="f3108" fmla="*/ f1672 1 6479439"/>
              <a:gd name="f3109" fmla="*/ f1673 1 6479439"/>
              <a:gd name="f3110" fmla="*/ f1674 1 6479439"/>
              <a:gd name="f3111" fmla="*/ f1675 1 9586368"/>
              <a:gd name="f3112" fmla="*/ f1676 1 9586368"/>
              <a:gd name="f3113" fmla="*/ f1677 1 9586368"/>
              <a:gd name="f3114" fmla="*/ f1678 1 9586368"/>
              <a:gd name="f3115" fmla="*/ f1679 1 9586368"/>
              <a:gd name="f3116" fmla="*/ f1680 1 9586368"/>
              <a:gd name="f3117" fmla="*/ f1681 1 9586368"/>
              <a:gd name="f3118" fmla="*/ f1682 1 9586368"/>
              <a:gd name="f3119" fmla="*/ f1683 1 9586368"/>
              <a:gd name="f3120" fmla="*/ f1684 1 9586368"/>
              <a:gd name="f3121" fmla="*/ f1685 1 9586368"/>
              <a:gd name="f3122" fmla="*/ f1686 1 6479439"/>
              <a:gd name="f3123" fmla="*/ f1687 1 6479439"/>
              <a:gd name="f3124" fmla="*/ f1688 1 6479439"/>
              <a:gd name="f3125" fmla="*/ f1689 1 6479439"/>
              <a:gd name="f3126" fmla="*/ f1690 1 9586368"/>
              <a:gd name="f3127" fmla="*/ f1691 1 9586368"/>
              <a:gd name="f3128" fmla="*/ f1692 1 9586368"/>
              <a:gd name="f3129" fmla="*/ f1693 1 9586368"/>
              <a:gd name="f3130" fmla="*/ f1694 1 9586368"/>
              <a:gd name="f3131" fmla="*/ f1695 1 9586368"/>
              <a:gd name="f3132" fmla="*/ f1696 1 9586368"/>
              <a:gd name="f3133" fmla="*/ f1697 1 9586368"/>
              <a:gd name="f3134" fmla="*/ f1698 1 9586368"/>
              <a:gd name="f3135" fmla="*/ f1699 1 9586368"/>
              <a:gd name="f3136" fmla="*/ f1700 1 9586368"/>
              <a:gd name="f3137" fmla="*/ f1701 1 9586368"/>
              <a:gd name="f3138" fmla="*/ f1702 1 9586368"/>
              <a:gd name="f3139" fmla="*/ f1703 1 9586368"/>
              <a:gd name="f3140" fmla="*/ f1704 1 9586368"/>
              <a:gd name="f3141" fmla="*/ f1705 1 9586368"/>
              <a:gd name="f3142" fmla="*/ f1706 1 9586368"/>
              <a:gd name="f3143" fmla="*/ f1707 1 9586368"/>
              <a:gd name="f3144" fmla="*/ f1708 1 9586368"/>
              <a:gd name="f3145" fmla="*/ f1709 1 9586368"/>
              <a:gd name="f3146" fmla="*/ f1710 1 9586368"/>
              <a:gd name="f3147" fmla="*/ f1711 1 9586368"/>
              <a:gd name="f3148" fmla="*/ f1712 1 9586368"/>
              <a:gd name="f3149" fmla="*/ f1713 1 6479439"/>
              <a:gd name="f3150" fmla="*/ f1714 1 9586368"/>
              <a:gd name="f3151" fmla="*/ f1715 1 6479439"/>
              <a:gd name="f3152" fmla="*/ f1716 1 6479439"/>
              <a:gd name="f3153" fmla="*/ f1717 1 6479439"/>
              <a:gd name="f3154" fmla="*/ f1718 1 9586368"/>
              <a:gd name="f3155" fmla="*/ f1719 1 9586368"/>
              <a:gd name="f3156" fmla="*/ f1720 1 9586368"/>
              <a:gd name="f3157" fmla="*/ f1721 1 9586368"/>
              <a:gd name="f3158" fmla="*/ f1722 1 9586368"/>
              <a:gd name="f3159" fmla="*/ f1723 1 9586368"/>
              <a:gd name="f3160" fmla="*/ f1724 1 9586368"/>
              <a:gd name="f3161" fmla="*/ f1725 1 9586368"/>
              <a:gd name="f3162" fmla="*/ f1726 1 9586368"/>
              <a:gd name="f3163" fmla="*/ f1727 1 6479439"/>
              <a:gd name="f3164" fmla="*/ f1728 1 6479439"/>
              <a:gd name="f3165" fmla="*/ f1729 1 6479439"/>
              <a:gd name="f3166" fmla="*/ f1730 1 6479439"/>
              <a:gd name="f3167" fmla="*/ f1731 1 9586368"/>
              <a:gd name="f3168" fmla="*/ f1732 1 9586368"/>
              <a:gd name="f3169" fmla="*/ f1733 1 9586368"/>
              <a:gd name="f3170" fmla="*/ f1734 1 9586368"/>
              <a:gd name="f3171" fmla="*/ f1735 1 9586368"/>
              <a:gd name="f3172" fmla="*/ f1736 1 9586368"/>
              <a:gd name="f3173" fmla="*/ f1737 1 9586368"/>
              <a:gd name="f3174" fmla="*/ f1738 1 9586368"/>
              <a:gd name="f3175" fmla="*/ f1739 1 9586368"/>
              <a:gd name="f3176" fmla="*/ f1740 1 9586368"/>
              <a:gd name="f3177" fmla="*/ f1741 1 9586368"/>
              <a:gd name="f3178" fmla="*/ f1742 1 9586368"/>
              <a:gd name="f3179" fmla="*/ f1743 1 6479439"/>
              <a:gd name="f3180" fmla="*/ f1744 1 6479439"/>
              <a:gd name="f3181" fmla="*/ f1745 1 6479439"/>
              <a:gd name="f3182" fmla="*/ f1746 1 6479439"/>
              <a:gd name="f3183" fmla="*/ f1747 1 9586368"/>
              <a:gd name="f3184" fmla="*/ f1748 1 9586368"/>
              <a:gd name="f3185" fmla="*/ f1749 1 9586368"/>
              <a:gd name="f3186" fmla="*/ f1750 1 9586368"/>
              <a:gd name="f3187" fmla="*/ f1751 1 9586368"/>
              <a:gd name="f3188" fmla="*/ f1752 1 9586368"/>
              <a:gd name="f3189" fmla="*/ f1753 1 9586368"/>
              <a:gd name="f3190" fmla="*/ f1754 1 9586368"/>
              <a:gd name="f3191" fmla="*/ f1755 1 9586368"/>
              <a:gd name="f3192" fmla="*/ f1756 1 9586368"/>
              <a:gd name="f3193" fmla="*/ f1757 1 9586368"/>
              <a:gd name="f3194" fmla="*/ f1758 1 9586368"/>
              <a:gd name="f3195" fmla="*/ f1759 1 6479439"/>
              <a:gd name="f3196" fmla="*/ f1760 1 6479439"/>
              <a:gd name="f3197" fmla="*/ f1761 1 6479439"/>
              <a:gd name="f3198" fmla="*/ f1762 1 6479439"/>
              <a:gd name="f3199" fmla="*/ f1763 1 9586368"/>
              <a:gd name="f3200" fmla="*/ f1764 1 9586368"/>
              <a:gd name="f3201" fmla="*/ f1765 1 9586368"/>
              <a:gd name="f3202" fmla="*/ f1766 1 9586368"/>
              <a:gd name="f3203" fmla="*/ f1767 1 9586368"/>
              <a:gd name="f3204" fmla="*/ f1768 1 9586368"/>
              <a:gd name="f3205" fmla="*/ f1769 1 9586368"/>
              <a:gd name="f3206" fmla="*/ f1770 1 9586368"/>
              <a:gd name="f3207" fmla="*/ f1771 1 9586368"/>
              <a:gd name="f3208" fmla="*/ f1772 1 6479439"/>
              <a:gd name="f3209" fmla="*/ f1773 1 6479439"/>
              <a:gd name="f3210" fmla="*/ f1774 1 6479439"/>
              <a:gd name="f3211" fmla="*/ f1775 1 6479439"/>
              <a:gd name="f3212" fmla="*/ f1776 1 9586368"/>
              <a:gd name="f3213" fmla="*/ f1777 1 9586368"/>
              <a:gd name="f3214" fmla="*/ f1778 1 9586368"/>
              <a:gd name="f3215" fmla="*/ f1779 1 9586368"/>
              <a:gd name="f3216" fmla="*/ f1780 1 9586368"/>
              <a:gd name="f3217" fmla="*/ f1781 1 9586368"/>
              <a:gd name="f3218" fmla="*/ f1782 1 9586368"/>
              <a:gd name="f3219" fmla="*/ f1783 1 9586368"/>
              <a:gd name="f3220" fmla="*/ f1784 1 9586368"/>
              <a:gd name="f3221" fmla="*/ f1785 1 9586368"/>
              <a:gd name="f3222" fmla="*/ f1786 1 9586368"/>
              <a:gd name="f3223" fmla="*/ f1787 1 9586368"/>
              <a:gd name="f3224" fmla="*/ f1788 1 9586368"/>
              <a:gd name="f3225" fmla="*/ f1789 1 9586368"/>
              <a:gd name="f3226" fmla="*/ f1790 1 9586368"/>
              <a:gd name="f3227" fmla="*/ f1791 1 9586368"/>
              <a:gd name="f3228" fmla="*/ f1792 1 9586368"/>
              <a:gd name="f3229" fmla="*/ f1793 1 9586368"/>
              <a:gd name="f3230" fmla="*/ f1794 1 9586368"/>
              <a:gd name="f3231" fmla="*/ f1795 1 9586368"/>
              <a:gd name="f3232" fmla="*/ f1796 1 6479439"/>
              <a:gd name="f3233" fmla="*/ f1797 1 6479439"/>
              <a:gd name="f3234" fmla="*/ f1798 1 6479439"/>
              <a:gd name="f3235" fmla="*/ f1799 1 6479439"/>
              <a:gd name="f3236" fmla="*/ f1800 1 9586368"/>
              <a:gd name="f3237" fmla="*/ f1801 1 9586368"/>
              <a:gd name="f3238" fmla="*/ f1802 1 9586368"/>
              <a:gd name="f3239" fmla="*/ f1803 1 9586368"/>
              <a:gd name="f3240" fmla="*/ f1804 1 9586368"/>
              <a:gd name="f3241" fmla="*/ f1805 1 9586368"/>
              <a:gd name="f3242" fmla="*/ f1806 1 9586368"/>
              <a:gd name="f3243" fmla="*/ f1807 1 9586368"/>
              <a:gd name="f3244" fmla="*/ f1808 1 9586368"/>
              <a:gd name="f3245" fmla="*/ f1809 1 9586368"/>
              <a:gd name="f3246" fmla="*/ f1810 1 9586368"/>
              <a:gd name="f3247" fmla="*/ f1811 1 9586368"/>
              <a:gd name="f3248" fmla="*/ f1812 1 6479439"/>
              <a:gd name="f3249" fmla="*/ f1813 1 6479439"/>
              <a:gd name="f3250" fmla="*/ f1814 1 6479439"/>
              <a:gd name="f3251" fmla="*/ f1815 1 6479439"/>
              <a:gd name="f3252" fmla="*/ f1816 1 9586368"/>
              <a:gd name="f3253" fmla="*/ f1817 1 9586368"/>
              <a:gd name="f3254" fmla="*/ f1818 1 9586368"/>
              <a:gd name="f3255" fmla="*/ f1819 1 9586368"/>
              <a:gd name="f3256" fmla="*/ f1820 1 9586368"/>
              <a:gd name="f3257" fmla="*/ f1821 1 9586368"/>
              <a:gd name="f3258" fmla="*/ f1822 1 9586368"/>
              <a:gd name="f3259" fmla="*/ f1823 1 9586368"/>
              <a:gd name="f3260" fmla="*/ f1824 1 9586368"/>
              <a:gd name="f3261" fmla="*/ f1825 1 9586368"/>
              <a:gd name="f3262" fmla="*/ f1826 1 9586368"/>
              <a:gd name="f3263" fmla="*/ f1827 1 9586368"/>
              <a:gd name="f3264" fmla="*/ f1828 1 6479439"/>
              <a:gd name="f3265" fmla="*/ f1829 1 9586368"/>
              <a:gd name="f3266" fmla="*/ f1830 1 6479439"/>
              <a:gd name="f3267" fmla="*/ f1831 1 6479439"/>
              <a:gd name="f3268" fmla="*/ f1832 1 6479439"/>
              <a:gd name="f3269" fmla="*/ f1833 1 9586368"/>
              <a:gd name="f3270" fmla="*/ f1834 1 9586368"/>
              <a:gd name="f3271" fmla="*/ f1835 1 9586368"/>
              <a:gd name="f3272" fmla="*/ f1836 1 9586368"/>
              <a:gd name="f3273" fmla="*/ f1837 1 9586368"/>
              <a:gd name="f3274" fmla="*/ f1838 1 9586368"/>
              <a:gd name="f3275" fmla="*/ f1839 1 9586368"/>
              <a:gd name="f3276" fmla="*/ f1840 1 9586368"/>
              <a:gd name="f3277" fmla="*/ f1841 1 9586368"/>
              <a:gd name="f3278" fmla="*/ f1842 1 9586368"/>
              <a:gd name="f3279" fmla="*/ f1843 1 9586368"/>
              <a:gd name="f3280" fmla="*/ f1844 1 6479439"/>
              <a:gd name="f3281" fmla="*/ f1845 1 6479439"/>
              <a:gd name="f3282" fmla="*/ f1846 1 6479439"/>
              <a:gd name="f3283" fmla="*/ f1847 1 6479439"/>
              <a:gd name="f3284" fmla="*/ f1848 1 9586368"/>
              <a:gd name="f3285" fmla="*/ f1849 1 9586368"/>
              <a:gd name="f3286" fmla="*/ f1850 1 9586368"/>
              <a:gd name="f3287" fmla="*/ f1851 1 9586368"/>
              <a:gd name="f3288" fmla="*/ f1852 1 9586368"/>
              <a:gd name="f3289" fmla="*/ f1853 1 9586368"/>
              <a:gd name="f3290" fmla="*/ f1854 1 9586368"/>
              <a:gd name="f3291" fmla="*/ f1855 1 9586368"/>
              <a:gd name="f3292" fmla="*/ f1856 1 9586368"/>
              <a:gd name="f3293" fmla="*/ f1857 1 9586368"/>
              <a:gd name="f3294" fmla="*/ f1858 1 6479439"/>
              <a:gd name="f3295" fmla="*/ f1859 1 6479439"/>
              <a:gd name="f3296" fmla="*/ f1860 1 6479439"/>
              <a:gd name="f3297" fmla="*/ f1861 1 6479439"/>
              <a:gd name="f3298" fmla="*/ f1862 1 9586368"/>
              <a:gd name="f3299" fmla="*/ f1863 1 9586368"/>
              <a:gd name="f3300" fmla="*/ f1864 1 9586368"/>
              <a:gd name="f3301" fmla="*/ f1865 1 9586368"/>
              <a:gd name="f3302" fmla="*/ f1866 1 9586368"/>
              <a:gd name="f3303" fmla="*/ f1867 1 9586368"/>
              <a:gd name="f3304" fmla="*/ f1868 1 9586368"/>
              <a:gd name="f3305" fmla="*/ f1869 1 9586368"/>
              <a:gd name="f3306" fmla="*/ f1870 1 9586368"/>
              <a:gd name="f3307" fmla="*/ f1871 1 9586368"/>
              <a:gd name="f3308" fmla="*/ f1872 1 9586368"/>
              <a:gd name="f3309" fmla="*/ f1873 1 9586368"/>
              <a:gd name="f3310" fmla="*/ f1874 1 9586368"/>
              <a:gd name="f3311" fmla="*/ f1875 1 9586368"/>
              <a:gd name="f3312" fmla="*/ f1876 1 9586368"/>
              <a:gd name="f3313" fmla="*/ f1877 1 9586368"/>
              <a:gd name="f3314" fmla="*/ f1878 1 9586368"/>
              <a:gd name="f3315" fmla="*/ f1879 1 9586368"/>
              <a:gd name="f3316" fmla="*/ f1880 1 9586368"/>
              <a:gd name="f3317" fmla="*/ f1881 1 9586368"/>
              <a:gd name="f3318" fmla="*/ f1882 1 9586368"/>
              <a:gd name="f3319" fmla="*/ f1883 1 9586368"/>
              <a:gd name="f3320" fmla="*/ f1884 1 6479439"/>
              <a:gd name="f3321" fmla="*/ f1885 1 9586368"/>
              <a:gd name="f3322" fmla="*/ f1886 1 6479439"/>
              <a:gd name="f3323" fmla="*/ f1887 1 6479439"/>
              <a:gd name="f3324" fmla="*/ f1888 1 6479439"/>
              <a:gd name="f3325" fmla="*/ f1889 1 9586368"/>
              <a:gd name="f3326" fmla="*/ f1890 1 9586368"/>
              <a:gd name="f3327" fmla="*/ f1891 1 9586368"/>
              <a:gd name="f3328" fmla="*/ f1892 1 9586368"/>
              <a:gd name="f3329" fmla="*/ f1893 1 9586368"/>
              <a:gd name="f3330" fmla="*/ f1894 1 9586368"/>
              <a:gd name="f3331" fmla="*/ f1895 1 9586368"/>
              <a:gd name="f3332" fmla="*/ f1896 1 9586368"/>
              <a:gd name="f3333" fmla="*/ f1897 1 9586368"/>
              <a:gd name="f3334" fmla="*/ f1898 1 9586368"/>
              <a:gd name="f3335" fmla="*/ f1899 1 9586368"/>
              <a:gd name="f3336" fmla="*/ f1900 1 6479439"/>
              <a:gd name="f3337" fmla="*/ f1901 1 6479439"/>
              <a:gd name="f3338" fmla="*/ f1902 1 6479439"/>
              <a:gd name="f3339" fmla="*/ f1903 1 6479439"/>
              <a:gd name="f3340" fmla="*/ f1904 1 9586368"/>
              <a:gd name="f3341" fmla="*/ f1905 1 9586368"/>
              <a:gd name="f3342" fmla="*/ f1906 1 9586368"/>
              <a:gd name="f3343" fmla="*/ f1907 1 9586368"/>
              <a:gd name="f3344" fmla="*/ f1908 1 9586368"/>
              <a:gd name="f3345" fmla="*/ f1909 1 9586368"/>
              <a:gd name="f3346" fmla="*/ f1910 1 9586368"/>
              <a:gd name="f3347" fmla="*/ f1911 1 9586368"/>
              <a:gd name="f3348" fmla="*/ f1912 1 9586368"/>
              <a:gd name="f3349" fmla="*/ f1913 1 9586368"/>
              <a:gd name="f3350" fmla="*/ f1914 1 9586368"/>
              <a:gd name="f3351" fmla="*/ f1915 1 6479439"/>
              <a:gd name="f3352" fmla="*/ f1916 1 6479439"/>
              <a:gd name="f3353" fmla="*/ f1917 1 6479439"/>
              <a:gd name="f3354" fmla="*/ f1918 1 6479439"/>
              <a:gd name="f3355" fmla="*/ f1919 1 9586368"/>
              <a:gd name="f3356" fmla="*/ f1920 1 9586368"/>
              <a:gd name="f3357" fmla="*/ f1921 1 9586368"/>
              <a:gd name="f3358" fmla="*/ f1922 1 9586368"/>
              <a:gd name="f3359" fmla="*/ f1923 1 9586368"/>
              <a:gd name="f3360" fmla="*/ f1924 1 9586368"/>
              <a:gd name="f3361" fmla="*/ f1925 1 9586368"/>
              <a:gd name="f3362" fmla="*/ f1926 1 9586368"/>
              <a:gd name="f3363" fmla="*/ f1927 1 9586368"/>
              <a:gd name="f3364" fmla="*/ f1928 1 9586368"/>
              <a:gd name="f3365" fmla="*/ f1929 1 6479439"/>
              <a:gd name="f3366" fmla="*/ f1930 1 6479439"/>
              <a:gd name="f3367" fmla="*/ f1931 1 6479439"/>
              <a:gd name="f3368" fmla="*/ f1932 1 6479439"/>
              <a:gd name="f3369" fmla="*/ f1933 1 9586368"/>
              <a:gd name="f3370" fmla="*/ f1934 1 9586368"/>
              <a:gd name="f3371" fmla="*/ f1935 1 9586368"/>
              <a:gd name="f3372" fmla="*/ f1936 1 9586368"/>
              <a:gd name="f3373" fmla="*/ f1937 1 9586368"/>
              <a:gd name="f3374" fmla="*/ f1938 1 9586368"/>
              <a:gd name="f3375" fmla="*/ f1939 1 9586368"/>
              <a:gd name="f3376" fmla="*/ f1940 1 9586368"/>
              <a:gd name="f3377" fmla="*/ f1941 1 9586368"/>
              <a:gd name="f3378" fmla="*/ f1942 1 9586368"/>
              <a:gd name="f3379" fmla="*/ f1943 1 6479439"/>
              <a:gd name="f3380" fmla="*/ f1944 1 6479439"/>
              <a:gd name="f3381" fmla="*/ f1945 1 6479439"/>
              <a:gd name="f3382" fmla="*/ f1946 1 6479439"/>
              <a:gd name="f3383" fmla="*/ f1947 1 9586368"/>
              <a:gd name="f3384" fmla="*/ f1948 1 9586368"/>
              <a:gd name="f3385" fmla="*/ f1949 1 9586368"/>
              <a:gd name="f3386" fmla="*/ f1950 1 9586368"/>
              <a:gd name="f3387" fmla="*/ f1951 1 9586368"/>
              <a:gd name="f3388" fmla="*/ f1952 1 9586368"/>
              <a:gd name="f3389" fmla="*/ f1953 1 9586368"/>
              <a:gd name="f3390" fmla="*/ f1954 1 9586368"/>
              <a:gd name="f3391" fmla="*/ f1955 1 9586368"/>
              <a:gd name="f3392" fmla="*/ f1956 1 9586368"/>
              <a:gd name="f3393" fmla="*/ f1957 1 9586368"/>
              <a:gd name="f3394" fmla="*/ f1958 1 9586368"/>
              <a:gd name="f3395" fmla="*/ f1959 1 9586368"/>
              <a:gd name="f3396" fmla="*/ f1960 1 9586368"/>
              <a:gd name="f3397" fmla="*/ f1961 1 9586368"/>
              <a:gd name="f3398" fmla="*/ f1962 1 9586368"/>
              <a:gd name="f3399" fmla="*/ f1963 1 9586368"/>
              <a:gd name="f3400" fmla="*/ f1964 1 9586368"/>
              <a:gd name="f3401" fmla="*/ f1965 1 9586368"/>
              <a:gd name="f3402" fmla="*/ f1966 1 9586368"/>
              <a:gd name="f3403" fmla="*/ f1967 1 9586368"/>
              <a:gd name="f3404" fmla="*/ f1968 1 6479439"/>
              <a:gd name="f3405" fmla="*/ f1969 1 9586368"/>
              <a:gd name="f3406" fmla="*/ f1970 1 6479439"/>
              <a:gd name="f3407" fmla="*/ f1971 1 6479439"/>
              <a:gd name="f3408" fmla="*/ f1972 1 6479439"/>
              <a:gd name="f3409" fmla="*/ f1973 1 9586368"/>
              <a:gd name="f3410" fmla="*/ f1974 1 9586368"/>
              <a:gd name="f3411" fmla="*/ f1975 1 9586368"/>
              <a:gd name="f3412" fmla="*/ f1976 1 9586368"/>
              <a:gd name="f3413" fmla="*/ f1977 1 9586368"/>
              <a:gd name="f3414" fmla="*/ f1978 1 9586368"/>
              <a:gd name="f3415" fmla="*/ f1979 1 9586368"/>
              <a:gd name="f3416" fmla="*/ f1980 1 9586368"/>
              <a:gd name="f3417" fmla="*/ f1981 1 9586368"/>
              <a:gd name="f3418" fmla="*/ f1982 1 9586368"/>
              <a:gd name="f3419" fmla="*/ f1983 1 9586368"/>
              <a:gd name="f3420" fmla="*/ f1984 1 6479439"/>
              <a:gd name="f3421" fmla="*/ f1985 1 6479439"/>
              <a:gd name="f3422" fmla="*/ f1986 1 6479439"/>
              <a:gd name="f3423" fmla="*/ f1987 1 6479439"/>
              <a:gd name="f3424" fmla="*/ f1988 1 9586368"/>
              <a:gd name="f3425" fmla="*/ f1989 1 9586368"/>
              <a:gd name="f3426" fmla="*/ f1990 1 9586368"/>
              <a:gd name="f3427" fmla="*/ f1991 1 9586368"/>
              <a:gd name="f3428" fmla="*/ f1992 1 9586368"/>
              <a:gd name="f3429" fmla="*/ f1993 1 9586368"/>
              <a:gd name="f3430" fmla="*/ f1994 1 9586368"/>
              <a:gd name="f3431" fmla="*/ f1995 1 9586368"/>
              <a:gd name="f3432" fmla="*/ f1996 1 9586368"/>
              <a:gd name="f3433" fmla="*/ f1997 1 9586368"/>
              <a:gd name="f3434" fmla="*/ f1998 1 9586368"/>
              <a:gd name="f3435" fmla="*/ f1999 1 9586368"/>
              <a:gd name="f3436" fmla="*/ f2000 1 6479439"/>
              <a:gd name="f3437" fmla="*/ f2001 1 9586368"/>
              <a:gd name="f3438" fmla="*/ f2002 1 6479439"/>
              <a:gd name="f3439" fmla="*/ f2003 1 6479439"/>
              <a:gd name="f3440" fmla="*/ f2004 1 6479439"/>
              <a:gd name="f3441" fmla="*/ f2005 1 9586368"/>
              <a:gd name="f3442" fmla="*/ f2006 1 9586368"/>
              <a:gd name="f3443" fmla="*/ f2007 1 9586368"/>
              <a:gd name="f3444" fmla="*/ f2008 1 9586368"/>
              <a:gd name="f3445" fmla="*/ f2009 1 9586368"/>
              <a:gd name="f3446" fmla="*/ f2010 1 9586368"/>
              <a:gd name="f3447" fmla="*/ f2011 1 9586368"/>
              <a:gd name="f3448" fmla="*/ f2012 1 9586368"/>
              <a:gd name="f3449" fmla="*/ f2013 1 6479439"/>
              <a:gd name="f3450" fmla="*/ f2014 1 6479439"/>
              <a:gd name="f3451" fmla="*/ f2015 1 6479439"/>
              <a:gd name="f3452" fmla="*/ f2016 1 6479439"/>
              <a:gd name="f3453" fmla="*/ f2017 1 9586368"/>
              <a:gd name="f3454" fmla="*/ f2018 1 9586368"/>
              <a:gd name="f3455" fmla="*/ f2019 1 9586368"/>
              <a:gd name="f3456" fmla="*/ f2020 1 9586368"/>
              <a:gd name="f3457" fmla="*/ f2021 1 9586368"/>
              <a:gd name="f3458" fmla="*/ f2022 1 9586368"/>
              <a:gd name="f3459" fmla="*/ f2023 1 9586368"/>
              <a:gd name="f3460" fmla="*/ f2024 1 9586368"/>
              <a:gd name="f3461" fmla="*/ f2025 1 9586368"/>
              <a:gd name="f3462" fmla="*/ f2026 1 9586368"/>
              <a:gd name="f3463" fmla="*/ f2027 1 9586368"/>
              <a:gd name="f3464" fmla="*/ f2028 1 9586368"/>
              <a:gd name="f3465" fmla="*/ f2029 1 9586368"/>
              <a:gd name="f3466" fmla="*/ f2030 1 6479439"/>
              <a:gd name="f3467" fmla="*/ f2031 1 6479439"/>
              <a:gd name="f3468" fmla="*/ f2032 1 6479439"/>
              <a:gd name="f3469" fmla="*/ f2033 1 6479439"/>
              <a:gd name="f3470" fmla="*/ f2034 1 9586368"/>
              <a:gd name="f3471" fmla="*/ f2035 1 9586368"/>
              <a:gd name="f3472" fmla="*/ f2036 1 9586368"/>
              <a:gd name="f3473" fmla="*/ f2037 1 9586368"/>
              <a:gd name="f3474" fmla="*/ f2038 1 9586368"/>
              <a:gd name="f3475" fmla="*/ f2039 1 9586368"/>
              <a:gd name="f3476" fmla="*/ f2040 1 9586368"/>
              <a:gd name="f3477" fmla="*/ f2041 1 9586368"/>
              <a:gd name="f3478" fmla="*/ f2042 1 9586368"/>
              <a:gd name="f3479" fmla="*/ f2043 1 9586368"/>
              <a:gd name="f3480" fmla="*/ f2044 1 9586368"/>
              <a:gd name="f3481" fmla="*/ f2045 1 9586368"/>
              <a:gd name="f3482" fmla="*/ f2046 1 9586368"/>
              <a:gd name="f3483" fmla="*/ f2047 1 9586368"/>
              <a:gd name="f3484" fmla="*/ f2048 1 9586368"/>
              <a:gd name="f3485" fmla="*/ f2049 1 9586368"/>
              <a:gd name="f3486" fmla="*/ f2050 1 9586368"/>
              <a:gd name="f3487" fmla="*/ f2051 1 9586368"/>
              <a:gd name="f3488" fmla="*/ f2052 1 9586368"/>
              <a:gd name="f3489" fmla="*/ f2053 1 9586368"/>
              <a:gd name="f3490" fmla="*/ f2054 1 9586368"/>
              <a:gd name="f3491" fmla="*/ f2055 1 9586368"/>
              <a:gd name="f3492" fmla="*/ f2056 1 6479439"/>
              <a:gd name="f3493" fmla="*/ f2057 1 6479439"/>
              <a:gd name="f3494" fmla="*/ f2058 1 6479439"/>
              <a:gd name="f3495" fmla="*/ f2059 1 6479439"/>
              <a:gd name="f3496" fmla="*/ f2060 1 9586368"/>
              <a:gd name="f3497" fmla="*/ f2061 1 9586368"/>
              <a:gd name="f3498" fmla="*/ f2062 1 9586368"/>
              <a:gd name="f3499" fmla="*/ f2063 1 9586368"/>
              <a:gd name="f3500" fmla="*/ f2064 1 9586368"/>
              <a:gd name="f3501" fmla="*/ f2065 1 9586368"/>
              <a:gd name="f3502" fmla="*/ f2066 1 9586368"/>
              <a:gd name="f3503" fmla="*/ f2067 1 9586368"/>
              <a:gd name="f3504" fmla="*/ f2068 1 9586368"/>
              <a:gd name="f3505" fmla="*/ f2069 1 9586368"/>
              <a:gd name="f3506" fmla="*/ f2070 1 6479439"/>
              <a:gd name="f3507" fmla="*/ f2071 1 6479439"/>
              <a:gd name="f3508" fmla="*/ f2072 1 6479439"/>
              <a:gd name="f3509" fmla="*/ f2073 1 6479439"/>
              <a:gd name="f3510" fmla="*/ f2074 1 9586368"/>
              <a:gd name="f3511" fmla="*/ f2075 1 9586368"/>
              <a:gd name="f3512" fmla="*/ f2076 1 9586368"/>
              <a:gd name="f3513" fmla="*/ f2077 1 9586368"/>
              <a:gd name="f3514" fmla="*/ f2078 1 9586368"/>
              <a:gd name="f3515" fmla="*/ f2079 1 9586368"/>
              <a:gd name="f3516" fmla="*/ f2080 1 9586368"/>
              <a:gd name="f3517" fmla="*/ f2081 1 9586368"/>
              <a:gd name="f3518" fmla="*/ f2082 1 9586368"/>
              <a:gd name="f3519" fmla="*/ f2083 1 9586368"/>
              <a:gd name="f3520" fmla="*/ f2084 1 9586368"/>
              <a:gd name="f3521" fmla="*/ f2085 1 6479439"/>
              <a:gd name="f3522" fmla="*/ f2086 1 6479439"/>
              <a:gd name="f3523" fmla="*/ f2087 1 6479439"/>
              <a:gd name="f3524" fmla="*/ f2088 1 6479439"/>
              <a:gd name="f3525" fmla="*/ f2089 1 6479439"/>
              <a:gd name="f3526" fmla="*/ f2090 1 6479439"/>
              <a:gd name="f3527" fmla="*/ f2091 1 6479439"/>
              <a:gd name="f3528" fmla="*/ f2092 1 6479439"/>
              <a:gd name="f3529" fmla="*/ f2093 1 6479439"/>
              <a:gd name="f3530" fmla="*/ f2094 1 6479439"/>
              <a:gd name="f3531" fmla="*/ f2095 1 6479439"/>
              <a:gd name="f3532" fmla="*/ f2096 1 6479439"/>
              <a:gd name="f3533" fmla="*/ f2097 1 6479439"/>
              <a:gd name="f3534" fmla="*/ f2098 1 6479439"/>
              <a:gd name="f3535" fmla="*/ f2099 1 6479439"/>
              <a:gd name="f3536" fmla="*/ f2100 1 6479439"/>
              <a:gd name="f3537" fmla="*/ f2101 1 6479439"/>
              <a:gd name="f3538" fmla="*/ f2102 1 6479439"/>
              <a:gd name="f3539" fmla="*/ f2103 1 6479439"/>
              <a:gd name="f3540" fmla="*/ f2104 1 6479439"/>
              <a:gd name="f3541" fmla="*/ f2105 1 6479439"/>
              <a:gd name="f3542" fmla="*/ f2106 1 6479439"/>
              <a:gd name="f3543" fmla="*/ f2107 1 6479439"/>
              <a:gd name="f3544" fmla="*/ f2108 1 6479439"/>
              <a:gd name="f3545" fmla="*/ f2109 1 6479439"/>
              <a:gd name="f3546" fmla="*/ f2110 1 6479439"/>
              <a:gd name="f3547" fmla="*/ f2111 1 6479439"/>
              <a:gd name="f3548" fmla="*/ f2112 1 6479439"/>
              <a:gd name="f3549" fmla="*/ f2113 1 6479439"/>
              <a:gd name="f3550" fmla="*/ f2114 1 6479439"/>
              <a:gd name="f3551" fmla="*/ f2115 1 6479439"/>
              <a:gd name="f3552" fmla="*/ f2116 1 6479439"/>
              <a:gd name="f3553" fmla="*/ f2117 1 6479439"/>
              <a:gd name="f3554" fmla="*/ f2118 1 6479439"/>
              <a:gd name="f3555" fmla="*/ f2119 1 6479439"/>
              <a:gd name="f3556" fmla="*/ f2120 1 6479439"/>
              <a:gd name="f3557" fmla="*/ f2121 1 6479439"/>
              <a:gd name="f3558" fmla="*/ f2122 1 6479439"/>
              <a:gd name="f3559" fmla="*/ f2123 1 6479439"/>
              <a:gd name="f3560" fmla="*/ f2124 1 6479439"/>
              <a:gd name="f3561" fmla="*/ f2125 1 6479439"/>
              <a:gd name="f3562" fmla="*/ f2126 1 9586368"/>
              <a:gd name="f3563" fmla="*/ f2127 1 6479439"/>
              <a:gd name="f3564" fmla="*/ f2128 1 6479439"/>
              <a:gd name="f3565" fmla="*/ f2129 1 6479439"/>
              <a:gd name="f3566" fmla="*/ f2130 1 6479439"/>
              <a:gd name="f3567" fmla="*/ f2131 1 9586368"/>
              <a:gd name="f3568" fmla="*/ f2132 1 9586368"/>
              <a:gd name="f3569" fmla="*/ f2133 1 9586368"/>
              <a:gd name="f3570" fmla="*/ f2134 1 9586368"/>
              <a:gd name="f3571" fmla="*/ f2135 1 9586368"/>
              <a:gd name="f3572" fmla="*/ f2136 1 6479439"/>
              <a:gd name="f3573" fmla="*/ f2137 1 6479439"/>
              <a:gd name="f3574" fmla="*/ f2138 1 6479439"/>
              <a:gd name="f3575" fmla="*/ f2139 1 9586368"/>
              <a:gd name="f3576" fmla="*/ f2140 1 9586368"/>
              <a:gd name="f3577" fmla="*/ f2141 1 9586368"/>
              <a:gd name="f3578" fmla="*/ f2142 1 6479439"/>
              <a:gd name="f3579" fmla="*/ f2143 1 6479439"/>
              <a:gd name="f3580" fmla="*/ f2144 1 6479439"/>
              <a:gd name="f3581" fmla="*/ f2145 1 6479439"/>
              <a:gd name="f3582" fmla="*/ f2146 1 6479439"/>
              <a:gd name="f3583" fmla="*/ f2147 1 6479439"/>
              <a:gd name="f3584" fmla="*/ f2148 1 6479439"/>
              <a:gd name="f3585" fmla="*/ f2149 1 6479439"/>
              <a:gd name="f3586" fmla="*/ f2150 1 9586368"/>
              <a:gd name="f3587" fmla="*/ f2151 1 9586368"/>
              <a:gd name="f3588" fmla="*/ f2152 1 6479439"/>
              <a:gd name="f3589" fmla="*/ f2153 1 9586368"/>
              <a:gd name="f3590" fmla="*/ f2154 1 6479439"/>
              <a:gd name="f3591" fmla="*/ f2155 1 6479439"/>
              <a:gd name="f3592" fmla="*/ f2156 1 6479439"/>
              <a:gd name="f3593" fmla="*/ f2157 1 9586368"/>
              <a:gd name="f3594" fmla="*/ f2158 1 9586368"/>
              <a:gd name="f3595" fmla="*/ f2159 1 9586368"/>
              <a:gd name="f3596" fmla="*/ f2160 1 6479439"/>
              <a:gd name="f3597" fmla="*/ f2161 1 9586368"/>
              <a:gd name="f3598" fmla="*/ f2162 1 9586368"/>
              <a:gd name="f3599" fmla="*/ f2163 1 9586368"/>
              <a:gd name="f3600" fmla="*/ f2164 1 9586368"/>
              <a:gd name="f3601" fmla="*/ f2165 1 9586368"/>
              <a:gd name="f3602" fmla="*/ f2166 1 9586368"/>
              <a:gd name="f3603" fmla="*/ f2167 1 6479439"/>
              <a:gd name="f3604" fmla="*/ f2168 1 6479439"/>
              <a:gd name="f3605" fmla="*/ f2169 1 6479439"/>
              <a:gd name="f3606" fmla="*/ f2170 1 6479439"/>
              <a:gd name="f3607" fmla="*/ f2171 1 6479439"/>
              <a:gd name="f3608" fmla="*/ f2172 1 6479439"/>
              <a:gd name="f3609" fmla="*/ f2173 1 6479439"/>
              <a:gd name="f3610" fmla="*/ f2174 1 6479439"/>
              <a:gd name="f3611" fmla="*/ f2175 1 6479439"/>
              <a:gd name="f3612" fmla="*/ f2176 1 6479439"/>
              <a:gd name="f3613" fmla="*/ f2177 1 6479439"/>
              <a:gd name="f3614" fmla="*/ f2178 1 6479439"/>
              <a:gd name="f3615" fmla="*/ f2179 1 6479439"/>
              <a:gd name="f3616" fmla="*/ f2180 1 6479439"/>
              <a:gd name="f3617" fmla="*/ f2181 1 6479439"/>
              <a:gd name="f3618" fmla="*/ f2182 1 6479439"/>
              <a:gd name="f3619" fmla="*/ f2183 1 6479439"/>
              <a:gd name="f3620" fmla="*/ f2184 1 6479439"/>
              <a:gd name="f3621" fmla="*/ f2185 1 6479439"/>
              <a:gd name="f3622" fmla="*/ f2186 1 6479439"/>
              <a:gd name="f3623" fmla="*/ f2187 1 6479439"/>
              <a:gd name="f3624" fmla="*/ f2188 1 6479439"/>
              <a:gd name="f3625" fmla="*/ f2189 1 6479439"/>
              <a:gd name="f3626" fmla="*/ f2190 1 6479439"/>
              <a:gd name="f3627" fmla="*/ f2191 1 6479439"/>
              <a:gd name="f3628" fmla="*/ f2192 1 6479439"/>
              <a:gd name="f3629" fmla="*/ f2193 1 6479439"/>
              <a:gd name="f3630" fmla="*/ f2194 1 6479439"/>
              <a:gd name="f3631" fmla="*/ f2195 1 6479439"/>
              <a:gd name="f3632" fmla="*/ f2196 1 6479439"/>
              <a:gd name="f3633" fmla="*/ f2197 1 6479439"/>
              <a:gd name="f3634" fmla="*/ f2198 1 6479439"/>
              <a:gd name="f3635" fmla="*/ f2199 1 6479439"/>
              <a:gd name="f3636" fmla="*/ f2200 1 6479439"/>
              <a:gd name="f3637" fmla="*/ f2201 1 6479439"/>
              <a:gd name="f3638" fmla="*/ f2202 1 6479439"/>
              <a:gd name="f3639" fmla="*/ f2203 1 6479439"/>
              <a:gd name="f3640" fmla="*/ f2204 1 6479439"/>
              <a:gd name="f3641" fmla="*/ f2205 1 6479439"/>
              <a:gd name="f3642" fmla="*/ f2206 1 6479439"/>
              <a:gd name="f3643" fmla="*/ f2207 1 6479439"/>
              <a:gd name="f3644" fmla="*/ f2208 1 6479439"/>
              <a:gd name="f3645" fmla="*/ f2209 1 6479439"/>
              <a:gd name="f3646" fmla="*/ f2210 1 6479439"/>
              <a:gd name="f3647" fmla="*/ f2211 1 6479439"/>
              <a:gd name="f3648" fmla="*/ f2212 1 9586368"/>
              <a:gd name="f3649" fmla="*/ f2213 1 6479439"/>
              <a:gd name="f3650" fmla="*/ f2214 1 9586368"/>
              <a:gd name="f3651" fmla="*/ f2215 1 9586368"/>
              <a:gd name="f3652" fmla="*/ f2216 1 6479439"/>
              <a:gd name="f3653" fmla="*/ f2217 1 6479439"/>
              <a:gd name="f3654" fmla="*/ f2218 1 6479439"/>
              <a:gd name="f3655" fmla="*/ f2219 1 9586368"/>
              <a:gd name="f3656" fmla="*/ f2220 1 9586368"/>
              <a:gd name="f3657" fmla="*/ f2221 1 9586368"/>
              <a:gd name="f3658" fmla="*/ f2222 1 9586368"/>
              <a:gd name="f3659" fmla="*/ f2223 1 9586368"/>
              <a:gd name="f3660" fmla="*/ f2224 1 6479439"/>
              <a:gd name="f3661" fmla="*/ f2225 1 6479439"/>
              <a:gd name="f3662" fmla="*/ f2226 1 9586368"/>
              <a:gd name="f3663" fmla="*/ f2227 1 9586368"/>
              <a:gd name="f3664" fmla="*/ f2228 1 9586368"/>
              <a:gd name="f3665" fmla="*/ f2229 1 9586368"/>
              <a:gd name="f3666" fmla="*/ f2230 1 9586368"/>
              <a:gd name="f3667" fmla="*/ f2231 1 6479439"/>
              <a:gd name="f3668" fmla="*/ f2232 1 9586368"/>
              <a:gd name="f3669" fmla="*/ f2233 1 6479439"/>
              <a:gd name="f3670" fmla="*/ f2234 1 6479439"/>
              <a:gd name="f3671" fmla="*/ f2235 1 6479439"/>
              <a:gd name="f3672" fmla="*/ f2236 1 9586368"/>
              <a:gd name="f3673" fmla="*/ f2237 1 9586368"/>
              <a:gd name="f3674" fmla="*/ f2238 1 6479439"/>
              <a:gd name="f3675" fmla="*/ f2239 1 9586368"/>
              <a:gd name="f3676" fmla="*/ f2240 1 9586368"/>
              <a:gd name="f3677" fmla="*/ f2241 1 9586368"/>
              <a:gd name="f3678" fmla="*/ f2242 1 9586368"/>
              <a:gd name="f3679" fmla="*/ f2243 1 9586368"/>
              <a:gd name="f3680" fmla="*/ f2244 1 6479439"/>
              <a:gd name="f3681" fmla="*/ f2245 1 9586368"/>
              <a:gd name="f3682" fmla="*/ f2246 1 6479439"/>
              <a:gd name="f3683" fmla="*/ f2247 1 6479439"/>
              <a:gd name="f3684" fmla="*/ f2248 1 6479439"/>
              <a:gd name="f3685" fmla="*/ f2249 1 6479439"/>
              <a:gd name="f3686" fmla="*/ f2250 1 9586368"/>
              <a:gd name="f3687" fmla="*/ f2251 1 6479439"/>
              <a:gd name="f3688" fmla="*/ f2252 1 6479439"/>
              <a:gd name="f3689" fmla="*/ f2253 1 6479439"/>
              <a:gd name="f3690" fmla="*/ f2254 1 6479439"/>
              <a:gd name="f3691" fmla="*/ f2255 1 6479439"/>
              <a:gd name="f3692" fmla="*/ f2256 1 6479439"/>
              <a:gd name="f3693" fmla="*/ f2257 1 6479439"/>
              <a:gd name="f3694" fmla="*/ f2258 1 6479439"/>
              <a:gd name="f3695" fmla="*/ f2259 1 6479439"/>
              <a:gd name="f3696" fmla="*/ f2260 1 6479439"/>
              <a:gd name="f3697" fmla="*/ f2261 1 6479439"/>
              <a:gd name="f3698" fmla="*/ f2262 1 6479439"/>
              <a:gd name="f3699" fmla="*/ f2263 1 6479439"/>
              <a:gd name="f3700" fmla="*/ f2264 1 6479439"/>
              <a:gd name="f3701" fmla="*/ f2265 1 6479439"/>
              <a:gd name="f3702" fmla="*/ f2266 1 6479439"/>
              <a:gd name="f3703" fmla="*/ f2267 1 6479439"/>
              <a:gd name="f3704" fmla="*/ f2268 1 6479439"/>
              <a:gd name="f3705" fmla="*/ f2269 1 6479439"/>
              <a:gd name="f3706" fmla="*/ f2270 1 6479439"/>
              <a:gd name="f3707" fmla="*/ f2271 1 6479439"/>
              <a:gd name="f3708" fmla="*/ f2272 1 6479439"/>
              <a:gd name="f3709" fmla="*/ f2273 1 6479439"/>
              <a:gd name="f3710" fmla="*/ f2274 1 6479439"/>
              <a:gd name="f3711" fmla="*/ f2275 1 6479439"/>
              <a:gd name="f3712" fmla="*/ f2276 1 6479439"/>
              <a:gd name="f3713" fmla="*/ f2277 1 6479439"/>
              <a:gd name="f3714" fmla="*/ f2278 1 6479439"/>
              <a:gd name="f3715" fmla="*/ f2279 1 6479439"/>
              <a:gd name="f3716" fmla="*/ f2280 1 6479439"/>
              <a:gd name="f3717" fmla="*/ f2281 1 6479439"/>
              <a:gd name="f3718" fmla="*/ f2282 1 6479439"/>
              <a:gd name="f3719" fmla="*/ f2283 1 6479439"/>
              <a:gd name="f3720" fmla="*/ f2284 1 6479439"/>
              <a:gd name="f3721" fmla="*/ f2285 1 6479439"/>
              <a:gd name="f3722" fmla="*/ f2286 1 6479439"/>
              <a:gd name="f3723" fmla="*/ f2287 1 6479439"/>
              <a:gd name="f3724" fmla="*/ f2288 1 6479439"/>
              <a:gd name="f3725" fmla="*/ f2289 1 6479439"/>
              <a:gd name="f3726" fmla="*/ f2290 1 6479439"/>
              <a:gd name="f3727" fmla="*/ f2291 1 6479439"/>
              <a:gd name="f3728" fmla="*/ f2292 1 6479439"/>
              <a:gd name="f3729" fmla="*/ f2293 1 6479439"/>
              <a:gd name="f3730" fmla="*/ f2294 1 9586368"/>
              <a:gd name="f3731" fmla="*/ f2295 1 6479439"/>
              <a:gd name="f3732" fmla="*/ f2296 1 9586368"/>
              <a:gd name="f3733" fmla="*/ f2297 1 9586368"/>
              <a:gd name="f3734" fmla="*/ f2298 1 6479439"/>
              <a:gd name="f3735" fmla="*/ f2299 1 6479439"/>
              <a:gd name="f3736" fmla="*/ f2300 1 6479439"/>
              <a:gd name="f3737" fmla="*/ f2301 1 9586368"/>
              <a:gd name="f3738" fmla="*/ f2302 1 6479439"/>
              <a:gd name="f3739" fmla="*/ f2303 1 9586368"/>
              <a:gd name="f3740" fmla="*/ f2304 1 9586368"/>
              <a:gd name="f3741" fmla="*/ f2305 1 9586368"/>
              <a:gd name="f3742" fmla="*/ f2306 1 9586368"/>
              <a:gd name="f3743" fmla="*/ f2307 1 9586368"/>
              <a:gd name="f3744" fmla="*/ f2308 1 9586368"/>
              <a:gd name="f3745" fmla="*/ f2309 1 9586368"/>
              <a:gd name="f3746" fmla="*/ f2310 1 9586368"/>
              <a:gd name="f3747" fmla="*/ f2311 1 9586368"/>
              <a:gd name="f3748" fmla="*/ f2312 1 6479439"/>
              <a:gd name="f3749" fmla="*/ f2313 1 6479439"/>
              <a:gd name="f3750" fmla="*/ f2314 1 6479439"/>
              <a:gd name="f3751" fmla="*/ f2315 1 6479439"/>
              <a:gd name="f3752" fmla="*/ f2316 1 9586368"/>
              <a:gd name="f3753" fmla="*/ f2317 1 6479439"/>
              <a:gd name="f3754" fmla="*/ f2318 1 6479439"/>
              <a:gd name="f3755" fmla="*/ f2319 1 6479439"/>
              <a:gd name="f3756" fmla="*/ f2320 1 6479439"/>
              <a:gd name="f3757" fmla="*/ f2321 1 6479439"/>
              <a:gd name="f3758" fmla="*/ f2322 1 6479439"/>
              <a:gd name="f3759" fmla="*/ f2323 1 6479439"/>
              <a:gd name="f3760" fmla="*/ f2324 1 6479439"/>
              <a:gd name="f3761" fmla="*/ f2325 1 6479439"/>
              <a:gd name="f3762" fmla="*/ f2326 1 9586368"/>
              <a:gd name="f3763" fmla="*/ f2327 1 9586368"/>
              <a:gd name="f3764" fmla="*/ f2328 1 6479439"/>
              <a:gd name="f3765" fmla="*/ f2329 1 6479439"/>
              <a:gd name="f3766" fmla="*/ f2330 1 6479439"/>
              <a:gd name="f3767" fmla="*/ f2331 1 9586368"/>
              <a:gd name="f3768" fmla="*/ f2332 1 9586368"/>
              <a:gd name="f3769" fmla="*/ f2333 1 9586368"/>
              <a:gd name="f3770" fmla="*/ f2334 1 9586368"/>
              <a:gd name="f3771" fmla="*/ f2335 1 9586368"/>
              <a:gd name="f3772" fmla="*/ f2336 1 9586368"/>
              <a:gd name="f3773" fmla="*/ f2337 1 9586368"/>
              <a:gd name="f3774" fmla="*/ f2338 1 6479439"/>
              <a:gd name="f3775" fmla="*/ f2339 1 6479439"/>
              <a:gd name="f3776" fmla="*/ f2340 1 6479439"/>
              <a:gd name="f3777" fmla="*/ f2341 1 6479439"/>
              <a:gd name="f3778" fmla="*/ f2342 1 6479439"/>
              <a:gd name="f3779" fmla="*/ f2343 1 6479439"/>
              <a:gd name="f3780" fmla="*/ f2344 1 6479439"/>
              <a:gd name="f3781" fmla="*/ f2345 1 6479439"/>
              <a:gd name="f3782" fmla="*/ f2346 1 6479439"/>
              <a:gd name="f3783" fmla="*/ f2347 1 6479439"/>
              <a:gd name="f3784" fmla="*/ f2348 1 6479439"/>
              <a:gd name="f3785" fmla="*/ f2349 1 6479439"/>
              <a:gd name="f3786" fmla="*/ f2350 1 6479439"/>
              <a:gd name="f3787" fmla="*/ f2351 1 6479439"/>
              <a:gd name="f3788" fmla="*/ f2352 1 6479439"/>
              <a:gd name="f3789" fmla="*/ f2353 1 6479439"/>
              <a:gd name="f3790" fmla="*/ f2354 1 6479439"/>
              <a:gd name="f3791" fmla="*/ f2355 1 6479439"/>
              <a:gd name="f3792" fmla="*/ f2356 1 6479439"/>
              <a:gd name="f3793" fmla="*/ f2357 1 6479439"/>
              <a:gd name="f3794" fmla="*/ f2358 1 6479439"/>
              <a:gd name="f3795" fmla="*/ f2359 1 6479439"/>
              <a:gd name="f3796" fmla="*/ f2360 1 6479439"/>
              <a:gd name="f3797" fmla="*/ f2361 1 6479439"/>
              <a:gd name="f3798" fmla="*/ f2362 1 6479439"/>
              <a:gd name="f3799" fmla="*/ f2363 1 6479439"/>
              <a:gd name="f3800" fmla="*/ f2364 1 6479439"/>
              <a:gd name="f3801" fmla="*/ f2365 1 6479439"/>
              <a:gd name="f3802" fmla="*/ f2366 1 6479439"/>
              <a:gd name="f3803" fmla="*/ f2367 1 6479439"/>
              <a:gd name="f3804" fmla="*/ f2368 1 6479439"/>
              <a:gd name="f3805" fmla="*/ f2369 1 6479439"/>
              <a:gd name="f3806" fmla="*/ f2370 1 6479439"/>
              <a:gd name="f3807" fmla="*/ f2371 1 6479439"/>
              <a:gd name="f3808" fmla="*/ f2372 1 6479439"/>
              <a:gd name="f3809" fmla="*/ f2373 1 6479439"/>
              <a:gd name="f3810" fmla="*/ f2374 1 9586368"/>
              <a:gd name="f3811" fmla="*/ f2375 1 6479439"/>
              <a:gd name="f3812" fmla="*/ f2376 1 9586368"/>
              <a:gd name="f3813" fmla="*/ f2377 1 6479439"/>
              <a:gd name="f3814" fmla="*/ f2378 1 6479439"/>
              <a:gd name="f3815" fmla="*/ f2379 1 6479439"/>
              <a:gd name="f3816" fmla="*/ f2380 1 9586368"/>
              <a:gd name="f3817" fmla="*/ f2381 1 9586368"/>
              <a:gd name="f3818" fmla="*/ f2382 1 9586368"/>
              <a:gd name="f3819" fmla="*/ f2383 1 9586368"/>
              <a:gd name="f3820" fmla="*/ f2384 1 9586368"/>
              <a:gd name="f3821" fmla="*/ f2385 1 9586368"/>
              <a:gd name="f3822" fmla="*/ f2386 1 9586368"/>
              <a:gd name="f3823" fmla="*/ f2387 1 6479439"/>
              <a:gd name="f3824" fmla="*/ f2388 1 6479439"/>
              <a:gd name="f3825" fmla="*/ f2389 1 6479439"/>
              <a:gd name="f3826" fmla="*/ f2390 1 6479439"/>
              <a:gd name="f3827" fmla="*/ f2391 1 6479439"/>
              <a:gd name="f3828" fmla="*/ f2392 1 6479439"/>
              <a:gd name="f3829" fmla="*/ f2393 1 6479439"/>
              <a:gd name="f3830" fmla="*/ f2394 1 6479439"/>
              <a:gd name="f3831" fmla="*/ f2395 1 9586368"/>
              <a:gd name="f3832" fmla="*/ f2396 1 6479439"/>
              <a:gd name="f3833" fmla="*/ f2397 1 9586368"/>
              <a:gd name="f3834" fmla="*/ f2398 1 6479439"/>
              <a:gd name="f3835" fmla="*/ f2399 1 6479439"/>
              <a:gd name="f3836" fmla="*/ f2400 1 6479439"/>
              <a:gd name="f3837" fmla="*/ f2401 1 9586368"/>
              <a:gd name="f3838" fmla="*/ f2402 1 6479439"/>
              <a:gd name="f3839" fmla="*/ f2403 1 6479439"/>
              <a:gd name="f3840" fmla="*/ f2404 1 6479439"/>
              <a:gd name="f3841" fmla="*/ f2405 1 6479439"/>
              <a:gd name="f3842" fmla="*/ f2406 1 9586368"/>
              <a:gd name="f3843" fmla="*/ f2407 1 9586368"/>
              <a:gd name="f3844" fmla="*/ f2408 1 9586368"/>
              <a:gd name="f3845" fmla="*/ f2409 1 9586368"/>
              <a:gd name="f3846" fmla="*/ f2410 1 9586368"/>
              <a:gd name="f3847" fmla="*/ f2411 1 6479439"/>
              <a:gd name="f3848" fmla="*/ f2412 1 9586368"/>
              <a:gd name="f3849" fmla="*/ f2413 1 9586368"/>
              <a:gd name="f3850" fmla="*/ f2414 1 9586368"/>
              <a:gd name="f3851" fmla="*/ f2415 1 9586368"/>
              <a:gd name="f3852" fmla="*/ f2416 1 6479439"/>
              <a:gd name="f3853" fmla="*/ f2417 1 6479439"/>
              <a:gd name="f3854" fmla="*/ f2418 1 6479439"/>
              <a:gd name="f3855" fmla="*/ f2419 1 6479439"/>
              <a:gd name="f3856" fmla="*/ f2420 1 6479439"/>
              <a:gd name="f3857" fmla="*/ f2421 1 6479439"/>
              <a:gd name="f3858" fmla="*/ f2422 1 6479439"/>
              <a:gd name="f3859" fmla="*/ f2423 1 6479439"/>
              <a:gd name="f3860" fmla="*/ f2424 1 6479439"/>
              <a:gd name="f3861" fmla="*/ f2425 1 6479439"/>
              <a:gd name="f3862" fmla="*/ f2426 1 6479439"/>
              <a:gd name="f3863" fmla="*/ f2427 1 6479439"/>
              <a:gd name="f3864" fmla="*/ f2428 1 6479439"/>
              <a:gd name="f3865" fmla="*/ f2429 1 6479439"/>
              <a:gd name="f3866" fmla="*/ f2430 1 6479439"/>
              <a:gd name="f3867" fmla="*/ f2431 1 6479439"/>
              <a:gd name="f3868" fmla="*/ f2432 1 6479439"/>
              <a:gd name="f3869" fmla="*/ f2433 1 6479439"/>
              <a:gd name="f3870" fmla="*/ f2434 1 6479439"/>
              <a:gd name="f3871" fmla="*/ f2435 1 6479439"/>
              <a:gd name="f3872" fmla="*/ f2436 1 6479439"/>
              <a:gd name="f3873" fmla="*/ f2437 1 6479439"/>
              <a:gd name="f3874" fmla="*/ f2438 1 6479439"/>
              <a:gd name="f3875" fmla="*/ f2439 1 6479439"/>
              <a:gd name="f3876" fmla="*/ f2440 1 6479439"/>
              <a:gd name="f3877" fmla="*/ f2441 1 6479439"/>
              <a:gd name="f3878" fmla="*/ f2442 1 6479439"/>
              <a:gd name="f3879" fmla="*/ f2443 1 6479439"/>
              <a:gd name="f3880" fmla="*/ f2444 1 6479439"/>
              <a:gd name="f3881" fmla="*/ f2445 1 6479439"/>
              <a:gd name="f3882" fmla="*/ f2446 1 6479439"/>
              <a:gd name="f3883" fmla="*/ f2447 1 6479439"/>
              <a:gd name="f3884" fmla="*/ f2448 1 6479439"/>
              <a:gd name="f3885" fmla="*/ f2449 1 6479439"/>
              <a:gd name="f3886" fmla="*/ f2450 1 6479439"/>
              <a:gd name="f3887" fmla="*/ f2451 1 6479439"/>
              <a:gd name="f3888" fmla="*/ f2452 1 9586368"/>
              <a:gd name="f3889" fmla="*/ f2453 1 6479439"/>
              <a:gd name="f3890" fmla="*/ f2454 1 9586368"/>
              <a:gd name="f3891" fmla="*/ f2455 1 6479439"/>
              <a:gd name="f3892" fmla="*/ f2456 1 6479439"/>
              <a:gd name="f3893" fmla="*/ f2457 1 6479439"/>
              <a:gd name="f3894" fmla="*/ f2458 1 9586368"/>
              <a:gd name="f3895" fmla="*/ f2459 1 9586368"/>
              <a:gd name="f3896" fmla="*/ f2460 1 6479439"/>
              <a:gd name="f3897" fmla="*/ f2461 1 9586368"/>
              <a:gd name="f3898" fmla="*/ f2462 1 9586368"/>
              <a:gd name="f3899" fmla="*/ f2463 1 6479439"/>
              <a:gd name="f3900" fmla="*/ f2464 1 9586368"/>
              <a:gd name="f3901" fmla="*/ f2465 1 9586368"/>
              <a:gd name="f3902" fmla="*/ f2466 1 9586368"/>
              <a:gd name="f3903" fmla="*/ f2467 1 9586368"/>
              <a:gd name="f3904" fmla="*/ f2468 1 9586368"/>
              <a:gd name="f3905" fmla="*/ f2469 1 9586368"/>
              <a:gd name="f3906" fmla="*/ f2470 1 9586368"/>
              <a:gd name="f3907" fmla="*/ f2471 1 6479439"/>
              <a:gd name="f3908" fmla="*/ f2472 1 9586368"/>
              <a:gd name="f3909" fmla="*/ f2473 1 6479439"/>
              <a:gd name="f3910" fmla="*/ f2474 1 6479439"/>
              <a:gd name="f3911" fmla="*/ f2475 1 6479439"/>
              <a:gd name="f3912" fmla="*/ f2476 1 9586368"/>
              <a:gd name="f3913" fmla="*/ f2477 1 9586368"/>
              <a:gd name="f3914" fmla="*/ f2478 1 9586368"/>
              <a:gd name="f3915" fmla="*/ f2479 1 9586368"/>
              <a:gd name="f3916" fmla="*/ f2480 1 9586368"/>
              <a:gd name="f3917" fmla="*/ f2481 1 6479439"/>
              <a:gd name="f3918" fmla="*/ f2482 1 9586368"/>
              <a:gd name="f3919" fmla="*/ f2483 1 9586368"/>
              <a:gd name="f3920" fmla="*/ f2484 1 9586368"/>
              <a:gd name="f3921" fmla="*/ f2485 1 6479439"/>
              <a:gd name="f3922" fmla="*/ f2486 1 6479439"/>
              <a:gd name="f3923" fmla="*/ f2487 1 6479439"/>
              <a:gd name="f3924" fmla="*/ f2488 1 6479439"/>
              <a:gd name="f3925" fmla="*/ f2489 1 6479439"/>
              <a:gd name="f3926" fmla="*/ f2490 1 9586368"/>
              <a:gd name="f3927" fmla="*/ f2491 1 6479439"/>
              <a:gd name="f3928" fmla="*/ f2492 1 6479439"/>
              <a:gd name="f3929" fmla="*/ f2493 1 6479439"/>
              <a:gd name="f3930" fmla="*/ f2494 1 6479439"/>
              <a:gd name="f3931" fmla="*/ f2495 1 6479439"/>
              <a:gd name="f3932" fmla="*/ f2496 1 6479439"/>
              <a:gd name="f3933" fmla="*/ f2497 1 6479439"/>
              <a:gd name="f3934" fmla="*/ f2498 1 6479439"/>
              <a:gd name="f3935" fmla="*/ f2499 1 6479439"/>
              <a:gd name="f3936" fmla="*/ f2500 1 6479439"/>
              <a:gd name="f3937" fmla="*/ f2501 1 6479439"/>
              <a:gd name="f3938" fmla="*/ f2502 1 6479439"/>
              <a:gd name="f3939" fmla="*/ f2503 1 6479439"/>
              <a:gd name="f3940" fmla="*/ f2504 1 6479439"/>
              <a:gd name="f3941" fmla="*/ f2505 1 6479439"/>
              <a:gd name="f3942" fmla="*/ f2506 1 6479439"/>
              <a:gd name="f3943" fmla="*/ f2507 1 6479439"/>
              <a:gd name="f3944" fmla="*/ f2508 1 6479439"/>
              <a:gd name="f3945" fmla="*/ f2509 1 6479439"/>
              <a:gd name="f3946" fmla="*/ f2510 1 6479439"/>
              <a:gd name="f3947" fmla="*/ f2511 1 6479439"/>
              <a:gd name="f3948" fmla="*/ f2512 1 6479439"/>
              <a:gd name="f3949" fmla="*/ f2513 1 6479439"/>
              <a:gd name="f3950" fmla="*/ f2514 1 6479439"/>
              <a:gd name="f3951" fmla="*/ f2515 1 6479439"/>
              <a:gd name="f3952" fmla="*/ f2516 1 6479439"/>
              <a:gd name="f3953" fmla="*/ f2517 1 6479439"/>
              <a:gd name="f3954" fmla="*/ f2518 1 6479439"/>
              <a:gd name="f3955" fmla="*/ f2519 1 9586368"/>
              <a:gd name="f3956" fmla="*/ f2520 1 9586368"/>
              <a:gd name="f3957" fmla="*/ f2521 1 6479439"/>
              <a:gd name="f3958" fmla="*/ f2522 1 6479439"/>
              <a:gd name="f3959" fmla="*/ f2523 1 6479439"/>
              <a:gd name="f3960" fmla="*/ f2524 1 9586368"/>
              <a:gd name="f3961" fmla="*/ f2525 1 9586368"/>
              <a:gd name="f3962" fmla="*/ f2526 1 9586368"/>
              <a:gd name="f3963" fmla="*/ f2527 1 9586368"/>
              <a:gd name="f3964" fmla="*/ f2528 1 9586368"/>
              <a:gd name="f3965" fmla="*/ f2529 1 9586368"/>
              <a:gd name="f3966" fmla="*/ f2530 1 9586368"/>
              <a:gd name="f3967" fmla="*/ f2531 1 9586368"/>
              <a:gd name="f3968" fmla="*/ f2532 1 6479439"/>
              <a:gd name="f3969" fmla="*/ f2533 1 6479439"/>
              <a:gd name="f3970" fmla="*/ f2534 1 6479439"/>
              <a:gd name="f3971" fmla="*/ f2535 1 6479439"/>
              <a:gd name="f3972" fmla="*/ f2536 1 6479439"/>
              <a:gd name="f3973" fmla="*/ f2537 1 6479439"/>
              <a:gd name="f3974" fmla="*/ f2538 1 9586368"/>
              <a:gd name="f3975" fmla="*/ f2539 1 6479439"/>
              <a:gd name="f3976" fmla="*/ f2540 1 6479439"/>
              <a:gd name="f3977" fmla="*/ f2541 1 6479439"/>
              <a:gd name="f3978" fmla="*/ f2542 1 6479439"/>
              <a:gd name="f3979" fmla="*/ f2543 1 6479439"/>
              <a:gd name="f3980" fmla="*/ f2544 1 9586368"/>
              <a:gd name="f3981" fmla="*/ f2545 1 6479439"/>
              <a:gd name="f3982" fmla="*/ f2546 1 6479439"/>
              <a:gd name="f3983" fmla="*/ f2547 1 6479439"/>
              <a:gd name="f3984" fmla="*/ f2548 1 6479439"/>
              <a:gd name="f3985" fmla="*/ f2549 1 6479439"/>
              <a:gd name="f3986" fmla="*/ f2550 1 6479439"/>
              <a:gd name="f3987" fmla="*/ f2551 1 6479439"/>
              <a:gd name="f3988" fmla="*/ f2552 1 6479439"/>
              <a:gd name="f3989" fmla="*/ f2553 1 9586368"/>
              <a:gd name="f3990" fmla="*/ f2554 1 9586368"/>
              <a:gd name="f3991" fmla="*/ f2555 1 9586368"/>
              <a:gd name="f3992" fmla="*/ f2556 1 9586368"/>
              <a:gd name="f3993" fmla="*/ f2557 1 9586368"/>
              <a:gd name="f3994" fmla="*/ f2558 1 9586368"/>
              <a:gd name="f3995" fmla="*/ f2559 1 9586368"/>
              <a:gd name="f3996" fmla="*/ f2560 1 9586368"/>
              <a:gd name="f3997" fmla="*/ f2561 1 9586368"/>
              <a:gd name="f3998" fmla="*/ f2562 1 6479439"/>
              <a:gd name="f3999" fmla="*/ f2563 1 6479439"/>
              <a:gd name="f4000" fmla="*/ f2564 1 6479439"/>
              <a:gd name="f4001" fmla="*/ f2565 1 6479439"/>
              <a:gd name="f4002" fmla="*/ f2566 1 6479439"/>
              <a:gd name="f4003" fmla="*/ f2567 1 6479439"/>
              <a:gd name="f4004" fmla="*/ f2568 1 6479439"/>
              <a:gd name="f4005" fmla="*/ f2569 1 6479439"/>
              <a:gd name="f4006" fmla="*/ f2570 1 6479439"/>
              <a:gd name="f4007" fmla="*/ f2571 1 6479439"/>
              <a:gd name="f4008" fmla="*/ f2572 1 6479439"/>
              <a:gd name="f4009" fmla="*/ f2573 1 6479439"/>
              <a:gd name="f4010" fmla="*/ f2574 1 6479439"/>
              <a:gd name="f4011" fmla="*/ f2575 1 6479439"/>
              <a:gd name="f4012" fmla="*/ f2576 1 6479439"/>
              <a:gd name="f4013" fmla="*/ f2577 1 6479439"/>
              <a:gd name="f4014" fmla="*/ f2578 1 6479439"/>
              <a:gd name="f4015" fmla="*/ f2579 1 6479439"/>
              <a:gd name="f4016" fmla="*/ f2580 1 6479439"/>
              <a:gd name="f4017" fmla="*/ f2581 1 6479439"/>
              <a:gd name="f4018" fmla="*/ f2582 1 6479439"/>
              <a:gd name="f4019" fmla="*/ f2583 1 6479439"/>
              <a:gd name="f4020" fmla="*/ f2584 1 6479439"/>
              <a:gd name="f4021" fmla="*/ f2585 1 6479439"/>
              <a:gd name="f4022" fmla="*/ f2586 1 6479439"/>
              <a:gd name="f4023" fmla="*/ f2587 1 6479439"/>
              <a:gd name="f4024" fmla="*/ f2588 1 6479439"/>
              <a:gd name="f4025" fmla="*/ f2589 1 9586368"/>
              <a:gd name="f4026" fmla="*/ f2590 1 6479439"/>
              <a:gd name="f4027" fmla="*/ f2591 1 9586368"/>
              <a:gd name="f4028" fmla="*/ f2592 1 6479439"/>
              <a:gd name="f4029" fmla="*/ f2593 1 6479439"/>
              <a:gd name="f4030" fmla="*/ f2594 1 6479439"/>
              <a:gd name="f4031" fmla="*/ f2595 1 9586368"/>
              <a:gd name="f4032" fmla="*/ f2596 1 9586368"/>
              <a:gd name="f4033" fmla="*/ f2597 1 6479439"/>
              <a:gd name="f4034" fmla="*/ f2598 1 9586368"/>
              <a:gd name="f4035" fmla="*/ f2599 1 6479439"/>
              <a:gd name="f4036" fmla="*/ f2600 1 9586368"/>
              <a:gd name="f4037" fmla="*/ f2601 1 9586368"/>
              <a:gd name="f4038" fmla="*/ f2602 1 9586368"/>
              <a:gd name="f4039" fmla="*/ f2603 1 9586368"/>
              <a:gd name="f4040" fmla="*/ f2604 1 6479439"/>
              <a:gd name="f4041" fmla="*/ f2605 1 6479439"/>
              <a:gd name="f4042" fmla="*/ f2606 1 6479439"/>
              <a:gd name="f4043" fmla="*/ f2607 1 6479439"/>
              <a:gd name="f4044" fmla="*/ f2608 1 6479439"/>
              <a:gd name="f4045" fmla="*/ f2609 1 6479439"/>
              <a:gd name="f4046" fmla="*/ f2610 1 6479439"/>
              <a:gd name="f4047" fmla="*/ f2611 1 6479439"/>
              <a:gd name="f4048" fmla="*/ f2612 1 6479439"/>
              <a:gd name="f4049" fmla="*/ f2613 1 9586368"/>
              <a:gd name="f4050" fmla="*/ f2614 1 6479439"/>
              <a:gd name="f4051" fmla="*/ f2615 1 6479439"/>
              <a:gd name="f4052" fmla="*/ f2616 1 6479439"/>
              <a:gd name="f4053" fmla="*/ f2617 1 6479439"/>
              <a:gd name="f4054" fmla="*/ f2618 1 6479439"/>
              <a:gd name="f4055" fmla="*/ f2619 1 6479439"/>
              <a:gd name="f4056" fmla="*/ f2620 1 6479439"/>
              <a:gd name="f4057" fmla="*/ f2621 1 6479439"/>
              <a:gd name="f4058" fmla="*/ f2622 1 9586368"/>
              <a:gd name="f4059" fmla="*/ f2623 1 9586368"/>
              <a:gd name="f4060" fmla="*/ f2624 1 6479439"/>
              <a:gd name="f4061" fmla="*/ f2625 1 6479439"/>
              <a:gd name="f4062" fmla="*/ f2626 1 6479439"/>
              <a:gd name="f4063" fmla="*/ f2627 1 9586368"/>
              <a:gd name="f4064" fmla="*/ f2628 1 6479439"/>
              <a:gd name="f4065" fmla="*/ f2629 1 6479439"/>
              <a:gd name="f4066" fmla="*/ f2630 1 9586368"/>
              <a:gd name="f4067" fmla="*/ f2631 1 9586368"/>
              <a:gd name="f4068" fmla="*/ f2632 1 9586368"/>
              <a:gd name="f4069" fmla="*/ f2633 1 9586368"/>
              <a:gd name="f4070" fmla="*/ f2634 1 9586368"/>
              <a:gd name="f4071" fmla="*/ f2635 1 9586368"/>
              <a:gd name="f4072" fmla="*/ f2636 1 9586368"/>
              <a:gd name="f4073" fmla="*/ f2637 1 6479439"/>
              <a:gd name="f4074" fmla="*/ f2638 1 6479439"/>
              <a:gd name="f4075" fmla="*/ f2639 1 6479439"/>
              <a:gd name="f4076" fmla="*/ f2640 1 6479439"/>
              <a:gd name="f4077" fmla="*/ f2641 1 6479439"/>
              <a:gd name="f4078" fmla="*/ f2642 1 6479439"/>
              <a:gd name="f4079" fmla="*/ f2643 1 6479439"/>
              <a:gd name="f4080" fmla="*/ f2644 1 6479439"/>
              <a:gd name="f4081" fmla="*/ f2645 1 6479439"/>
              <a:gd name="f4082" fmla="*/ f2646 1 6479439"/>
              <a:gd name="f4083" fmla="*/ f2647 1 6479439"/>
              <a:gd name="f4084" fmla="*/ f2648 1 6479439"/>
              <a:gd name="f4085" fmla="*/ f2649 1 6479439"/>
              <a:gd name="f4086" fmla="*/ f2650 1 6479439"/>
              <a:gd name="f4087" fmla="*/ f2651 1 6479439"/>
              <a:gd name="f4088" fmla="*/ f2652 1 6479439"/>
              <a:gd name="f4089" fmla="*/ f2653 1 6479439"/>
              <a:gd name="f4090" fmla="*/ f2654 1 6479439"/>
              <a:gd name="f4091" fmla="*/ f2655 1 6479439"/>
              <a:gd name="f4092" fmla="*/ f2656 1 6479439"/>
              <a:gd name="f4093" fmla="*/ f2657 1 6479439"/>
              <a:gd name="f4094" fmla="*/ f2658 1 6479439"/>
              <a:gd name="f4095" fmla="*/ f2659 1 6479439"/>
              <a:gd name="f4096" fmla="*/ f2660 1 6479439"/>
              <a:gd name="f4097" fmla="*/ f2661 1 6479439"/>
              <a:gd name="f4098" fmla="*/ f2662 1 6479439"/>
              <a:gd name="f4099" fmla="*/ f2663 1 6479439"/>
              <a:gd name="f4100" fmla="*/ f2664 1 6479439"/>
              <a:gd name="f4101" fmla="*/ f2665 1 6479439"/>
              <a:gd name="f4102" fmla="*/ f2666 1 6479439"/>
              <a:gd name="f4103" fmla="*/ f2667 1 6479439"/>
              <a:gd name="f4104" fmla="*/ f2668 1 6479439"/>
              <a:gd name="f4105" fmla="*/ f2669 1 6479439"/>
              <a:gd name="f4106" fmla="*/ f2670 1 9586368"/>
              <a:gd name="f4107" fmla="*/ f2671 1 6479439"/>
              <a:gd name="f4108" fmla="*/ f2672 1 9586368"/>
              <a:gd name="f4109" fmla="*/ f2673 1 9586368"/>
              <a:gd name="f4110" fmla="*/ f2674 1 6479439"/>
              <a:gd name="f4111" fmla="*/ f2675 1 6479439"/>
              <a:gd name="f4112" fmla="*/ f2676 1 6479439"/>
              <a:gd name="f4113" fmla="*/ f2677 1 9586368"/>
              <a:gd name="f4114" fmla="*/ f2678 1 9586368"/>
              <a:gd name="f4115" fmla="*/ f2679 1 9586368"/>
              <a:gd name="f4116" fmla="*/ f2680 1 9586368"/>
              <a:gd name="f4117" fmla="*/ f2681 1 9586368"/>
              <a:gd name="f4118" fmla="*/ f2682 1 9586368"/>
              <a:gd name="f4119" fmla="*/ f2683 1 9586368"/>
              <a:gd name="f4120" fmla="*/ f2684 1 9586368"/>
              <a:gd name="f4121" fmla="*/ f2685 1 9586368"/>
              <a:gd name="f4122" fmla="*/ f2686 1 9586368"/>
              <a:gd name="f4123" fmla="*/ f2687 1 6479439"/>
              <a:gd name="f4124" fmla="*/ f2688 1 9586368"/>
              <a:gd name="f4125" fmla="*/ f2689 1 6479439"/>
              <a:gd name="f4126" fmla="*/ f2690 1 6479439"/>
              <a:gd name="f4127" fmla="*/ f2691 1 6479439"/>
              <a:gd name="f4128" fmla="*/ f2692 1 9586368"/>
              <a:gd name="f4129" fmla="*/ f2693 1 9586368"/>
              <a:gd name="f4130" fmla="*/ f2694 1 9586368"/>
              <a:gd name="f4131" fmla="*/ f2695 1 9586368"/>
              <a:gd name="f4132" fmla="*/ f2696 1 6479439"/>
              <a:gd name="f4133" fmla="*/ f2697 1 9586368"/>
              <a:gd name="f4134" fmla="*/ f2698 1 9586368"/>
              <a:gd name="f4135" fmla="*/ f2699 1 9586368"/>
              <a:gd name="f4136" fmla="*/ f2700 1 9586368"/>
              <a:gd name="f4137" fmla="*/ f2701 1 6479439"/>
              <a:gd name="f4138" fmla="*/ f2702 1 9586368"/>
              <a:gd name="f4139" fmla="*/ f2703 1 6479439"/>
              <a:gd name="f4140" fmla="*/ f2704 1 6479439"/>
              <a:gd name="f4141" fmla="*/ f2705 1 6479439"/>
              <a:gd name="f4142" fmla="*/ f2706 1 6479439"/>
              <a:gd name="f4143" fmla="*/ f2707 1 9586368"/>
              <a:gd name="f4144" fmla="*/ f2708 1 6479439"/>
              <a:gd name="f4145" fmla="*/ f2709 1 6479439"/>
              <a:gd name="f4146" fmla="*/ f2710 1 6479439"/>
              <a:gd name="f4147" fmla="*/ f2711 1 6479439"/>
              <a:gd name="f4148" fmla="*/ f2712 1 6479439"/>
              <a:gd name="f4149" fmla="*/ f2713 1 6479439"/>
              <a:gd name="f4150" fmla="*/ f2714 1 6479439"/>
              <a:gd name="f4151" fmla="*/ f2715 1 6479439"/>
              <a:gd name="f4152" fmla="*/ f2716 1 6479439"/>
              <a:gd name="f4153" fmla="*/ f2717 1 6479439"/>
              <a:gd name="f4154" fmla="*/ f2718 1 6479439"/>
              <a:gd name="f4155" fmla="*/ f2719 1 6479439"/>
              <a:gd name="f4156" fmla="*/ f2720 1 6479439"/>
              <a:gd name="f4157" fmla="*/ f2721 1 6479439"/>
              <a:gd name="f4158" fmla="*/ f2722 1 6479439"/>
              <a:gd name="f4159" fmla="*/ f2723 1 6479439"/>
              <a:gd name="f4160" fmla="*/ f2724 1 6479439"/>
              <a:gd name="f4161" fmla="*/ f2725 1 6479439"/>
              <a:gd name="f4162" fmla="*/ f2726 1 6479439"/>
              <a:gd name="f4163" fmla="*/ f2727 1 6479439"/>
              <a:gd name="f4164" fmla="*/ f2728 1 6479439"/>
              <a:gd name="f4165" fmla="*/ f2729 1 6479439"/>
              <a:gd name="f4166" fmla="*/ f2730 1 6479439"/>
              <a:gd name="f4167" fmla="*/ f2731 1 6479439"/>
              <a:gd name="f4168" fmla="*/ f2732 1 6479439"/>
              <a:gd name="f4169" fmla="*/ f2733 1 6479439"/>
              <a:gd name="f4170" fmla="*/ f2734 1 6479439"/>
              <a:gd name="f4171" fmla="*/ f2735 1 6479439"/>
              <a:gd name="f4172" fmla="*/ f2736 1 6479439"/>
              <a:gd name="f4173" fmla="*/ f2737 1 9586368"/>
              <a:gd name="f4174" fmla="*/ f2738 1 9586368"/>
              <a:gd name="f4175" fmla="*/ f2739 1 6479439"/>
              <a:gd name="f4176" fmla="*/ f2740 1 6479439"/>
              <a:gd name="f4177" fmla="*/ f2741 1 6479439"/>
              <a:gd name="f4178" fmla="*/ f2742 1 9586368"/>
              <a:gd name="f4179" fmla="*/ f2743 1 9586368"/>
              <a:gd name="f4180" fmla="*/ f2744 1 9586368"/>
              <a:gd name="f4181" fmla="*/ f2745 1 9586368"/>
              <a:gd name="f4182" fmla="*/ f2746 1 9586368"/>
              <a:gd name="f4183" fmla="*/ f2747 1 9586368"/>
              <a:gd name="f4184" fmla="*/ f2748 1 9586368"/>
              <a:gd name="f4185" fmla="*/ f2749 1 9586368"/>
              <a:gd name="f4186" fmla="*/ f2750 1 6479439"/>
              <a:gd name="f4187" fmla="*/ f2751 1 6479439"/>
              <a:gd name="f4188" fmla="*/ f2752 1 6479439"/>
              <a:gd name="f4189" fmla="*/ f2753 1 6479439"/>
              <a:gd name="f4190" fmla="*/ f2754 1 6479439"/>
              <a:gd name="f4191" fmla="*/ f2755 1 6479439"/>
              <a:gd name="f4192" fmla="*/ f2756 1 6479439"/>
              <a:gd name="f4193" fmla="*/ f2757 1 6479439"/>
              <a:gd name="f4194" fmla="*/ f2758 1 6479439"/>
              <a:gd name="f4195" fmla="*/ f2759 1 6479439"/>
              <a:gd name="f4196" fmla="*/ f2760 1 6479439"/>
              <a:gd name="f4197" fmla="*/ f2761 1 6479439"/>
              <a:gd name="f4198" fmla="*/ f2762 1 9586368"/>
              <a:gd name="f4199" fmla="*/ f2763 1 6479439"/>
              <a:gd name="f4200" fmla="*/ f2764 1 6479439"/>
              <a:gd name="f4201" fmla="*/ f2765 1 6479439"/>
              <a:gd name="f4202" fmla="*/ f2766 1 6479439"/>
              <a:gd name="f4203" fmla="*/ f2767 1 6479439"/>
              <a:gd name="f4204" fmla="*/ f2768 1 6479439"/>
              <a:gd name="f4205" fmla="*/ f2769 1 6479439"/>
              <a:gd name="f4206" fmla="*/ f2770 1 6479439"/>
              <a:gd name="f4207" fmla="*/ f2771 1 6479439"/>
              <a:gd name="f4208" fmla="*/ f2772 1 9586368"/>
              <a:gd name="f4209" fmla="*/ f2773 1 9586368"/>
              <a:gd name="f4210" fmla="*/ f2774 1 6479439"/>
              <a:gd name="f4211" fmla="*/ f2775 1 6479439"/>
              <a:gd name="f4212" fmla="*/ f2776 1 6479439"/>
              <a:gd name="f4213" fmla="*/ f2777 1 9586368"/>
              <a:gd name="f4214" fmla="*/ f2778 1 9586368"/>
              <a:gd name="f4215" fmla="*/ f2779 1 9586368"/>
              <a:gd name="f4216" fmla="*/ f2780 1 9586368"/>
              <a:gd name="f4217" fmla="*/ f2781 1 9586368"/>
              <a:gd name="f4218" fmla="*/ f2782 1 9586368"/>
              <a:gd name="f4219" fmla="*/ f2783 1 9586368"/>
              <a:gd name="f4220" fmla="*/ f2784 1 9586368"/>
              <a:gd name="f4221" fmla="*/ f2785 1 6479439"/>
              <a:gd name="f4222" fmla="*/ f2786 1 6479439"/>
              <a:gd name="f4223" fmla="*/ f2787 1 6479439"/>
              <a:gd name="f4224" fmla="*/ f2788 1 6479439"/>
              <a:gd name="f4225" fmla="*/ f2789 1 6479439"/>
              <a:gd name="f4226" fmla="*/ f2790 1 6479439"/>
              <a:gd name="f4227" fmla="*/ f2791 1 6479439"/>
              <a:gd name="f4228" fmla="*/ f2792 1 6479439"/>
              <a:gd name="f4229" fmla="*/ f2793 1 6479439"/>
              <a:gd name="f4230" fmla="*/ f2794 1 6479439"/>
              <a:gd name="f4231" fmla="*/ f2795 1 6479439"/>
              <a:gd name="f4232" fmla="*/ f2796 1 6479439"/>
              <a:gd name="f4233" fmla="*/ f2797 1 6479439"/>
              <a:gd name="f4234" fmla="*/ f2798 1 6479439"/>
              <a:gd name="f4235" fmla="*/ f2799 1 6479439"/>
              <a:gd name="f4236" fmla="*/ f2800 1 6479439"/>
              <a:gd name="f4237" fmla="*/ f2801 1 6479439"/>
              <a:gd name="f4238" fmla="*/ f2802 1 6479439"/>
              <a:gd name="f4239" fmla="*/ f2803 1 6479439"/>
              <a:gd name="f4240" fmla="*/ f2804 1 6479439"/>
              <a:gd name="f4241" fmla="*/ f2805 1 6479439"/>
              <a:gd name="f4242" fmla="*/ f2806 1 6479439"/>
              <a:gd name="f4243" fmla="*/ f2807 1 6479439"/>
              <a:gd name="f4244" fmla="*/ f2808 1 6479439"/>
              <a:gd name="f4245" fmla="*/ f2809 1 6479439"/>
              <a:gd name="f4246" fmla="*/ f2810 1 6479439"/>
              <a:gd name="f4247" fmla="*/ f2811 1 6479439"/>
              <a:gd name="f4248" fmla="*/ f2812 1 6479439"/>
              <a:gd name="f4249" fmla="*/ f2813 1 6479439"/>
              <a:gd name="f4250" fmla="*/ f2814 1 6479439"/>
              <a:gd name="f4251" fmla="*/ f2815 1 6479439"/>
              <a:gd name="f4252" fmla="*/ f2816 1 6479439"/>
              <a:gd name="f4253" fmla="*/ f2817 1 6479439"/>
              <a:gd name="f4254" fmla="*/ f2818 1 6479439"/>
              <a:gd name="f4255" fmla="*/ f2819 1 6479439"/>
              <a:gd name="f4256" fmla="*/ f2820 1 6479439"/>
              <a:gd name="f4257" fmla="*/ f2821 1 6479439"/>
              <a:gd name="f4258" fmla="*/ f2822 1 9586368"/>
              <a:gd name="f4259" fmla="*/ f2823 1 9586368"/>
              <a:gd name="f4260" fmla="*/ f2824 1 9586368"/>
              <a:gd name="f4261" fmla="*/ f2825 1 9586368"/>
              <a:gd name="f4262" fmla="*/ f2826 1 9586368"/>
              <a:gd name="f4263" fmla="*/ f2827 1 6479439"/>
              <a:gd name="f4264" fmla="*/ f2828 1 6479439"/>
              <a:gd name="f4265" fmla="*/ f2829 1 6479439"/>
              <a:gd name="f4266" fmla="*/ f2830 1 9586368"/>
              <a:gd name="f4267" fmla="*/ f2831 1 9586368"/>
              <a:gd name="f4268" fmla="*/ f2832 1 9586368"/>
              <a:gd name="f4269" fmla="*/ f2833 1 9586368"/>
              <a:gd name="f4270" fmla="*/ f2834 1 9586368"/>
              <a:gd name="f4271" fmla="*/ f2835 1 9586368"/>
              <a:gd name="f4272" fmla="*/ f2836 1 9586368"/>
              <a:gd name="f4273" fmla="*/ f2837 1 6479439"/>
              <a:gd name="f4274" fmla="*/ f2838 1 6479439"/>
              <a:gd name="f4275" fmla="*/ f2839 1 6479439"/>
              <a:gd name="f4276" fmla="*/ f2840 1 6479439"/>
              <a:gd name="f4277" fmla="*/ f2841 1 9586368"/>
              <a:gd name="f4278" fmla="*/ f2842 1 6479439"/>
              <a:gd name="f4279" fmla="*/ f2843 1 6479439"/>
              <a:gd name="f4280" fmla="*/ f2844 1 6479439"/>
              <a:gd name="f4281" fmla="*/ f2845 1 6479439"/>
              <a:gd name="f4282" fmla="*/ f2846 1 6479439"/>
              <a:gd name="f4283" fmla="*/ f2847 1 9586368"/>
              <a:gd name="f4284" fmla="*/ f2848 1 6479439"/>
              <a:gd name="f4285" fmla="*/ f2849 1 6479439"/>
              <a:gd name="f4286" fmla="*/ f2850 1 6479439"/>
              <a:gd name="f4287" fmla="*/ f2851 1 6479439"/>
              <a:gd name="f4288" fmla="*/ f2852 1 9586368"/>
              <a:gd name="f4289" fmla="*/ f2853 1 9586368"/>
              <a:gd name="f4290" fmla="*/ f2854 1 9586368"/>
              <a:gd name="f4291" fmla="*/ f2855 1 9586368"/>
              <a:gd name="f4292" fmla="*/ f2856 1 9586368"/>
              <a:gd name="f4293" fmla="*/ f2857 1 9586368"/>
              <a:gd name="f4294" fmla="*/ f2858 1 9586368"/>
              <a:gd name="f4295" fmla="*/ f5 1 f1422"/>
              <a:gd name="f4296" fmla="*/ f6 1 f1422"/>
              <a:gd name="f4297" fmla="*/ f5 1 f1423"/>
              <a:gd name="f4298" fmla="*/ f7 1 f1423"/>
              <a:gd name="f4299" fmla="+- f2859 0 f1"/>
              <a:gd name="f4300" fmla="*/ f2860 1 f1422"/>
              <a:gd name="f4301" fmla="*/ f2861 1 f1423"/>
              <a:gd name="f4302" fmla="*/ f2862 1 f1422"/>
              <a:gd name="f4303" fmla="*/ f2863 1 f1422"/>
              <a:gd name="f4304" fmla="*/ f2864 1 f1423"/>
              <a:gd name="f4305" fmla="*/ f2865 1 f1423"/>
              <a:gd name="f4306" fmla="*/ f2866 1 f1423"/>
              <a:gd name="f4307" fmla="*/ f2867 1 f1422"/>
              <a:gd name="f4308" fmla="*/ f2868 1 f1422"/>
              <a:gd name="f4309" fmla="*/ f2869 1 f1422"/>
              <a:gd name="f4310" fmla="*/ f2870 1 f1422"/>
              <a:gd name="f4311" fmla="*/ f2871 1 f1422"/>
              <a:gd name="f4312" fmla="*/ f2872 1 f1422"/>
              <a:gd name="f4313" fmla="*/ f2873 1 f1422"/>
              <a:gd name="f4314" fmla="*/ f2874 1 f1422"/>
              <a:gd name="f4315" fmla="*/ f2875 1 f1422"/>
              <a:gd name="f4316" fmla="*/ f2876 1 f1422"/>
              <a:gd name="f4317" fmla="*/ f2877 1 f1422"/>
              <a:gd name="f4318" fmla="*/ f2878 1 f1422"/>
              <a:gd name="f4319" fmla="*/ f2879 1 f1422"/>
              <a:gd name="f4320" fmla="*/ f2880 1 f1422"/>
              <a:gd name="f4321" fmla="*/ f2881 1 f1422"/>
              <a:gd name="f4322" fmla="*/ f2882 1 f1422"/>
              <a:gd name="f4323" fmla="*/ f2883 1 f1422"/>
              <a:gd name="f4324" fmla="*/ f2884 1 f1422"/>
              <a:gd name="f4325" fmla="*/ f2885 1 f1422"/>
              <a:gd name="f4326" fmla="*/ f2886 1 f1422"/>
              <a:gd name="f4327" fmla="*/ f2887 1 f1422"/>
              <a:gd name="f4328" fmla="*/ f2888 1 f1422"/>
              <a:gd name="f4329" fmla="*/ f2889 1 f1423"/>
              <a:gd name="f4330" fmla="*/ f2890 1 f1422"/>
              <a:gd name="f4331" fmla="*/ f2891 1 f1422"/>
              <a:gd name="f4332" fmla="*/ f2892 1 f1423"/>
              <a:gd name="f4333" fmla="*/ f2893 1 f1423"/>
              <a:gd name="f4334" fmla="*/ f2894 1 f1423"/>
              <a:gd name="f4335" fmla="*/ f2895 1 f1422"/>
              <a:gd name="f4336" fmla="*/ f2896 1 f1422"/>
              <a:gd name="f4337" fmla="*/ f2897 1 f1422"/>
              <a:gd name="f4338" fmla="*/ f2898 1 f1422"/>
              <a:gd name="f4339" fmla="*/ f2899 1 f1422"/>
              <a:gd name="f4340" fmla="*/ f2900 1 f1422"/>
              <a:gd name="f4341" fmla="*/ f2901 1 f1422"/>
              <a:gd name="f4342" fmla="*/ f2902 1 f1422"/>
              <a:gd name="f4343" fmla="*/ f2903 1 f1422"/>
              <a:gd name="f4344" fmla="*/ f2904 1 f1422"/>
              <a:gd name="f4345" fmla="*/ f2905 1 f1422"/>
              <a:gd name="f4346" fmla="*/ f2906 1 f1422"/>
              <a:gd name="f4347" fmla="*/ f2907 1 f1422"/>
              <a:gd name="f4348" fmla="*/ f2908 1 f1422"/>
              <a:gd name="f4349" fmla="*/ f2909 1 f1422"/>
              <a:gd name="f4350" fmla="*/ f2910 1 f1422"/>
              <a:gd name="f4351" fmla="*/ f2911 1 f1422"/>
              <a:gd name="f4352" fmla="*/ f2912 1 f1422"/>
              <a:gd name="f4353" fmla="*/ f2913 1 f1422"/>
              <a:gd name="f4354" fmla="*/ f2914 1 f1422"/>
              <a:gd name="f4355" fmla="*/ f2915 1 f1422"/>
              <a:gd name="f4356" fmla="*/ f2916 1 f1422"/>
              <a:gd name="f4357" fmla="*/ f2917 1 f1422"/>
              <a:gd name="f4358" fmla="*/ f2918 1 f1422"/>
              <a:gd name="f4359" fmla="*/ f2919 1 f1422"/>
              <a:gd name="f4360" fmla="*/ f2920 1 f1422"/>
              <a:gd name="f4361" fmla="*/ f2921 1 f1422"/>
              <a:gd name="f4362" fmla="*/ f2922 1 f1422"/>
              <a:gd name="f4363" fmla="*/ f2923 1 f1422"/>
              <a:gd name="f4364" fmla="*/ f2924 1 f1422"/>
              <a:gd name="f4365" fmla="*/ f2925 1 f1422"/>
              <a:gd name="f4366" fmla="*/ f2926 1 f1422"/>
              <a:gd name="f4367" fmla="*/ f2927 1 f1422"/>
              <a:gd name="f4368" fmla="*/ f2928 1 f1422"/>
              <a:gd name="f4369" fmla="*/ f2929 1 f1422"/>
              <a:gd name="f4370" fmla="*/ f2930 1 f1422"/>
              <a:gd name="f4371" fmla="*/ f2931 1 f1422"/>
              <a:gd name="f4372" fmla="*/ f2932 1 f1422"/>
              <a:gd name="f4373" fmla="*/ f2933 1 f1422"/>
              <a:gd name="f4374" fmla="*/ f2934 1 f1422"/>
              <a:gd name="f4375" fmla="*/ f2935 1 f1422"/>
              <a:gd name="f4376" fmla="*/ f2936 1 f1422"/>
              <a:gd name="f4377" fmla="*/ f2937 1 f1422"/>
              <a:gd name="f4378" fmla="*/ f2938 1 f1422"/>
              <a:gd name="f4379" fmla="*/ f2939 1 f1422"/>
              <a:gd name="f4380" fmla="*/ f2940 1 f1422"/>
              <a:gd name="f4381" fmla="*/ f2941 1 f1422"/>
              <a:gd name="f4382" fmla="*/ f2942 1 f1422"/>
              <a:gd name="f4383" fmla="*/ f2943 1 f1422"/>
              <a:gd name="f4384" fmla="*/ f2944 1 f1422"/>
              <a:gd name="f4385" fmla="*/ f2945 1 f1422"/>
              <a:gd name="f4386" fmla="*/ f2946 1 f1422"/>
              <a:gd name="f4387" fmla="*/ f2947 1 f1422"/>
              <a:gd name="f4388" fmla="*/ f2948 1 f1422"/>
              <a:gd name="f4389" fmla="*/ f2949 1 f1422"/>
              <a:gd name="f4390" fmla="*/ f2950 1 f1422"/>
              <a:gd name="f4391" fmla="*/ f2951 1 f1422"/>
              <a:gd name="f4392" fmla="*/ f2952 1 f1422"/>
              <a:gd name="f4393" fmla="*/ f2953 1 f1422"/>
              <a:gd name="f4394" fmla="*/ f2954 1 f1422"/>
              <a:gd name="f4395" fmla="*/ f2955 1 f1422"/>
              <a:gd name="f4396" fmla="*/ f2956 1 f1422"/>
              <a:gd name="f4397" fmla="*/ f2957 1 f1422"/>
              <a:gd name="f4398" fmla="*/ f2958 1 f1422"/>
              <a:gd name="f4399" fmla="*/ f2959 1 f1422"/>
              <a:gd name="f4400" fmla="*/ f2960 1 f1422"/>
              <a:gd name="f4401" fmla="*/ f2961 1 f1422"/>
              <a:gd name="f4402" fmla="*/ f2962 1 f1422"/>
              <a:gd name="f4403" fmla="*/ f2963 1 f1422"/>
              <a:gd name="f4404" fmla="*/ f2964 1 f1422"/>
              <a:gd name="f4405" fmla="*/ f2965 1 f1422"/>
              <a:gd name="f4406" fmla="*/ f2966 1 f1422"/>
              <a:gd name="f4407" fmla="*/ f2967 1 f1422"/>
              <a:gd name="f4408" fmla="*/ f2968 1 f1422"/>
              <a:gd name="f4409" fmla="*/ f2969 1 f1422"/>
              <a:gd name="f4410" fmla="*/ f2970 1 f1422"/>
              <a:gd name="f4411" fmla="*/ f2971 1 f1422"/>
              <a:gd name="f4412" fmla="*/ f2972 1 f1422"/>
              <a:gd name="f4413" fmla="*/ f2973 1 f1422"/>
              <a:gd name="f4414" fmla="*/ f2974 1 f1422"/>
              <a:gd name="f4415" fmla="*/ f2975 1 f1422"/>
              <a:gd name="f4416" fmla="*/ f2976 1 f1422"/>
              <a:gd name="f4417" fmla="*/ f2977 1 f1422"/>
              <a:gd name="f4418" fmla="*/ f2978 1 f1422"/>
              <a:gd name="f4419" fmla="*/ f2979 1 f1422"/>
              <a:gd name="f4420" fmla="*/ f2980 1 f1422"/>
              <a:gd name="f4421" fmla="*/ f2981 1 f1422"/>
              <a:gd name="f4422" fmla="*/ f2982 1 f1422"/>
              <a:gd name="f4423" fmla="*/ f2983 1 f1422"/>
              <a:gd name="f4424" fmla="*/ f2984 1 f1422"/>
              <a:gd name="f4425" fmla="*/ f2985 1 f1422"/>
              <a:gd name="f4426" fmla="*/ f2986 1 f1422"/>
              <a:gd name="f4427" fmla="*/ f2987 1 f1422"/>
              <a:gd name="f4428" fmla="*/ f2988 1 f1422"/>
              <a:gd name="f4429" fmla="*/ f2989 1 f1422"/>
              <a:gd name="f4430" fmla="*/ f2990 1 f1422"/>
              <a:gd name="f4431" fmla="*/ f2991 1 f1422"/>
              <a:gd name="f4432" fmla="*/ f2992 1 f1422"/>
              <a:gd name="f4433" fmla="*/ f2993 1 f1422"/>
              <a:gd name="f4434" fmla="*/ f2994 1 f1422"/>
              <a:gd name="f4435" fmla="*/ f2995 1 f1422"/>
              <a:gd name="f4436" fmla="*/ f2996 1 f1422"/>
              <a:gd name="f4437" fmla="*/ f2997 1 f1422"/>
              <a:gd name="f4438" fmla="*/ f2998 1 f1422"/>
              <a:gd name="f4439" fmla="*/ f2999 1 f1422"/>
              <a:gd name="f4440" fmla="*/ f3000 1 f1422"/>
              <a:gd name="f4441" fmla="*/ f3001 1 f1422"/>
              <a:gd name="f4442" fmla="*/ f3002 1 f1422"/>
              <a:gd name="f4443" fmla="*/ f3003 1 f1422"/>
              <a:gd name="f4444" fmla="*/ f3004 1 f1422"/>
              <a:gd name="f4445" fmla="*/ f3005 1 f1422"/>
              <a:gd name="f4446" fmla="*/ f3006 1 f1422"/>
              <a:gd name="f4447" fmla="*/ f3007 1 f1422"/>
              <a:gd name="f4448" fmla="*/ f3008 1 f1422"/>
              <a:gd name="f4449" fmla="*/ f3009 1 f1422"/>
              <a:gd name="f4450" fmla="*/ f3010 1 f1422"/>
              <a:gd name="f4451" fmla="*/ f3011 1 f1422"/>
              <a:gd name="f4452" fmla="*/ f3012 1 f1422"/>
              <a:gd name="f4453" fmla="*/ f3013 1 f1422"/>
              <a:gd name="f4454" fmla="*/ f3014 1 f1422"/>
              <a:gd name="f4455" fmla="*/ f3015 1 f1422"/>
              <a:gd name="f4456" fmla="*/ f3016 1 f1422"/>
              <a:gd name="f4457" fmla="*/ f3017 1 f1422"/>
              <a:gd name="f4458" fmla="*/ f3018 1 f1422"/>
              <a:gd name="f4459" fmla="*/ f3019 1 f1422"/>
              <a:gd name="f4460" fmla="*/ f3020 1 f1422"/>
              <a:gd name="f4461" fmla="*/ f3021 1 f1422"/>
              <a:gd name="f4462" fmla="*/ f3022 1 f1422"/>
              <a:gd name="f4463" fmla="*/ f3023 1 f1422"/>
              <a:gd name="f4464" fmla="*/ f3024 1 f1422"/>
              <a:gd name="f4465" fmla="*/ f3025 1 f1422"/>
              <a:gd name="f4466" fmla="*/ f3026 1 f1422"/>
              <a:gd name="f4467" fmla="*/ f3027 1 f1422"/>
              <a:gd name="f4468" fmla="*/ f3028 1 f1422"/>
              <a:gd name="f4469" fmla="*/ f3029 1 f1422"/>
              <a:gd name="f4470" fmla="*/ f3030 1 f1422"/>
              <a:gd name="f4471" fmla="*/ f3031 1 f1422"/>
              <a:gd name="f4472" fmla="*/ f3032 1 f1423"/>
              <a:gd name="f4473" fmla="*/ f3033 1 f1423"/>
              <a:gd name="f4474" fmla="*/ f3034 1 f1423"/>
              <a:gd name="f4475" fmla="*/ f3035 1 f1423"/>
              <a:gd name="f4476" fmla="*/ f3036 1 f1422"/>
              <a:gd name="f4477" fmla="*/ f3037 1 f1422"/>
              <a:gd name="f4478" fmla="*/ f3038 1 f1422"/>
              <a:gd name="f4479" fmla="*/ f3039 1 f1422"/>
              <a:gd name="f4480" fmla="*/ f3040 1 f1422"/>
              <a:gd name="f4481" fmla="*/ f3041 1 f1422"/>
              <a:gd name="f4482" fmla="*/ f3042 1 f1422"/>
              <a:gd name="f4483" fmla="*/ f3043 1 f1422"/>
              <a:gd name="f4484" fmla="*/ f3044 1 f1422"/>
              <a:gd name="f4485" fmla="*/ f3045 1 f1422"/>
              <a:gd name="f4486" fmla="*/ f3046 1 f1422"/>
              <a:gd name="f4487" fmla="*/ f3047 1 f1422"/>
              <a:gd name="f4488" fmla="*/ f3048 1 f1422"/>
              <a:gd name="f4489" fmla="*/ f3049 1 f1422"/>
              <a:gd name="f4490" fmla="*/ f3050 1 f1422"/>
              <a:gd name="f4491" fmla="*/ f3051 1 f1422"/>
              <a:gd name="f4492" fmla="*/ f3052 1 f1422"/>
              <a:gd name="f4493" fmla="*/ f3053 1 f1422"/>
              <a:gd name="f4494" fmla="*/ f3054 1 f1422"/>
              <a:gd name="f4495" fmla="*/ f3055 1 f1422"/>
              <a:gd name="f4496" fmla="*/ f3056 1 f1422"/>
              <a:gd name="f4497" fmla="*/ f3057 1 f1422"/>
              <a:gd name="f4498" fmla="*/ f3058 1 f1422"/>
              <a:gd name="f4499" fmla="*/ f3059 1 f1422"/>
              <a:gd name="f4500" fmla="*/ f3060 1 f1422"/>
              <a:gd name="f4501" fmla="*/ f3061 1 f1422"/>
              <a:gd name="f4502" fmla="*/ f3062 1 f1423"/>
              <a:gd name="f4503" fmla="*/ f3063 1 f1422"/>
              <a:gd name="f4504" fmla="*/ f3064 1 f1423"/>
              <a:gd name="f4505" fmla="*/ f3065 1 f1423"/>
              <a:gd name="f4506" fmla="*/ f3066 1 f1423"/>
              <a:gd name="f4507" fmla="*/ f3067 1 f1422"/>
              <a:gd name="f4508" fmla="*/ f3068 1 f1422"/>
              <a:gd name="f4509" fmla="*/ f3069 1 f1422"/>
              <a:gd name="f4510" fmla="*/ f3070 1 f1422"/>
              <a:gd name="f4511" fmla="*/ f3071 1 f1422"/>
              <a:gd name="f4512" fmla="*/ f3072 1 f1422"/>
              <a:gd name="f4513" fmla="*/ f3073 1 f1422"/>
              <a:gd name="f4514" fmla="*/ f3074 1 f1422"/>
              <a:gd name="f4515" fmla="*/ f3075 1 f1422"/>
              <a:gd name="f4516" fmla="*/ f3076 1 f1422"/>
              <a:gd name="f4517" fmla="*/ f3077 1 f1423"/>
              <a:gd name="f4518" fmla="*/ f3078 1 f1423"/>
              <a:gd name="f4519" fmla="*/ f3079 1 f1423"/>
              <a:gd name="f4520" fmla="*/ f3080 1 f1423"/>
              <a:gd name="f4521" fmla="*/ f3081 1 f1422"/>
              <a:gd name="f4522" fmla="*/ f3082 1 f1422"/>
              <a:gd name="f4523" fmla="*/ f3083 1 f1422"/>
              <a:gd name="f4524" fmla="*/ f3084 1 f1422"/>
              <a:gd name="f4525" fmla="*/ f3085 1 f1422"/>
              <a:gd name="f4526" fmla="*/ f3086 1 f1422"/>
              <a:gd name="f4527" fmla="*/ f3087 1 f1422"/>
              <a:gd name="f4528" fmla="*/ f3088 1 f1422"/>
              <a:gd name="f4529" fmla="*/ f3089 1 f1422"/>
              <a:gd name="f4530" fmla="*/ f3090 1 f1423"/>
              <a:gd name="f4531" fmla="*/ f3091 1 f1423"/>
              <a:gd name="f4532" fmla="*/ f3092 1 f1423"/>
              <a:gd name="f4533" fmla="*/ f3093 1 f1423"/>
              <a:gd name="f4534" fmla="*/ f3094 1 f1422"/>
              <a:gd name="f4535" fmla="*/ f3095 1 f1422"/>
              <a:gd name="f4536" fmla="*/ f3096 1 f1422"/>
              <a:gd name="f4537" fmla="*/ f3097 1 f1422"/>
              <a:gd name="f4538" fmla="*/ f3098 1 f1422"/>
              <a:gd name="f4539" fmla="*/ f3099 1 f1422"/>
              <a:gd name="f4540" fmla="*/ f3100 1 f1422"/>
              <a:gd name="f4541" fmla="*/ f3101 1 f1422"/>
              <a:gd name="f4542" fmla="*/ f3102 1 f1422"/>
              <a:gd name="f4543" fmla="*/ f3103 1 f1422"/>
              <a:gd name="f4544" fmla="*/ f3104 1 f1422"/>
              <a:gd name="f4545" fmla="*/ f3105 1 f1422"/>
              <a:gd name="f4546" fmla="*/ f3106 1 f1422"/>
              <a:gd name="f4547" fmla="*/ f3107 1 f1423"/>
              <a:gd name="f4548" fmla="*/ f3108 1 f1423"/>
              <a:gd name="f4549" fmla="*/ f3109 1 f1423"/>
              <a:gd name="f4550" fmla="*/ f3110 1 f1423"/>
              <a:gd name="f4551" fmla="*/ f3111 1 f1422"/>
              <a:gd name="f4552" fmla="*/ f3112 1 f1422"/>
              <a:gd name="f4553" fmla="*/ f3113 1 f1422"/>
              <a:gd name="f4554" fmla="*/ f3114 1 f1422"/>
              <a:gd name="f4555" fmla="*/ f3115 1 f1422"/>
              <a:gd name="f4556" fmla="*/ f3116 1 f1422"/>
              <a:gd name="f4557" fmla="*/ f3117 1 f1422"/>
              <a:gd name="f4558" fmla="*/ f3118 1 f1422"/>
              <a:gd name="f4559" fmla="*/ f3119 1 f1422"/>
              <a:gd name="f4560" fmla="*/ f3120 1 f1422"/>
              <a:gd name="f4561" fmla="*/ f3121 1 f1422"/>
              <a:gd name="f4562" fmla="*/ f3122 1 f1423"/>
              <a:gd name="f4563" fmla="*/ f3123 1 f1423"/>
              <a:gd name="f4564" fmla="*/ f3124 1 f1423"/>
              <a:gd name="f4565" fmla="*/ f3125 1 f1423"/>
              <a:gd name="f4566" fmla="*/ f3126 1 f1422"/>
              <a:gd name="f4567" fmla="*/ f3127 1 f1422"/>
              <a:gd name="f4568" fmla="*/ f3128 1 f1422"/>
              <a:gd name="f4569" fmla="*/ f3129 1 f1422"/>
              <a:gd name="f4570" fmla="*/ f3130 1 f1422"/>
              <a:gd name="f4571" fmla="*/ f3131 1 f1422"/>
              <a:gd name="f4572" fmla="*/ f3132 1 f1422"/>
              <a:gd name="f4573" fmla="*/ f3133 1 f1422"/>
              <a:gd name="f4574" fmla="*/ f3134 1 f1422"/>
              <a:gd name="f4575" fmla="*/ f3135 1 f1422"/>
              <a:gd name="f4576" fmla="*/ f3136 1 f1422"/>
              <a:gd name="f4577" fmla="*/ f3137 1 f1422"/>
              <a:gd name="f4578" fmla="*/ f3138 1 f1422"/>
              <a:gd name="f4579" fmla="*/ f3139 1 f1422"/>
              <a:gd name="f4580" fmla="*/ f3140 1 f1422"/>
              <a:gd name="f4581" fmla="*/ f3141 1 f1422"/>
              <a:gd name="f4582" fmla="*/ f3142 1 f1422"/>
              <a:gd name="f4583" fmla="*/ f3143 1 f1422"/>
              <a:gd name="f4584" fmla="*/ f3144 1 f1422"/>
              <a:gd name="f4585" fmla="*/ f3145 1 f1422"/>
              <a:gd name="f4586" fmla="*/ f3146 1 f1422"/>
              <a:gd name="f4587" fmla="*/ f3147 1 f1422"/>
              <a:gd name="f4588" fmla="*/ f3148 1 f1422"/>
              <a:gd name="f4589" fmla="*/ f3149 1 f1423"/>
              <a:gd name="f4590" fmla="*/ f3150 1 f1422"/>
              <a:gd name="f4591" fmla="*/ f3151 1 f1423"/>
              <a:gd name="f4592" fmla="*/ f3152 1 f1423"/>
              <a:gd name="f4593" fmla="*/ f3153 1 f1423"/>
              <a:gd name="f4594" fmla="*/ f3154 1 f1422"/>
              <a:gd name="f4595" fmla="*/ f3155 1 f1422"/>
              <a:gd name="f4596" fmla="*/ f3156 1 f1422"/>
              <a:gd name="f4597" fmla="*/ f3157 1 f1422"/>
              <a:gd name="f4598" fmla="*/ f3158 1 f1422"/>
              <a:gd name="f4599" fmla="*/ f3159 1 f1422"/>
              <a:gd name="f4600" fmla="*/ f3160 1 f1422"/>
              <a:gd name="f4601" fmla="*/ f3161 1 f1422"/>
              <a:gd name="f4602" fmla="*/ f3162 1 f1422"/>
              <a:gd name="f4603" fmla="*/ f3163 1 f1423"/>
              <a:gd name="f4604" fmla="*/ f3164 1 f1423"/>
              <a:gd name="f4605" fmla="*/ f3165 1 f1423"/>
              <a:gd name="f4606" fmla="*/ f3166 1 f1423"/>
              <a:gd name="f4607" fmla="*/ f3167 1 f1422"/>
              <a:gd name="f4608" fmla="*/ f3168 1 f1422"/>
              <a:gd name="f4609" fmla="*/ f3169 1 f1422"/>
              <a:gd name="f4610" fmla="*/ f3170 1 f1422"/>
              <a:gd name="f4611" fmla="*/ f3171 1 f1422"/>
              <a:gd name="f4612" fmla="*/ f3172 1 f1422"/>
              <a:gd name="f4613" fmla="*/ f3173 1 f1422"/>
              <a:gd name="f4614" fmla="*/ f3174 1 f1422"/>
              <a:gd name="f4615" fmla="*/ f3175 1 f1422"/>
              <a:gd name="f4616" fmla="*/ f3176 1 f1422"/>
              <a:gd name="f4617" fmla="*/ f3177 1 f1422"/>
              <a:gd name="f4618" fmla="*/ f3178 1 f1422"/>
              <a:gd name="f4619" fmla="*/ f3179 1 f1423"/>
              <a:gd name="f4620" fmla="*/ f3180 1 f1423"/>
              <a:gd name="f4621" fmla="*/ f3181 1 f1423"/>
              <a:gd name="f4622" fmla="*/ f3182 1 f1423"/>
              <a:gd name="f4623" fmla="*/ f3183 1 f1422"/>
              <a:gd name="f4624" fmla="*/ f3184 1 f1422"/>
              <a:gd name="f4625" fmla="*/ f3185 1 f1422"/>
              <a:gd name="f4626" fmla="*/ f3186 1 f1422"/>
              <a:gd name="f4627" fmla="*/ f3187 1 f1422"/>
              <a:gd name="f4628" fmla="*/ f3188 1 f1422"/>
              <a:gd name="f4629" fmla="*/ f3189 1 f1422"/>
              <a:gd name="f4630" fmla="*/ f3190 1 f1422"/>
              <a:gd name="f4631" fmla="*/ f3191 1 f1422"/>
              <a:gd name="f4632" fmla="*/ f3192 1 f1422"/>
              <a:gd name="f4633" fmla="*/ f3193 1 f1422"/>
              <a:gd name="f4634" fmla="*/ f3194 1 f1422"/>
              <a:gd name="f4635" fmla="*/ f3195 1 f1423"/>
              <a:gd name="f4636" fmla="*/ f3196 1 f1423"/>
              <a:gd name="f4637" fmla="*/ f3197 1 f1423"/>
              <a:gd name="f4638" fmla="*/ f3198 1 f1423"/>
              <a:gd name="f4639" fmla="*/ f3199 1 f1422"/>
              <a:gd name="f4640" fmla="*/ f3200 1 f1422"/>
              <a:gd name="f4641" fmla="*/ f3201 1 f1422"/>
              <a:gd name="f4642" fmla="*/ f3202 1 f1422"/>
              <a:gd name="f4643" fmla="*/ f3203 1 f1422"/>
              <a:gd name="f4644" fmla="*/ f3204 1 f1422"/>
              <a:gd name="f4645" fmla="*/ f3205 1 f1422"/>
              <a:gd name="f4646" fmla="*/ f3206 1 f1422"/>
              <a:gd name="f4647" fmla="*/ f3207 1 f1422"/>
              <a:gd name="f4648" fmla="*/ f3208 1 f1423"/>
              <a:gd name="f4649" fmla="*/ f3209 1 f1423"/>
              <a:gd name="f4650" fmla="*/ f3210 1 f1423"/>
              <a:gd name="f4651" fmla="*/ f3211 1 f1423"/>
              <a:gd name="f4652" fmla="*/ f3212 1 f1422"/>
              <a:gd name="f4653" fmla="*/ f3213 1 f1422"/>
              <a:gd name="f4654" fmla="*/ f3214 1 f1422"/>
              <a:gd name="f4655" fmla="*/ f3215 1 f1422"/>
              <a:gd name="f4656" fmla="*/ f3216 1 f1422"/>
              <a:gd name="f4657" fmla="*/ f3217 1 f1422"/>
              <a:gd name="f4658" fmla="*/ f3218 1 f1422"/>
              <a:gd name="f4659" fmla="*/ f3219 1 f1422"/>
              <a:gd name="f4660" fmla="*/ f3220 1 f1422"/>
              <a:gd name="f4661" fmla="*/ f3221 1 f1422"/>
              <a:gd name="f4662" fmla="*/ f3222 1 f1422"/>
              <a:gd name="f4663" fmla="*/ f3223 1 f1422"/>
              <a:gd name="f4664" fmla="*/ f3224 1 f1422"/>
              <a:gd name="f4665" fmla="*/ f3225 1 f1422"/>
              <a:gd name="f4666" fmla="*/ f3226 1 f1422"/>
              <a:gd name="f4667" fmla="*/ f3227 1 f1422"/>
              <a:gd name="f4668" fmla="*/ f3228 1 f1422"/>
              <a:gd name="f4669" fmla="*/ f3229 1 f1422"/>
              <a:gd name="f4670" fmla="*/ f3230 1 f1422"/>
              <a:gd name="f4671" fmla="*/ f3231 1 f1422"/>
              <a:gd name="f4672" fmla="*/ f3232 1 f1423"/>
              <a:gd name="f4673" fmla="*/ f3233 1 f1423"/>
              <a:gd name="f4674" fmla="*/ f3234 1 f1423"/>
              <a:gd name="f4675" fmla="*/ f3235 1 f1423"/>
              <a:gd name="f4676" fmla="*/ f3236 1 f1422"/>
              <a:gd name="f4677" fmla="*/ f3237 1 f1422"/>
              <a:gd name="f4678" fmla="*/ f3238 1 f1422"/>
              <a:gd name="f4679" fmla="*/ f3239 1 f1422"/>
              <a:gd name="f4680" fmla="*/ f3240 1 f1422"/>
              <a:gd name="f4681" fmla="*/ f3241 1 f1422"/>
              <a:gd name="f4682" fmla="*/ f3242 1 f1422"/>
              <a:gd name="f4683" fmla="*/ f3243 1 f1422"/>
              <a:gd name="f4684" fmla="*/ f3244 1 f1422"/>
              <a:gd name="f4685" fmla="*/ f3245 1 f1422"/>
              <a:gd name="f4686" fmla="*/ f3246 1 f1422"/>
              <a:gd name="f4687" fmla="*/ f3247 1 f1422"/>
              <a:gd name="f4688" fmla="*/ f3248 1 f1423"/>
              <a:gd name="f4689" fmla="*/ f3249 1 f1423"/>
              <a:gd name="f4690" fmla="*/ f3250 1 f1423"/>
              <a:gd name="f4691" fmla="*/ f3251 1 f1423"/>
              <a:gd name="f4692" fmla="*/ f3252 1 f1422"/>
              <a:gd name="f4693" fmla="*/ f3253 1 f1422"/>
              <a:gd name="f4694" fmla="*/ f3254 1 f1422"/>
              <a:gd name="f4695" fmla="*/ f3255 1 f1422"/>
              <a:gd name="f4696" fmla="*/ f3256 1 f1422"/>
              <a:gd name="f4697" fmla="*/ f3257 1 f1422"/>
              <a:gd name="f4698" fmla="*/ f3258 1 f1422"/>
              <a:gd name="f4699" fmla="*/ f3259 1 f1422"/>
              <a:gd name="f4700" fmla="*/ f3260 1 f1422"/>
              <a:gd name="f4701" fmla="*/ f3261 1 f1422"/>
              <a:gd name="f4702" fmla="*/ f3262 1 f1422"/>
              <a:gd name="f4703" fmla="*/ f3263 1 f1422"/>
              <a:gd name="f4704" fmla="*/ f3264 1 f1423"/>
              <a:gd name="f4705" fmla="*/ f3265 1 f1422"/>
              <a:gd name="f4706" fmla="*/ f3266 1 f1423"/>
              <a:gd name="f4707" fmla="*/ f3267 1 f1423"/>
              <a:gd name="f4708" fmla="*/ f3268 1 f1423"/>
              <a:gd name="f4709" fmla="*/ f3269 1 f1422"/>
              <a:gd name="f4710" fmla="*/ f3270 1 f1422"/>
              <a:gd name="f4711" fmla="*/ f3271 1 f1422"/>
              <a:gd name="f4712" fmla="*/ f3272 1 f1422"/>
              <a:gd name="f4713" fmla="*/ f3273 1 f1422"/>
              <a:gd name="f4714" fmla="*/ f3274 1 f1422"/>
              <a:gd name="f4715" fmla="*/ f3275 1 f1422"/>
              <a:gd name="f4716" fmla="*/ f3276 1 f1422"/>
              <a:gd name="f4717" fmla="*/ f3277 1 f1422"/>
              <a:gd name="f4718" fmla="*/ f3278 1 f1422"/>
              <a:gd name="f4719" fmla="*/ f3279 1 f1422"/>
              <a:gd name="f4720" fmla="*/ f3280 1 f1423"/>
              <a:gd name="f4721" fmla="*/ f3281 1 f1423"/>
              <a:gd name="f4722" fmla="*/ f3282 1 f1423"/>
              <a:gd name="f4723" fmla="*/ f3283 1 f1423"/>
              <a:gd name="f4724" fmla="*/ f3284 1 f1422"/>
              <a:gd name="f4725" fmla="*/ f3285 1 f1422"/>
              <a:gd name="f4726" fmla="*/ f3286 1 f1422"/>
              <a:gd name="f4727" fmla="*/ f3287 1 f1422"/>
              <a:gd name="f4728" fmla="*/ f3288 1 f1422"/>
              <a:gd name="f4729" fmla="*/ f3289 1 f1422"/>
              <a:gd name="f4730" fmla="*/ f3290 1 f1422"/>
              <a:gd name="f4731" fmla="*/ f3291 1 f1422"/>
              <a:gd name="f4732" fmla="*/ f3292 1 f1422"/>
              <a:gd name="f4733" fmla="*/ f3293 1 f1422"/>
              <a:gd name="f4734" fmla="*/ f3294 1 f1423"/>
              <a:gd name="f4735" fmla="*/ f3295 1 f1423"/>
              <a:gd name="f4736" fmla="*/ f3296 1 f1423"/>
              <a:gd name="f4737" fmla="*/ f3297 1 f1423"/>
              <a:gd name="f4738" fmla="*/ f3298 1 f1422"/>
              <a:gd name="f4739" fmla="*/ f3299 1 f1422"/>
              <a:gd name="f4740" fmla="*/ f3300 1 f1422"/>
              <a:gd name="f4741" fmla="*/ f3301 1 f1422"/>
              <a:gd name="f4742" fmla="*/ f3302 1 f1422"/>
              <a:gd name="f4743" fmla="*/ f3303 1 f1422"/>
              <a:gd name="f4744" fmla="*/ f3304 1 f1422"/>
              <a:gd name="f4745" fmla="*/ f3305 1 f1422"/>
              <a:gd name="f4746" fmla="*/ f3306 1 f1422"/>
              <a:gd name="f4747" fmla="*/ f3307 1 f1422"/>
              <a:gd name="f4748" fmla="*/ f3308 1 f1422"/>
              <a:gd name="f4749" fmla="*/ f3309 1 f1422"/>
              <a:gd name="f4750" fmla="*/ f3310 1 f1422"/>
              <a:gd name="f4751" fmla="*/ f3311 1 f1422"/>
              <a:gd name="f4752" fmla="*/ f3312 1 f1422"/>
              <a:gd name="f4753" fmla="*/ f3313 1 f1422"/>
              <a:gd name="f4754" fmla="*/ f3314 1 f1422"/>
              <a:gd name="f4755" fmla="*/ f3315 1 f1422"/>
              <a:gd name="f4756" fmla="*/ f3316 1 f1422"/>
              <a:gd name="f4757" fmla="*/ f3317 1 f1422"/>
              <a:gd name="f4758" fmla="*/ f3318 1 f1422"/>
              <a:gd name="f4759" fmla="*/ f3319 1 f1422"/>
              <a:gd name="f4760" fmla="*/ f3320 1 f1423"/>
              <a:gd name="f4761" fmla="*/ f3321 1 f1422"/>
              <a:gd name="f4762" fmla="*/ f3322 1 f1423"/>
              <a:gd name="f4763" fmla="*/ f3323 1 f1423"/>
              <a:gd name="f4764" fmla="*/ f3324 1 f1423"/>
              <a:gd name="f4765" fmla="*/ f3325 1 f1422"/>
              <a:gd name="f4766" fmla="*/ f3326 1 f1422"/>
              <a:gd name="f4767" fmla="*/ f3327 1 f1422"/>
              <a:gd name="f4768" fmla="*/ f3328 1 f1422"/>
              <a:gd name="f4769" fmla="*/ f3329 1 f1422"/>
              <a:gd name="f4770" fmla="*/ f3330 1 f1422"/>
              <a:gd name="f4771" fmla="*/ f3331 1 f1422"/>
              <a:gd name="f4772" fmla="*/ f3332 1 f1422"/>
              <a:gd name="f4773" fmla="*/ f3333 1 f1422"/>
              <a:gd name="f4774" fmla="*/ f3334 1 f1422"/>
              <a:gd name="f4775" fmla="*/ f3335 1 f1422"/>
              <a:gd name="f4776" fmla="*/ f3336 1 f1423"/>
              <a:gd name="f4777" fmla="*/ f3337 1 f1423"/>
              <a:gd name="f4778" fmla="*/ f3338 1 f1423"/>
              <a:gd name="f4779" fmla="*/ f3339 1 f1423"/>
              <a:gd name="f4780" fmla="*/ f3340 1 f1422"/>
              <a:gd name="f4781" fmla="*/ f3341 1 f1422"/>
              <a:gd name="f4782" fmla="*/ f3342 1 f1422"/>
              <a:gd name="f4783" fmla="*/ f3343 1 f1422"/>
              <a:gd name="f4784" fmla="*/ f3344 1 f1422"/>
              <a:gd name="f4785" fmla="*/ f3345 1 f1422"/>
              <a:gd name="f4786" fmla="*/ f3346 1 f1422"/>
              <a:gd name="f4787" fmla="*/ f3347 1 f1422"/>
              <a:gd name="f4788" fmla="*/ f3348 1 f1422"/>
              <a:gd name="f4789" fmla="*/ f3349 1 f1422"/>
              <a:gd name="f4790" fmla="*/ f3350 1 f1422"/>
              <a:gd name="f4791" fmla="*/ f3351 1 f1423"/>
              <a:gd name="f4792" fmla="*/ f3352 1 f1423"/>
              <a:gd name="f4793" fmla="*/ f3353 1 f1423"/>
              <a:gd name="f4794" fmla="*/ f3354 1 f1423"/>
              <a:gd name="f4795" fmla="*/ f3355 1 f1422"/>
              <a:gd name="f4796" fmla="*/ f3356 1 f1422"/>
              <a:gd name="f4797" fmla="*/ f3357 1 f1422"/>
              <a:gd name="f4798" fmla="*/ f3358 1 f1422"/>
              <a:gd name="f4799" fmla="*/ f3359 1 f1422"/>
              <a:gd name="f4800" fmla="*/ f3360 1 f1422"/>
              <a:gd name="f4801" fmla="*/ f3361 1 f1422"/>
              <a:gd name="f4802" fmla="*/ f3362 1 f1422"/>
              <a:gd name="f4803" fmla="*/ f3363 1 f1422"/>
              <a:gd name="f4804" fmla="*/ f3364 1 f1422"/>
              <a:gd name="f4805" fmla="*/ f3365 1 f1423"/>
              <a:gd name="f4806" fmla="*/ f3366 1 f1423"/>
              <a:gd name="f4807" fmla="*/ f3367 1 f1423"/>
              <a:gd name="f4808" fmla="*/ f3368 1 f1423"/>
              <a:gd name="f4809" fmla="*/ f3369 1 f1422"/>
              <a:gd name="f4810" fmla="*/ f3370 1 f1422"/>
              <a:gd name="f4811" fmla="*/ f3371 1 f1422"/>
              <a:gd name="f4812" fmla="*/ f3372 1 f1422"/>
              <a:gd name="f4813" fmla="*/ f3373 1 f1422"/>
              <a:gd name="f4814" fmla="*/ f3374 1 f1422"/>
              <a:gd name="f4815" fmla="*/ f3375 1 f1422"/>
              <a:gd name="f4816" fmla="*/ f3376 1 f1422"/>
              <a:gd name="f4817" fmla="*/ f3377 1 f1422"/>
              <a:gd name="f4818" fmla="*/ f3378 1 f1422"/>
              <a:gd name="f4819" fmla="*/ f3379 1 f1423"/>
              <a:gd name="f4820" fmla="*/ f3380 1 f1423"/>
              <a:gd name="f4821" fmla="*/ f3381 1 f1423"/>
              <a:gd name="f4822" fmla="*/ f3382 1 f1423"/>
              <a:gd name="f4823" fmla="*/ f3383 1 f1422"/>
              <a:gd name="f4824" fmla="*/ f3384 1 f1422"/>
              <a:gd name="f4825" fmla="*/ f3385 1 f1422"/>
              <a:gd name="f4826" fmla="*/ f3386 1 f1422"/>
              <a:gd name="f4827" fmla="*/ f3387 1 f1422"/>
              <a:gd name="f4828" fmla="*/ f3388 1 f1422"/>
              <a:gd name="f4829" fmla="*/ f3389 1 f1422"/>
              <a:gd name="f4830" fmla="*/ f3390 1 f1422"/>
              <a:gd name="f4831" fmla="*/ f3391 1 f1422"/>
              <a:gd name="f4832" fmla="*/ f3392 1 f1422"/>
              <a:gd name="f4833" fmla="*/ f3393 1 f1422"/>
              <a:gd name="f4834" fmla="*/ f3394 1 f1422"/>
              <a:gd name="f4835" fmla="*/ f3395 1 f1422"/>
              <a:gd name="f4836" fmla="*/ f3396 1 f1422"/>
              <a:gd name="f4837" fmla="*/ f3397 1 f1422"/>
              <a:gd name="f4838" fmla="*/ f3398 1 f1422"/>
              <a:gd name="f4839" fmla="*/ f3399 1 f1422"/>
              <a:gd name="f4840" fmla="*/ f3400 1 f1422"/>
              <a:gd name="f4841" fmla="*/ f3401 1 f1422"/>
              <a:gd name="f4842" fmla="*/ f3402 1 f1422"/>
              <a:gd name="f4843" fmla="*/ f3403 1 f1422"/>
              <a:gd name="f4844" fmla="*/ f3404 1 f1423"/>
              <a:gd name="f4845" fmla="*/ f3405 1 f1422"/>
              <a:gd name="f4846" fmla="*/ f3406 1 f1423"/>
              <a:gd name="f4847" fmla="*/ f3407 1 f1423"/>
              <a:gd name="f4848" fmla="*/ f3408 1 f1423"/>
              <a:gd name="f4849" fmla="*/ f3409 1 f1422"/>
              <a:gd name="f4850" fmla="*/ f3410 1 f1422"/>
              <a:gd name="f4851" fmla="*/ f3411 1 f1422"/>
              <a:gd name="f4852" fmla="*/ f3412 1 f1422"/>
              <a:gd name="f4853" fmla="*/ f3413 1 f1422"/>
              <a:gd name="f4854" fmla="*/ f3414 1 f1422"/>
              <a:gd name="f4855" fmla="*/ f3415 1 f1422"/>
              <a:gd name="f4856" fmla="*/ f3416 1 f1422"/>
              <a:gd name="f4857" fmla="*/ f3417 1 f1422"/>
              <a:gd name="f4858" fmla="*/ f3418 1 f1422"/>
              <a:gd name="f4859" fmla="*/ f3419 1 f1422"/>
              <a:gd name="f4860" fmla="*/ f3420 1 f1423"/>
              <a:gd name="f4861" fmla="*/ f3421 1 f1423"/>
              <a:gd name="f4862" fmla="*/ f3422 1 f1423"/>
              <a:gd name="f4863" fmla="*/ f3423 1 f1423"/>
              <a:gd name="f4864" fmla="*/ f3424 1 f1422"/>
              <a:gd name="f4865" fmla="*/ f3425 1 f1422"/>
              <a:gd name="f4866" fmla="*/ f3426 1 f1422"/>
              <a:gd name="f4867" fmla="*/ f3427 1 f1422"/>
              <a:gd name="f4868" fmla="*/ f3428 1 f1422"/>
              <a:gd name="f4869" fmla="*/ f3429 1 f1422"/>
              <a:gd name="f4870" fmla="*/ f3430 1 f1422"/>
              <a:gd name="f4871" fmla="*/ f3431 1 f1422"/>
              <a:gd name="f4872" fmla="*/ f3432 1 f1422"/>
              <a:gd name="f4873" fmla="*/ f3433 1 f1422"/>
              <a:gd name="f4874" fmla="*/ f3434 1 f1422"/>
              <a:gd name="f4875" fmla="*/ f3435 1 f1422"/>
              <a:gd name="f4876" fmla="*/ f3436 1 f1423"/>
              <a:gd name="f4877" fmla="*/ f3437 1 f1422"/>
              <a:gd name="f4878" fmla="*/ f3438 1 f1423"/>
              <a:gd name="f4879" fmla="*/ f3439 1 f1423"/>
              <a:gd name="f4880" fmla="*/ f3440 1 f1423"/>
              <a:gd name="f4881" fmla="*/ f3441 1 f1422"/>
              <a:gd name="f4882" fmla="*/ f3442 1 f1422"/>
              <a:gd name="f4883" fmla="*/ f3443 1 f1422"/>
              <a:gd name="f4884" fmla="*/ f3444 1 f1422"/>
              <a:gd name="f4885" fmla="*/ f3445 1 f1422"/>
              <a:gd name="f4886" fmla="*/ f3446 1 f1422"/>
              <a:gd name="f4887" fmla="*/ f3447 1 f1422"/>
              <a:gd name="f4888" fmla="*/ f3448 1 f1422"/>
              <a:gd name="f4889" fmla="*/ f3449 1 f1423"/>
              <a:gd name="f4890" fmla="*/ f3450 1 f1423"/>
              <a:gd name="f4891" fmla="*/ f3451 1 f1423"/>
              <a:gd name="f4892" fmla="*/ f3452 1 f1423"/>
              <a:gd name="f4893" fmla="*/ f3453 1 f1422"/>
              <a:gd name="f4894" fmla="*/ f3454 1 f1422"/>
              <a:gd name="f4895" fmla="*/ f3455 1 f1422"/>
              <a:gd name="f4896" fmla="*/ f3456 1 f1422"/>
              <a:gd name="f4897" fmla="*/ f3457 1 f1422"/>
              <a:gd name="f4898" fmla="*/ f3458 1 f1422"/>
              <a:gd name="f4899" fmla="*/ f3459 1 f1422"/>
              <a:gd name="f4900" fmla="*/ f3460 1 f1422"/>
              <a:gd name="f4901" fmla="*/ f3461 1 f1422"/>
              <a:gd name="f4902" fmla="*/ f3462 1 f1422"/>
              <a:gd name="f4903" fmla="*/ f3463 1 f1422"/>
              <a:gd name="f4904" fmla="*/ f3464 1 f1422"/>
              <a:gd name="f4905" fmla="*/ f3465 1 f1422"/>
              <a:gd name="f4906" fmla="*/ f3466 1 f1423"/>
              <a:gd name="f4907" fmla="*/ f3467 1 f1423"/>
              <a:gd name="f4908" fmla="*/ f3468 1 f1423"/>
              <a:gd name="f4909" fmla="*/ f3469 1 f1423"/>
              <a:gd name="f4910" fmla="*/ f3470 1 f1422"/>
              <a:gd name="f4911" fmla="*/ f3471 1 f1422"/>
              <a:gd name="f4912" fmla="*/ f3472 1 f1422"/>
              <a:gd name="f4913" fmla="*/ f3473 1 f1422"/>
              <a:gd name="f4914" fmla="*/ f3474 1 f1422"/>
              <a:gd name="f4915" fmla="*/ f3475 1 f1422"/>
              <a:gd name="f4916" fmla="*/ f3476 1 f1422"/>
              <a:gd name="f4917" fmla="*/ f3477 1 f1422"/>
              <a:gd name="f4918" fmla="*/ f3478 1 f1422"/>
              <a:gd name="f4919" fmla="*/ f3479 1 f1422"/>
              <a:gd name="f4920" fmla="*/ f3480 1 f1422"/>
              <a:gd name="f4921" fmla="*/ f3481 1 f1422"/>
              <a:gd name="f4922" fmla="*/ f3482 1 f1422"/>
              <a:gd name="f4923" fmla="*/ f3483 1 f1422"/>
              <a:gd name="f4924" fmla="*/ f3484 1 f1422"/>
              <a:gd name="f4925" fmla="*/ f3485 1 f1422"/>
              <a:gd name="f4926" fmla="*/ f3486 1 f1422"/>
              <a:gd name="f4927" fmla="*/ f3487 1 f1422"/>
              <a:gd name="f4928" fmla="*/ f3488 1 f1422"/>
              <a:gd name="f4929" fmla="*/ f3489 1 f1422"/>
              <a:gd name="f4930" fmla="*/ f3490 1 f1422"/>
              <a:gd name="f4931" fmla="*/ f3491 1 f1422"/>
              <a:gd name="f4932" fmla="*/ f3492 1 f1423"/>
              <a:gd name="f4933" fmla="*/ f3493 1 f1423"/>
              <a:gd name="f4934" fmla="*/ f3494 1 f1423"/>
              <a:gd name="f4935" fmla="*/ f3495 1 f1423"/>
              <a:gd name="f4936" fmla="*/ f3496 1 f1422"/>
              <a:gd name="f4937" fmla="*/ f3497 1 f1422"/>
              <a:gd name="f4938" fmla="*/ f3498 1 f1422"/>
              <a:gd name="f4939" fmla="*/ f3499 1 f1422"/>
              <a:gd name="f4940" fmla="*/ f3500 1 f1422"/>
              <a:gd name="f4941" fmla="*/ f3501 1 f1422"/>
              <a:gd name="f4942" fmla="*/ f3502 1 f1422"/>
              <a:gd name="f4943" fmla="*/ f3503 1 f1422"/>
              <a:gd name="f4944" fmla="*/ f3504 1 f1422"/>
              <a:gd name="f4945" fmla="*/ f3505 1 f1422"/>
              <a:gd name="f4946" fmla="*/ f3506 1 f1423"/>
              <a:gd name="f4947" fmla="*/ f3507 1 f1423"/>
              <a:gd name="f4948" fmla="*/ f3508 1 f1423"/>
              <a:gd name="f4949" fmla="*/ f3509 1 f1423"/>
              <a:gd name="f4950" fmla="*/ f3510 1 f1422"/>
              <a:gd name="f4951" fmla="*/ f3511 1 f1422"/>
              <a:gd name="f4952" fmla="*/ f3512 1 f1422"/>
              <a:gd name="f4953" fmla="*/ f3513 1 f1422"/>
              <a:gd name="f4954" fmla="*/ f3514 1 f1422"/>
              <a:gd name="f4955" fmla="*/ f3515 1 f1422"/>
              <a:gd name="f4956" fmla="*/ f3516 1 f1422"/>
              <a:gd name="f4957" fmla="*/ f3517 1 f1422"/>
              <a:gd name="f4958" fmla="*/ f3518 1 f1422"/>
              <a:gd name="f4959" fmla="*/ f3519 1 f1422"/>
              <a:gd name="f4960" fmla="*/ f3520 1 f1422"/>
              <a:gd name="f4961" fmla="*/ f3521 1 f1423"/>
              <a:gd name="f4962" fmla="*/ f3522 1 f1423"/>
              <a:gd name="f4963" fmla="*/ f3523 1 f1423"/>
              <a:gd name="f4964" fmla="*/ f3524 1 f1423"/>
              <a:gd name="f4965" fmla="*/ f3525 1 f1423"/>
              <a:gd name="f4966" fmla="*/ f3526 1 f1423"/>
              <a:gd name="f4967" fmla="*/ f3527 1 f1423"/>
              <a:gd name="f4968" fmla="*/ f3528 1 f1423"/>
              <a:gd name="f4969" fmla="*/ f3529 1 f1423"/>
              <a:gd name="f4970" fmla="*/ f3530 1 f1423"/>
              <a:gd name="f4971" fmla="*/ f3531 1 f1423"/>
              <a:gd name="f4972" fmla="*/ f3532 1 f1423"/>
              <a:gd name="f4973" fmla="*/ f3533 1 f1423"/>
              <a:gd name="f4974" fmla="*/ f3534 1 f1423"/>
              <a:gd name="f4975" fmla="*/ f3535 1 f1423"/>
              <a:gd name="f4976" fmla="*/ f3536 1 f1423"/>
              <a:gd name="f4977" fmla="*/ f3537 1 f1423"/>
              <a:gd name="f4978" fmla="*/ f3538 1 f1423"/>
              <a:gd name="f4979" fmla="*/ f3539 1 f1423"/>
              <a:gd name="f4980" fmla="*/ f3540 1 f1423"/>
              <a:gd name="f4981" fmla="*/ f3541 1 f1423"/>
              <a:gd name="f4982" fmla="*/ f3542 1 f1423"/>
              <a:gd name="f4983" fmla="*/ f3543 1 f1423"/>
              <a:gd name="f4984" fmla="*/ f3544 1 f1423"/>
              <a:gd name="f4985" fmla="*/ f3545 1 f1423"/>
              <a:gd name="f4986" fmla="*/ f3546 1 f1423"/>
              <a:gd name="f4987" fmla="*/ f3547 1 f1423"/>
              <a:gd name="f4988" fmla="*/ f3548 1 f1423"/>
              <a:gd name="f4989" fmla="*/ f3549 1 f1423"/>
              <a:gd name="f4990" fmla="*/ f3550 1 f1423"/>
              <a:gd name="f4991" fmla="*/ f3551 1 f1423"/>
              <a:gd name="f4992" fmla="*/ f3552 1 f1423"/>
              <a:gd name="f4993" fmla="*/ f3553 1 f1423"/>
              <a:gd name="f4994" fmla="*/ f3554 1 f1423"/>
              <a:gd name="f4995" fmla="*/ f3555 1 f1423"/>
              <a:gd name="f4996" fmla="*/ f3556 1 f1423"/>
              <a:gd name="f4997" fmla="*/ f3557 1 f1423"/>
              <a:gd name="f4998" fmla="*/ f3558 1 f1423"/>
              <a:gd name="f4999" fmla="*/ f3559 1 f1423"/>
              <a:gd name="f5000" fmla="*/ f3560 1 f1423"/>
              <a:gd name="f5001" fmla="*/ f3561 1 f1423"/>
              <a:gd name="f5002" fmla="*/ f3562 1 f1422"/>
              <a:gd name="f5003" fmla="*/ f3563 1 f1423"/>
              <a:gd name="f5004" fmla="*/ f3564 1 f1423"/>
              <a:gd name="f5005" fmla="*/ f3565 1 f1423"/>
              <a:gd name="f5006" fmla="*/ f3566 1 f1423"/>
              <a:gd name="f5007" fmla="*/ f3567 1 f1422"/>
              <a:gd name="f5008" fmla="*/ f3568 1 f1422"/>
              <a:gd name="f5009" fmla="*/ f3569 1 f1422"/>
              <a:gd name="f5010" fmla="*/ f3570 1 f1422"/>
              <a:gd name="f5011" fmla="*/ f3571 1 f1422"/>
              <a:gd name="f5012" fmla="*/ f3572 1 f1423"/>
              <a:gd name="f5013" fmla="*/ f3573 1 f1423"/>
              <a:gd name="f5014" fmla="*/ f3574 1 f1423"/>
              <a:gd name="f5015" fmla="*/ f3575 1 f1422"/>
              <a:gd name="f5016" fmla="*/ f3576 1 f1422"/>
              <a:gd name="f5017" fmla="*/ f3577 1 f1422"/>
              <a:gd name="f5018" fmla="*/ f3578 1 f1423"/>
              <a:gd name="f5019" fmla="*/ f3579 1 f1423"/>
              <a:gd name="f5020" fmla="*/ f3580 1 f1423"/>
              <a:gd name="f5021" fmla="*/ f3581 1 f1423"/>
              <a:gd name="f5022" fmla="*/ f3582 1 f1423"/>
              <a:gd name="f5023" fmla="*/ f3583 1 f1423"/>
              <a:gd name="f5024" fmla="*/ f3584 1 f1423"/>
              <a:gd name="f5025" fmla="*/ f3585 1 f1423"/>
              <a:gd name="f5026" fmla="*/ f3586 1 f1422"/>
              <a:gd name="f5027" fmla="*/ f3587 1 f1422"/>
              <a:gd name="f5028" fmla="*/ f3588 1 f1423"/>
              <a:gd name="f5029" fmla="*/ f3589 1 f1422"/>
              <a:gd name="f5030" fmla="*/ f3590 1 f1423"/>
              <a:gd name="f5031" fmla="*/ f3591 1 f1423"/>
              <a:gd name="f5032" fmla="*/ f3592 1 f1423"/>
              <a:gd name="f5033" fmla="*/ f3593 1 f1422"/>
              <a:gd name="f5034" fmla="*/ f3594 1 f1422"/>
              <a:gd name="f5035" fmla="*/ f3595 1 f1422"/>
              <a:gd name="f5036" fmla="*/ f3596 1 f1423"/>
              <a:gd name="f5037" fmla="*/ f3597 1 f1422"/>
              <a:gd name="f5038" fmla="*/ f3598 1 f1422"/>
              <a:gd name="f5039" fmla="*/ f3599 1 f1422"/>
              <a:gd name="f5040" fmla="*/ f3600 1 f1422"/>
              <a:gd name="f5041" fmla="*/ f3601 1 f1422"/>
              <a:gd name="f5042" fmla="*/ f3602 1 f1422"/>
              <a:gd name="f5043" fmla="*/ f3603 1 f1423"/>
              <a:gd name="f5044" fmla="*/ f3604 1 f1423"/>
              <a:gd name="f5045" fmla="*/ f3605 1 f1423"/>
              <a:gd name="f5046" fmla="*/ f3606 1 f1423"/>
              <a:gd name="f5047" fmla="*/ f3607 1 f1423"/>
              <a:gd name="f5048" fmla="*/ f3608 1 f1423"/>
              <a:gd name="f5049" fmla="*/ f3609 1 f1423"/>
              <a:gd name="f5050" fmla="*/ f3610 1 f1423"/>
              <a:gd name="f5051" fmla="*/ f3611 1 f1423"/>
              <a:gd name="f5052" fmla="*/ f3612 1 f1423"/>
              <a:gd name="f5053" fmla="*/ f3613 1 f1423"/>
              <a:gd name="f5054" fmla="*/ f3614 1 f1423"/>
              <a:gd name="f5055" fmla="*/ f3615 1 f1423"/>
              <a:gd name="f5056" fmla="*/ f3616 1 f1423"/>
              <a:gd name="f5057" fmla="*/ f3617 1 f1423"/>
              <a:gd name="f5058" fmla="*/ f3618 1 f1423"/>
              <a:gd name="f5059" fmla="*/ f3619 1 f1423"/>
              <a:gd name="f5060" fmla="*/ f3620 1 f1423"/>
              <a:gd name="f5061" fmla="*/ f3621 1 f1423"/>
              <a:gd name="f5062" fmla="*/ f3622 1 f1423"/>
              <a:gd name="f5063" fmla="*/ f3623 1 f1423"/>
              <a:gd name="f5064" fmla="*/ f3624 1 f1423"/>
              <a:gd name="f5065" fmla="*/ f3625 1 f1423"/>
              <a:gd name="f5066" fmla="*/ f3626 1 f1423"/>
              <a:gd name="f5067" fmla="*/ f3627 1 f1423"/>
              <a:gd name="f5068" fmla="*/ f3628 1 f1423"/>
              <a:gd name="f5069" fmla="*/ f3629 1 f1423"/>
              <a:gd name="f5070" fmla="*/ f3630 1 f1423"/>
              <a:gd name="f5071" fmla="*/ f3631 1 f1423"/>
              <a:gd name="f5072" fmla="*/ f3632 1 f1423"/>
              <a:gd name="f5073" fmla="*/ f3633 1 f1423"/>
              <a:gd name="f5074" fmla="*/ f3634 1 f1423"/>
              <a:gd name="f5075" fmla="*/ f3635 1 f1423"/>
              <a:gd name="f5076" fmla="*/ f3636 1 f1423"/>
              <a:gd name="f5077" fmla="*/ f3637 1 f1423"/>
              <a:gd name="f5078" fmla="*/ f3638 1 f1423"/>
              <a:gd name="f5079" fmla="*/ f3639 1 f1423"/>
              <a:gd name="f5080" fmla="*/ f3640 1 f1423"/>
              <a:gd name="f5081" fmla="*/ f3641 1 f1423"/>
              <a:gd name="f5082" fmla="*/ f3642 1 f1423"/>
              <a:gd name="f5083" fmla="*/ f3643 1 f1423"/>
              <a:gd name="f5084" fmla="*/ f3644 1 f1423"/>
              <a:gd name="f5085" fmla="*/ f3645 1 f1423"/>
              <a:gd name="f5086" fmla="*/ f3646 1 f1423"/>
              <a:gd name="f5087" fmla="*/ f3647 1 f1423"/>
              <a:gd name="f5088" fmla="*/ f3648 1 f1422"/>
              <a:gd name="f5089" fmla="*/ f3649 1 f1423"/>
              <a:gd name="f5090" fmla="*/ f3650 1 f1422"/>
              <a:gd name="f5091" fmla="*/ f3651 1 f1422"/>
              <a:gd name="f5092" fmla="*/ f3652 1 f1423"/>
              <a:gd name="f5093" fmla="*/ f3653 1 f1423"/>
              <a:gd name="f5094" fmla="*/ f3654 1 f1423"/>
              <a:gd name="f5095" fmla="*/ f3655 1 f1422"/>
              <a:gd name="f5096" fmla="*/ f3656 1 f1422"/>
              <a:gd name="f5097" fmla="*/ f3657 1 f1422"/>
              <a:gd name="f5098" fmla="*/ f3658 1 f1422"/>
              <a:gd name="f5099" fmla="*/ f3659 1 f1422"/>
              <a:gd name="f5100" fmla="*/ f3660 1 f1423"/>
              <a:gd name="f5101" fmla="*/ f3661 1 f1423"/>
              <a:gd name="f5102" fmla="*/ f3662 1 f1422"/>
              <a:gd name="f5103" fmla="*/ f3663 1 f1422"/>
              <a:gd name="f5104" fmla="*/ f3664 1 f1422"/>
              <a:gd name="f5105" fmla="*/ f3665 1 f1422"/>
              <a:gd name="f5106" fmla="*/ f3666 1 f1422"/>
              <a:gd name="f5107" fmla="*/ f3667 1 f1423"/>
              <a:gd name="f5108" fmla="*/ f3668 1 f1422"/>
              <a:gd name="f5109" fmla="*/ f3669 1 f1423"/>
              <a:gd name="f5110" fmla="*/ f3670 1 f1423"/>
              <a:gd name="f5111" fmla="*/ f3671 1 f1423"/>
              <a:gd name="f5112" fmla="*/ f3672 1 f1422"/>
              <a:gd name="f5113" fmla="*/ f3673 1 f1422"/>
              <a:gd name="f5114" fmla="*/ f3674 1 f1423"/>
              <a:gd name="f5115" fmla="*/ f3675 1 f1422"/>
              <a:gd name="f5116" fmla="*/ f3676 1 f1422"/>
              <a:gd name="f5117" fmla="*/ f3677 1 f1422"/>
              <a:gd name="f5118" fmla="*/ f3678 1 f1422"/>
              <a:gd name="f5119" fmla="*/ f3679 1 f1422"/>
              <a:gd name="f5120" fmla="*/ f3680 1 f1423"/>
              <a:gd name="f5121" fmla="*/ f3681 1 f1422"/>
              <a:gd name="f5122" fmla="*/ f3682 1 f1423"/>
              <a:gd name="f5123" fmla="*/ f3683 1 f1423"/>
              <a:gd name="f5124" fmla="*/ f3684 1 f1423"/>
              <a:gd name="f5125" fmla="*/ f3685 1 f1423"/>
              <a:gd name="f5126" fmla="*/ f3686 1 f1422"/>
              <a:gd name="f5127" fmla="*/ f3687 1 f1423"/>
              <a:gd name="f5128" fmla="*/ f3688 1 f1423"/>
              <a:gd name="f5129" fmla="*/ f3689 1 f1423"/>
              <a:gd name="f5130" fmla="*/ f3690 1 f1423"/>
              <a:gd name="f5131" fmla="*/ f3691 1 f1423"/>
              <a:gd name="f5132" fmla="*/ f3692 1 f1423"/>
              <a:gd name="f5133" fmla="*/ f3693 1 f1423"/>
              <a:gd name="f5134" fmla="*/ f3694 1 f1423"/>
              <a:gd name="f5135" fmla="*/ f3695 1 f1423"/>
              <a:gd name="f5136" fmla="*/ f3696 1 f1423"/>
              <a:gd name="f5137" fmla="*/ f3697 1 f1423"/>
              <a:gd name="f5138" fmla="*/ f3698 1 f1423"/>
              <a:gd name="f5139" fmla="*/ f3699 1 f1423"/>
              <a:gd name="f5140" fmla="*/ f3700 1 f1423"/>
              <a:gd name="f5141" fmla="*/ f3701 1 f1423"/>
              <a:gd name="f5142" fmla="*/ f3702 1 f1423"/>
              <a:gd name="f5143" fmla="*/ f3703 1 f1423"/>
              <a:gd name="f5144" fmla="*/ f3704 1 f1423"/>
              <a:gd name="f5145" fmla="*/ f3705 1 f1423"/>
              <a:gd name="f5146" fmla="*/ f3706 1 f1423"/>
              <a:gd name="f5147" fmla="*/ f3707 1 f1423"/>
              <a:gd name="f5148" fmla="*/ f3708 1 f1423"/>
              <a:gd name="f5149" fmla="*/ f3709 1 f1423"/>
              <a:gd name="f5150" fmla="*/ f3710 1 f1423"/>
              <a:gd name="f5151" fmla="*/ f3711 1 f1423"/>
              <a:gd name="f5152" fmla="*/ f3712 1 f1423"/>
              <a:gd name="f5153" fmla="*/ f3713 1 f1423"/>
              <a:gd name="f5154" fmla="*/ f3714 1 f1423"/>
              <a:gd name="f5155" fmla="*/ f3715 1 f1423"/>
              <a:gd name="f5156" fmla="*/ f3716 1 f1423"/>
              <a:gd name="f5157" fmla="*/ f3717 1 f1423"/>
              <a:gd name="f5158" fmla="*/ f3718 1 f1423"/>
              <a:gd name="f5159" fmla="*/ f3719 1 f1423"/>
              <a:gd name="f5160" fmla="*/ f3720 1 f1423"/>
              <a:gd name="f5161" fmla="*/ f3721 1 f1423"/>
              <a:gd name="f5162" fmla="*/ f3722 1 f1423"/>
              <a:gd name="f5163" fmla="*/ f3723 1 f1423"/>
              <a:gd name="f5164" fmla="*/ f3724 1 f1423"/>
              <a:gd name="f5165" fmla="*/ f3725 1 f1423"/>
              <a:gd name="f5166" fmla="*/ f3726 1 f1423"/>
              <a:gd name="f5167" fmla="*/ f3727 1 f1423"/>
              <a:gd name="f5168" fmla="*/ f3728 1 f1423"/>
              <a:gd name="f5169" fmla="*/ f3729 1 f1423"/>
              <a:gd name="f5170" fmla="*/ f3730 1 f1422"/>
              <a:gd name="f5171" fmla="*/ f3731 1 f1423"/>
              <a:gd name="f5172" fmla="*/ f3732 1 f1422"/>
              <a:gd name="f5173" fmla="*/ f3733 1 f1422"/>
              <a:gd name="f5174" fmla="*/ f3734 1 f1423"/>
              <a:gd name="f5175" fmla="*/ f3735 1 f1423"/>
              <a:gd name="f5176" fmla="*/ f3736 1 f1423"/>
              <a:gd name="f5177" fmla="*/ f3737 1 f1422"/>
              <a:gd name="f5178" fmla="*/ f3738 1 f1423"/>
              <a:gd name="f5179" fmla="*/ f3739 1 f1422"/>
              <a:gd name="f5180" fmla="*/ f3740 1 f1422"/>
              <a:gd name="f5181" fmla="*/ f3741 1 f1422"/>
              <a:gd name="f5182" fmla="*/ f3742 1 f1422"/>
              <a:gd name="f5183" fmla="*/ f3743 1 f1422"/>
              <a:gd name="f5184" fmla="*/ f3744 1 f1422"/>
              <a:gd name="f5185" fmla="*/ f3745 1 f1422"/>
              <a:gd name="f5186" fmla="*/ f3746 1 f1422"/>
              <a:gd name="f5187" fmla="*/ f3747 1 f1422"/>
              <a:gd name="f5188" fmla="*/ f3748 1 f1423"/>
              <a:gd name="f5189" fmla="*/ f3749 1 f1423"/>
              <a:gd name="f5190" fmla="*/ f3750 1 f1423"/>
              <a:gd name="f5191" fmla="*/ f3751 1 f1423"/>
              <a:gd name="f5192" fmla="*/ f3752 1 f1422"/>
              <a:gd name="f5193" fmla="*/ f3753 1 f1423"/>
              <a:gd name="f5194" fmla="*/ f3754 1 f1423"/>
              <a:gd name="f5195" fmla="*/ f3755 1 f1423"/>
              <a:gd name="f5196" fmla="*/ f3756 1 f1423"/>
              <a:gd name="f5197" fmla="*/ f3757 1 f1423"/>
              <a:gd name="f5198" fmla="*/ f3758 1 f1423"/>
              <a:gd name="f5199" fmla="*/ f3759 1 f1423"/>
              <a:gd name="f5200" fmla="*/ f3760 1 f1423"/>
              <a:gd name="f5201" fmla="*/ f3761 1 f1423"/>
              <a:gd name="f5202" fmla="*/ f3762 1 f1422"/>
              <a:gd name="f5203" fmla="*/ f3763 1 f1422"/>
              <a:gd name="f5204" fmla="*/ f3764 1 f1423"/>
              <a:gd name="f5205" fmla="*/ f3765 1 f1423"/>
              <a:gd name="f5206" fmla="*/ f3766 1 f1423"/>
              <a:gd name="f5207" fmla="*/ f3767 1 f1422"/>
              <a:gd name="f5208" fmla="*/ f3768 1 f1422"/>
              <a:gd name="f5209" fmla="*/ f3769 1 f1422"/>
              <a:gd name="f5210" fmla="*/ f3770 1 f1422"/>
              <a:gd name="f5211" fmla="*/ f3771 1 f1422"/>
              <a:gd name="f5212" fmla="*/ f3772 1 f1422"/>
              <a:gd name="f5213" fmla="*/ f3773 1 f1422"/>
              <a:gd name="f5214" fmla="*/ f3774 1 f1423"/>
              <a:gd name="f5215" fmla="*/ f3775 1 f1423"/>
              <a:gd name="f5216" fmla="*/ f3776 1 f1423"/>
              <a:gd name="f5217" fmla="*/ f3777 1 f1423"/>
              <a:gd name="f5218" fmla="*/ f3778 1 f1423"/>
              <a:gd name="f5219" fmla="*/ f3779 1 f1423"/>
              <a:gd name="f5220" fmla="*/ f3780 1 f1423"/>
              <a:gd name="f5221" fmla="*/ f3781 1 f1423"/>
              <a:gd name="f5222" fmla="*/ f3782 1 f1423"/>
              <a:gd name="f5223" fmla="*/ f3783 1 f1423"/>
              <a:gd name="f5224" fmla="*/ f3784 1 f1423"/>
              <a:gd name="f5225" fmla="*/ f3785 1 f1423"/>
              <a:gd name="f5226" fmla="*/ f3786 1 f1423"/>
              <a:gd name="f5227" fmla="*/ f3787 1 f1423"/>
              <a:gd name="f5228" fmla="*/ f3788 1 f1423"/>
              <a:gd name="f5229" fmla="*/ f3789 1 f1423"/>
              <a:gd name="f5230" fmla="*/ f3790 1 f1423"/>
              <a:gd name="f5231" fmla="*/ f3791 1 f1423"/>
              <a:gd name="f5232" fmla="*/ f3792 1 f1423"/>
              <a:gd name="f5233" fmla="*/ f3793 1 f1423"/>
              <a:gd name="f5234" fmla="*/ f3794 1 f1423"/>
              <a:gd name="f5235" fmla="*/ f3795 1 f1423"/>
              <a:gd name="f5236" fmla="*/ f3796 1 f1423"/>
              <a:gd name="f5237" fmla="*/ f3797 1 f1423"/>
              <a:gd name="f5238" fmla="*/ f3798 1 f1423"/>
              <a:gd name="f5239" fmla="*/ f3799 1 f1423"/>
              <a:gd name="f5240" fmla="*/ f3800 1 f1423"/>
              <a:gd name="f5241" fmla="*/ f3801 1 f1423"/>
              <a:gd name="f5242" fmla="*/ f3802 1 f1423"/>
              <a:gd name="f5243" fmla="*/ f3803 1 f1423"/>
              <a:gd name="f5244" fmla="*/ f3804 1 f1423"/>
              <a:gd name="f5245" fmla="*/ f3805 1 f1423"/>
              <a:gd name="f5246" fmla="*/ f3806 1 f1423"/>
              <a:gd name="f5247" fmla="*/ f3807 1 f1423"/>
              <a:gd name="f5248" fmla="*/ f3808 1 f1423"/>
              <a:gd name="f5249" fmla="*/ f3809 1 f1423"/>
              <a:gd name="f5250" fmla="*/ f3810 1 f1422"/>
              <a:gd name="f5251" fmla="*/ f3811 1 f1423"/>
              <a:gd name="f5252" fmla="*/ f3812 1 f1422"/>
              <a:gd name="f5253" fmla="*/ f3813 1 f1423"/>
              <a:gd name="f5254" fmla="*/ f3814 1 f1423"/>
              <a:gd name="f5255" fmla="*/ f3815 1 f1423"/>
              <a:gd name="f5256" fmla="*/ f3816 1 f1422"/>
              <a:gd name="f5257" fmla="*/ f3817 1 f1422"/>
              <a:gd name="f5258" fmla="*/ f3818 1 f1422"/>
              <a:gd name="f5259" fmla="*/ f3819 1 f1422"/>
              <a:gd name="f5260" fmla="*/ f3820 1 f1422"/>
              <a:gd name="f5261" fmla="*/ f3821 1 f1422"/>
              <a:gd name="f5262" fmla="*/ f3822 1 f1422"/>
              <a:gd name="f5263" fmla="*/ f3823 1 f1423"/>
              <a:gd name="f5264" fmla="*/ f3824 1 f1423"/>
              <a:gd name="f5265" fmla="*/ f3825 1 f1423"/>
              <a:gd name="f5266" fmla="*/ f3826 1 f1423"/>
              <a:gd name="f5267" fmla="*/ f3827 1 f1423"/>
              <a:gd name="f5268" fmla="*/ f3828 1 f1423"/>
              <a:gd name="f5269" fmla="*/ f3829 1 f1423"/>
              <a:gd name="f5270" fmla="*/ f3830 1 f1423"/>
              <a:gd name="f5271" fmla="*/ f3831 1 f1422"/>
              <a:gd name="f5272" fmla="*/ f3832 1 f1423"/>
              <a:gd name="f5273" fmla="*/ f3833 1 f1422"/>
              <a:gd name="f5274" fmla="*/ f3834 1 f1423"/>
              <a:gd name="f5275" fmla="*/ f3835 1 f1423"/>
              <a:gd name="f5276" fmla="*/ f3836 1 f1423"/>
              <a:gd name="f5277" fmla="*/ f3837 1 f1422"/>
              <a:gd name="f5278" fmla="*/ f3838 1 f1423"/>
              <a:gd name="f5279" fmla="*/ f3839 1 f1423"/>
              <a:gd name="f5280" fmla="*/ f3840 1 f1423"/>
              <a:gd name="f5281" fmla="*/ f3841 1 f1423"/>
              <a:gd name="f5282" fmla="*/ f3842 1 f1422"/>
              <a:gd name="f5283" fmla="*/ f3843 1 f1422"/>
              <a:gd name="f5284" fmla="*/ f3844 1 f1422"/>
              <a:gd name="f5285" fmla="*/ f3845 1 f1422"/>
              <a:gd name="f5286" fmla="*/ f3846 1 f1422"/>
              <a:gd name="f5287" fmla="*/ f3847 1 f1423"/>
              <a:gd name="f5288" fmla="*/ f3848 1 f1422"/>
              <a:gd name="f5289" fmla="*/ f3849 1 f1422"/>
              <a:gd name="f5290" fmla="*/ f3850 1 f1422"/>
              <a:gd name="f5291" fmla="*/ f3851 1 f1422"/>
              <a:gd name="f5292" fmla="*/ f3852 1 f1423"/>
              <a:gd name="f5293" fmla="*/ f3853 1 f1423"/>
              <a:gd name="f5294" fmla="*/ f3854 1 f1423"/>
              <a:gd name="f5295" fmla="*/ f3855 1 f1423"/>
              <a:gd name="f5296" fmla="*/ f3856 1 f1423"/>
              <a:gd name="f5297" fmla="*/ f3857 1 f1423"/>
              <a:gd name="f5298" fmla="*/ f3858 1 f1423"/>
              <a:gd name="f5299" fmla="*/ f3859 1 f1423"/>
              <a:gd name="f5300" fmla="*/ f3860 1 f1423"/>
              <a:gd name="f5301" fmla="*/ f3861 1 f1423"/>
              <a:gd name="f5302" fmla="*/ f3862 1 f1423"/>
              <a:gd name="f5303" fmla="*/ f3863 1 f1423"/>
              <a:gd name="f5304" fmla="*/ f3864 1 f1423"/>
              <a:gd name="f5305" fmla="*/ f3865 1 f1423"/>
              <a:gd name="f5306" fmla="*/ f3866 1 f1423"/>
              <a:gd name="f5307" fmla="*/ f3867 1 f1423"/>
              <a:gd name="f5308" fmla="*/ f3868 1 f1423"/>
              <a:gd name="f5309" fmla="*/ f3869 1 f1423"/>
              <a:gd name="f5310" fmla="*/ f3870 1 f1423"/>
              <a:gd name="f5311" fmla="*/ f3871 1 f1423"/>
              <a:gd name="f5312" fmla="*/ f3872 1 f1423"/>
              <a:gd name="f5313" fmla="*/ f3873 1 f1423"/>
              <a:gd name="f5314" fmla="*/ f3874 1 f1423"/>
              <a:gd name="f5315" fmla="*/ f3875 1 f1423"/>
              <a:gd name="f5316" fmla="*/ f3876 1 f1423"/>
              <a:gd name="f5317" fmla="*/ f3877 1 f1423"/>
              <a:gd name="f5318" fmla="*/ f3878 1 f1423"/>
              <a:gd name="f5319" fmla="*/ f3879 1 f1423"/>
              <a:gd name="f5320" fmla="*/ f3880 1 f1423"/>
              <a:gd name="f5321" fmla="*/ f3881 1 f1423"/>
              <a:gd name="f5322" fmla="*/ f3882 1 f1423"/>
              <a:gd name="f5323" fmla="*/ f3883 1 f1423"/>
              <a:gd name="f5324" fmla="*/ f3884 1 f1423"/>
              <a:gd name="f5325" fmla="*/ f3885 1 f1423"/>
              <a:gd name="f5326" fmla="*/ f3886 1 f1423"/>
              <a:gd name="f5327" fmla="*/ f3887 1 f1423"/>
              <a:gd name="f5328" fmla="*/ f3888 1 f1422"/>
              <a:gd name="f5329" fmla="*/ f3889 1 f1423"/>
              <a:gd name="f5330" fmla="*/ f3890 1 f1422"/>
              <a:gd name="f5331" fmla="*/ f3891 1 f1423"/>
              <a:gd name="f5332" fmla="*/ f3892 1 f1423"/>
              <a:gd name="f5333" fmla="*/ f3893 1 f1423"/>
              <a:gd name="f5334" fmla="*/ f3894 1 f1422"/>
              <a:gd name="f5335" fmla="*/ f3895 1 f1422"/>
              <a:gd name="f5336" fmla="*/ f3896 1 f1423"/>
              <a:gd name="f5337" fmla="*/ f3897 1 f1422"/>
              <a:gd name="f5338" fmla="*/ f3898 1 f1422"/>
              <a:gd name="f5339" fmla="*/ f3899 1 f1423"/>
              <a:gd name="f5340" fmla="*/ f3900 1 f1422"/>
              <a:gd name="f5341" fmla="*/ f3901 1 f1422"/>
              <a:gd name="f5342" fmla="*/ f3902 1 f1422"/>
              <a:gd name="f5343" fmla="*/ f3903 1 f1422"/>
              <a:gd name="f5344" fmla="*/ f3904 1 f1422"/>
              <a:gd name="f5345" fmla="*/ f3905 1 f1422"/>
              <a:gd name="f5346" fmla="*/ f3906 1 f1422"/>
              <a:gd name="f5347" fmla="*/ f3907 1 f1423"/>
              <a:gd name="f5348" fmla="*/ f3908 1 f1422"/>
              <a:gd name="f5349" fmla="*/ f3909 1 f1423"/>
              <a:gd name="f5350" fmla="*/ f3910 1 f1423"/>
              <a:gd name="f5351" fmla="*/ f3911 1 f1423"/>
              <a:gd name="f5352" fmla="*/ f3912 1 f1422"/>
              <a:gd name="f5353" fmla="*/ f3913 1 f1422"/>
              <a:gd name="f5354" fmla="*/ f3914 1 f1422"/>
              <a:gd name="f5355" fmla="*/ f3915 1 f1422"/>
              <a:gd name="f5356" fmla="*/ f3916 1 f1422"/>
              <a:gd name="f5357" fmla="*/ f3917 1 f1423"/>
              <a:gd name="f5358" fmla="*/ f3918 1 f1422"/>
              <a:gd name="f5359" fmla="*/ f3919 1 f1422"/>
              <a:gd name="f5360" fmla="*/ f3920 1 f1422"/>
              <a:gd name="f5361" fmla="*/ f3921 1 f1423"/>
              <a:gd name="f5362" fmla="*/ f3922 1 f1423"/>
              <a:gd name="f5363" fmla="*/ f3923 1 f1423"/>
              <a:gd name="f5364" fmla="*/ f3924 1 f1423"/>
              <a:gd name="f5365" fmla="*/ f3925 1 f1423"/>
              <a:gd name="f5366" fmla="*/ f3926 1 f1422"/>
              <a:gd name="f5367" fmla="*/ f3927 1 f1423"/>
              <a:gd name="f5368" fmla="*/ f3928 1 f1423"/>
              <a:gd name="f5369" fmla="*/ f3929 1 f1423"/>
              <a:gd name="f5370" fmla="*/ f3930 1 f1423"/>
              <a:gd name="f5371" fmla="*/ f3931 1 f1423"/>
              <a:gd name="f5372" fmla="*/ f3932 1 f1423"/>
              <a:gd name="f5373" fmla="*/ f3933 1 f1423"/>
              <a:gd name="f5374" fmla="*/ f3934 1 f1423"/>
              <a:gd name="f5375" fmla="*/ f3935 1 f1423"/>
              <a:gd name="f5376" fmla="*/ f3936 1 f1423"/>
              <a:gd name="f5377" fmla="*/ f3937 1 f1423"/>
              <a:gd name="f5378" fmla="*/ f3938 1 f1423"/>
              <a:gd name="f5379" fmla="*/ f3939 1 f1423"/>
              <a:gd name="f5380" fmla="*/ f3940 1 f1423"/>
              <a:gd name="f5381" fmla="*/ f3941 1 f1423"/>
              <a:gd name="f5382" fmla="*/ f3942 1 f1423"/>
              <a:gd name="f5383" fmla="*/ f3943 1 f1423"/>
              <a:gd name="f5384" fmla="*/ f3944 1 f1423"/>
              <a:gd name="f5385" fmla="*/ f3945 1 f1423"/>
              <a:gd name="f5386" fmla="*/ f3946 1 f1423"/>
              <a:gd name="f5387" fmla="*/ f3947 1 f1423"/>
              <a:gd name="f5388" fmla="*/ f3948 1 f1423"/>
              <a:gd name="f5389" fmla="*/ f3949 1 f1423"/>
              <a:gd name="f5390" fmla="*/ f3950 1 f1423"/>
              <a:gd name="f5391" fmla="*/ f3951 1 f1423"/>
              <a:gd name="f5392" fmla="*/ f3952 1 f1423"/>
              <a:gd name="f5393" fmla="*/ f3953 1 f1423"/>
              <a:gd name="f5394" fmla="*/ f3954 1 f1423"/>
              <a:gd name="f5395" fmla="*/ f3955 1 f1422"/>
              <a:gd name="f5396" fmla="*/ f3956 1 f1422"/>
              <a:gd name="f5397" fmla="*/ f3957 1 f1423"/>
              <a:gd name="f5398" fmla="*/ f3958 1 f1423"/>
              <a:gd name="f5399" fmla="*/ f3959 1 f1423"/>
              <a:gd name="f5400" fmla="*/ f3960 1 f1422"/>
              <a:gd name="f5401" fmla="*/ f3961 1 f1422"/>
              <a:gd name="f5402" fmla="*/ f3962 1 f1422"/>
              <a:gd name="f5403" fmla="*/ f3963 1 f1422"/>
              <a:gd name="f5404" fmla="*/ f3964 1 f1422"/>
              <a:gd name="f5405" fmla="*/ f3965 1 f1422"/>
              <a:gd name="f5406" fmla="*/ f3966 1 f1422"/>
              <a:gd name="f5407" fmla="*/ f3967 1 f1422"/>
              <a:gd name="f5408" fmla="*/ f3968 1 f1423"/>
              <a:gd name="f5409" fmla="*/ f3969 1 f1423"/>
              <a:gd name="f5410" fmla="*/ f3970 1 f1423"/>
              <a:gd name="f5411" fmla="*/ f3971 1 f1423"/>
              <a:gd name="f5412" fmla="*/ f3972 1 f1423"/>
              <a:gd name="f5413" fmla="*/ f3973 1 f1423"/>
              <a:gd name="f5414" fmla="*/ f3974 1 f1422"/>
              <a:gd name="f5415" fmla="*/ f3975 1 f1423"/>
              <a:gd name="f5416" fmla="*/ f3976 1 f1423"/>
              <a:gd name="f5417" fmla="*/ f3977 1 f1423"/>
              <a:gd name="f5418" fmla="*/ f3978 1 f1423"/>
              <a:gd name="f5419" fmla="*/ f3979 1 f1423"/>
              <a:gd name="f5420" fmla="*/ f3980 1 f1422"/>
              <a:gd name="f5421" fmla="*/ f3981 1 f1423"/>
              <a:gd name="f5422" fmla="*/ f3982 1 f1423"/>
              <a:gd name="f5423" fmla="*/ f3983 1 f1423"/>
              <a:gd name="f5424" fmla="*/ f3984 1 f1423"/>
              <a:gd name="f5425" fmla="*/ f3985 1 f1423"/>
              <a:gd name="f5426" fmla="*/ f3986 1 f1423"/>
              <a:gd name="f5427" fmla="*/ f3987 1 f1423"/>
              <a:gd name="f5428" fmla="*/ f3988 1 f1423"/>
              <a:gd name="f5429" fmla="*/ f3989 1 f1422"/>
              <a:gd name="f5430" fmla="*/ f3990 1 f1422"/>
              <a:gd name="f5431" fmla="*/ f3991 1 f1422"/>
              <a:gd name="f5432" fmla="*/ f3992 1 f1422"/>
              <a:gd name="f5433" fmla="*/ f3993 1 f1422"/>
              <a:gd name="f5434" fmla="*/ f3994 1 f1422"/>
              <a:gd name="f5435" fmla="*/ f3995 1 f1422"/>
              <a:gd name="f5436" fmla="*/ f3996 1 f1422"/>
              <a:gd name="f5437" fmla="*/ f3997 1 f1422"/>
              <a:gd name="f5438" fmla="*/ f3998 1 f1423"/>
              <a:gd name="f5439" fmla="*/ f3999 1 f1423"/>
              <a:gd name="f5440" fmla="*/ f4000 1 f1423"/>
              <a:gd name="f5441" fmla="*/ f4001 1 f1423"/>
              <a:gd name="f5442" fmla="*/ f4002 1 f1423"/>
              <a:gd name="f5443" fmla="*/ f4003 1 f1423"/>
              <a:gd name="f5444" fmla="*/ f4004 1 f1423"/>
              <a:gd name="f5445" fmla="*/ f4005 1 f1423"/>
              <a:gd name="f5446" fmla="*/ f4006 1 f1423"/>
              <a:gd name="f5447" fmla="*/ f4007 1 f1423"/>
              <a:gd name="f5448" fmla="*/ f4008 1 f1423"/>
              <a:gd name="f5449" fmla="*/ f4009 1 f1423"/>
              <a:gd name="f5450" fmla="*/ f4010 1 f1423"/>
              <a:gd name="f5451" fmla="*/ f4011 1 f1423"/>
              <a:gd name="f5452" fmla="*/ f4012 1 f1423"/>
              <a:gd name="f5453" fmla="*/ f4013 1 f1423"/>
              <a:gd name="f5454" fmla="*/ f4014 1 f1423"/>
              <a:gd name="f5455" fmla="*/ f4015 1 f1423"/>
              <a:gd name="f5456" fmla="*/ f4016 1 f1423"/>
              <a:gd name="f5457" fmla="*/ f4017 1 f1423"/>
              <a:gd name="f5458" fmla="*/ f4018 1 f1423"/>
              <a:gd name="f5459" fmla="*/ f4019 1 f1423"/>
              <a:gd name="f5460" fmla="*/ f4020 1 f1423"/>
              <a:gd name="f5461" fmla="*/ f4021 1 f1423"/>
              <a:gd name="f5462" fmla="*/ f4022 1 f1423"/>
              <a:gd name="f5463" fmla="*/ f4023 1 f1423"/>
              <a:gd name="f5464" fmla="*/ f4024 1 f1423"/>
              <a:gd name="f5465" fmla="*/ f4025 1 f1422"/>
              <a:gd name="f5466" fmla="*/ f4026 1 f1423"/>
              <a:gd name="f5467" fmla="*/ f4027 1 f1422"/>
              <a:gd name="f5468" fmla="*/ f4028 1 f1423"/>
              <a:gd name="f5469" fmla="*/ f4029 1 f1423"/>
              <a:gd name="f5470" fmla="*/ f4030 1 f1423"/>
              <a:gd name="f5471" fmla="*/ f4031 1 f1422"/>
              <a:gd name="f5472" fmla="*/ f4032 1 f1422"/>
              <a:gd name="f5473" fmla="*/ f4033 1 f1423"/>
              <a:gd name="f5474" fmla="*/ f4034 1 f1422"/>
              <a:gd name="f5475" fmla="*/ f4035 1 f1423"/>
              <a:gd name="f5476" fmla="*/ f4036 1 f1422"/>
              <a:gd name="f5477" fmla="*/ f4037 1 f1422"/>
              <a:gd name="f5478" fmla="*/ f4038 1 f1422"/>
              <a:gd name="f5479" fmla="*/ f4039 1 f1422"/>
              <a:gd name="f5480" fmla="*/ f4040 1 f1423"/>
              <a:gd name="f5481" fmla="*/ f4041 1 f1423"/>
              <a:gd name="f5482" fmla="*/ f4042 1 f1423"/>
              <a:gd name="f5483" fmla="*/ f4043 1 f1423"/>
              <a:gd name="f5484" fmla="*/ f4044 1 f1423"/>
              <a:gd name="f5485" fmla="*/ f4045 1 f1423"/>
              <a:gd name="f5486" fmla="*/ f4046 1 f1423"/>
              <a:gd name="f5487" fmla="*/ f4047 1 f1423"/>
              <a:gd name="f5488" fmla="*/ f4048 1 f1423"/>
              <a:gd name="f5489" fmla="*/ f4049 1 f1422"/>
              <a:gd name="f5490" fmla="*/ f4050 1 f1423"/>
              <a:gd name="f5491" fmla="*/ f4051 1 f1423"/>
              <a:gd name="f5492" fmla="*/ f4052 1 f1423"/>
              <a:gd name="f5493" fmla="*/ f4053 1 f1423"/>
              <a:gd name="f5494" fmla="*/ f4054 1 f1423"/>
              <a:gd name="f5495" fmla="*/ f4055 1 f1423"/>
              <a:gd name="f5496" fmla="*/ f4056 1 f1423"/>
              <a:gd name="f5497" fmla="*/ f4057 1 f1423"/>
              <a:gd name="f5498" fmla="*/ f4058 1 f1422"/>
              <a:gd name="f5499" fmla="*/ f4059 1 f1422"/>
              <a:gd name="f5500" fmla="*/ f4060 1 f1423"/>
              <a:gd name="f5501" fmla="*/ f4061 1 f1423"/>
              <a:gd name="f5502" fmla="*/ f4062 1 f1423"/>
              <a:gd name="f5503" fmla="*/ f4063 1 f1422"/>
              <a:gd name="f5504" fmla="*/ f4064 1 f1423"/>
              <a:gd name="f5505" fmla="*/ f4065 1 f1423"/>
              <a:gd name="f5506" fmla="*/ f4066 1 f1422"/>
              <a:gd name="f5507" fmla="*/ f4067 1 f1422"/>
              <a:gd name="f5508" fmla="*/ f4068 1 f1422"/>
              <a:gd name="f5509" fmla="*/ f4069 1 f1422"/>
              <a:gd name="f5510" fmla="*/ f4070 1 f1422"/>
              <a:gd name="f5511" fmla="*/ f4071 1 f1422"/>
              <a:gd name="f5512" fmla="*/ f4072 1 f1422"/>
              <a:gd name="f5513" fmla="*/ f4073 1 f1423"/>
              <a:gd name="f5514" fmla="*/ f4074 1 f1423"/>
              <a:gd name="f5515" fmla="*/ f4075 1 f1423"/>
              <a:gd name="f5516" fmla="*/ f4076 1 f1423"/>
              <a:gd name="f5517" fmla="*/ f4077 1 f1423"/>
              <a:gd name="f5518" fmla="*/ f4078 1 f1423"/>
              <a:gd name="f5519" fmla="*/ f4079 1 f1423"/>
              <a:gd name="f5520" fmla="*/ f4080 1 f1423"/>
              <a:gd name="f5521" fmla="*/ f4081 1 f1423"/>
              <a:gd name="f5522" fmla="*/ f4082 1 f1423"/>
              <a:gd name="f5523" fmla="*/ f4083 1 f1423"/>
              <a:gd name="f5524" fmla="*/ f4084 1 f1423"/>
              <a:gd name="f5525" fmla="*/ f4085 1 f1423"/>
              <a:gd name="f5526" fmla="*/ f4086 1 f1423"/>
              <a:gd name="f5527" fmla="*/ f4087 1 f1423"/>
              <a:gd name="f5528" fmla="*/ f4088 1 f1423"/>
              <a:gd name="f5529" fmla="*/ f4089 1 f1423"/>
              <a:gd name="f5530" fmla="*/ f4090 1 f1423"/>
              <a:gd name="f5531" fmla="*/ f4091 1 f1423"/>
              <a:gd name="f5532" fmla="*/ f4092 1 f1423"/>
              <a:gd name="f5533" fmla="*/ f4093 1 f1423"/>
              <a:gd name="f5534" fmla="*/ f4094 1 f1423"/>
              <a:gd name="f5535" fmla="*/ f4095 1 f1423"/>
              <a:gd name="f5536" fmla="*/ f4096 1 f1423"/>
              <a:gd name="f5537" fmla="*/ f4097 1 f1423"/>
              <a:gd name="f5538" fmla="*/ f4098 1 f1423"/>
              <a:gd name="f5539" fmla="*/ f4099 1 f1423"/>
              <a:gd name="f5540" fmla="*/ f4100 1 f1423"/>
              <a:gd name="f5541" fmla="*/ f4101 1 f1423"/>
              <a:gd name="f5542" fmla="*/ f4102 1 f1423"/>
              <a:gd name="f5543" fmla="*/ f4103 1 f1423"/>
              <a:gd name="f5544" fmla="*/ f4104 1 f1423"/>
              <a:gd name="f5545" fmla="*/ f4105 1 f1423"/>
              <a:gd name="f5546" fmla="*/ f4106 1 f1422"/>
              <a:gd name="f5547" fmla="*/ f4107 1 f1423"/>
              <a:gd name="f5548" fmla="*/ f4108 1 f1422"/>
              <a:gd name="f5549" fmla="*/ f4109 1 f1422"/>
              <a:gd name="f5550" fmla="*/ f4110 1 f1423"/>
              <a:gd name="f5551" fmla="*/ f4111 1 f1423"/>
              <a:gd name="f5552" fmla="*/ f4112 1 f1423"/>
              <a:gd name="f5553" fmla="*/ f4113 1 f1422"/>
              <a:gd name="f5554" fmla="*/ f4114 1 f1422"/>
              <a:gd name="f5555" fmla="*/ f4115 1 f1422"/>
              <a:gd name="f5556" fmla="*/ f4116 1 f1422"/>
              <a:gd name="f5557" fmla="*/ f4117 1 f1422"/>
              <a:gd name="f5558" fmla="*/ f4118 1 f1422"/>
              <a:gd name="f5559" fmla="*/ f4119 1 f1422"/>
              <a:gd name="f5560" fmla="*/ f4120 1 f1422"/>
              <a:gd name="f5561" fmla="*/ f4121 1 f1422"/>
              <a:gd name="f5562" fmla="*/ f4122 1 f1422"/>
              <a:gd name="f5563" fmla="*/ f4123 1 f1423"/>
              <a:gd name="f5564" fmla="*/ f4124 1 f1422"/>
              <a:gd name="f5565" fmla="*/ f4125 1 f1423"/>
              <a:gd name="f5566" fmla="*/ f4126 1 f1423"/>
              <a:gd name="f5567" fmla="*/ f4127 1 f1423"/>
              <a:gd name="f5568" fmla="*/ f4128 1 f1422"/>
              <a:gd name="f5569" fmla="*/ f4129 1 f1422"/>
              <a:gd name="f5570" fmla="*/ f4130 1 f1422"/>
              <a:gd name="f5571" fmla="*/ f4131 1 f1422"/>
              <a:gd name="f5572" fmla="*/ f4132 1 f1423"/>
              <a:gd name="f5573" fmla="*/ f4133 1 f1422"/>
              <a:gd name="f5574" fmla="*/ f4134 1 f1422"/>
              <a:gd name="f5575" fmla="*/ f4135 1 f1422"/>
              <a:gd name="f5576" fmla="*/ f4136 1 f1422"/>
              <a:gd name="f5577" fmla="*/ f4137 1 f1423"/>
              <a:gd name="f5578" fmla="*/ f4138 1 f1422"/>
              <a:gd name="f5579" fmla="*/ f4139 1 f1423"/>
              <a:gd name="f5580" fmla="*/ f4140 1 f1423"/>
              <a:gd name="f5581" fmla="*/ f4141 1 f1423"/>
              <a:gd name="f5582" fmla="*/ f4142 1 f1423"/>
              <a:gd name="f5583" fmla="*/ f4143 1 f1422"/>
              <a:gd name="f5584" fmla="*/ f4144 1 f1423"/>
              <a:gd name="f5585" fmla="*/ f4145 1 f1423"/>
              <a:gd name="f5586" fmla="*/ f4146 1 f1423"/>
              <a:gd name="f5587" fmla="*/ f4147 1 f1423"/>
              <a:gd name="f5588" fmla="*/ f4148 1 f1423"/>
              <a:gd name="f5589" fmla="*/ f4149 1 f1423"/>
              <a:gd name="f5590" fmla="*/ f4150 1 f1423"/>
              <a:gd name="f5591" fmla="*/ f4151 1 f1423"/>
              <a:gd name="f5592" fmla="*/ f4152 1 f1423"/>
              <a:gd name="f5593" fmla="*/ f4153 1 f1423"/>
              <a:gd name="f5594" fmla="*/ f4154 1 f1423"/>
              <a:gd name="f5595" fmla="*/ f4155 1 f1423"/>
              <a:gd name="f5596" fmla="*/ f4156 1 f1423"/>
              <a:gd name="f5597" fmla="*/ f4157 1 f1423"/>
              <a:gd name="f5598" fmla="*/ f4158 1 f1423"/>
              <a:gd name="f5599" fmla="*/ f4159 1 f1423"/>
              <a:gd name="f5600" fmla="*/ f4160 1 f1423"/>
              <a:gd name="f5601" fmla="*/ f4161 1 f1423"/>
              <a:gd name="f5602" fmla="*/ f4162 1 f1423"/>
              <a:gd name="f5603" fmla="*/ f4163 1 f1423"/>
              <a:gd name="f5604" fmla="*/ f4164 1 f1423"/>
              <a:gd name="f5605" fmla="*/ f4165 1 f1423"/>
              <a:gd name="f5606" fmla="*/ f4166 1 f1423"/>
              <a:gd name="f5607" fmla="*/ f4167 1 f1423"/>
              <a:gd name="f5608" fmla="*/ f4168 1 f1423"/>
              <a:gd name="f5609" fmla="*/ f4169 1 f1423"/>
              <a:gd name="f5610" fmla="*/ f4170 1 f1423"/>
              <a:gd name="f5611" fmla="*/ f4171 1 f1423"/>
              <a:gd name="f5612" fmla="*/ f4172 1 f1423"/>
              <a:gd name="f5613" fmla="*/ f4173 1 f1422"/>
              <a:gd name="f5614" fmla="*/ f4174 1 f1422"/>
              <a:gd name="f5615" fmla="*/ f4175 1 f1423"/>
              <a:gd name="f5616" fmla="*/ f4176 1 f1423"/>
              <a:gd name="f5617" fmla="*/ f4177 1 f1423"/>
              <a:gd name="f5618" fmla="*/ f4178 1 f1422"/>
              <a:gd name="f5619" fmla="*/ f4179 1 f1422"/>
              <a:gd name="f5620" fmla="*/ f4180 1 f1422"/>
              <a:gd name="f5621" fmla="*/ f4181 1 f1422"/>
              <a:gd name="f5622" fmla="*/ f4182 1 f1422"/>
              <a:gd name="f5623" fmla="*/ f4183 1 f1422"/>
              <a:gd name="f5624" fmla="*/ f4184 1 f1422"/>
              <a:gd name="f5625" fmla="*/ f4185 1 f1422"/>
              <a:gd name="f5626" fmla="*/ f4186 1 f1423"/>
              <a:gd name="f5627" fmla="*/ f4187 1 f1423"/>
              <a:gd name="f5628" fmla="*/ f4188 1 f1423"/>
              <a:gd name="f5629" fmla="*/ f4189 1 f1423"/>
              <a:gd name="f5630" fmla="*/ f4190 1 f1423"/>
              <a:gd name="f5631" fmla="*/ f4191 1 f1423"/>
              <a:gd name="f5632" fmla="*/ f4192 1 f1423"/>
              <a:gd name="f5633" fmla="*/ f4193 1 f1423"/>
              <a:gd name="f5634" fmla="*/ f4194 1 f1423"/>
              <a:gd name="f5635" fmla="*/ f4195 1 f1423"/>
              <a:gd name="f5636" fmla="*/ f4196 1 f1423"/>
              <a:gd name="f5637" fmla="*/ f4197 1 f1423"/>
              <a:gd name="f5638" fmla="*/ f4198 1 f1422"/>
              <a:gd name="f5639" fmla="*/ f4199 1 f1423"/>
              <a:gd name="f5640" fmla="*/ f4200 1 f1423"/>
              <a:gd name="f5641" fmla="*/ f4201 1 f1423"/>
              <a:gd name="f5642" fmla="*/ f4202 1 f1423"/>
              <a:gd name="f5643" fmla="*/ f4203 1 f1423"/>
              <a:gd name="f5644" fmla="*/ f4204 1 f1423"/>
              <a:gd name="f5645" fmla="*/ f4205 1 f1423"/>
              <a:gd name="f5646" fmla="*/ f4206 1 f1423"/>
              <a:gd name="f5647" fmla="*/ f4207 1 f1423"/>
              <a:gd name="f5648" fmla="*/ f4208 1 f1422"/>
              <a:gd name="f5649" fmla="*/ f4209 1 f1422"/>
              <a:gd name="f5650" fmla="*/ f4210 1 f1423"/>
              <a:gd name="f5651" fmla="*/ f4211 1 f1423"/>
              <a:gd name="f5652" fmla="*/ f4212 1 f1423"/>
              <a:gd name="f5653" fmla="*/ f4213 1 f1422"/>
              <a:gd name="f5654" fmla="*/ f4214 1 f1422"/>
              <a:gd name="f5655" fmla="*/ f4215 1 f1422"/>
              <a:gd name="f5656" fmla="*/ f4216 1 f1422"/>
              <a:gd name="f5657" fmla="*/ f4217 1 f1422"/>
              <a:gd name="f5658" fmla="*/ f4218 1 f1422"/>
              <a:gd name="f5659" fmla="*/ f4219 1 f1422"/>
              <a:gd name="f5660" fmla="*/ f4220 1 f1422"/>
              <a:gd name="f5661" fmla="*/ f4221 1 f1423"/>
              <a:gd name="f5662" fmla="*/ f4222 1 f1423"/>
              <a:gd name="f5663" fmla="*/ f4223 1 f1423"/>
              <a:gd name="f5664" fmla="*/ f4224 1 f1423"/>
              <a:gd name="f5665" fmla="*/ f4225 1 f1423"/>
              <a:gd name="f5666" fmla="*/ f4226 1 f1423"/>
              <a:gd name="f5667" fmla="*/ f4227 1 f1423"/>
              <a:gd name="f5668" fmla="*/ f4228 1 f1423"/>
              <a:gd name="f5669" fmla="*/ f4229 1 f1423"/>
              <a:gd name="f5670" fmla="*/ f4230 1 f1423"/>
              <a:gd name="f5671" fmla="*/ f4231 1 f1423"/>
              <a:gd name="f5672" fmla="*/ f4232 1 f1423"/>
              <a:gd name="f5673" fmla="*/ f4233 1 f1423"/>
              <a:gd name="f5674" fmla="*/ f4234 1 f1423"/>
              <a:gd name="f5675" fmla="*/ f4235 1 f1423"/>
              <a:gd name="f5676" fmla="*/ f4236 1 f1423"/>
              <a:gd name="f5677" fmla="*/ f4237 1 f1423"/>
              <a:gd name="f5678" fmla="*/ f4238 1 f1423"/>
              <a:gd name="f5679" fmla="*/ f4239 1 f1423"/>
              <a:gd name="f5680" fmla="*/ f4240 1 f1423"/>
              <a:gd name="f5681" fmla="*/ f4241 1 f1423"/>
              <a:gd name="f5682" fmla="*/ f4242 1 f1423"/>
              <a:gd name="f5683" fmla="*/ f4243 1 f1423"/>
              <a:gd name="f5684" fmla="*/ f4244 1 f1423"/>
              <a:gd name="f5685" fmla="*/ f4245 1 f1423"/>
              <a:gd name="f5686" fmla="*/ f4246 1 f1423"/>
              <a:gd name="f5687" fmla="*/ f4247 1 f1423"/>
              <a:gd name="f5688" fmla="*/ f4248 1 f1423"/>
              <a:gd name="f5689" fmla="*/ f4249 1 f1423"/>
              <a:gd name="f5690" fmla="*/ f4250 1 f1423"/>
              <a:gd name="f5691" fmla="*/ f4251 1 f1423"/>
              <a:gd name="f5692" fmla="*/ f4252 1 f1423"/>
              <a:gd name="f5693" fmla="*/ f4253 1 f1423"/>
              <a:gd name="f5694" fmla="*/ f4254 1 f1423"/>
              <a:gd name="f5695" fmla="*/ f4255 1 f1423"/>
              <a:gd name="f5696" fmla="*/ f4256 1 f1423"/>
              <a:gd name="f5697" fmla="*/ f4257 1 f1423"/>
              <a:gd name="f5698" fmla="*/ f4258 1 f1422"/>
              <a:gd name="f5699" fmla="*/ f4259 1 f1422"/>
              <a:gd name="f5700" fmla="*/ f4260 1 f1422"/>
              <a:gd name="f5701" fmla="*/ f4261 1 f1422"/>
              <a:gd name="f5702" fmla="*/ f4262 1 f1422"/>
              <a:gd name="f5703" fmla="*/ f4263 1 f1423"/>
              <a:gd name="f5704" fmla="*/ f4264 1 f1423"/>
              <a:gd name="f5705" fmla="*/ f4265 1 f1423"/>
              <a:gd name="f5706" fmla="*/ f4266 1 f1422"/>
              <a:gd name="f5707" fmla="*/ f4267 1 f1422"/>
              <a:gd name="f5708" fmla="*/ f4268 1 f1422"/>
              <a:gd name="f5709" fmla="*/ f4269 1 f1422"/>
              <a:gd name="f5710" fmla="*/ f4270 1 f1422"/>
              <a:gd name="f5711" fmla="*/ f4271 1 f1422"/>
              <a:gd name="f5712" fmla="*/ f4272 1 f1422"/>
              <a:gd name="f5713" fmla="*/ f4273 1 f1423"/>
              <a:gd name="f5714" fmla="*/ f4274 1 f1423"/>
              <a:gd name="f5715" fmla="*/ f4275 1 f1423"/>
              <a:gd name="f5716" fmla="*/ f4276 1 f1423"/>
              <a:gd name="f5717" fmla="*/ f4277 1 f1422"/>
              <a:gd name="f5718" fmla="*/ f4278 1 f1423"/>
              <a:gd name="f5719" fmla="*/ f4279 1 f1423"/>
              <a:gd name="f5720" fmla="*/ f4280 1 f1423"/>
              <a:gd name="f5721" fmla="*/ f4281 1 f1423"/>
              <a:gd name="f5722" fmla="*/ f4282 1 f1423"/>
              <a:gd name="f5723" fmla="*/ f4283 1 f1422"/>
              <a:gd name="f5724" fmla="*/ f4284 1 f1423"/>
              <a:gd name="f5725" fmla="*/ f4285 1 f1423"/>
              <a:gd name="f5726" fmla="*/ f4286 1 f1423"/>
              <a:gd name="f5727" fmla="*/ f4287 1 f1423"/>
              <a:gd name="f5728" fmla="*/ f4288 1 f1422"/>
              <a:gd name="f5729" fmla="*/ f4289 1 f1422"/>
              <a:gd name="f5730" fmla="*/ f4290 1 f1422"/>
              <a:gd name="f5731" fmla="*/ f4291 1 f1422"/>
              <a:gd name="f5732" fmla="*/ f4292 1 f1422"/>
              <a:gd name="f5733" fmla="*/ f4293 1 f1422"/>
              <a:gd name="f5734" fmla="*/ f4294 1 f1422"/>
              <a:gd name="f5735" fmla="*/ f4295 f1417 1"/>
              <a:gd name="f5736" fmla="*/ f4296 f1417 1"/>
              <a:gd name="f5737" fmla="*/ f4298 f1418 1"/>
              <a:gd name="f5738" fmla="*/ f4297 f1418 1"/>
              <a:gd name="f5739" fmla="*/ f4300 f1417 1"/>
              <a:gd name="f5740" fmla="*/ f4301 f1418 1"/>
              <a:gd name="f5741" fmla="*/ f4302 f1417 1"/>
              <a:gd name="f5742" fmla="*/ f4303 f1417 1"/>
              <a:gd name="f5743" fmla="*/ f4304 f1418 1"/>
              <a:gd name="f5744" fmla="*/ f4305 f1418 1"/>
              <a:gd name="f5745" fmla="*/ f4306 f1418 1"/>
              <a:gd name="f5746" fmla="*/ f4307 f1417 1"/>
              <a:gd name="f5747" fmla="*/ f4308 f1417 1"/>
              <a:gd name="f5748" fmla="*/ f4309 f1417 1"/>
              <a:gd name="f5749" fmla="*/ f4310 f1417 1"/>
              <a:gd name="f5750" fmla="*/ f4311 f1417 1"/>
              <a:gd name="f5751" fmla="*/ f4312 f1417 1"/>
              <a:gd name="f5752" fmla="*/ f4313 f1417 1"/>
              <a:gd name="f5753" fmla="*/ f4314 f1417 1"/>
              <a:gd name="f5754" fmla="*/ f4315 f1417 1"/>
              <a:gd name="f5755" fmla="*/ f4316 f1417 1"/>
              <a:gd name="f5756" fmla="*/ f4317 f1417 1"/>
              <a:gd name="f5757" fmla="*/ f4318 f1417 1"/>
              <a:gd name="f5758" fmla="*/ f4319 f1417 1"/>
              <a:gd name="f5759" fmla="*/ f4320 f1417 1"/>
              <a:gd name="f5760" fmla="*/ f4321 f1417 1"/>
              <a:gd name="f5761" fmla="*/ f4322 f1417 1"/>
              <a:gd name="f5762" fmla="*/ f4323 f1417 1"/>
              <a:gd name="f5763" fmla="*/ f4324 f1417 1"/>
              <a:gd name="f5764" fmla="*/ f4325 f1417 1"/>
              <a:gd name="f5765" fmla="*/ f4326 f1417 1"/>
              <a:gd name="f5766" fmla="*/ f4327 f1417 1"/>
              <a:gd name="f5767" fmla="*/ f4328 f1417 1"/>
              <a:gd name="f5768" fmla="*/ f4329 f1418 1"/>
              <a:gd name="f5769" fmla="*/ f4330 f1417 1"/>
              <a:gd name="f5770" fmla="*/ f4331 f1417 1"/>
              <a:gd name="f5771" fmla="*/ f4332 f1418 1"/>
              <a:gd name="f5772" fmla="*/ f4333 f1418 1"/>
              <a:gd name="f5773" fmla="*/ f4334 f1418 1"/>
              <a:gd name="f5774" fmla="*/ f4335 f1417 1"/>
              <a:gd name="f5775" fmla="*/ f4336 f1417 1"/>
              <a:gd name="f5776" fmla="*/ f4337 f1417 1"/>
              <a:gd name="f5777" fmla="*/ f4338 f1417 1"/>
              <a:gd name="f5778" fmla="*/ f4339 f1417 1"/>
              <a:gd name="f5779" fmla="*/ f4340 f1417 1"/>
              <a:gd name="f5780" fmla="*/ f4341 f1417 1"/>
              <a:gd name="f5781" fmla="*/ f4342 f1417 1"/>
              <a:gd name="f5782" fmla="*/ f4343 f1417 1"/>
              <a:gd name="f5783" fmla="*/ f4344 f1417 1"/>
              <a:gd name="f5784" fmla="*/ f4345 f1417 1"/>
              <a:gd name="f5785" fmla="*/ f4346 f1417 1"/>
              <a:gd name="f5786" fmla="*/ f4347 f1417 1"/>
              <a:gd name="f5787" fmla="*/ f4348 f1417 1"/>
              <a:gd name="f5788" fmla="*/ f4349 f1417 1"/>
              <a:gd name="f5789" fmla="*/ f4350 f1417 1"/>
              <a:gd name="f5790" fmla="*/ f4351 f1417 1"/>
              <a:gd name="f5791" fmla="*/ f4352 f1417 1"/>
              <a:gd name="f5792" fmla="*/ f4353 f1417 1"/>
              <a:gd name="f5793" fmla="*/ f4354 f1417 1"/>
              <a:gd name="f5794" fmla="*/ f4355 f1417 1"/>
              <a:gd name="f5795" fmla="*/ f4356 f1417 1"/>
              <a:gd name="f5796" fmla="*/ f4357 f1417 1"/>
              <a:gd name="f5797" fmla="*/ f4358 f1417 1"/>
              <a:gd name="f5798" fmla="*/ f4359 f1417 1"/>
              <a:gd name="f5799" fmla="*/ f4360 f1417 1"/>
              <a:gd name="f5800" fmla="*/ f4361 f1417 1"/>
              <a:gd name="f5801" fmla="*/ f4362 f1417 1"/>
              <a:gd name="f5802" fmla="*/ f4363 f1417 1"/>
              <a:gd name="f5803" fmla="*/ f4364 f1417 1"/>
              <a:gd name="f5804" fmla="*/ f4365 f1417 1"/>
              <a:gd name="f5805" fmla="*/ f4366 f1417 1"/>
              <a:gd name="f5806" fmla="*/ f4367 f1417 1"/>
              <a:gd name="f5807" fmla="*/ f4368 f1417 1"/>
              <a:gd name="f5808" fmla="*/ f4369 f1417 1"/>
              <a:gd name="f5809" fmla="*/ f4370 f1417 1"/>
              <a:gd name="f5810" fmla="*/ f4371 f1417 1"/>
              <a:gd name="f5811" fmla="*/ f4372 f1417 1"/>
              <a:gd name="f5812" fmla="*/ f4373 f1417 1"/>
              <a:gd name="f5813" fmla="*/ f4374 f1417 1"/>
              <a:gd name="f5814" fmla="*/ f4375 f1417 1"/>
              <a:gd name="f5815" fmla="*/ f4376 f1417 1"/>
              <a:gd name="f5816" fmla="*/ f4377 f1417 1"/>
              <a:gd name="f5817" fmla="*/ f4378 f1417 1"/>
              <a:gd name="f5818" fmla="*/ f4379 f1417 1"/>
              <a:gd name="f5819" fmla="*/ f4380 f1417 1"/>
              <a:gd name="f5820" fmla="*/ f4381 f1417 1"/>
              <a:gd name="f5821" fmla="*/ f4382 f1417 1"/>
              <a:gd name="f5822" fmla="*/ f4383 f1417 1"/>
              <a:gd name="f5823" fmla="*/ f4384 f1417 1"/>
              <a:gd name="f5824" fmla="*/ f4385 f1417 1"/>
              <a:gd name="f5825" fmla="*/ f4386 f1417 1"/>
              <a:gd name="f5826" fmla="*/ f4387 f1417 1"/>
              <a:gd name="f5827" fmla="*/ f4388 f1417 1"/>
              <a:gd name="f5828" fmla="*/ f4389 f1417 1"/>
              <a:gd name="f5829" fmla="*/ f4390 f1417 1"/>
              <a:gd name="f5830" fmla="*/ f4391 f1417 1"/>
              <a:gd name="f5831" fmla="*/ f4392 f1417 1"/>
              <a:gd name="f5832" fmla="*/ f4393 f1417 1"/>
              <a:gd name="f5833" fmla="*/ f4394 f1417 1"/>
              <a:gd name="f5834" fmla="*/ f4395 f1417 1"/>
              <a:gd name="f5835" fmla="*/ f4396 f1417 1"/>
              <a:gd name="f5836" fmla="*/ f4397 f1417 1"/>
              <a:gd name="f5837" fmla="*/ f4398 f1417 1"/>
              <a:gd name="f5838" fmla="*/ f4399 f1417 1"/>
              <a:gd name="f5839" fmla="*/ f4400 f1417 1"/>
              <a:gd name="f5840" fmla="*/ f4401 f1417 1"/>
              <a:gd name="f5841" fmla="*/ f4402 f1417 1"/>
              <a:gd name="f5842" fmla="*/ f4403 f1417 1"/>
              <a:gd name="f5843" fmla="*/ f4404 f1417 1"/>
              <a:gd name="f5844" fmla="*/ f4405 f1417 1"/>
              <a:gd name="f5845" fmla="*/ f4406 f1417 1"/>
              <a:gd name="f5846" fmla="*/ f4407 f1417 1"/>
              <a:gd name="f5847" fmla="*/ f4408 f1417 1"/>
              <a:gd name="f5848" fmla="*/ f4409 f1417 1"/>
              <a:gd name="f5849" fmla="*/ f4410 f1417 1"/>
              <a:gd name="f5850" fmla="*/ f4411 f1417 1"/>
              <a:gd name="f5851" fmla="*/ f4412 f1417 1"/>
              <a:gd name="f5852" fmla="*/ f4413 f1417 1"/>
              <a:gd name="f5853" fmla="*/ f4414 f1417 1"/>
              <a:gd name="f5854" fmla="*/ f4415 f1417 1"/>
              <a:gd name="f5855" fmla="*/ f4416 f1417 1"/>
              <a:gd name="f5856" fmla="*/ f4417 f1417 1"/>
              <a:gd name="f5857" fmla="*/ f4418 f1417 1"/>
              <a:gd name="f5858" fmla="*/ f4419 f1417 1"/>
              <a:gd name="f5859" fmla="*/ f4420 f1417 1"/>
              <a:gd name="f5860" fmla="*/ f4421 f1417 1"/>
              <a:gd name="f5861" fmla="*/ f4422 f1417 1"/>
              <a:gd name="f5862" fmla="*/ f4423 f1417 1"/>
              <a:gd name="f5863" fmla="*/ f4424 f1417 1"/>
              <a:gd name="f5864" fmla="*/ f4425 f1417 1"/>
              <a:gd name="f5865" fmla="*/ f4426 f1417 1"/>
              <a:gd name="f5866" fmla="*/ f4427 f1417 1"/>
              <a:gd name="f5867" fmla="*/ f4428 f1417 1"/>
              <a:gd name="f5868" fmla="*/ f4429 f1417 1"/>
              <a:gd name="f5869" fmla="*/ f4430 f1417 1"/>
              <a:gd name="f5870" fmla="*/ f4431 f1417 1"/>
              <a:gd name="f5871" fmla="*/ f4432 f1417 1"/>
              <a:gd name="f5872" fmla="*/ f4433 f1417 1"/>
              <a:gd name="f5873" fmla="*/ f4434 f1417 1"/>
              <a:gd name="f5874" fmla="*/ f4435 f1417 1"/>
              <a:gd name="f5875" fmla="*/ f4436 f1417 1"/>
              <a:gd name="f5876" fmla="*/ f4437 f1417 1"/>
              <a:gd name="f5877" fmla="*/ f4438 f1417 1"/>
              <a:gd name="f5878" fmla="*/ f4439 f1417 1"/>
              <a:gd name="f5879" fmla="*/ f4440 f1417 1"/>
              <a:gd name="f5880" fmla="*/ f4441 f1417 1"/>
              <a:gd name="f5881" fmla="*/ f4442 f1417 1"/>
              <a:gd name="f5882" fmla="*/ f4443 f1417 1"/>
              <a:gd name="f5883" fmla="*/ f4444 f1417 1"/>
              <a:gd name="f5884" fmla="*/ f4445 f1417 1"/>
              <a:gd name="f5885" fmla="*/ f4446 f1417 1"/>
              <a:gd name="f5886" fmla="*/ f4447 f1417 1"/>
              <a:gd name="f5887" fmla="*/ f4448 f1417 1"/>
              <a:gd name="f5888" fmla="*/ f4449 f1417 1"/>
              <a:gd name="f5889" fmla="*/ f4450 f1417 1"/>
              <a:gd name="f5890" fmla="*/ f4451 f1417 1"/>
              <a:gd name="f5891" fmla="*/ f4452 f1417 1"/>
              <a:gd name="f5892" fmla="*/ f4453 f1417 1"/>
              <a:gd name="f5893" fmla="*/ f4454 f1417 1"/>
              <a:gd name="f5894" fmla="*/ f4455 f1417 1"/>
              <a:gd name="f5895" fmla="*/ f4456 f1417 1"/>
              <a:gd name="f5896" fmla="*/ f4457 f1417 1"/>
              <a:gd name="f5897" fmla="*/ f4458 f1417 1"/>
              <a:gd name="f5898" fmla="*/ f4459 f1417 1"/>
              <a:gd name="f5899" fmla="*/ f4460 f1417 1"/>
              <a:gd name="f5900" fmla="*/ f4461 f1417 1"/>
              <a:gd name="f5901" fmla="*/ f4462 f1417 1"/>
              <a:gd name="f5902" fmla="*/ f4463 f1417 1"/>
              <a:gd name="f5903" fmla="*/ f4464 f1417 1"/>
              <a:gd name="f5904" fmla="*/ f4465 f1417 1"/>
              <a:gd name="f5905" fmla="*/ f4466 f1417 1"/>
              <a:gd name="f5906" fmla="*/ f4467 f1417 1"/>
              <a:gd name="f5907" fmla="*/ f4468 f1417 1"/>
              <a:gd name="f5908" fmla="*/ f4469 f1417 1"/>
              <a:gd name="f5909" fmla="*/ f4470 f1417 1"/>
              <a:gd name="f5910" fmla="*/ f4471 f1417 1"/>
              <a:gd name="f5911" fmla="*/ f4472 f1418 1"/>
              <a:gd name="f5912" fmla="*/ f4473 f1418 1"/>
              <a:gd name="f5913" fmla="*/ f4474 f1418 1"/>
              <a:gd name="f5914" fmla="*/ f4475 f1418 1"/>
              <a:gd name="f5915" fmla="*/ f4476 f1417 1"/>
              <a:gd name="f5916" fmla="*/ f4477 f1417 1"/>
              <a:gd name="f5917" fmla="*/ f4478 f1417 1"/>
              <a:gd name="f5918" fmla="*/ f4479 f1417 1"/>
              <a:gd name="f5919" fmla="*/ f4480 f1417 1"/>
              <a:gd name="f5920" fmla="*/ f4481 f1417 1"/>
              <a:gd name="f5921" fmla="*/ f4482 f1417 1"/>
              <a:gd name="f5922" fmla="*/ f4483 f1417 1"/>
              <a:gd name="f5923" fmla="*/ f4484 f1417 1"/>
              <a:gd name="f5924" fmla="*/ f4485 f1417 1"/>
              <a:gd name="f5925" fmla="*/ f4486 f1417 1"/>
              <a:gd name="f5926" fmla="*/ f4487 f1417 1"/>
              <a:gd name="f5927" fmla="*/ f4488 f1417 1"/>
              <a:gd name="f5928" fmla="*/ f4489 f1417 1"/>
              <a:gd name="f5929" fmla="*/ f4490 f1417 1"/>
              <a:gd name="f5930" fmla="*/ f4491 f1417 1"/>
              <a:gd name="f5931" fmla="*/ f4492 f1417 1"/>
              <a:gd name="f5932" fmla="*/ f4493 f1417 1"/>
              <a:gd name="f5933" fmla="*/ f4494 f1417 1"/>
              <a:gd name="f5934" fmla="*/ f4495 f1417 1"/>
              <a:gd name="f5935" fmla="*/ f4496 f1417 1"/>
              <a:gd name="f5936" fmla="*/ f4497 f1417 1"/>
              <a:gd name="f5937" fmla="*/ f4498 f1417 1"/>
              <a:gd name="f5938" fmla="*/ f4499 f1417 1"/>
              <a:gd name="f5939" fmla="*/ f4500 f1417 1"/>
              <a:gd name="f5940" fmla="*/ f4501 f1417 1"/>
              <a:gd name="f5941" fmla="*/ f4502 f1418 1"/>
              <a:gd name="f5942" fmla="*/ f4503 f1417 1"/>
              <a:gd name="f5943" fmla="*/ f4504 f1418 1"/>
              <a:gd name="f5944" fmla="*/ f4505 f1418 1"/>
              <a:gd name="f5945" fmla="*/ f4506 f1418 1"/>
              <a:gd name="f5946" fmla="*/ f4507 f1417 1"/>
              <a:gd name="f5947" fmla="*/ f4508 f1417 1"/>
              <a:gd name="f5948" fmla="*/ f4509 f1417 1"/>
              <a:gd name="f5949" fmla="*/ f4510 f1417 1"/>
              <a:gd name="f5950" fmla="*/ f4511 f1417 1"/>
              <a:gd name="f5951" fmla="*/ f4512 f1417 1"/>
              <a:gd name="f5952" fmla="*/ f4513 f1417 1"/>
              <a:gd name="f5953" fmla="*/ f4514 f1417 1"/>
              <a:gd name="f5954" fmla="*/ f4515 f1417 1"/>
              <a:gd name="f5955" fmla="*/ f4516 f1417 1"/>
              <a:gd name="f5956" fmla="*/ f4517 f1418 1"/>
              <a:gd name="f5957" fmla="*/ f4518 f1418 1"/>
              <a:gd name="f5958" fmla="*/ f4519 f1418 1"/>
              <a:gd name="f5959" fmla="*/ f4520 f1418 1"/>
              <a:gd name="f5960" fmla="*/ f4521 f1417 1"/>
              <a:gd name="f5961" fmla="*/ f4522 f1417 1"/>
              <a:gd name="f5962" fmla="*/ f4523 f1417 1"/>
              <a:gd name="f5963" fmla="*/ f4524 f1417 1"/>
              <a:gd name="f5964" fmla="*/ f4525 f1417 1"/>
              <a:gd name="f5965" fmla="*/ f4526 f1417 1"/>
              <a:gd name="f5966" fmla="*/ f4527 f1417 1"/>
              <a:gd name="f5967" fmla="*/ f4528 f1417 1"/>
              <a:gd name="f5968" fmla="*/ f4529 f1417 1"/>
              <a:gd name="f5969" fmla="*/ f4530 f1418 1"/>
              <a:gd name="f5970" fmla="*/ f4531 f1418 1"/>
              <a:gd name="f5971" fmla="*/ f4532 f1418 1"/>
              <a:gd name="f5972" fmla="*/ f4533 f1418 1"/>
              <a:gd name="f5973" fmla="*/ f4534 f1417 1"/>
              <a:gd name="f5974" fmla="*/ f4535 f1417 1"/>
              <a:gd name="f5975" fmla="*/ f4536 f1417 1"/>
              <a:gd name="f5976" fmla="*/ f4537 f1417 1"/>
              <a:gd name="f5977" fmla="*/ f4538 f1417 1"/>
              <a:gd name="f5978" fmla="*/ f4539 f1417 1"/>
              <a:gd name="f5979" fmla="*/ f4540 f1417 1"/>
              <a:gd name="f5980" fmla="*/ f4541 f1417 1"/>
              <a:gd name="f5981" fmla="*/ f4542 f1417 1"/>
              <a:gd name="f5982" fmla="*/ f4543 f1417 1"/>
              <a:gd name="f5983" fmla="*/ f4544 f1417 1"/>
              <a:gd name="f5984" fmla="*/ f4545 f1417 1"/>
              <a:gd name="f5985" fmla="*/ f4546 f1417 1"/>
              <a:gd name="f5986" fmla="*/ f4547 f1418 1"/>
              <a:gd name="f5987" fmla="*/ f4548 f1418 1"/>
              <a:gd name="f5988" fmla="*/ f4549 f1418 1"/>
              <a:gd name="f5989" fmla="*/ f4550 f1418 1"/>
              <a:gd name="f5990" fmla="*/ f4551 f1417 1"/>
              <a:gd name="f5991" fmla="*/ f4552 f1417 1"/>
              <a:gd name="f5992" fmla="*/ f4553 f1417 1"/>
              <a:gd name="f5993" fmla="*/ f4554 f1417 1"/>
              <a:gd name="f5994" fmla="*/ f4555 f1417 1"/>
              <a:gd name="f5995" fmla="*/ f4556 f1417 1"/>
              <a:gd name="f5996" fmla="*/ f4557 f1417 1"/>
              <a:gd name="f5997" fmla="*/ f4558 f1417 1"/>
              <a:gd name="f5998" fmla="*/ f4559 f1417 1"/>
              <a:gd name="f5999" fmla="*/ f4560 f1417 1"/>
              <a:gd name="f6000" fmla="*/ f4561 f1417 1"/>
              <a:gd name="f6001" fmla="*/ f4562 f1418 1"/>
              <a:gd name="f6002" fmla="*/ f4563 f1418 1"/>
              <a:gd name="f6003" fmla="*/ f4564 f1418 1"/>
              <a:gd name="f6004" fmla="*/ f4565 f1418 1"/>
              <a:gd name="f6005" fmla="*/ f4566 f1417 1"/>
              <a:gd name="f6006" fmla="*/ f4567 f1417 1"/>
              <a:gd name="f6007" fmla="*/ f4568 f1417 1"/>
              <a:gd name="f6008" fmla="*/ f4569 f1417 1"/>
              <a:gd name="f6009" fmla="*/ f4570 f1417 1"/>
              <a:gd name="f6010" fmla="*/ f4571 f1417 1"/>
              <a:gd name="f6011" fmla="*/ f4572 f1417 1"/>
              <a:gd name="f6012" fmla="*/ f4573 f1417 1"/>
              <a:gd name="f6013" fmla="*/ f4574 f1417 1"/>
              <a:gd name="f6014" fmla="*/ f4575 f1417 1"/>
              <a:gd name="f6015" fmla="*/ f4576 f1417 1"/>
              <a:gd name="f6016" fmla="*/ f4577 f1417 1"/>
              <a:gd name="f6017" fmla="*/ f4578 f1417 1"/>
              <a:gd name="f6018" fmla="*/ f4579 f1417 1"/>
              <a:gd name="f6019" fmla="*/ f4580 f1417 1"/>
              <a:gd name="f6020" fmla="*/ f4581 f1417 1"/>
              <a:gd name="f6021" fmla="*/ f4582 f1417 1"/>
              <a:gd name="f6022" fmla="*/ f4583 f1417 1"/>
              <a:gd name="f6023" fmla="*/ f4584 f1417 1"/>
              <a:gd name="f6024" fmla="*/ f4585 f1417 1"/>
              <a:gd name="f6025" fmla="*/ f4586 f1417 1"/>
              <a:gd name="f6026" fmla="*/ f4587 f1417 1"/>
              <a:gd name="f6027" fmla="*/ f4588 f1417 1"/>
              <a:gd name="f6028" fmla="*/ f4589 f1418 1"/>
              <a:gd name="f6029" fmla="*/ f4590 f1417 1"/>
              <a:gd name="f6030" fmla="*/ f4591 f1418 1"/>
              <a:gd name="f6031" fmla="*/ f4592 f1418 1"/>
              <a:gd name="f6032" fmla="*/ f4593 f1418 1"/>
              <a:gd name="f6033" fmla="*/ f4594 f1417 1"/>
              <a:gd name="f6034" fmla="*/ f4595 f1417 1"/>
              <a:gd name="f6035" fmla="*/ f4596 f1417 1"/>
              <a:gd name="f6036" fmla="*/ f4597 f1417 1"/>
              <a:gd name="f6037" fmla="*/ f4598 f1417 1"/>
              <a:gd name="f6038" fmla="*/ f4599 f1417 1"/>
              <a:gd name="f6039" fmla="*/ f4600 f1417 1"/>
              <a:gd name="f6040" fmla="*/ f4601 f1417 1"/>
              <a:gd name="f6041" fmla="*/ f4602 f1417 1"/>
              <a:gd name="f6042" fmla="*/ f4603 f1418 1"/>
              <a:gd name="f6043" fmla="*/ f4604 f1418 1"/>
              <a:gd name="f6044" fmla="*/ f4605 f1418 1"/>
              <a:gd name="f6045" fmla="*/ f4606 f1418 1"/>
              <a:gd name="f6046" fmla="*/ f4607 f1417 1"/>
              <a:gd name="f6047" fmla="*/ f4608 f1417 1"/>
              <a:gd name="f6048" fmla="*/ f4609 f1417 1"/>
              <a:gd name="f6049" fmla="*/ f4610 f1417 1"/>
              <a:gd name="f6050" fmla="*/ f4611 f1417 1"/>
              <a:gd name="f6051" fmla="*/ f4612 f1417 1"/>
              <a:gd name="f6052" fmla="*/ f4613 f1417 1"/>
              <a:gd name="f6053" fmla="*/ f4614 f1417 1"/>
              <a:gd name="f6054" fmla="*/ f4615 f1417 1"/>
              <a:gd name="f6055" fmla="*/ f4616 f1417 1"/>
              <a:gd name="f6056" fmla="*/ f4617 f1417 1"/>
              <a:gd name="f6057" fmla="*/ f4618 f1417 1"/>
              <a:gd name="f6058" fmla="*/ f4619 f1418 1"/>
              <a:gd name="f6059" fmla="*/ f4620 f1418 1"/>
              <a:gd name="f6060" fmla="*/ f4621 f1418 1"/>
              <a:gd name="f6061" fmla="*/ f4622 f1418 1"/>
              <a:gd name="f6062" fmla="*/ f4623 f1417 1"/>
              <a:gd name="f6063" fmla="*/ f4624 f1417 1"/>
              <a:gd name="f6064" fmla="*/ f4625 f1417 1"/>
              <a:gd name="f6065" fmla="*/ f4626 f1417 1"/>
              <a:gd name="f6066" fmla="*/ f4627 f1417 1"/>
              <a:gd name="f6067" fmla="*/ f4628 f1417 1"/>
              <a:gd name="f6068" fmla="*/ f4629 f1417 1"/>
              <a:gd name="f6069" fmla="*/ f4630 f1417 1"/>
              <a:gd name="f6070" fmla="*/ f4631 f1417 1"/>
              <a:gd name="f6071" fmla="*/ f4632 f1417 1"/>
              <a:gd name="f6072" fmla="*/ f4633 f1417 1"/>
              <a:gd name="f6073" fmla="*/ f4634 f1417 1"/>
              <a:gd name="f6074" fmla="*/ f4635 f1418 1"/>
              <a:gd name="f6075" fmla="*/ f4636 f1418 1"/>
              <a:gd name="f6076" fmla="*/ f4637 f1418 1"/>
              <a:gd name="f6077" fmla="*/ f4638 f1418 1"/>
              <a:gd name="f6078" fmla="*/ f4639 f1417 1"/>
              <a:gd name="f6079" fmla="*/ f4640 f1417 1"/>
              <a:gd name="f6080" fmla="*/ f4641 f1417 1"/>
              <a:gd name="f6081" fmla="*/ f4642 f1417 1"/>
              <a:gd name="f6082" fmla="*/ f4643 f1417 1"/>
              <a:gd name="f6083" fmla="*/ f4644 f1417 1"/>
              <a:gd name="f6084" fmla="*/ f4645 f1417 1"/>
              <a:gd name="f6085" fmla="*/ f4646 f1417 1"/>
              <a:gd name="f6086" fmla="*/ f4647 f1417 1"/>
              <a:gd name="f6087" fmla="*/ f4648 f1418 1"/>
              <a:gd name="f6088" fmla="*/ f4649 f1418 1"/>
              <a:gd name="f6089" fmla="*/ f4650 f1418 1"/>
              <a:gd name="f6090" fmla="*/ f4651 f1418 1"/>
              <a:gd name="f6091" fmla="*/ f4652 f1417 1"/>
              <a:gd name="f6092" fmla="*/ f4653 f1417 1"/>
              <a:gd name="f6093" fmla="*/ f4654 f1417 1"/>
              <a:gd name="f6094" fmla="*/ f4655 f1417 1"/>
              <a:gd name="f6095" fmla="*/ f4656 f1417 1"/>
              <a:gd name="f6096" fmla="*/ f4657 f1417 1"/>
              <a:gd name="f6097" fmla="*/ f4658 f1417 1"/>
              <a:gd name="f6098" fmla="*/ f4659 f1417 1"/>
              <a:gd name="f6099" fmla="*/ f4660 f1417 1"/>
              <a:gd name="f6100" fmla="*/ f4661 f1417 1"/>
              <a:gd name="f6101" fmla="*/ f4662 f1417 1"/>
              <a:gd name="f6102" fmla="*/ f4663 f1417 1"/>
              <a:gd name="f6103" fmla="*/ f4664 f1417 1"/>
              <a:gd name="f6104" fmla="*/ f4665 f1417 1"/>
              <a:gd name="f6105" fmla="*/ f4666 f1417 1"/>
              <a:gd name="f6106" fmla="*/ f4667 f1417 1"/>
              <a:gd name="f6107" fmla="*/ f4668 f1417 1"/>
              <a:gd name="f6108" fmla="*/ f4669 f1417 1"/>
              <a:gd name="f6109" fmla="*/ f4670 f1417 1"/>
              <a:gd name="f6110" fmla="*/ f4671 f1417 1"/>
              <a:gd name="f6111" fmla="*/ f4672 f1418 1"/>
              <a:gd name="f6112" fmla="*/ f4673 f1418 1"/>
              <a:gd name="f6113" fmla="*/ f4674 f1418 1"/>
              <a:gd name="f6114" fmla="*/ f4675 f1418 1"/>
              <a:gd name="f6115" fmla="*/ f4676 f1417 1"/>
              <a:gd name="f6116" fmla="*/ f4677 f1417 1"/>
              <a:gd name="f6117" fmla="*/ f4678 f1417 1"/>
              <a:gd name="f6118" fmla="*/ f4679 f1417 1"/>
              <a:gd name="f6119" fmla="*/ f4680 f1417 1"/>
              <a:gd name="f6120" fmla="*/ f4681 f1417 1"/>
              <a:gd name="f6121" fmla="*/ f4682 f1417 1"/>
              <a:gd name="f6122" fmla="*/ f4683 f1417 1"/>
              <a:gd name="f6123" fmla="*/ f4684 f1417 1"/>
              <a:gd name="f6124" fmla="*/ f4685 f1417 1"/>
              <a:gd name="f6125" fmla="*/ f4686 f1417 1"/>
              <a:gd name="f6126" fmla="*/ f4687 f1417 1"/>
              <a:gd name="f6127" fmla="*/ f4688 f1418 1"/>
              <a:gd name="f6128" fmla="*/ f4689 f1418 1"/>
              <a:gd name="f6129" fmla="*/ f4690 f1418 1"/>
              <a:gd name="f6130" fmla="*/ f4691 f1418 1"/>
              <a:gd name="f6131" fmla="*/ f4692 f1417 1"/>
              <a:gd name="f6132" fmla="*/ f4693 f1417 1"/>
              <a:gd name="f6133" fmla="*/ f4694 f1417 1"/>
              <a:gd name="f6134" fmla="*/ f4695 f1417 1"/>
              <a:gd name="f6135" fmla="*/ f4696 f1417 1"/>
              <a:gd name="f6136" fmla="*/ f4697 f1417 1"/>
              <a:gd name="f6137" fmla="*/ f4698 f1417 1"/>
              <a:gd name="f6138" fmla="*/ f4699 f1417 1"/>
              <a:gd name="f6139" fmla="*/ f4700 f1417 1"/>
              <a:gd name="f6140" fmla="*/ f4701 f1417 1"/>
              <a:gd name="f6141" fmla="*/ f4702 f1417 1"/>
              <a:gd name="f6142" fmla="*/ f4703 f1417 1"/>
              <a:gd name="f6143" fmla="*/ f4704 f1418 1"/>
              <a:gd name="f6144" fmla="*/ f4705 f1417 1"/>
              <a:gd name="f6145" fmla="*/ f4706 f1418 1"/>
              <a:gd name="f6146" fmla="*/ f4707 f1418 1"/>
              <a:gd name="f6147" fmla="*/ f4708 f1418 1"/>
              <a:gd name="f6148" fmla="*/ f4709 f1417 1"/>
              <a:gd name="f6149" fmla="*/ f4710 f1417 1"/>
              <a:gd name="f6150" fmla="*/ f4711 f1417 1"/>
              <a:gd name="f6151" fmla="*/ f4712 f1417 1"/>
              <a:gd name="f6152" fmla="*/ f4713 f1417 1"/>
              <a:gd name="f6153" fmla="*/ f4714 f1417 1"/>
              <a:gd name="f6154" fmla="*/ f4715 f1417 1"/>
              <a:gd name="f6155" fmla="*/ f4716 f1417 1"/>
              <a:gd name="f6156" fmla="*/ f4717 f1417 1"/>
              <a:gd name="f6157" fmla="*/ f4718 f1417 1"/>
              <a:gd name="f6158" fmla="*/ f4719 f1417 1"/>
              <a:gd name="f6159" fmla="*/ f4720 f1418 1"/>
              <a:gd name="f6160" fmla="*/ f4721 f1418 1"/>
              <a:gd name="f6161" fmla="*/ f4722 f1418 1"/>
              <a:gd name="f6162" fmla="*/ f4723 f1418 1"/>
              <a:gd name="f6163" fmla="*/ f4724 f1417 1"/>
              <a:gd name="f6164" fmla="*/ f4725 f1417 1"/>
              <a:gd name="f6165" fmla="*/ f4726 f1417 1"/>
              <a:gd name="f6166" fmla="*/ f4727 f1417 1"/>
              <a:gd name="f6167" fmla="*/ f4728 f1417 1"/>
              <a:gd name="f6168" fmla="*/ f4729 f1417 1"/>
              <a:gd name="f6169" fmla="*/ f4730 f1417 1"/>
              <a:gd name="f6170" fmla="*/ f4731 f1417 1"/>
              <a:gd name="f6171" fmla="*/ f4732 f1417 1"/>
              <a:gd name="f6172" fmla="*/ f4733 f1417 1"/>
              <a:gd name="f6173" fmla="*/ f4734 f1418 1"/>
              <a:gd name="f6174" fmla="*/ f4735 f1418 1"/>
              <a:gd name="f6175" fmla="*/ f4736 f1418 1"/>
              <a:gd name="f6176" fmla="*/ f4737 f1418 1"/>
              <a:gd name="f6177" fmla="*/ f4738 f1417 1"/>
              <a:gd name="f6178" fmla="*/ f4739 f1417 1"/>
              <a:gd name="f6179" fmla="*/ f4740 f1417 1"/>
              <a:gd name="f6180" fmla="*/ f4741 f1417 1"/>
              <a:gd name="f6181" fmla="*/ f4742 f1417 1"/>
              <a:gd name="f6182" fmla="*/ f4743 f1417 1"/>
              <a:gd name="f6183" fmla="*/ f4744 f1417 1"/>
              <a:gd name="f6184" fmla="*/ f4745 f1417 1"/>
              <a:gd name="f6185" fmla="*/ f4746 f1417 1"/>
              <a:gd name="f6186" fmla="*/ f4747 f1417 1"/>
              <a:gd name="f6187" fmla="*/ f4748 f1417 1"/>
              <a:gd name="f6188" fmla="*/ f4749 f1417 1"/>
              <a:gd name="f6189" fmla="*/ f4750 f1417 1"/>
              <a:gd name="f6190" fmla="*/ f4751 f1417 1"/>
              <a:gd name="f6191" fmla="*/ f4752 f1417 1"/>
              <a:gd name="f6192" fmla="*/ f4753 f1417 1"/>
              <a:gd name="f6193" fmla="*/ f4754 f1417 1"/>
              <a:gd name="f6194" fmla="*/ f4755 f1417 1"/>
              <a:gd name="f6195" fmla="*/ f4756 f1417 1"/>
              <a:gd name="f6196" fmla="*/ f4757 f1417 1"/>
              <a:gd name="f6197" fmla="*/ f4758 f1417 1"/>
              <a:gd name="f6198" fmla="*/ f4759 f1417 1"/>
              <a:gd name="f6199" fmla="*/ f4760 f1418 1"/>
              <a:gd name="f6200" fmla="*/ f4761 f1417 1"/>
              <a:gd name="f6201" fmla="*/ f4762 f1418 1"/>
              <a:gd name="f6202" fmla="*/ f4763 f1418 1"/>
              <a:gd name="f6203" fmla="*/ f4764 f1418 1"/>
              <a:gd name="f6204" fmla="*/ f4765 f1417 1"/>
              <a:gd name="f6205" fmla="*/ f4766 f1417 1"/>
              <a:gd name="f6206" fmla="*/ f4767 f1417 1"/>
              <a:gd name="f6207" fmla="*/ f4768 f1417 1"/>
              <a:gd name="f6208" fmla="*/ f4769 f1417 1"/>
              <a:gd name="f6209" fmla="*/ f4770 f1417 1"/>
              <a:gd name="f6210" fmla="*/ f4771 f1417 1"/>
              <a:gd name="f6211" fmla="*/ f4772 f1417 1"/>
              <a:gd name="f6212" fmla="*/ f4773 f1417 1"/>
              <a:gd name="f6213" fmla="*/ f4774 f1417 1"/>
              <a:gd name="f6214" fmla="*/ f4775 f1417 1"/>
              <a:gd name="f6215" fmla="*/ f4776 f1418 1"/>
              <a:gd name="f6216" fmla="*/ f4777 f1418 1"/>
              <a:gd name="f6217" fmla="*/ f4778 f1418 1"/>
              <a:gd name="f6218" fmla="*/ f4779 f1418 1"/>
              <a:gd name="f6219" fmla="*/ f4780 f1417 1"/>
              <a:gd name="f6220" fmla="*/ f4781 f1417 1"/>
              <a:gd name="f6221" fmla="*/ f4782 f1417 1"/>
              <a:gd name="f6222" fmla="*/ f4783 f1417 1"/>
              <a:gd name="f6223" fmla="*/ f4784 f1417 1"/>
              <a:gd name="f6224" fmla="*/ f4785 f1417 1"/>
              <a:gd name="f6225" fmla="*/ f4786 f1417 1"/>
              <a:gd name="f6226" fmla="*/ f4787 f1417 1"/>
              <a:gd name="f6227" fmla="*/ f4788 f1417 1"/>
              <a:gd name="f6228" fmla="*/ f4789 f1417 1"/>
              <a:gd name="f6229" fmla="*/ f4790 f1417 1"/>
              <a:gd name="f6230" fmla="*/ f4791 f1418 1"/>
              <a:gd name="f6231" fmla="*/ f4792 f1418 1"/>
              <a:gd name="f6232" fmla="*/ f4793 f1418 1"/>
              <a:gd name="f6233" fmla="*/ f4794 f1418 1"/>
              <a:gd name="f6234" fmla="*/ f4795 f1417 1"/>
              <a:gd name="f6235" fmla="*/ f4796 f1417 1"/>
              <a:gd name="f6236" fmla="*/ f4797 f1417 1"/>
              <a:gd name="f6237" fmla="*/ f4798 f1417 1"/>
              <a:gd name="f6238" fmla="*/ f4799 f1417 1"/>
              <a:gd name="f6239" fmla="*/ f4800 f1417 1"/>
              <a:gd name="f6240" fmla="*/ f4801 f1417 1"/>
              <a:gd name="f6241" fmla="*/ f4802 f1417 1"/>
              <a:gd name="f6242" fmla="*/ f4803 f1417 1"/>
              <a:gd name="f6243" fmla="*/ f4804 f1417 1"/>
              <a:gd name="f6244" fmla="*/ f4805 f1418 1"/>
              <a:gd name="f6245" fmla="*/ f4806 f1418 1"/>
              <a:gd name="f6246" fmla="*/ f4807 f1418 1"/>
              <a:gd name="f6247" fmla="*/ f4808 f1418 1"/>
              <a:gd name="f6248" fmla="*/ f4809 f1417 1"/>
              <a:gd name="f6249" fmla="*/ f4810 f1417 1"/>
              <a:gd name="f6250" fmla="*/ f4811 f1417 1"/>
              <a:gd name="f6251" fmla="*/ f4812 f1417 1"/>
              <a:gd name="f6252" fmla="*/ f4813 f1417 1"/>
              <a:gd name="f6253" fmla="*/ f4814 f1417 1"/>
              <a:gd name="f6254" fmla="*/ f4815 f1417 1"/>
              <a:gd name="f6255" fmla="*/ f4816 f1417 1"/>
              <a:gd name="f6256" fmla="*/ f4817 f1417 1"/>
              <a:gd name="f6257" fmla="*/ f4818 f1417 1"/>
              <a:gd name="f6258" fmla="*/ f4819 f1418 1"/>
              <a:gd name="f6259" fmla="*/ f4820 f1418 1"/>
              <a:gd name="f6260" fmla="*/ f4821 f1418 1"/>
              <a:gd name="f6261" fmla="*/ f4822 f1418 1"/>
              <a:gd name="f6262" fmla="*/ f4823 f1417 1"/>
              <a:gd name="f6263" fmla="*/ f4824 f1417 1"/>
              <a:gd name="f6264" fmla="*/ f4825 f1417 1"/>
              <a:gd name="f6265" fmla="*/ f4826 f1417 1"/>
              <a:gd name="f6266" fmla="*/ f4827 f1417 1"/>
              <a:gd name="f6267" fmla="*/ f4828 f1417 1"/>
              <a:gd name="f6268" fmla="*/ f4829 f1417 1"/>
              <a:gd name="f6269" fmla="*/ f4830 f1417 1"/>
              <a:gd name="f6270" fmla="*/ f4831 f1417 1"/>
              <a:gd name="f6271" fmla="*/ f4832 f1417 1"/>
              <a:gd name="f6272" fmla="*/ f4833 f1417 1"/>
              <a:gd name="f6273" fmla="*/ f4834 f1417 1"/>
              <a:gd name="f6274" fmla="*/ f4835 f1417 1"/>
              <a:gd name="f6275" fmla="*/ f4836 f1417 1"/>
              <a:gd name="f6276" fmla="*/ f4837 f1417 1"/>
              <a:gd name="f6277" fmla="*/ f4838 f1417 1"/>
              <a:gd name="f6278" fmla="*/ f4839 f1417 1"/>
              <a:gd name="f6279" fmla="*/ f4840 f1417 1"/>
              <a:gd name="f6280" fmla="*/ f4841 f1417 1"/>
              <a:gd name="f6281" fmla="*/ f4842 f1417 1"/>
              <a:gd name="f6282" fmla="*/ f4843 f1417 1"/>
              <a:gd name="f6283" fmla="*/ f4844 f1418 1"/>
              <a:gd name="f6284" fmla="*/ f4845 f1417 1"/>
              <a:gd name="f6285" fmla="*/ f4846 f1418 1"/>
              <a:gd name="f6286" fmla="*/ f4847 f1418 1"/>
              <a:gd name="f6287" fmla="*/ f4848 f1418 1"/>
              <a:gd name="f6288" fmla="*/ f4849 f1417 1"/>
              <a:gd name="f6289" fmla="*/ f4850 f1417 1"/>
              <a:gd name="f6290" fmla="*/ f4851 f1417 1"/>
              <a:gd name="f6291" fmla="*/ f4852 f1417 1"/>
              <a:gd name="f6292" fmla="*/ f4853 f1417 1"/>
              <a:gd name="f6293" fmla="*/ f4854 f1417 1"/>
              <a:gd name="f6294" fmla="*/ f4855 f1417 1"/>
              <a:gd name="f6295" fmla="*/ f4856 f1417 1"/>
              <a:gd name="f6296" fmla="*/ f4857 f1417 1"/>
              <a:gd name="f6297" fmla="*/ f4858 f1417 1"/>
              <a:gd name="f6298" fmla="*/ f4859 f1417 1"/>
              <a:gd name="f6299" fmla="*/ f4860 f1418 1"/>
              <a:gd name="f6300" fmla="*/ f4861 f1418 1"/>
              <a:gd name="f6301" fmla="*/ f4862 f1418 1"/>
              <a:gd name="f6302" fmla="*/ f4863 f1418 1"/>
              <a:gd name="f6303" fmla="*/ f4864 f1417 1"/>
              <a:gd name="f6304" fmla="*/ f4865 f1417 1"/>
              <a:gd name="f6305" fmla="*/ f4866 f1417 1"/>
              <a:gd name="f6306" fmla="*/ f4867 f1417 1"/>
              <a:gd name="f6307" fmla="*/ f4868 f1417 1"/>
              <a:gd name="f6308" fmla="*/ f4869 f1417 1"/>
              <a:gd name="f6309" fmla="*/ f4870 f1417 1"/>
              <a:gd name="f6310" fmla="*/ f4871 f1417 1"/>
              <a:gd name="f6311" fmla="*/ f4872 f1417 1"/>
              <a:gd name="f6312" fmla="*/ f4873 f1417 1"/>
              <a:gd name="f6313" fmla="*/ f4874 f1417 1"/>
              <a:gd name="f6314" fmla="*/ f4875 f1417 1"/>
              <a:gd name="f6315" fmla="*/ f4876 f1418 1"/>
              <a:gd name="f6316" fmla="*/ f4877 f1417 1"/>
              <a:gd name="f6317" fmla="*/ f4878 f1418 1"/>
              <a:gd name="f6318" fmla="*/ f4879 f1418 1"/>
              <a:gd name="f6319" fmla="*/ f4880 f1418 1"/>
              <a:gd name="f6320" fmla="*/ f4881 f1417 1"/>
              <a:gd name="f6321" fmla="*/ f4882 f1417 1"/>
              <a:gd name="f6322" fmla="*/ f4883 f1417 1"/>
              <a:gd name="f6323" fmla="*/ f4884 f1417 1"/>
              <a:gd name="f6324" fmla="*/ f4885 f1417 1"/>
              <a:gd name="f6325" fmla="*/ f4886 f1417 1"/>
              <a:gd name="f6326" fmla="*/ f4887 f1417 1"/>
              <a:gd name="f6327" fmla="*/ f4888 f1417 1"/>
              <a:gd name="f6328" fmla="*/ f4889 f1418 1"/>
              <a:gd name="f6329" fmla="*/ f4890 f1418 1"/>
              <a:gd name="f6330" fmla="*/ f4891 f1418 1"/>
              <a:gd name="f6331" fmla="*/ f4892 f1418 1"/>
              <a:gd name="f6332" fmla="*/ f4893 f1417 1"/>
              <a:gd name="f6333" fmla="*/ f4894 f1417 1"/>
              <a:gd name="f6334" fmla="*/ f4895 f1417 1"/>
              <a:gd name="f6335" fmla="*/ f4896 f1417 1"/>
              <a:gd name="f6336" fmla="*/ f4897 f1417 1"/>
              <a:gd name="f6337" fmla="*/ f4898 f1417 1"/>
              <a:gd name="f6338" fmla="*/ f4899 f1417 1"/>
              <a:gd name="f6339" fmla="*/ f4900 f1417 1"/>
              <a:gd name="f6340" fmla="*/ f4901 f1417 1"/>
              <a:gd name="f6341" fmla="*/ f4902 f1417 1"/>
              <a:gd name="f6342" fmla="*/ f4903 f1417 1"/>
              <a:gd name="f6343" fmla="*/ f4904 f1417 1"/>
              <a:gd name="f6344" fmla="*/ f4905 f1417 1"/>
              <a:gd name="f6345" fmla="*/ f4906 f1418 1"/>
              <a:gd name="f6346" fmla="*/ f4907 f1418 1"/>
              <a:gd name="f6347" fmla="*/ f4908 f1418 1"/>
              <a:gd name="f6348" fmla="*/ f4909 f1418 1"/>
              <a:gd name="f6349" fmla="*/ f4910 f1417 1"/>
              <a:gd name="f6350" fmla="*/ f4911 f1417 1"/>
              <a:gd name="f6351" fmla="*/ f4912 f1417 1"/>
              <a:gd name="f6352" fmla="*/ f4913 f1417 1"/>
              <a:gd name="f6353" fmla="*/ f4914 f1417 1"/>
              <a:gd name="f6354" fmla="*/ f4915 f1417 1"/>
              <a:gd name="f6355" fmla="*/ f4916 f1417 1"/>
              <a:gd name="f6356" fmla="*/ f4917 f1417 1"/>
              <a:gd name="f6357" fmla="*/ f4918 f1417 1"/>
              <a:gd name="f6358" fmla="*/ f4919 f1417 1"/>
              <a:gd name="f6359" fmla="*/ f4920 f1417 1"/>
              <a:gd name="f6360" fmla="*/ f4921 f1417 1"/>
              <a:gd name="f6361" fmla="*/ f4922 f1417 1"/>
              <a:gd name="f6362" fmla="*/ f4923 f1417 1"/>
              <a:gd name="f6363" fmla="*/ f4924 f1417 1"/>
              <a:gd name="f6364" fmla="*/ f4925 f1417 1"/>
              <a:gd name="f6365" fmla="*/ f4926 f1417 1"/>
              <a:gd name="f6366" fmla="*/ f4927 f1417 1"/>
              <a:gd name="f6367" fmla="*/ f4928 f1417 1"/>
              <a:gd name="f6368" fmla="*/ f4929 f1417 1"/>
              <a:gd name="f6369" fmla="*/ f4930 f1417 1"/>
              <a:gd name="f6370" fmla="*/ f4931 f1417 1"/>
              <a:gd name="f6371" fmla="*/ f4932 f1418 1"/>
              <a:gd name="f6372" fmla="*/ f4933 f1418 1"/>
              <a:gd name="f6373" fmla="*/ f4934 f1418 1"/>
              <a:gd name="f6374" fmla="*/ f4935 f1418 1"/>
              <a:gd name="f6375" fmla="*/ f4936 f1417 1"/>
              <a:gd name="f6376" fmla="*/ f4937 f1417 1"/>
              <a:gd name="f6377" fmla="*/ f4938 f1417 1"/>
              <a:gd name="f6378" fmla="*/ f4939 f1417 1"/>
              <a:gd name="f6379" fmla="*/ f4940 f1417 1"/>
              <a:gd name="f6380" fmla="*/ f4941 f1417 1"/>
              <a:gd name="f6381" fmla="*/ f4942 f1417 1"/>
              <a:gd name="f6382" fmla="*/ f4943 f1417 1"/>
              <a:gd name="f6383" fmla="*/ f4944 f1417 1"/>
              <a:gd name="f6384" fmla="*/ f4945 f1417 1"/>
              <a:gd name="f6385" fmla="*/ f4946 f1418 1"/>
              <a:gd name="f6386" fmla="*/ f4947 f1418 1"/>
              <a:gd name="f6387" fmla="*/ f4948 f1418 1"/>
              <a:gd name="f6388" fmla="*/ f4949 f1418 1"/>
              <a:gd name="f6389" fmla="*/ f4950 f1417 1"/>
              <a:gd name="f6390" fmla="*/ f4951 f1417 1"/>
              <a:gd name="f6391" fmla="*/ f4952 f1417 1"/>
              <a:gd name="f6392" fmla="*/ f4953 f1417 1"/>
              <a:gd name="f6393" fmla="*/ f4954 f1417 1"/>
              <a:gd name="f6394" fmla="*/ f4955 f1417 1"/>
              <a:gd name="f6395" fmla="*/ f4956 f1417 1"/>
              <a:gd name="f6396" fmla="*/ f4957 f1417 1"/>
              <a:gd name="f6397" fmla="*/ f4958 f1417 1"/>
              <a:gd name="f6398" fmla="*/ f4959 f1417 1"/>
              <a:gd name="f6399" fmla="*/ f4960 f1417 1"/>
              <a:gd name="f6400" fmla="*/ f4961 f1418 1"/>
              <a:gd name="f6401" fmla="*/ f4962 f1418 1"/>
              <a:gd name="f6402" fmla="*/ f4963 f1418 1"/>
              <a:gd name="f6403" fmla="*/ f4964 f1418 1"/>
              <a:gd name="f6404" fmla="*/ f4965 f1418 1"/>
              <a:gd name="f6405" fmla="*/ f4966 f1418 1"/>
              <a:gd name="f6406" fmla="*/ f4967 f1418 1"/>
              <a:gd name="f6407" fmla="*/ f4968 f1418 1"/>
              <a:gd name="f6408" fmla="*/ f4969 f1418 1"/>
              <a:gd name="f6409" fmla="*/ f4970 f1418 1"/>
              <a:gd name="f6410" fmla="*/ f4971 f1418 1"/>
              <a:gd name="f6411" fmla="*/ f4972 f1418 1"/>
              <a:gd name="f6412" fmla="*/ f4973 f1418 1"/>
              <a:gd name="f6413" fmla="*/ f4974 f1418 1"/>
              <a:gd name="f6414" fmla="*/ f4975 f1418 1"/>
              <a:gd name="f6415" fmla="*/ f4976 f1418 1"/>
              <a:gd name="f6416" fmla="*/ f4977 f1418 1"/>
              <a:gd name="f6417" fmla="*/ f4978 f1418 1"/>
              <a:gd name="f6418" fmla="*/ f4979 f1418 1"/>
              <a:gd name="f6419" fmla="*/ f4980 f1418 1"/>
              <a:gd name="f6420" fmla="*/ f4981 f1418 1"/>
              <a:gd name="f6421" fmla="*/ f4982 f1418 1"/>
              <a:gd name="f6422" fmla="*/ f4983 f1418 1"/>
              <a:gd name="f6423" fmla="*/ f4984 f1418 1"/>
              <a:gd name="f6424" fmla="*/ f4985 f1418 1"/>
              <a:gd name="f6425" fmla="*/ f4986 f1418 1"/>
              <a:gd name="f6426" fmla="*/ f4987 f1418 1"/>
              <a:gd name="f6427" fmla="*/ f4988 f1418 1"/>
              <a:gd name="f6428" fmla="*/ f4989 f1418 1"/>
              <a:gd name="f6429" fmla="*/ f4990 f1418 1"/>
              <a:gd name="f6430" fmla="*/ f4991 f1418 1"/>
              <a:gd name="f6431" fmla="*/ f4992 f1418 1"/>
              <a:gd name="f6432" fmla="*/ f4993 f1418 1"/>
              <a:gd name="f6433" fmla="*/ f4994 f1418 1"/>
              <a:gd name="f6434" fmla="*/ f4995 f1418 1"/>
              <a:gd name="f6435" fmla="*/ f4996 f1418 1"/>
              <a:gd name="f6436" fmla="*/ f4997 f1418 1"/>
              <a:gd name="f6437" fmla="*/ f4998 f1418 1"/>
              <a:gd name="f6438" fmla="*/ f4999 f1418 1"/>
              <a:gd name="f6439" fmla="*/ f5000 f1418 1"/>
              <a:gd name="f6440" fmla="*/ f5001 f1418 1"/>
              <a:gd name="f6441" fmla="*/ f5002 f1417 1"/>
              <a:gd name="f6442" fmla="*/ f5003 f1418 1"/>
              <a:gd name="f6443" fmla="*/ f5004 f1418 1"/>
              <a:gd name="f6444" fmla="*/ f5005 f1418 1"/>
              <a:gd name="f6445" fmla="*/ f5006 f1418 1"/>
              <a:gd name="f6446" fmla="*/ f5007 f1417 1"/>
              <a:gd name="f6447" fmla="*/ f5008 f1417 1"/>
              <a:gd name="f6448" fmla="*/ f5009 f1417 1"/>
              <a:gd name="f6449" fmla="*/ f5010 f1417 1"/>
              <a:gd name="f6450" fmla="*/ f5011 f1417 1"/>
              <a:gd name="f6451" fmla="*/ f5012 f1418 1"/>
              <a:gd name="f6452" fmla="*/ f5013 f1418 1"/>
              <a:gd name="f6453" fmla="*/ f5014 f1418 1"/>
              <a:gd name="f6454" fmla="*/ f5015 f1417 1"/>
              <a:gd name="f6455" fmla="*/ f5016 f1417 1"/>
              <a:gd name="f6456" fmla="*/ f5017 f1417 1"/>
              <a:gd name="f6457" fmla="*/ f5018 f1418 1"/>
              <a:gd name="f6458" fmla="*/ f5019 f1418 1"/>
              <a:gd name="f6459" fmla="*/ f5020 f1418 1"/>
              <a:gd name="f6460" fmla="*/ f5021 f1418 1"/>
              <a:gd name="f6461" fmla="*/ f5022 f1418 1"/>
              <a:gd name="f6462" fmla="*/ f5023 f1418 1"/>
              <a:gd name="f6463" fmla="*/ f5024 f1418 1"/>
              <a:gd name="f6464" fmla="*/ f5025 f1418 1"/>
              <a:gd name="f6465" fmla="*/ f5026 f1417 1"/>
              <a:gd name="f6466" fmla="*/ f5027 f1417 1"/>
              <a:gd name="f6467" fmla="*/ f5028 f1418 1"/>
              <a:gd name="f6468" fmla="*/ f5029 f1417 1"/>
              <a:gd name="f6469" fmla="*/ f5030 f1418 1"/>
              <a:gd name="f6470" fmla="*/ f5031 f1418 1"/>
              <a:gd name="f6471" fmla="*/ f5032 f1418 1"/>
              <a:gd name="f6472" fmla="*/ f5033 f1417 1"/>
              <a:gd name="f6473" fmla="*/ f5034 f1417 1"/>
              <a:gd name="f6474" fmla="*/ f5035 f1417 1"/>
              <a:gd name="f6475" fmla="*/ f5036 f1418 1"/>
              <a:gd name="f6476" fmla="*/ f5037 f1417 1"/>
              <a:gd name="f6477" fmla="*/ f5038 f1417 1"/>
              <a:gd name="f6478" fmla="*/ f5039 f1417 1"/>
              <a:gd name="f6479" fmla="*/ f5040 f1417 1"/>
              <a:gd name="f6480" fmla="*/ f5041 f1417 1"/>
              <a:gd name="f6481" fmla="*/ f5042 f1417 1"/>
              <a:gd name="f6482" fmla="*/ f5043 f1418 1"/>
              <a:gd name="f6483" fmla="*/ f5044 f1418 1"/>
              <a:gd name="f6484" fmla="*/ f5045 f1418 1"/>
              <a:gd name="f6485" fmla="*/ f5046 f1418 1"/>
              <a:gd name="f6486" fmla="*/ f5047 f1418 1"/>
              <a:gd name="f6487" fmla="*/ f5048 f1418 1"/>
              <a:gd name="f6488" fmla="*/ f5049 f1418 1"/>
              <a:gd name="f6489" fmla="*/ f5050 f1418 1"/>
              <a:gd name="f6490" fmla="*/ f5051 f1418 1"/>
              <a:gd name="f6491" fmla="*/ f5052 f1418 1"/>
              <a:gd name="f6492" fmla="*/ f5053 f1418 1"/>
              <a:gd name="f6493" fmla="*/ f5054 f1418 1"/>
              <a:gd name="f6494" fmla="*/ f5055 f1418 1"/>
              <a:gd name="f6495" fmla="*/ f5056 f1418 1"/>
              <a:gd name="f6496" fmla="*/ f5057 f1418 1"/>
              <a:gd name="f6497" fmla="*/ f5058 f1418 1"/>
              <a:gd name="f6498" fmla="*/ f5059 f1418 1"/>
              <a:gd name="f6499" fmla="*/ f5060 f1418 1"/>
              <a:gd name="f6500" fmla="*/ f5061 f1418 1"/>
              <a:gd name="f6501" fmla="*/ f5062 f1418 1"/>
              <a:gd name="f6502" fmla="*/ f5063 f1418 1"/>
              <a:gd name="f6503" fmla="*/ f5064 f1418 1"/>
              <a:gd name="f6504" fmla="*/ f5065 f1418 1"/>
              <a:gd name="f6505" fmla="*/ f5066 f1418 1"/>
              <a:gd name="f6506" fmla="*/ f5067 f1418 1"/>
              <a:gd name="f6507" fmla="*/ f5068 f1418 1"/>
              <a:gd name="f6508" fmla="*/ f5069 f1418 1"/>
              <a:gd name="f6509" fmla="*/ f5070 f1418 1"/>
              <a:gd name="f6510" fmla="*/ f5071 f1418 1"/>
              <a:gd name="f6511" fmla="*/ f5072 f1418 1"/>
              <a:gd name="f6512" fmla="*/ f5073 f1418 1"/>
              <a:gd name="f6513" fmla="*/ f5074 f1418 1"/>
              <a:gd name="f6514" fmla="*/ f5075 f1418 1"/>
              <a:gd name="f6515" fmla="*/ f5076 f1418 1"/>
              <a:gd name="f6516" fmla="*/ f5077 f1418 1"/>
              <a:gd name="f6517" fmla="*/ f5078 f1418 1"/>
              <a:gd name="f6518" fmla="*/ f5079 f1418 1"/>
              <a:gd name="f6519" fmla="*/ f5080 f1418 1"/>
              <a:gd name="f6520" fmla="*/ f5081 f1418 1"/>
              <a:gd name="f6521" fmla="*/ f5082 f1418 1"/>
              <a:gd name="f6522" fmla="*/ f5083 f1418 1"/>
              <a:gd name="f6523" fmla="*/ f5084 f1418 1"/>
              <a:gd name="f6524" fmla="*/ f5085 f1418 1"/>
              <a:gd name="f6525" fmla="*/ f5086 f1418 1"/>
              <a:gd name="f6526" fmla="*/ f5087 f1418 1"/>
              <a:gd name="f6527" fmla="*/ f5088 f1417 1"/>
              <a:gd name="f6528" fmla="*/ f5089 f1418 1"/>
              <a:gd name="f6529" fmla="*/ f5090 f1417 1"/>
              <a:gd name="f6530" fmla="*/ f5091 f1417 1"/>
              <a:gd name="f6531" fmla="*/ f5092 f1418 1"/>
              <a:gd name="f6532" fmla="*/ f5093 f1418 1"/>
              <a:gd name="f6533" fmla="*/ f5094 f1418 1"/>
              <a:gd name="f6534" fmla="*/ f5095 f1417 1"/>
              <a:gd name="f6535" fmla="*/ f5096 f1417 1"/>
              <a:gd name="f6536" fmla="*/ f5097 f1417 1"/>
              <a:gd name="f6537" fmla="*/ f5098 f1417 1"/>
              <a:gd name="f6538" fmla="*/ f5099 f1417 1"/>
              <a:gd name="f6539" fmla="*/ f5100 f1418 1"/>
              <a:gd name="f6540" fmla="*/ f5101 f1418 1"/>
              <a:gd name="f6541" fmla="*/ f5102 f1417 1"/>
              <a:gd name="f6542" fmla="*/ f5103 f1417 1"/>
              <a:gd name="f6543" fmla="*/ f5104 f1417 1"/>
              <a:gd name="f6544" fmla="*/ f5105 f1417 1"/>
              <a:gd name="f6545" fmla="*/ f5106 f1417 1"/>
              <a:gd name="f6546" fmla="*/ f5107 f1418 1"/>
              <a:gd name="f6547" fmla="*/ f5108 f1417 1"/>
              <a:gd name="f6548" fmla="*/ f5109 f1418 1"/>
              <a:gd name="f6549" fmla="*/ f5110 f1418 1"/>
              <a:gd name="f6550" fmla="*/ f5111 f1418 1"/>
              <a:gd name="f6551" fmla="*/ f5112 f1417 1"/>
              <a:gd name="f6552" fmla="*/ f5113 f1417 1"/>
              <a:gd name="f6553" fmla="*/ f5114 f1418 1"/>
              <a:gd name="f6554" fmla="*/ f5115 f1417 1"/>
              <a:gd name="f6555" fmla="*/ f5116 f1417 1"/>
              <a:gd name="f6556" fmla="*/ f5117 f1417 1"/>
              <a:gd name="f6557" fmla="*/ f5118 f1417 1"/>
              <a:gd name="f6558" fmla="*/ f5119 f1417 1"/>
              <a:gd name="f6559" fmla="*/ f5120 f1418 1"/>
              <a:gd name="f6560" fmla="*/ f5121 f1417 1"/>
              <a:gd name="f6561" fmla="*/ f5122 f1418 1"/>
              <a:gd name="f6562" fmla="*/ f5123 f1418 1"/>
              <a:gd name="f6563" fmla="*/ f5124 f1418 1"/>
              <a:gd name="f6564" fmla="*/ f5125 f1418 1"/>
              <a:gd name="f6565" fmla="*/ f5126 f1417 1"/>
              <a:gd name="f6566" fmla="*/ f5127 f1418 1"/>
              <a:gd name="f6567" fmla="*/ f5128 f1418 1"/>
              <a:gd name="f6568" fmla="*/ f5129 f1418 1"/>
              <a:gd name="f6569" fmla="*/ f5130 f1418 1"/>
              <a:gd name="f6570" fmla="*/ f5131 f1418 1"/>
              <a:gd name="f6571" fmla="*/ f5132 f1418 1"/>
              <a:gd name="f6572" fmla="*/ f5133 f1418 1"/>
              <a:gd name="f6573" fmla="*/ f5134 f1418 1"/>
              <a:gd name="f6574" fmla="*/ f5135 f1418 1"/>
              <a:gd name="f6575" fmla="*/ f5136 f1418 1"/>
              <a:gd name="f6576" fmla="*/ f5137 f1418 1"/>
              <a:gd name="f6577" fmla="*/ f5138 f1418 1"/>
              <a:gd name="f6578" fmla="*/ f5139 f1418 1"/>
              <a:gd name="f6579" fmla="*/ f5140 f1418 1"/>
              <a:gd name="f6580" fmla="*/ f5141 f1418 1"/>
              <a:gd name="f6581" fmla="*/ f5142 f1418 1"/>
              <a:gd name="f6582" fmla="*/ f5143 f1418 1"/>
              <a:gd name="f6583" fmla="*/ f5144 f1418 1"/>
              <a:gd name="f6584" fmla="*/ f5145 f1418 1"/>
              <a:gd name="f6585" fmla="*/ f5146 f1418 1"/>
              <a:gd name="f6586" fmla="*/ f5147 f1418 1"/>
              <a:gd name="f6587" fmla="*/ f5148 f1418 1"/>
              <a:gd name="f6588" fmla="*/ f5149 f1418 1"/>
              <a:gd name="f6589" fmla="*/ f5150 f1418 1"/>
              <a:gd name="f6590" fmla="*/ f5151 f1418 1"/>
              <a:gd name="f6591" fmla="*/ f5152 f1418 1"/>
              <a:gd name="f6592" fmla="*/ f5153 f1418 1"/>
              <a:gd name="f6593" fmla="*/ f5154 f1418 1"/>
              <a:gd name="f6594" fmla="*/ f5155 f1418 1"/>
              <a:gd name="f6595" fmla="*/ f5156 f1418 1"/>
              <a:gd name="f6596" fmla="*/ f5157 f1418 1"/>
              <a:gd name="f6597" fmla="*/ f5158 f1418 1"/>
              <a:gd name="f6598" fmla="*/ f5159 f1418 1"/>
              <a:gd name="f6599" fmla="*/ f5160 f1418 1"/>
              <a:gd name="f6600" fmla="*/ f5161 f1418 1"/>
              <a:gd name="f6601" fmla="*/ f5162 f1418 1"/>
              <a:gd name="f6602" fmla="*/ f5163 f1418 1"/>
              <a:gd name="f6603" fmla="*/ f5164 f1418 1"/>
              <a:gd name="f6604" fmla="*/ f5165 f1418 1"/>
              <a:gd name="f6605" fmla="*/ f5166 f1418 1"/>
              <a:gd name="f6606" fmla="*/ f5167 f1418 1"/>
              <a:gd name="f6607" fmla="*/ f5168 f1418 1"/>
              <a:gd name="f6608" fmla="*/ f5169 f1418 1"/>
              <a:gd name="f6609" fmla="*/ f5170 f1417 1"/>
              <a:gd name="f6610" fmla="*/ f5171 f1418 1"/>
              <a:gd name="f6611" fmla="*/ f5172 f1417 1"/>
              <a:gd name="f6612" fmla="*/ f5173 f1417 1"/>
              <a:gd name="f6613" fmla="*/ f5174 f1418 1"/>
              <a:gd name="f6614" fmla="*/ f5175 f1418 1"/>
              <a:gd name="f6615" fmla="*/ f5176 f1418 1"/>
              <a:gd name="f6616" fmla="*/ f5177 f1417 1"/>
              <a:gd name="f6617" fmla="*/ f5178 f1418 1"/>
              <a:gd name="f6618" fmla="*/ f5179 f1417 1"/>
              <a:gd name="f6619" fmla="*/ f5180 f1417 1"/>
              <a:gd name="f6620" fmla="*/ f5181 f1417 1"/>
              <a:gd name="f6621" fmla="*/ f5182 f1417 1"/>
              <a:gd name="f6622" fmla="*/ f5183 f1417 1"/>
              <a:gd name="f6623" fmla="*/ f5184 f1417 1"/>
              <a:gd name="f6624" fmla="*/ f5185 f1417 1"/>
              <a:gd name="f6625" fmla="*/ f5186 f1417 1"/>
              <a:gd name="f6626" fmla="*/ f5187 f1417 1"/>
              <a:gd name="f6627" fmla="*/ f5188 f1418 1"/>
              <a:gd name="f6628" fmla="*/ f5189 f1418 1"/>
              <a:gd name="f6629" fmla="*/ f5190 f1418 1"/>
              <a:gd name="f6630" fmla="*/ f5191 f1418 1"/>
              <a:gd name="f6631" fmla="*/ f5192 f1417 1"/>
              <a:gd name="f6632" fmla="*/ f5193 f1418 1"/>
              <a:gd name="f6633" fmla="*/ f5194 f1418 1"/>
              <a:gd name="f6634" fmla="*/ f5195 f1418 1"/>
              <a:gd name="f6635" fmla="*/ f5196 f1418 1"/>
              <a:gd name="f6636" fmla="*/ f5197 f1418 1"/>
              <a:gd name="f6637" fmla="*/ f5198 f1418 1"/>
              <a:gd name="f6638" fmla="*/ f5199 f1418 1"/>
              <a:gd name="f6639" fmla="*/ f5200 f1418 1"/>
              <a:gd name="f6640" fmla="*/ f5201 f1418 1"/>
              <a:gd name="f6641" fmla="*/ f5202 f1417 1"/>
              <a:gd name="f6642" fmla="*/ f5203 f1417 1"/>
              <a:gd name="f6643" fmla="*/ f5204 f1418 1"/>
              <a:gd name="f6644" fmla="*/ f5205 f1418 1"/>
              <a:gd name="f6645" fmla="*/ f5206 f1418 1"/>
              <a:gd name="f6646" fmla="*/ f5207 f1417 1"/>
              <a:gd name="f6647" fmla="*/ f5208 f1417 1"/>
              <a:gd name="f6648" fmla="*/ f5209 f1417 1"/>
              <a:gd name="f6649" fmla="*/ f5210 f1417 1"/>
              <a:gd name="f6650" fmla="*/ f5211 f1417 1"/>
              <a:gd name="f6651" fmla="*/ f5212 f1417 1"/>
              <a:gd name="f6652" fmla="*/ f5213 f1417 1"/>
              <a:gd name="f6653" fmla="*/ f5214 f1418 1"/>
              <a:gd name="f6654" fmla="*/ f5215 f1418 1"/>
              <a:gd name="f6655" fmla="*/ f5216 f1418 1"/>
              <a:gd name="f6656" fmla="*/ f5217 f1418 1"/>
              <a:gd name="f6657" fmla="*/ f5218 f1418 1"/>
              <a:gd name="f6658" fmla="*/ f5219 f1418 1"/>
              <a:gd name="f6659" fmla="*/ f5220 f1418 1"/>
              <a:gd name="f6660" fmla="*/ f5221 f1418 1"/>
              <a:gd name="f6661" fmla="*/ f5222 f1418 1"/>
              <a:gd name="f6662" fmla="*/ f5223 f1418 1"/>
              <a:gd name="f6663" fmla="*/ f5224 f1418 1"/>
              <a:gd name="f6664" fmla="*/ f5225 f1418 1"/>
              <a:gd name="f6665" fmla="*/ f5226 f1418 1"/>
              <a:gd name="f6666" fmla="*/ f5227 f1418 1"/>
              <a:gd name="f6667" fmla="*/ f5228 f1418 1"/>
              <a:gd name="f6668" fmla="*/ f5229 f1418 1"/>
              <a:gd name="f6669" fmla="*/ f5230 f1418 1"/>
              <a:gd name="f6670" fmla="*/ f5231 f1418 1"/>
              <a:gd name="f6671" fmla="*/ f5232 f1418 1"/>
              <a:gd name="f6672" fmla="*/ f5233 f1418 1"/>
              <a:gd name="f6673" fmla="*/ f5234 f1418 1"/>
              <a:gd name="f6674" fmla="*/ f5235 f1418 1"/>
              <a:gd name="f6675" fmla="*/ f5236 f1418 1"/>
              <a:gd name="f6676" fmla="*/ f5237 f1418 1"/>
              <a:gd name="f6677" fmla="*/ f5238 f1418 1"/>
              <a:gd name="f6678" fmla="*/ f5239 f1418 1"/>
              <a:gd name="f6679" fmla="*/ f5240 f1418 1"/>
              <a:gd name="f6680" fmla="*/ f5241 f1418 1"/>
              <a:gd name="f6681" fmla="*/ f5242 f1418 1"/>
              <a:gd name="f6682" fmla="*/ f5243 f1418 1"/>
              <a:gd name="f6683" fmla="*/ f5244 f1418 1"/>
              <a:gd name="f6684" fmla="*/ f5245 f1418 1"/>
              <a:gd name="f6685" fmla="*/ f5246 f1418 1"/>
              <a:gd name="f6686" fmla="*/ f5247 f1418 1"/>
              <a:gd name="f6687" fmla="*/ f5248 f1418 1"/>
              <a:gd name="f6688" fmla="*/ f5249 f1418 1"/>
              <a:gd name="f6689" fmla="*/ f5250 f1417 1"/>
              <a:gd name="f6690" fmla="*/ f5251 f1418 1"/>
              <a:gd name="f6691" fmla="*/ f5252 f1417 1"/>
              <a:gd name="f6692" fmla="*/ f5253 f1418 1"/>
              <a:gd name="f6693" fmla="*/ f5254 f1418 1"/>
              <a:gd name="f6694" fmla="*/ f5255 f1418 1"/>
              <a:gd name="f6695" fmla="*/ f5256 f1417 1"/>
              <a:gd name="f6696" fmla="*/ f5257 f1417 1"/>
              <a:gd name="f6697" fmla="*/ f5258 f1417 1"/>
              <a:gd name="f6698" fmla="*/ f5259 f1417 1"/>
              <a:gd name="f6699" fmla="*/ f5260 f1417 1"/>
              <a:gd name="f6700" fmla="*/ f5261 f1417 1"/>
              <a:gd name="f6701" fmla="*/ f5262 f1417 1"/>
              <a:gd name="f6702" fmla="*/ f5263 f1418 1"/>
              <a:gd name="f6703" fmla="*/ f5264 f1418 1"/>
              <a:gd name="f6704" fmla="*/ f5265 f1418 1"/>
              <a:gd name="f6705" fmla="*/ f5266 f1418 1"/>
              <a:gd name="f6706" fmla="*/ f5267 f1418 1"/>
              <a:gd name="f6707" fmla="*/ f5268 f1418 1"/>
              <a:gd name="f6708" fmla="*/ f5269 f1418 1"/>
              <a:gd name="f6709" fmla="*/ f5270 f1418 1"/>
              <a:gd name="f6710" fmla="*/ f5271 f1417 1"/>
              <a:gd name="f6711" fmla="*/ f5272 f1418 1"/>
              <a:gd name="f6712" fmla="*/ f5273 f1417 1"/>
              <a:gd name="f6713" fmla="*/ f5274 f1418 1"/>
              <a:gd name="f6714" fmla="*/ f5275 f1418 1"/>
              <a:gd name="f6715" fmla="*/ f5276 f1418 1"/>
              <a:gd name="f6716" fmla="*/ f5277 f1417 1"/>
              <a:gd name="f6717" fmla="*/ f5278 f1418 1"/>
              <a:gd name="f6718" fmla="*/ f5279 f1418 1"/>
              <a:gd name="f6719" fmla="*/ f5280 f1418 1"/>
              <a:gd name="f6720" fmla="*/ f5281 f1418 1"/>
              <a:gd name="f6721" fmla="*/ f5282 f1417 1"/>
              <a:gd name="f6722" fmla="*/ f5283 f1417 1"/>
              <a:gd name="f6723" fmla="*/ f5284 f1417 1"/>
              <a:gd name="f6724" fmla="*/ f5285 f1417 1"/>
              <a:gd name="f6725" fmla="*/ f5286 f1417 1"/>
              <a:gd name="f6726" fmla="*/ f5287 f1418 1"/>
              <a:gd name="f6727" fmla="*/ f5288 f1417 1"/>
              <a:gd name="f6728" fmla="*/ f5289 f1417 1"/>
              <a:gd name="f6729" fmla="*/ f5290 f1417 1"/>
              <a:gd name="f6730" fmla="*/ f5291 f1417 1"/>
              <a:gd name="f6731" fmla="*/ f5292 f1418 1"/>
              <a:gd name="f6732" fmla="*/ f5293 f1418 1"/>
              <a:gd name="f6733" fmla="*/ f5294 f1418 1"/>
              <a:gd name="f6734" fmla="*/ f5295 f1418 1"/>
              <a:gd name="f6735" fmla="*/ f5296 f1418 1"/>
              <a:gd name="f6736" fmla="*/ f5297 f1418 1"/>
              <a:gd name="f6737" fmla="*/ f5298 f1418 1"/>
              <a:gd name="f6738" fmla="*/ f5299 f1418 1"/>
              <a:gd name="f6739" fmla="*/ f5300 f1418 1"/>
              <a:gd name="f6740" fmla="*/ f5301 f1418 1"/>
              <a:gd name="f6741" fmla="*/ f5302 f1418 1"/>
              <a:gd name="f6742" fmla="*/ f5303 f1418 1"/>
              <a:gd name="f6743" fmla="*/ f5304 f1418 1"/>
              <a:gd name="f6744" fmla="*/ f5305 f1418 1"/>
              <a:gd name="f6745" fmla="*/ f5306 f1418 1"/>
              <a:gd name="f6746" fmla="*/ f5307 f1418 1"/>
              <a:gd name="f6747" fmla="*/ f5308 f1418 1"/>
              <a:gd name="f6748" fmla="*/ f5309 f1418 1"/>
              <a:gd name="f6749" fmla="*/ f5310 f1418 1"/>
              <a:gd name="f6750" fmla="*/ f5311 f1418 1"/>
              <a:gd name="f6751" fmla="*/ f5312 f1418 1"/>
              <a:gd name="f6752" fmla="*/ f5313 f1418 1"/>
              <a:gd name="f6753" fmla="*/ f5314 f1418 1"/>
              <a:gd name="f6754" fmla="*/ f5315 f1418 1"/>
              <a:gd name="f6755" fmla="*/ f5316 f1418 1"/>
              <a:gd name="f6756" fmla="*/ f5317 f1418 1"/>
              <a:gd name="f6757" fmla="*/ f5318 f1418 1"/>
              <a:gd name="f6758" fmla="*/ f5319 f1418 1"/>
              <a:gd name="f6759" fmla="*/ f5320 f1418 1"/>
              <a:gd name="f6760" fmla="*/ f5321 f1418 1"/>
              <a:gd name="f6761" fmla="*/ f5322 f1418 1"/>
              <a:gd name="f6762" fmla="*/ f5323 f1418 1"/>
              <a:gd name="f6763" fmla="*/ f5324 f1418 1"/>
              <a:gd name="f6764" fmla="*/ f5325 f1418 1"/>
              <a:gd name="f6765" fmla="*/ f5326 f1418 1"/>
              <a:gd name="f6766" fmla="*/ f5327 f1418 1"/>
              <a:gd name="f6767" fmla="*/ f5328 f1417 1"/>
              <a:gd name="f6768" fmla="*/ f5329 f1418 1"/>
              <a:gd name="f6769" fmla="*/ f5330 f1417 1"/>
              <a:gd name="f6770" fmla="*/ f5331 f1418 1"/>
              <a:gd name="f6771" fmla="*/ f5332 f1418 1"/>
              <a:gd name="f6772" fmla="*/ f5333 f1418 1"/>
              <a:gd name="f6773" fmla="*/ f5334 f1417 1"/>
              <a:gd name="f6774" fmla="*/ f5335 f1417 1"/>
              <a:gd name="f6775" fmla="*/ f5336 f1418 1"/>
              <a:gd name="f6776" fmla="*/ f5337 f1417 1"/>
              <a:gd name="f6777" fmla="*/ f5338 f1417 1"/>
              <a:gd name="f6778" fmla="*/ f5339 f1418 1"/>
              <a:gd name="f6779" fmla="*/ f5340 f1417 1"/>
              <a:gd name="f6780" fmla="*/ f5341 f1417 1"/>
              <a:gd name="f6781" fmla="*/ f5342 f1417 1"/>
              <a:gd name="f6782" fmla="*/ f5343 f1417 1"/>
              <a:gd name="f6783" fmla="*/ f5344 f1417 1"/>
              <a:gd name="f6784" fmla="*/ f5345 f1417 1"/>
              <a:gd name="f6785" fmla="*/ f5346 f1417 1"/>
              <a:gd name="f6786" fmla="*/ f5347 f1418 1"/>
              <a:gd name="f6787" fmla="*/ f5348 f1417 1"/>
              <a:gd name="f6788" fmla="*/ f5349 f1418 1"/>
              <a:gd name="f6789" fmla="*/ f5350 f1418 1"/>
              <a:gd name="f6790" fmla="*/ f5351 f1418 1"/>
              <a:gd name="f6791" fmla="*/ f5352 f1417 1"/>
              <a:gd name="f6792" fmla="*/ f5353 f1417 1"/>
              <a:gd name="f6793" fmla="*/ f5354 f1417 1"/>
              <a:gd name="f6794" fmla="*/ f5355 f1417 1"/>
              <a:gd name="f6795" fmla="*/ f5356 f1417 1"/>
              <a:gd name="f6796" fmla="*/ f5357 f1418 1"/>
              <a:gd name="f6797" fmla="*/ f5358 f1417 1"/>
              <a:gd name="f6798" fmla="*/ f5359 f1417 1"/>
              <a:gd name="f6799" fmla="*/ f5360 f1417 1"/>
              <a:gd name="f6800" fmla="*/ f5361 f1418 1"/>
              <a:gd name="f6801" fmla="*/ f5362 f1418 1"/>
              <a:gd name="f6802" fmla="*/ f5363 f1418 1"/>
              <a:gd name="f6803" fmla="*/ f5364 f1418 1"/>
              <a:gd name="f6804" fmla="*/ f5365 f1418 1"/>
              <a:gd name="f6805" fmla="*/ f5366 f1417 1"/>
              <a:gd name="f6806" fmla="*/ f5367 f1418 1"/>
              <a:gd name="f6807" fmla="*/ f5368 f1418 1"/>
              <a:gd name="f6808" fmla="*/ f5369 f1418 1"/>
              <a:gd name="f6809" fmla="*/ f5370 f1418 1"/>
              <a:gd name="f6810" fmla="*/ f5371 f1418 1"/>
              <a:gd name="f6811" fmla="*/ f5372 f1418 1"/>
              <a:gd name="f6812" fmla="*/ f5373 f1418 1"/>
              <a:gd name="f6813" fmla="*/ f5374 f1418 1"/>
              <a:gd name="f6814" fmla="*/ f5375 f1418 1"/>
              <a:gd name="f6815" fmla="*/ f5376 f1418 1"/>
              <a:gd name="f6816" fmla="*/ f5377 f1418 1"/>
              <a:gd name="f6817" fmla="*/ f5378 f1418 1"/>
              <a:gd name="f6818" fmla="*/ f5379 f1418 1"/>
              <a:gd name="f6819" fmla="*/ f5380 f1418 1"/>
              <a:gd name="f6820" fmla="*/ f5381 f1418 1"/>
              <a:gd name="f6821" fmla="*/ f5382 f1418 1"/>
              <a:gd name="f6822" fmla="*/ f5383 f1418 1"/>
              <a:gd name="f6823" fmla="*/ f5384 f1418 1"/>
              <a:gd name="f6824" fmla="*/ f5385 f1418 1"/>
              <a:gd name="f6825" fmla="*/ f5386 f1418 1"/>
              <a:gd name="f6826" fmla="*/ f5387 f1418 1"/>
              <a:gd name="f6827" fmla="*/ f5388 f1418 1"/>
              <a:gd name="f6828" fmla="*/ f5389 f1418 1"/>
              <a:gd name="f6829" fmla="*/ f5390 f1418 1"/>
              <a:gd name="f6830" fmla="*/ f5391 f1418 1"/>
              <a:gd name="f6831" fmla="*/ f5392 f1418 1"/>
              <a:gd name="f6832" fmla="*/ f5393 f1418 1"/>
              <a:gd name="f6833" fmla="*/ f5394 f1418 1"/>
              <a:gd name="f6834" fmla="*/ f5395 f1417 1"/>
              <a:gd name="f6835" fmla="*/ f5396 f1417 1"/>
              <a:gd name="f6836" fmla="*/ f5397 f1418 1"/>
              <a:gd name="f6837" fmla="*/ f5398 f1418 1"/>
              <a:gd name="f6838" fmla="*/ f5399 f1418 1"/>
              <a:gd name="f6839" fmla="*/ f5400 f1417 1"/>
              <a:gd name="f6840" fmla="*/ f5401 f1417 1"/>
              <a:gd name="f6841" fmla="*/ f5402 f1417 1"/>
              <a:gd name="f6842" fmla="*/ f5403 f1417 1"/>
              <a:gd name="f6843" fmla="*/ f5404 f1417 1"/>
              <a:gd name="f6844" fmla="*/ f5405 f1417 1"/>
              <a:gd name="f6845" fmla="*/ f5406 f1417 1"/>
              <a:gd name="f6846" fmla="*/ f5407 f1417 1"/>
              <a:gd name="f6847" fmla="*/ f5408 f1418 1"/>
              <a:gd name="f6848" fmla="*/ f5409 f1418 1"/>
              <a:gd name="f6849" fmla="*/ f5410 f1418 1"/>
              <a:gd name="f6850" fmla="*/ f5411 f1418 1"/>
              <a:gd name="f6851" fmla="*/ f5412 f1418 1"/>
              <a:gd name="f6852" fmla="*/ f5413 f1418 1"/>
              <a:gd name="f6853" fmla="*/ f5414 f1417 1"/>
              <a:gd name="f6854" fmla="*/ f5415 f1418 1"/>
              <a:gd name="f6855" fmla="*/ f5416 f1418 1"/>
              <a:gd name="f6856" fmla="*/ f5417 f1418 1"/>
              <a:gd name="f6857" fmla="*/ f5418 f1418 1"/>
              <a:gd name="f6858" fmla="*/ f5419 f1418 1"/>
              <a:gd name="f6859" fmla="*/ f5420 f1417 1"/>
              <a:gd name="f6860" fmla="*/ f5421 f1418 1"/>
              <a:gd name="f6861" fmla="*/ f5422 f1418 1"/>
              <a:gd name="f6862" fmla="*/ f5423 f1418 1"/>
              <a:gd name="f6863" fmla="*/ f5424 f1418 1"/>
              <a:gd name="f6864" fmla="*/ f5425 f1418 1"/>
              <a:gd name="f6865" fmla="*/ f5426 f1418 1"/>
              <a:gd name="f6866" fmla="*/ f5427 f1418 1"/>
              <a:gd name="f6867" fmla="*/ f5428 f1418 1"/>
              <a:gd name="f6868" fmla="*/ f5429 f1417 1"/>
              <a:gd name="f6869" fmla="*/ f5430 f1417 1"/>
              <a:gd name="f6870" fmla="*/ f5431 f1417 1"/>
              <a:gd name="f6871" fmla="*/ f5432 f1417 1"/>
              <a:gd name="f6872" fmla="*/ f5433 f1417 1"/>
              <a:gd name="f6873" fmla="*/ f5434 f1417 1"/>
              <a:gd name="f6874" fmla="*/ f5435 f1417 1"/>
              <a:gd name="f6875" fmla="*/ f5436 f1417 1"/>
              <a:gd name="f6876" fmla="*/ f5437 f1417 1"/>
              <a:gd name="f6877" fmla="*/ f5438 f1418 1"/>
              <a:gd name="f6878" fmla="*/ f5439 f1418 1"/>
              <a:gd name="f6879" fmla="*/ f5440 f1418 1"/>
              <a:gd name="f6880" fmla="*/ f5441 f1418 1"/>
              <a:gd name="f6881" fmla="*/ f5442 f1418 1"/>
              <a:gd name="f6882" fmla="*/ f5443 f1418 1"/>
              <a:gd name="f6883" fmla="*/ f5444 f1418 1"/>
              <a:gd name="f6884" fmla="*/ f5445 f1418 1"/>
              <a:gd name="f6885" fmla="*/ f5446 f1418 1"/>
              <a:gd name="f6886" fmla="*/ f5447 f1418 1"/>
              <a:gd name="f6887" fmla="*/ f5448 f1418 1"/>
              <a:gd name="f6888" fmla="*/ f5449 f1418 1"/>
              <a:gd name="f6889" fmla="*/ f5450 f1418 1"/>
              <a:gd name="f6890" fmla="*/ f5451 f1418 1"/>
              <a:gd name="f6891" fmla="*/ f5452 f1418 1"/>
              <a:gd name="f6892" fmla="*/ f5453 f1418 1"/>
              <a:gd name="f6893" fmla="*/ f5454 f1418 1"/>
              <a:gd name="f6894" fmla="*/ f5455 f1418 1"/>
              <a:gd name="f6895" fmla="*/ f5456 f1418 1"/>
              <a:gd name="f6896" fmla="*/ f5457 f1418 1"/>
              <a:gd name="f6897" fmla="*/ f5458 f1418 1"/>
              <a:gd name="f6898" fmla="*/ f5459 f1418 1"/>
              <a:gd name="f6899" fmla="*/ f5460 f1418 1"/>
              <a:gd name="f6900" fmla="*/ f5461 f1418 1"/>
              <a:gd name="f6901" fmla="*/ f5462 f1418 1"/>
              <a:gd name="f6902" fmla="*/ f5463 f1418 1"/>
              <a:gd name="f6903" fmla="*/ f5464 f1418 1"/>
              <a:gd name="f6904" fmla="*/ f5465 f1417 1"/>
              <a:gd name="f6905" fmla="*/ f5466 f1418 1"/>
              <a:gd name="f6906" fmla="*/ f5467 f1417 1"/>
              <a:gd name="f6907" fmla="*/ f5468 f1418 1"/>
              <a:gd name="f6908" fmla="*/ f5469 f1418 1"/>
              <a:gd name="f6909" fmla="*/ f5470 f1418 1"/>
              <a:gd name="f6910" fmla="*/ f5471 f1417 1"/>
              <a:gd name="f6911" fmla="*/ f5472 f1417 1"/>
              <a:gd name="f6912" fmla="*/ f5473 f1418 1"/>
              <a:gd name="f6913" fmla="*/ f5474 f1417 1"/>
              <a:gd name="f6914" fmla="*/ f5475 f1418 1"/>
              <a:gd name="f6915" fmla="*/ f5476 f1417 1"/>
              <a:gd name="f6916" fmla="*/ f5477 f1417 1"/>
              <a:gd name="f6917" fmla="*/ f5478 f1417 1"/>
              <a:gd name="f6918" fmla="*/ f5479 f1417 1"/>
              <a:gd name="f6919" fmla="*/ f5480 f1418 1"/>
              <a:gd name="f6920" fmla="*/ f5481 f1418 1"/>
              <a:gd name="f6921" fmla="*/ f5482 f1418 1"/>
              <a:gd name="f6922" fmla="*/ f5483 f1418 1"/>
              <a:gd name="f6923" fmla="*/ f5484 f1418 1"/>
              <a:gd name="f6924" fmla="*/ f5485 f1418 1"/>
              <a:gd name="f6925" fmla="*/ f5486 f1418 1"/>
              <a:gd name="f6926" fmla="*/ f5487 f1418 1"/>
              <a:gd name="f6927" fmla="*/ f5488 f1418 1"/>
              <a:gd name="f6928" fmla="*/ f5489 f1417 1"/>
              <a:gd name="f6929" fmla="*/ f5490 f1418 1"/>
              <a:gd name="f6930" fmla="*/ f5491 f1418 1"/>
              <a:gd name="f6931" fmla="*/ f5492 f1418 1"/>
              <a:gd name="f6932" fmla="*/ f5493 f1418 1"/>
              <a:gd name="f6933" fmla="*/ f5494 f1418 1"/>
              <a:gd name="f6934" fmla="*/ f5495 f1418 1"/>
              <a:gd name="f6935" fmla="*/ f5496 f1418 1"/>
              <a:gd name="f6936" fmla="*/ f5497 f1418 1"/>
              <a:gd name="f6937" fmla="*/ f5498 f1417 1"/>
              <a:gd name="f6938" fmla="*/ f5499 f1417 1"/>
              <a:gd name="f6939" fmla="*/ f5500 f1418 1"/>
              <a:gd name="f6940" fmla="*/ f5501 f1418 1"/>
              <a:gd name="f6941" fmla="*/ f5502 f1418 1"/>
              <a:gd name="f6942" fmla="*/ f5503 f1417 1"/>
              <a:gd name="f6943" fmla="*/ f5504 f1418 1"/>
              <a:gd name="f6944" fmla="*/ f5505 f1418 1"/>
              <a:gd name="f6945" fmla="*/ f5506 f1417 1"/>
              <a:gd name="f6946" fmla="*/ f5507 f1417 1"/>
              <a:gd name="f6947" fmla="*/ f5508 f1417 1"/>
              <a:gd name="f6948" fmla="*/ f5509 f1417 1"/>
              <a:gd name="f6949" fmla="*/ f5510 f1417 1"/>
              <a:gd name="f6950" fmla="*/ f5511 f1417 1"/>
              <a:gd name="f6951" fmla="*/ f5512 f1417 1"/>
              <a:gd name="f6952" fmla="*/ f5513 f1418 1"/>
              <a:gd name="f6953" fmla="*/ f5514 f1418 1"/>
              <a:gd name="f6954" fmla="*/ f5515 f1418 1"/>
              <a:gd name="f6955" fmla="*/ f5516 f1418 1"/>
              <a:gd name="f6956" fmla="*/ f5517 f1418 1"/>
              <a:gd name="f6957" fmla="*/ f5518 f1418 1"/>
              <a:gd name="f6958" fmla="*/ f5519 f1418 1"/>
              <a:gd name="f6959" fmla="*/ f5520 f1418 1"/>
              <a:gd name="f6960" fmla="*/ f5521 f1418 1"/>
              <a:gd name="f6961" fmla="*/ f5522 f1418 1"/>
              <a:gd name="f6962" fmla="*/ f5523 f1418 1"/>
              <a:gd name="f6963" fmla="*/ f5524 f1418 1"/>
              <a:gd name="f6964" fmla="*/ f5525 f1418 1"/>
              <a:gd name="f6965" fmla="*/ f5526 f1418 1"/>
              <a:gd name="f6966" fmla="*/ f5527 f1418 1"/>
              <a:gd name="f6967" fmla="*/ f5528 f1418 1"/>
              <a:gd name="f6968" fmla="*/ f5529 f1418 1"/>
              <a:gd name="f6969" fmla="*/ f5530 f1418 1"/>
              <a:gd name="f6970" fmla="*/ f5531 f1418 1"/>
              <a:gd name="f6971" fmla="*/ f5532 f1418 1"/>
              <a:gd name="f6972" fmla="*/ f5533 f1418 1"/>
              <a:gd name="f6973" fmla="*/ f5534 f1418 1"/>
              <a:gd name="f6974" fmla="*/ f5535 f1418 1"/>
              <a:gd name="f6975" fmla="*/ f5536 f1418 1"/>
              <a:gd name="f6976" fmla="*/ f5537 f1418 1"/>
              <a:gd name="f6977" fmla="*/ f5538 f1418 1"/>
              <a:gd name="f6978" fmla="*/ f5539 f1418 1"/>
              <a:gd name="f6979" fmla="*/ f5540 f1418 1"/>
              <a:gd name="f6980" fmla="*/ f5541 f1418 1"/>
              <a:gd name="f6981" fmla="*/ f5542 f1418 1"/>
              <a:gd name="f6982" fmla="*/ f5543 f1418 1"/>
              <a:gd name="f6983" fmla="*/ f5544 f1418 1"/>
              <a:gd name="f6984" fmla="*/ f5545 f1418 1"/>
              <a:gd name="f6985" fmla="*/ f5546 f1417 1"/>
              <a:gd name="f6986" fmla="*/ f5547 f1418 1"/>
              <a:gd name="f6987" fmla="*/ f5548 f1417 1"/>
              <a:gd name="f6988" fmla="*/ f5549 f1417 1"/>
              <a:gd name="f6989" fmla="*/ f5550 f1418 1"/>
              <a:gd name="f6990" fmla="*/ f5551 f1418 1"/>
              <a:gd name="f6991" fmla="*/ f5552 f1418 1"/>
              <a:gd name="f6992" fmla="*/ f5553 f1417 1"/>
              <a:gd name="f6993" fmla="*/ f5554 f1417 1"/>
              <a:gd name="f6994" fmla="*/ f5555 f1417 1"/>
              <a:gd name="f6995" fmla="*/ f5556 f1417 1"/>
              <a:gd name="f6996" fmla="*/ f5557 f1417 1"/>
              <a:gd name="f6997" fmla="*/ f5558 f1417 1"/>
              <a:gd name="f6998" fmla="*/ f5559 f1417 1"/>
              <a:gd name="f6999" fmla="*/ f5560 f1417 1"/>
              <a:gd name="f7000" fmla="*/ f5561 f1417 1"/>
              <a:gd name="f7001" fmla="*/ f5562 f1417 1"/>
              <a:gd name="f7002" fmla="*/ f5563 f1418 1"/>
              <a:gd name="f7003" fmla="*/ f5564 f1417 1"/>
              <a:gd name="f7004" fmla="*/ f5565 f1418 1"/>
              <a:gd name="f7005" fmla="*/ f5566 f1418 1"/>
              <a:gd name="f7006" fmla="*/ f5567 f1418 1"/>
              <a:gd name="f7007" fmla="*/ f5568 f1417 1"/>
              <a:gd name="f7008" fmla="*/ f5569 f1417 1"/>
              <a:gd name="f7009" fmla="*/ f5570 f1417 1"/>
              <a:gd name="f7010" fmla="*/ f5571 f1417 1"/>
              <a:gd name="f7011" fmla="*/ f5572 f1418 1"/>
              <a:gd name="f7012" fmla="*/ f5573 f1417 1"/>
              <a:gd name="f7013" fmla="*/ f5574 f1417 1"/>
              <a:gd name="f7014" fmla="*/ f5575 f1417 1"/>
              <a:gd name="f7015" fmla="*/ f5576 f1417 1"/>
              <a:gd name="f7016" fmla="*/ f5577 f1418 1"/>
              <a:gd name="f7017" fmla="*/ f5578 f1417 1"/>
              <a:gd name="f7018" fmla="*/ f5579 f1418 1"/>
              <a:gd name="f7019" fmla="*/ f5580 f1418 1"/>
              <a:gd name="f7020" fmla="*/ f5581 f1418 1"/>
              <a:gd name="f7021" fmla="*/ f5582 f1418 1"/>
              <a:gd name="f7022" fmla="*/ f5583 f1417 1"/>
              <a:gd name="f7023" fmla="*/ f5584 f1418 1"/>
              <a:gd name="f7024" fmla="*/ f5585 f1418 1"/>
              <a:gd name="f7025" fmla="*/ f5586 f1418 1"/>
              <a:gd name="f7026" fmla="*/ f5587 f1418 1"/>
              <a:gd name="f7027" fmla="*/ f5588 f1418 1"/>
              <a:gd name="f7028" fmla="*/ f5589 f1418 1"/>
              <a:gd name="f7029" fmla="*/ f5590 f1418 1"/>
              <a:gd name="f7030" fmla="*/ f5591 f1418 1"/>
              <a:gd name="f7031" fmla="*/ f5592 f1418 1"/>
              <a:gd name="f7032" fmla="*/ f5593 f1418 1"/>
              <a:gd name="f7033" fmla="*/ f5594 f1418 1"/>
              <a:gd name="f7034" fmla="*/ f5595 f1418 1"/>
              <a:gd name="f7035" fmla="*/ f5596 f1418 1"/>
              <a:gd name="f7036" fmla="*/ f5597 f1418 1"/>
              <a:gd name="f7037" fmla="*/ f5598 f1418 1"/>
              <a:gd name="f7038" fmla="*/ f5599 f1418 1"/>
              <a:gd name="f7039" fmla="*/ f5600 f1418 1"/>
              <a:gd name="f7040" fmla="*/ f5601 f1418 1"/>
              <a:gd name="f7041" fmla="*/ f5602 f1418 1"/>
              <a:gd name="f7042" fmla="*/ f5603 f1418 1"/>
              <a:gd name="f7043" fmla="*/ f5604 f1418 1"/>
              <a:gd name="f7044" fmla="*/ f5605 f1418 1"/>
              <a:gd name="f7045" fmla="*/ f5606 f1418 1"/>
              <a:gd name="f7046" fmla="*/ f5607 f1418 1"/>
              <a:gd name="f7047" fmla="*/ f5608 f1418 1"/>
              <a:gd name="f7048" fmla="*/ f5609 f1418 1"/>
              <a:gd name="f7049" fmla="*/ f5610 f1418 1"/>
              <a:gd name="f7050" fmla="*/ f5611 f1418 1"/>
              <a:gd name="f7051" fmla="*/ f5612 f1418 1"/>
              <a:gd name="f7052" fmla="*/ f5613 f1417 1"/>
              <a:gd name="f7053" fmla="*/ f5614 f1417 1"/>
              <a:gd name="f7054" fmla="*/ f5615 f1418 1"/>
              <a:gd name="f7055" fmla="*/ f5616 f1418 1"/>
              <a:gd name="f7056" fmla="*/ f5617 f1418 1"/>
              <a:gd name="f7057" fmla="*/ f5618 f1417 1"/>
              <a:gd name="f7058" fmla="*/ f5619 f1417 1"/>
              <a:gd name="f7059" fmla="*/ f5620 f1417 1"/>
              <a:gd name="f7060" fmla="*/ f5621 f1417 1"/>
              <a:gd name="f7061" fmla="*/ f5622 f1417 1"/>
              <a:gd name="f7062" fmla="*/ f5623 f1417 1"/>
              <a:gd name="f7063" fmla="*/ f5624 f1417 1"/>
              <a:gd name="f7064" fmla="*/ f5625 f1417 1"/>
              <a:gd name="f7065" fmla="*/ f5626 f1418 1"/>
              <a:gd name="f7066" fmla="*/ f5627 f1418 1"/>
              <a:gd name="f7067" fmla="*/ f5628 f1418 1"/>
              <a:gd name="f7068" fmla="*/ f5629 f1418 1"/>
              <a:gd name="f7069" fmla="*/ f5630 f1418 1"/>
              <a:gd name="f7070" fmla="*/ f5631 f1418 1"/>
              <a:gd name="f7071" fmla="*/ f5632 f1418 1"/>
              <a:gd name="f7072" fmla="*/ f5633 f1418 1"/>
              <a:gd name="f7073" fmla="*/ f5634 f1418 1"/>
              <a:gd name="f7074" fmla="*/ f5635 f1418 1"/>
              <a:gd name="f7075" fmla="*/ f5636 f1418 1"/>
              <a:gd name="f7076" fmla="*/ f5637 f1418 1"/>
              <a:gd name="f7077" fmla="*/ f5638 f1417 1"/>
              <a:gd name="f7078" fmla="*/ f5639 f1418 1"/>
              <a:gd name="f7079" fmla="*/ f5640 f1418 1"/>
              <a:gd name="f7080" fmla="*/ f5641 f1418 1"/>
              <a:gd name="f7081" fmla="*/ f5642 f1418 1"/>
              <a:gd name="f7082" fmla="*/ f5643 f1418 1"/>
              <a:gd name="f7083" fmla="*/ f5644 f1418 1"/>
              <a:gd name="f7084" fmla="*/ f5645 f1418 1"/>
              <a:gd name="f7085" fmla="*/ f5646 f1418 1"/>
              <a:gd name="f7086" fmla="*/ f5647 f1418 1"/>
              <a:gd name="f7087" fmla="*/ f5648 f1417 1"/>
              <a:gd name="f7088" fmla="*/ f5649 f1417 1"/>
              <a:gd name="f7089" fmla="*/ f5650 f1418 1"/>
              <a:gd name="f7090" fmla="*/ f5651 f1418 1"/>
              <a:gd name="f7091" fmla="*/ f5652 f1418 1"/>
              <a:gd name="f7092" fmla="*/ f5653 f1417 1"/>
              <a:gd name="f7093" fmla="*/ f5654 f1417 1"/>
              <a:gd name="f7094" fmla="*/ f5655 f1417 1"/>
              <a:gd name="f7095" fmla="*/ f5656 f1417 1"/>
              <a:gd name="f7096" fmla="*/ f5657 f1417 1"/>
              <a:gd name="f7097" fmla="*/ f5658 f1417 1"/>
              <a:gd name="f7098" fmla="*/ f5659 f1417 1"/>
              <a:gd name="f7099" fmla="*/ f5660 f1417 1"/>
              <a:gd name="f7100" fmla="*/ f5661 f1418 1"/>
              <a:gd name="f7101" fmla="*/ f5662 f1418 1"/>
              <a:gd name="f7102" fmla="*/ f5663 f1418 1"/>
              <a:gd name="f7103" fmla="*/ f5664 f1418 1"/>
              <a:gd name="f7104" fmla="*/ f5665 f1418 1"/>
              <a:gd name="f7105" fmla="*/ f5666 f1418 1"/>
              <a:gd name="f7106" fmla="*/ f5667 f1418 1"/>
              <a:gd name="f7107" fmla="*/ f5668 f1418 1"/>
              <a:gd name="f7108" fmla="*/ f5669 f1418 1"/>
              <a:gd name="f7109" fmla="*/ f5670 f1418 1"/>
              <a:gd name="f7110" fmla="*/ f5671 f1418 1"/>
              <a:gd name="f7111" fmla="*/ f5672 f1418 1"/>
              <a:gd name="f7112" fmla="*/ f5673 f1418 1"/>
              <a:gd name="f7113" fmla="*/ f5674 f1418 1"/>
              <a:gd name="f7114" fmla="*/ f5675 f1418 1"/>
              <a:gd name="f7115" fmla="*/ f5676 f1418 1"/>
              <a:gd name="f7116" fmla="*/ f5677 f1418 1"/>
              <a:gd name="f7117" fmla="*/ f5678 f1418 1"/>
              <a:gd name="f7118" fmla="*/ f5679 f1418 1"/>
              <a:gd name="f7119" fmla="*/ f5680 f1418 1"/>
              <a:gd name="f7120" fmla="*/ f5681 f1418 1"/>
              <a:gd name="f7121" fmla="*/ f5682 f1418 1"/>
              <a:gd name="f7122" fmla="*/ f5683 f1418 1"/>
              <a:gd name="f7123" fmla="*/ f5684 f1418 1"/>
              <a:gd name="f7124" fmla="*/ f5685 f1418 1"/>
              <a:gd name="f7125" fmla="*/ f5686 f1418 1"/>
              <a:gd name="f7126" fmla="*/ f5687 f1418 1"/>
              <a:gd name="f7127" fmla="*/ f5688 f1418 1"/>
              <a:gd name="f7128" fmla="*/ f5689 f1418 1"/>
              <a:gd name="f7129" fmla="*/ f5690 f1418 1"/>
              <a:gd name="f7130" fmla="*/ f5691 f1418 1"/>
              <a:gd name="f7131" fmla="*/ f5692 f1418 1"/>
              <a:gd name="f7132" fmla="*/ f5693 f1418 1"/>
              <a:gd name="f7133" fmla="*/ f5694 f1418 1"/>
              <a:gd name="f7134" fmla="*/ f5695 f1418 1"/>
              <a:gd name="f7135" fmla="*/ f5696 f1418 1"/>
              <a:gd name="f7136" fmla="*/ f5697 f1418 1"/>
              <a:gd name="f7137" fmla="*/ f5698 f1417 1"/>
              <a:gd name="f7138" fmla="*/ f5699 f1417 1"/>
              <a:gd name="f7139" fmla="*/ f5700 f1417 1"/>
              <a:gd name="f7140" fmla="*/ f5701 f1417 1"/>
              <a:gd name="f7141" fmla="*/ f5702 f1417 1"/>
              <a:gd name="f7142" fmla="*/ f5703 f1418 1"/>
              <a:gd name="f7143" fmla="*/ f5704 f1418 1"/>
              <a:gd name="f7144" fmla="*/ f5705 f1418 1"/>
              <a:gd name="f7145" fmla="*/ f5706 f1417 1"/>
              <a:gd name="f7146" fmla="*/ f5707 f1417 1"/>
              <a:gd name="f7147" fmla="*/ f5708 f1417 1"/>
              <a:gd name="f7148" fmla="*/ f5709 f1417 1"/>
              <a:gd name="f7149" fmla="*/ f5710 f1417 1"/>
              <a:gd name="f7150" fmla="*/ f5711 f1417 1"/>
              <a:gd name="f7151" fmla="*/ f5712 f1417 1"/>
              <a:gd name="f7152" fmla="*/ f5713 f1418 1"/>
              <a:gd name="f7153" fmla="*/ f5714 f1418 1"/>
              <a:gd name="f7154" fmla="*/ f5715 f1418 1"/>
              <a:gd name="f7155" fmla="*/ f5716 f1418 1"/>
              <a:gd name="f7156" fmla="*/ f5717 f1417 1"/>
              <a:gd name="f7157" fmla="*/ f5718 f1418 1"/>
              <a:gd name="f7158" fmla="*/ f5719 f1418 1"/>
              <a:gd name="f7159" fmla="*/ f5720 f1418 1"/>
              <a:gd name="f7160" fmla="*/ f5721 f1418 1"/>
              <a:gd name="f7161" fmla="*/ f5722 f1418 1"/>
              <a:gd name="f7162" fmla="*/ f5723 f1417 1"/>
              <a:gd name="f7163" fmla="*/ f5724 f1418 1"/>
              <a:gd name="f7164" fmla="*/ f5725 f1418 1"/>
              <a:gd name="f7165" fmla="*/ f5726 f1418 1"/>
              <a:gd name="f7166" fmla="*/ f5727 f1418 1"/>
              <a:gd name="f7167" fmla="*/ f5728 f1417 1"/>
              <a:gd name="f7168" fmla="*/ f5729 f1417 1"/>
              <a:gd name="f7169" fmla="*/ f5730 f1417 1"/>
              <a:gd name="f7170" fmla="*/ f5731 f1417 1"/>
              <a:gd name="f7171" fmla="*/ f5732 f1417 1"/>
              <a:gd name="f7172" fmla="*/ f5733 f1417 1"/>
              <a:gd name="f7173" fmla="*/ f5734 f1417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4299">
                <a:pos x="f5739" y="f5740"/>
              </a:cxn>
              <a:cxn ang="f4299">
                <a:pos x="f5741" y="f5740"/>
              </a:cxn>
              <a:cxn ang="f4299">
                <a:pos x="f5742" y="f5743"/>
              </a:cxn>
              <a:cxn ang="f4299">
                <a:pos x="f5742" y="f5744"/>
              </a:cxn>
              <a:cxn ang="f4299">
                <a:pos x="f5741" y="f5745"/>
              </a:cxn>
              <a:cxn ang="f4299">
                <a:pos x="f5739" y="f5745"/>
              </a:cxn>
              <a:cxn ang="f4299">
                <a:pos x="f5746" y="f5744"/>
              </a:cxn>
              <a:cxn ang="f4299">
                <a:pos x="f5746" y="f5743"/>
              </a:cxn>
              <a:cxn ang="f4299">
                <a:pos x="f5747" y="f5740"/>
              </a:cxn>
              <a:cxn ang="f4299">
                <a:pos x="f5748" y="f5740"/>
              </a:cxn>
              <a:cxn ang="f4299">
                <a:pos x="f5749" y="f5743"/>
              </a:cxn>
              <a:cxn ang="f4299">
                <a:pos x="f5749" y="f5744"/>
              </a:cxn>
              <a:cxn ang="f4299">
                <a:pos x="f5748" y="f5745"/>
              </a:cxn>
              <a:cxn ang="f4299">
                <a:pos x="f5747" y="f5745"/>
              </a:cxn>
              <a:cxn ang="f4299">
                <a:pos x="f5750" y="f5744"/>
              </a:cxn>
              <a:cxn ang="f4299">
                <a:pos x="f5750" y="f5743"/>
              </a:cxn>
              <a:cxn ang="f4299">
                <a:pos x="f5751" y="f5740"/>
              </a:cxn>
              <a:cxn ang="f4299">
                <a:pos x="f5752" y="f5740"/>
              </a:cxn>
              <a:cxn ang="f4299">
                <a:pos x="f5753" y="f5743"/>
              </a:cxn>
              <a:cxn ang="f4299">
                <a:pos x="f5753" y="f5744"/>
              </a:cxn>
              <a:cxn ang="f4299">
                <a:pos x="f5752" y="f5745"/>
              </a:cxn>
              <a:cxn ang="f4299">
                <a:pos x="f5751" y="f5745"/>
              </a:cxn>
              <a:cxn ang="f4299">
                <a:pos x="f5754" y="f5744"/>
              </a:cxn>
              <a:cxn ang="f4299">
                <a:pos x="f5754" y="f5743"/>
              </a:cxn>
              <a:cxn ang="f4299">
                <a:pos x="f5755" y="f5740"/>
              </a:cxn>
              <a:cxn ang="f4299">
                <a:pos x="f5756" y="f5740"/>
              </a:cxn>
              <a:cxn ang="f4299">
                <a:pos x="f5757" y="f5743"/>
              </a:cxn>
              <a:cxn ang="f4299">
                <a:pos x="f5757" y="f5744"/>
              </a:cxn>
              <a:cxn ang="f4299">
                <a:pos x="f5756" y="f5745"/>
              </a:cxn>
              <a:cxn ang="f4299">
                <a:pos x="f5755" y="f5745"/>
              </a:cxn>
              <a:cxn ang="f4299">
                <a:pos x="f5758" y="f5744"/>
              </a:cxn>
              <a:cxn ang="f4299">
                <a:pos x="f5758" y="f5743"/>
              </a:cxn>
              <a:cxn ang="f4299">
                <a:pos x="f5759" y="f5740"/>
              </a:cxn>
              <a:cxn ang="f4299">
                <a:pos x="f5760" y="f5740"/>
              </a:cxn>
              <a:cxn ang="f4299">
                <a:pos x="f5761" y="f5743"/>
              </a:cxn>
              <a:cxn ang="f4299">
                <a:pos x="f5761" y="f5744"/>
              </a:cxn>
              <a:cxn ang="f4299">
                <a:pos x="f5760" y="f5745"/>
              </a:cxn>
              <a:cxn ang="f4299">
                <a:pos x="f5759" y="f5745"/>
              </a:cxn>
              <a:cxn ang="f4299">
                <a:pos x="f5762" y="f5744"/>
              </a:cxn>
              <a:cxn ang="f4299">
                <a:pos x="f5762" y="f5743"/>
              </a:cxn>
              <a:cxn ang="f4299">
                <a:pos x="f5763" y="f5740"/>
              </a:cxn>
              <a:cxn ang="f4299">
                <a:pos x="f5764" y="f5740"/>
              </a:cxn>
              <a:cxn ang="f4299">
                <a:pos x="f5765" y="f5743"/>
              </a:cxn>
              <a:cxn ang="f4299">
                <a:pos x="f5765" y="f5744"/>
              </a:cxn>
              <a:cxn ang="f4299">
                <a:pos x="f5764" y="f5745"/>
              </a:cxn>
              <a:cxn ang="f4299">
                <a:pos x="f5763" y="f5745"/>
              </a:cxn>
              <a:cxn ang="f4299">
                <a:pos x="f5766" y="f5744"/>
              </a:cxn>
              <a:cxn ang="f4299">
                <a:pos x="f5766" y="f5743"/>
              </a:cxn>
              <a:cxn ang="f4299">
                <a:pos x="f5767" y="f5768"/>
              </a:cxn>
              <a:cxn ang="f4299">
                <a:pos x="f5769" y="f5768"/>
              </a:cxn>
              <a:cxn ang="f4299">
                <a:pos x="f5770" y="f5771"/>
              </a:cxn>
              <a:cxn ang="f4299">
                <a:pos x="f5770" y="f5772"/>
              </a:cxn>
              <a:cxn ang="f4299">
                <a:pos x="f5769" y="f5773"/>
              </a:cxn>
              <a:cxn ang="f4299">
                <a:pos x="f5767" y="f5773"/>
              </a:cxn>
              <a:cxn ang="f4299">
                <a:pos x="f5774" y="f5772"/>
              </a:cxn>
              <a:cxn ang="f4299">
                <a:pos x="f5774" y="f5771"/>
              </a:cxn>
              <a:cxn ang="f4299">
                <a:pos x="f5775" y="f5768"/>
              </a:cxn>
              <a:cxn ang="f4299">
                <a:pos x="f5776" y="f5768"/>
              </a:cxn>
              <a:cxn ang="f4299">
                <a:pos x="f5777" y="f5771"/>
              </a:cxn>
              <a:cxn ang="f4299">
                <a:pos x="f5777" y="f5772"/>
              </a:cxn>
              <a:cxn ang="f4299">
                <a:pos x="f5776" y="f5773"/>
              </a:cxn>
              <a:cxn ang="f4299">
                <a:pos x="f5775" y="f5773"/>
              </a:cxn>
              <a:cxn ang="f4299">
                <a:pos x="f5778" y="f5772"/>
              </a:cxn>
              <a:cxn ang="f4299">
                <a:pos x="f5778" y="f5771"/>
              </a:cxn>
              <a:cxn ang="f4299">
                <a:pos x="f5779" y="f5768"/>
              </a:cxn>
              <a:cxn ang="f4299">
                <a:pos x="f5780" y="f5768"/>
              </a:cxn>
              <a:cxn ang="f4299">
                <a:pos x="f5781" y="f5771"/>
              </a:cxn>
              <a:cxn ang="f4299">
                <a:pos x="f5781" y="f5772"/>
              </a:cxn>
              <a:cxn ang="f4299">
                <a:pos x="f5780" y="f5773"/>
              </a:cxn>
              <a:cxn ang="f4299">
                <a:pos x="f5779" y="f5773"/>
              </a:cxn>
              <a:cxn ang="f4299">
                <a:pos x="f5782" y="f5772"/>
              </a:cxn>
              <a:cxn ang="f4299">
                <a:pos x="f5782" y="f5771"/>
              </a:cxn>
              <a:cxn ang="f4299">
                <a:pos x="f5783" y="f5768"/>
              </a:cxn>
              <a:cxn ang="f4299">
                <a:pos x="f5784" y="f5768"/>
              </a:cxn>
              <a:cxn ang="f4299">
                <a:pos x="f5785" y="f5771"/>
              </a:cxn>
              <a:cxn ang="f4299">
                <a:pos x="f5785" y="f5772"/>
              </a:cxn>
              <a:cxn ang="f4299">
                <a:pos x="f5784" y="f5773"/>
              </a:cxn>
              <a:cxn ang="f4299">
                <a:pos x="f5783" y="f5773"/>
              </a:cxn>
              <a:cxn ang="f4299">
                <a:pos x="f5786" y="f5772"/>
              </a:cxn>
              <a:cxn ang="f4299">
                <a:pos x="f5786" y="f5771"/>
              </a:cxn>
              <a:cxn ang="f4299">
                <a:pos x="f5787" y="f5768"/>
              </a:cxn>
              <a:cxn ang="f4299">
                <a:pos x="f5788" y="f5768"/>
              </a:cxn>
              <a:cxn ang="f4299">
                <a:pos x="f5789" y="f5771"/>
              </a:cxn>
              <a:cxn ang="f4299">
                <a:pos x="f5789" y="f5772"/>
              </a:cxn>
              <a:cxn ang="f4299">
                <a:pos x="f5788" y="f5773"/>
              </a:cxn>
              <a:cxn ang="f4299">
                <a:pos x="f5787" y="f5773"/>
              </a:cxn>
              <a:cxn ang="f4299">
                <a:pos x="f5790" y="f5772"/>
              </a:cxn>
              <a:cxn ang="f4299">
                <a:pos x="f5790" y="f5771"/>
              </a:cxn>
              <a:cxn ang="f4299">
                <a:pos x="f5791" y="f5768"/>
              </a:cxn>
              <a:cxn ang="f4299">
                <a:pos x="f5792" y="f5768"/>
              </a:cxn>
              <a:cxn ang="f4299">
                <a:pos x="f5793" y="f5771"/>
              </a:cxn>
              <a:cxn ang="f4299">
                <a:pos x="f5793" y="f5772"/>
              </a:cxn>
              <a:cxn ang="f4299">
                <a:pos x="f5792" y="f5773"/>
              </a:cxn>
              <a:cxn ang="f4299">
                <a:pos x="f5791" y="f5773"/>
              </a:cxn>
              <a:cxn ang="f4299">
                <a:pos x="f5794" y="f5772"/>
              </a:cxn>
              <a:cxn ang="f4299">
                <a:pos x="f5794" y="f5771"/>
              </a:cxn>
              <a:cxn ang="f4299">
                <a:pos x="f5795" y="f5768"/>
              </a:cxn>
              <a:cxn ang="f4299">
                <a:pos x="f5796" y="f5768"/>
              </a:cxn>
              <a:cxn ang="f4299">
                <a:pos x="f5797" y="f5771"/>
              </a:cxn>
              <a:cxn ang="f4299">
                <a:pos x="f5797" y="f5772"/>
              </a:cxn>
              <a:cxn ang="f4299">
                <a:pos x="f5796" y="f5773"/>
              </a:cxn>
              <a:cxn ang="f4299">
                <a:pos x="f5795" y="f5773"/>
              </a:cxn>
              <a:cxn ang="f4299">
                <a:pos x="f5798" y="f5772"/>
              </a:cxn>
              <a:cxn ang="f4299">
                <a:pos x="f5798" y="f5771"/>
              </a:cxn>
              <a:cxn ang="f4299">
                <a:pos x="f5799" y="f5768"/>
              </a:cxn>
              <a:cxn ang="f4299">
                <a:pos x="f5800" y="f5768"/>
              </a:cxn>
              <a:cxn ang="f4299">
                <a:pos x="f5801" y="f5771"/>
              </a:cxn>
              <a:cxn ang="f4299">
                <a:pos x="f5801" y="f5772"/>
              </a:cxn>
              <a:cxn ang="f4299">
                <a:pos x="f5800" y="f5773"/>
              </a:cxn>
              <a:cxn ang="f4299">
                <a:pos x="f5799" y="f5773"/>
              </a:cxn>
              <a:cxn ang="f4299">
                <a:pos x="f5802" y="f5772"/>
              </a:cxn>
              <a:cxn ang="f4299">
                <a:pos x="f5802" y="f5771"/>
              </a:cxn>
              <a:cxn ang="f4299">
                <a:pos x="f5803" y="f5768"/>
              </a:cxn>
              <a:cxn ang="f4299">
                <a:pos x="f5804" y="f5768"/>
              </a:cxn>
              <a:cxn ang="f4299">
                <a:pos x="f5805" y="f5771"/>
              </a:cxn>
              <a:cxn ang="f4299">
                <a:pos x="f5805" y="f5772"/>
              </a:cxn>
              <a:cxn ang="f4299">
                <a:pos x="f5804" y="f5773"/>
              </a:cxn>
              <a:cxn ang="f4299">
                <a:pos x="f5803" y="f5773"/>
              </a:cxn>
              <a:cxn ang="f4299">
                <a:pos x="f5806" y="f5772"/>
              </a:cxn>
              <a:cxn ang="f4299">
                <a:pos x="f5806" y="f5771"/>
              </a:cxn>
              <a:cxn ang="f4299">
                <a:pos x="f5807" y="f5768"/>
              </a:cxn>
              <a:cxn ang="f4299">
                <a:pos x="f5808" y="f5768"/>
              </a:cxn>
              <a:cxn ang="f4299">
                <a:pos x="f5809" y="f5771"/>
              </a:cxn>
              <a:cxn ang="f4299">
                <a:pos x="f5809" y="f5772"/>
              </a:cxn>
              <a:cxn ang="f4299">
                <a:pos x="f5808" y="f5773"/>
              </a:cxn>
              <a:cxn ang="f4299">
                <a:pos x="f5807" y="f5773"/>
              </a:cxn>
              <a:cxn ang="f4299">
                <a:pos x="f5810" y="f5772"/>
              </a:cxn>
              <a:cxn ang="f4299">
                <a:pos x="f5810" y="f5771"/>
              </a:cxn>
              <a:cxn ang="f4299">
                <a:pos x="f5811" y="f5768"/>
              </a:cxn>
              <a:cxn ang="f4299">
                <a:pos x="f5812" y="f5768"/>
              </a:cxn>
              <a:cxn ang="f4299">
                <a:pos x="f5813" y="f5771"/>
              </a:cxn>
              <a:cxn ang="f4299">
                <a:pos x="f5813" y="f5772"/>
              </a:cxn>
              <a:cxn ang="f4299">
                <a:pos x="f5812" y="f5773"/>
              </a:cxn>
              <a:cxn ang="f4299">
                <a:pos x="f5811" y="f5773"/>
              </a:cxn>
              <a:cxn ang="f4299">
                <a:pos x="f5814" y="f5772"/>
              </a:cxn>
              <a:cxn ang="f4299">
                <a:pos x="f5814" y="f5771"/>
              </a:cxn>
              <a:cxn ang="f4299">
                <a:pos x="f5815" y="f5768"/>
              </a:cxn>
              <a:cxn ang="f4299">
                <a:pos x="f5816" y="f5768"/>
              </a:cxn>
              <a:cxn ang="f4299">
                <a:pos x="f5817" y="f5771"/>
              </a:cxn>
              <a:cxn ang="f4299">
                <a:pos x="f5817" y="f5772"/>
              </a:cxn>
              <a:cxn ang="f4299">
                <a:pos x="f5816" y="f5773"/>
              </a:cxn>
              <a:cxn ang="f4299">
                <a:pos x="f5815" y="f5773"/>
              </a:cxn>
              <a:cxn ang="f4299">
                <a:pos x="f5818" y="f5772"/>
              </a:cxn>
              <a:cxn ang="f4299">
                <a:pos x="f5818" y="f5771"/>
              </a:cxn>
              <a:cxn ang="f4299">
                <a:pos x="f5819" y="f5768"/>
              </a:cxn>
              <a:cxn ang="f4299">
                <a:pos x="f5820" y="f5768"/>
              </a:cxn>
              <a:cxn ang="f4299">
                <a:pos x="f5821" y="f5771"/>
              </a:cxn>
              <a:cxn ang="f4299">
                <a:pos x="f5821" y="f5772"/>
              </a:cxn>
              <a:cxn ang="f4299">
                <a:pos x="f5820" y="f5773"/>
              </a:cxn>
              <a:cxn ang="f4299">
                <a:pos x="f5819" y="f5773"/>
              </a:cxn>
              <a:cxn ang="f4299">
                <a:pos x="f5822" y="f5772"/>
              </a:cxn>
              <a:cxn ang="f4299">
                <a:pos x="f5822" y="f5771"/>
              </a:cxn>
              <a:cxn ang="f4299">
                <a:pos x="f5823" y="f5768"/>
              </a:cxn>
              <a:cxn ang="f4299">
                <a:pos x="f5824" y="f5768"/>
              </a:cxn>
              <a:cxn ang="f4299">
                <a:pos x="f5825" y="f5771"/>
              </a:cxn>
              <a:cxn ang="f4299">
                <a:pos x="f5825" y="f5772"/>
              </a:cxn>
              <a:cxn ang="f4299">
                <a:pos x="f5824" y="f5773"/>
              </a:cxn>
              <a:cxn ang="f4299">
                <a:pos x="f5823" y="f5773"/>
              </a:cxn>
              <a:cxn ang="f4299">
                <a:pos x="f5826" y="f5772"/>
              </a:cxn>
              <a:cxn ang="f4299">
                <a:pos x="f5826" y="f5771"/>
              </a:cxn>
              <a:cxn ang="f4299">
                <a:pos x="f5827" y="f5768"/>
              </a:cxn>
              <a:cxn ang="f4299">
                <a:pos x="f5828" y="f5768"/>
              </a:cxn>
              <a:cxn ang="f4299">
                <a:pos x="f5829" y="f5771"/>
              </a:cxn>
              <a:cxn ang="f4299">
                <a:pos x="f5829" y="f5772"/>
              </a:cxn>
              <a:cxn ang="f4299">
                <a:pos x="f5828" y="f5773"/>
              </a:cxn>
              <a:cxn ang="f4299">
                <a:pos x="f5827" y="f5773"/>
              </a:cxn>
              <a:cxn ang="f4299">
                <a:pos x="f5830" y="f5772"/>
              </a:cxn>
              <a:cxn ang="f4299">
                <a:pos x="f5830" y="f5771"/>
              </a:cxn>
              <a:cxn ang="f4299">
                <a:pos x="f5831" y="f5768"/>
              </a:cxn>
              <a:cxn ang="f4299">
                <a:pos x="f5832" y="f5768"/>
              </a:cxn>
              <a:cxn ang="f4299">
                <a:pos x="f5833" y="f5771"/>
              </a:cxn>
              <a:cxn ang="f4299">
                <a:pos x="f5833" y="f5772"/>
              </a:cxn>
              <a:cxn ang="f4299">
                <a:pos x="f5832" y="f5773"/>
              </a:cxn>
              <a:cxn ang="f4299">
                <a:pos x="f5831" y="f5773"/>
              </a:cxn>
              <a:cxn ang="f4299">
                <a:pos x="f5834" y="f5772"/>
              </a:cxn>
              <a:cxn ang="f4299">
                <a:pos x="f5834" y="f5771"/>
              </a:cxn>
              <a:cxn ang="f4299">
                <a:pos x="f5835" y="f5768"/>
              </a:cxn>
              <a:cxn ang="f4299">
                <a:pos x="f5836" y="f5768"/>
              </a:cxn>
              <a:cxn ang="f4299">
                <a:pos x="f5837" y="f5771"/>
              </a:cxn>
              <a:cxn ang="f4299">
                <a:pos x="f5837" y="f5772"/>
              </a:cxn>
              <a:cxn ang="f4299">
                <a:pos x="f5836" y="f5773"/>
              </a:cxn>
              <a:cxn ang="f4299">
                <a:pos x="f5835" y="f5773"/>
              </a:cxn>
              <a:cxn ang="f4299">
                <a:pos x="f5838" y="f5772"/>
              </a:cxn>
              <a:cxn ang="f4299">
                <a:pos x="f5838" y="f5771"/>
              </a:cxn>
              <a:cxn ang="f4299">
                <a:pos x="f5839" y="f5768"/>
              </a:cxn>
              <a:cxn ang="f4299">
                <a:pos x="f5840" y="f5768"/>
              </a:cxn>
              <a:cxn ang="f4299">
                <a:pos x="f5841" y="f5771"/>
              </a:cxn>
              <a:cxn ang="f4299">
                <a:pos x="f5841" y="f5772"/>
              </a:cxn>
              <a:cxn ang="f4299">
                <a:pos x="f5840" y="f5773"/>
              </a:cxn>
              <a:cxn ang="f4299">
                <a:pos x="f5839" y="f5773"/>
              </a:cxn>
              <a:cxn ang="f4299">
                <a:pos x="f5842" y="f5772"/>
              </a:cxn>
              <a:cxn ang="f4299">
                <a:pos x="f5842" y="f5771"/>
              </a:cxn>
              <a:cxn ang="f4299">
                <a:pos x="f5843" y="f5768"/>
              </a:cxn>
              <a:cxn ang="f4299">
                <a:pos x="f5844" y="f5768"/>
              </a:cxn>
              <a:cxn ang="f4299">
                <a:pos x="f5845" y="f5771"/>
              </a:cxn>
              <a:cxn ang="f4299">
                <a:pos x="f5845" y="f5772"/>
              </a:cxn>
              <a:cxn ang="f4299">
                <a:pos x="f5844" y="f5773"/>
              </a:cxn>
              <a:cxn ang="f4299">
                <a:pos x="f5843" y="f5773"/>
              </a:cxn>
              <a:cxn ang="f4299">
                <a:pos x="f5846" y="f5772"/>
              </a:cxn>
              <a:cxn ang="f4299">
                <a:pos x="f5846" y="f5771"/>
              </a:cxn>
              <a:cxn ang="f4299">
                <a:pos x="f5847" y="f5768"/>
              </a:cxn>
              <a:cxn ang="f4299">
                <a:pos x="f5848" y="f5768"/>
              </a:cxn>
              <a:cxn ang="f4299">
                <a:pos x="f5849" y="f5771"/>
              </a:cxn>
              <a:cxn ang="f4299">
                <a:pos x="f5849" y="f5772"/>
              </a:cxn>
              <a:cxn ang="f4299">
                <a:pos x="f5848" y="f5773"/>
              </a:cxn>
              <a:cxn ang="f4299">
                <a:pos x="f5847" y="f5773"/>
              </a:cxn>
              <a:cxn ang="f4299">
                <a:pos x="f5850" y="f5772"/>
              </a:cxn>
              <a:cxn ang="f4299">
                <a:pos x="f5850" y="f5771"/>
              </a:cxn>
              <a:cxn ang="f4299">
                <a:pos x="f5851" y="f5768"/>
              </a:cxn>
              <a:cxn ang="f4299">
                <a:pos x="f5852" y="f5768"/>
              </a:cxn>
              <a:cxn ang="f4299">
                <a:pos x="f5853" y="f5771"/>
              </a:cxn>
              <a:cxn ang="f4299">
                <a:pos x="f5853" y="f5772"/>
              </a:cxn>
              <a:cxn ang="f4299">
                <a:pos x="f5852" y="f5773"/>
              </a:cxn>
              <a:cxn ang="f4299">
                <a:pos x="f5851" y="f5773"/>
              </a:cxn>
              <a:cxn ang="f4299">
                <a:pos x="f5854" y="f5772"/>
              </a:cxn>
              <a:cxn ang="f4299">
                <a:pos x="f5854" y="f5771"/>
              </a:cxn>
              <a:cxn ang="f4299">
                <a:pos x="f5855" y="f5768"/>
              </a:cxn>
              <a:cxn ang="f4299">
                <a:pos x="f5856" y="f5768"/>
              </a:cxn>
              <a:cxn ang="f4299">
                <a:pos x="f5857" y="f5771"/>
              </a:cxn>
              <a:cxn ang="f4299">
                <a:pos x="f5857" y="f5772"/>
              </a:cxn>
              <a:cxn ang="f4299">
                <a:pos x="f5856" y="f5773"/>
              </a:cxn>
              <a:cxn ang="f4299">
                <a:pos x="f5855" y="f5773"/>
              </a:cxn>
              <a:cxn ang="f4299">
                <a:pos x="f5858" y="f5772"/>
              </a:cxn>
              <a:cxn ang="f4299">
                <a:pos x="f5858" y="f5771"/>
              </a:cxn>
              <a:cxn ang="f4299">
                <a:pos x="f5859" y="f5768"/>
              </a:cxn>
              <a:cxn ang="f4299">
                <a:pos x="f5860" y="f5768"/>
              </a:cxn>
              <a:cxn ang="f4299">
                <a:pos x="f5861" y="f5771"/>
              </a:cxn>
              <a:cxn ang="f4299">
                <a:pos x="f5861" y="f5772"/>
              </a:cxn>
              <a:cxn ang="f4299">
                <a:pos x="f5860" y="f5773"/>
              </a:cxn>
              <a:cxn ang="f4299">
                <a:pos x="f5859" y="f5773"/>
              </a:cxn>
              <a:cxn ang="f4299">
                <a:pos x="f5862" y="f5772"/>
              </a:cxn>
              <a:cxn ang="f4299">
                <a:pos x="f5862" y="f5771"/>
              </a:cxn>
              <a:cxn ang="f4299">
                <a:pos x="f5863" y="f5768"/>
              </a:cxn>
              <a:cxn ang="f4299">
                <a:pos x="f5864" y="f5768"/>
              </a:cxn>
              <a:cxn ang="f4299">
                <a:pos x="f5865" y="f5771"/>
              </a:cxn>
              <a:cxn ang="f4299">
                <a:pos x="f5865" y="f5772"/>
              </a:cxn>
              <a:cxn ang="f4299">
                <a:pos x="f5864" y="f5773"/>
              </a:cxn>
              <a:cxn ang="f4299">
                <a:pos x="f5863" y="f5773"/>
              </a:cxn>
              <a:cxn ang="f4299">
                <a:pos x="f5866" y="f5772"/>
              </a:cxn>
              <a:cxn ang="f4299">
                <a:pos x="f5866" y="f5771"/>
              </a:cxn>
              <a:cxn ang="f4299">
                <a:pos x="f5867" y="f5768"/>
              </a:cxn>
              <a:cxn ang="f4299">
                <a:pos x="f5868" y="f5768"/>
              </a:cxn>
              <a:cxn ang="f4299">
                <a:pos x="f5869" y="f5771"/>
              </a:cxn>
              <a:cxn ang="f4299">
                <a:pos x="f5869" y="f5772"/>
              </a:cxn>
              <a:cxn ang="f4299">
                <a:pos x="f5868" y="f5773"/>
              </a:cxn>
              <a:cxn ang="f4299">
                <a:pos x="f5867" y="f5773"/>
              </a:cxn>
              <a:cxn ang="f4299">
                <a:pos x="f5870" y="f5772"/>
              </a:cxn>
              <a:cxn ang="f4299">
                <a:pos x="f5870" y="f5771"/>
              </a:cxn>
              <a:cxn ang="f4299">
                <a:pos x="f5871" y="f5768"/>
              </a:cxn>
              <a:cxn ang="f4299">
                <a:pos x="f5872" y="f5768"/>
              </a:cxn>
              <a:cxn ang="f4299">
                <a:pos x="f5873" y="f5771"/>
              </a:cxn>
              <a:cxn ang="f4299">
                <a:pos x="f5873" y="f5772"/>
              </a:cxn>
              <a:cxn ang="f4299">
                <a:pos x="f5872" y="f5773"/>
              </a:cxn>
              <a:cxn ang="f4299">
                <a:pos x="f5871" y="f5773"/>
              </a:cxn>
              <a:cxn ang="f4299">
                <a:pos x="f5874" y="f5772"/>
              </a:cxn>
              <a:cxn ang="f4299">
                <a:pos x="f5874" y="f5771"/>
              </a:cxn>
              <a:cxn ang="f4299">
                <a:pos x="f5875" y="f5768"/>
              </a:cxn>
              <a:cxn ang="f4299">
                <a:pos x="f5876" y="f5768"/>
              </a:cxn>
              <a:cxn ang="f4299">
                <a:pos x="f5877" y="f5771"/>
              </a:cxn>
              <a:cxn ang="f4299">
                <a:pos x="f5877" y="f5772"/>
              </a:cxn>
              <a:cxn ang="f4299">
                <a:pos x="f5876" y="f5773"/>
              </a:cxn>
              <a:cxn ang="f4299">
                <a:pos x="f5875" y="f5773"/>
              </a:cxn>
              <a:cxn ang="f4299">
                <a:pos x="f5878" y="f5772"/>
              </a:cxn>
              <a:cxn ang="f4299">
                <a:pos x="f5878" y="f5771"/>
              </a:cxn>
              <a:cxn ang="f4299">
                <a:pos x="f5879" y="f5768"/>
              </a:cxn>
              <a:cxn ang="f4299">
                <a:pos x="f5880" y="f5768"/>
              </a:cxn>
              <a:cxn ang="f4299">
                <a:pos x="f5881" y="f5771"/>
              </a:cxn>
              <a:cxn ang="f4299">
                <a:pos x="f5881" y="f5772"/>
              </a:cxn>
              <a:cxn ang="f4299">
                <a:pos x="f5880" y="f5773"/>
              </a:cxn>
              <a:cxn ang="f4299">
                <a:pos x="f5879" y="f5773"/>
              </a:cxn>
              <a:cxn ang="f4299">
                <a:pos x="f5882" y="f5772"/>
              </a:cxn>
              <a:cxn ang="f4299">
                <a:pos x="f5882" y="f5771"/>
              </a:cxn>
              <a:cxn ang="f4299">
                <a:pos x="f5883" y="f5768"/>
              </a:cxn>
              <a:cxn ang="f4299">
                <a:pos x="f5884" y="f5768"/>
              </a:cxn>
              <a:cxn ang="f4299">
                <a:pos x="f5885" y="f5771"/>
              </a:cxn>
              <a:cxn ang="f4299">
                <a:pos x="f5885" y="f5772"/>
              </a:cxn>
              <a:cxn ang="f4299">
                <a:pos x="f5884" y="f5773"/>
              </a:cxn>
              <a:cxn ang="f4299">
                <a:pos x="f5883" y="f5773"/>
              </a:cxn>
              <a:cxn ang="f4299">
                <a:pos x="f5886" y="f5772"/>
              </a:cxn>
              <a:cxn ang="f4299">
                <a:pos x="f5886" y="f5771"/>
              </a:cxn>
              <a:cxn ang="f4299">
                <a:pos x="f5887" y="f5768"/>
              </a:cxn>
              <a:cxn ang="f4299">
                <a:pos x="f5888" y="f5768"/>
              </a:cxn>
              <a:cxn ang="f4299">
                <a:pos x="f5889" y="f5771"/>
              </a:cxn>
              <a:cxn ang="f4299">
                <a:pos x="f5889" y="f5772"/>
              </a:cxn>
              <a:cxn ang="f4299">
                <a:pos x="f5888" y="f5773"/>
              </a:cxn>
              <a:cxn ang="f4299">
                <a:pos x="f5887" y="f5773"/>
              </a:cxn>
              <a:cxn ang="f4299">
                <a:pos x="f5890" y="f5772"/>
              </a:cxn>
              <a:cxn ang="f4299">
                <a:pos x="f5890" y="f5771"/>
              </a:cxn>
              <a:cxn ang="f4299">
                <a:pos x="f5891" y="f5768"/>
              </a:cxn>
              <a:cxn ang="f4299">
                <a:pos x="f5892" y="f5768"/>
              </a:cxn>
              <a:cxn ang="f4299">
                <a:pos x="f5893" y="f5771"/>
              </a:cxn>
              <a:cxn ang="f4299">
                <a:pos x="f5893" y="f5772"/>
              </a:cxn>
              <a:cxn ang="f4299">
                <a:pos x="f5892" y="f5773"/>
              </a:cxn>
              <a:cxn ang="f4299">
                <a:pos x="f5891" y="f5773"/>
              </a:cxn>
              <a:cxn ang="f4299">
                <a:pos x="f5894" y="f5772"/>
              </a:cxn>
              <a:cxn ang="f4299">
                <a:pos x="f5894" y="f5771"/>
              </a:cxn>
              <a:cxn ang="f4299">
                <a:pos x="f5895" y="f5768"/>
              </a:cxn>
              <a:cxn ang="f4299">
                <a:pos x="f5896" y="f5768"/>
              </a:cxn>
              <a:cxn ang="f4299">
                <a:pos x="f5897" y="f5771"/>
              </a:cxn>
              <a:cxn ang="f4299">
                <a:pos x="f5897" y="f5772"/>
              </a:cxn>
              <a:cxn ang="f4299">
                <a:pos x="f5896" y="f5773"/>
              </a:cxn>
              <a:cxn ang="f4299">
                <a:pos x="f5895" y="f5773"/>
              </a:cxn>
              <a:cxn ang="f4299">
                <a:pos x="f5898" y="f5772"/>
              </a:cxn>
              <a:cxn ang="f4299">
                <a:pos x="f5898" y="f5771"/>
              </a:cxn>
              <a:cxn ang="f4299">
                <a:pos x="f5899" y="f5768"/>
              </a:cxn>
              <a:cxn ang="f4299">
                <a:pos x="f5900" y="f5768"/>
              </a:cxn>
              <a:cxn ang="f4299">
                <a:pos x="f5901" y="f5771"/>
              </a:cxn>
              <a:cxn ang="f4299">
                <a:pos x="f5901" y="f5772"/>
              </a:cxn>
              <a:cxn ang="f4299">
                <a:pos x="f5900" y="f5773"/>
              </a:cxn>
              <a:cxn ang="f4299">
                <a:pos x="f5899" y="f5773"/>
              </a:cxn>
              <a:cxn ang="f4299">
                <a:pos x="f5902" y="f5772"/>
              </a:cxn>
              <a:cxn ang="f4299">
                <a:pos x="f5902" y="f5771"/>
              </a:cxn>
              <a:cxn ang="f4299">
                <a:pos x="f5903" y="f5768"/>
              </a:cxn>
              <a:cxn ang="f4299">
                <a:pos x="f5904" y="f5768"/>
              </a:cxn>
              <a:cxn ang="f4299">
                <a:pos x="f5905" y="f5771"/>
              </a:cxn>
              <a:cxn ang="f4299">
                <a:pos x="f5905" y="f5772"/>
              </a:cxn>
              <a:cxn ang="f4299">
                <a:pos x="f5904" y="f5773"/>
              </a:cxn>
              <a:cxn ang="f4299">
                <a:pos x="f5903" y="f5773"/>
              </a:cxn>
              <a:cxn ang="f4299">
                <a:pos x="f5906" y="f5772"/>
              </a:cxn>
              <a:cxn ang="f4299">
                <a:pos x="f5906" y="f5771"/>
              </a:cxn>
              <a:cxn ang="f4299">
                <a:pos x="f5907" y="f5768"/>
              </a:cxn>
              <a:cxn ang="f4299">
                <a:pos x="f5908" y="f5768"/>
              </a:cxn>
              <a:cxn ang="f4299">
                <a:pos x="f5909" y="f5771"/>
              </a:cxn>
              <a:cxn ang="f4299">
                <a:pos x="f5909" y="f5772"/>
              </a:cxn>
              <a:cxn ang="f4299">
                <a:pos x="f5908" y="f5773"/>
              </a:cxn>
              <a:cxn ang="f4299">
                <a:pos x="f5907" y="f5773"/>
              </a:cxn>
              <a:cxn ang="f4299">
                <a:pos x="f5910" y="f5772"/>
              </a:cxn>
              <a:cxn ang="f4299">
                <a:pos x="f5910" y="f5771"/>
              </a:cxn>
              <a:cxn ang="f4299">
                <a:pos x="f5767" y="f5911"/>
              </a:cxn>
              <a:cxn ang="f4299">
                <a:pos x="f5769" y="f5911"/>
              </a:cxn>
              <a:cxn ang="f4299">
                <a:pos x="f5770" y="f5912"/>
              </a:cxn>
              <a:cxn ang="f4299">
                <a:pos x="f5770" y="f5913"/>
              </a:cxn>
              <a:cxn ang="f4299">
                <a:pos x="f5769" y="f5914"/>
              </a:cxn>
              <a:cxn ang="f4299">
                <a:pos x="f5767" y="f5914"/>
              </a:cxn>
              <a:cxn ang="f4299">
                <a:pos x="f5774" y="f5913"/>
              </a:cxn>
              <a:cxn ang="f4299">
                <a:pos x="f5774" y="f5912"/>
              </a:cxn>
              <a:cxn ang="f4299">
                <a:pos x="f5775" y="f5911"/>
              </a:cxn>
              <a:cxn ang="f4299">
                <a:pos x="f5776" y="f5911"/>
              </a:cxn>
              <a:cxn ang="f4299">
                <a:pos x="f5777" y="f5912"/>
              </a:cxn>
              <a:cxn ang="f4299">
                <a:pos x="f5777" y="f5913"/>
              </a:cxn>
              <a:cxn ang="f4299">
                <a:pos x="f5776" y="f5914"/>
              </a:cxn>
              <a:cxn ang="f4299">
                <a:pos x="f5775" y="f5914"/>
              </a:cxn>
              <a:cxn ang="f4299">
                <a:pos x="f5778" y="f5913"/>
              </a:cxn>
              <a:cxn ang="f4299">
                <a:pos x="f5778" y="f5912"/>
              </a:cxn>
              <a:cxn ang="f4299">
                <a:pos x="f5779" y="f5911"/>
              </a:cxn>
              <a:cxn ang="f4299">
                <a:pos x="f5780" y="f5911"/>
              </a:cxn>
              <a:cxn ang="f4299">
                <a:pos x="f5781" y="f5912"/>
              </a:cxn>
              <a:cxn ang="f4299">
                <a:pos x="f5781" y="f5913"/>
              </a:cxn>
              <a:cxn ang="f4299">
                <a:pos x="f5780" y="f5914"/>
              </a:cxn>
              <a:cxn ang="f4299">
                <a:pos x="f5779" y="f5914"/>
              </a:cxn>
              <a:cxn ang="f4299">
                <a:pos x="f5782" y="f5913"/>
              </a:cxn>
              <a:cxn ang="f4299">
                <a:pos x="f5782" y="f5912"/>
              </a:cxn>
              <a:cxn ang="f4299">
                <a:pos x="f5783" y="f5911"/>
              </a:cxn>
              <a:cxn ang="f4299">
                <a:pos x="f5784" y="f5911"/>
              </a:cxn>
              <a:cxn ang="f4299">
                <a:pos x="f5785" y="f5912"/>
              </a:cxn>
              <a:cxn ang="f4299">
                <a:pos x="f5785" y="f5913"/>
              </a:cxn>
              <a:cxn ang="f4299">
                <a:pos x="f5784" y="f5914"/>
              </a:cxn>
              <a:cxn ang="f4299">
                <a:pos x="f5783" y="f5914"/>
              </a:cxn>
              <a:cxn ang="f4299">
                <a:pos x="f5786" y="f5913"/>
              </a:cxn>
              <a:cxn ang="f4299">
                <a:pos x="f5786" y="f5912"/>
              </a:cxn>
              <a:cxn ang="f4299">
                <a:pos x="f5787" y="f5911"/>
              </a:cxn>
              <a:cxn ang="f4299">
                <a:pos x="f5788" y="f5911"/>
              </a:cxn>
              <a:cxn ang="f4299">
                <a:pos x="f5789" y="f5912"/>
              </a:cxn>
              <a:cxn ang="f4299">
                <a:pos x="f5789" y="f5913"/>
              </a:cxn>
              <a:cxn ang="f4299">
                <a:pos x="f5788" y="f5914"/>
              </a:cxn>
              <a:cxn ang="f4299">
                <a:pos x="f5787" y="f5914"/>
              </a:cxn>
              <a:cxn ang="f4299">
                <a:pos x="f5790" y="f5913"/>
              </a:cxn>
              <a:cxn ang="f4299">
                <a:pos x="f5790" y="f5912"/>
              </a:cxn>
              <a:cxn ang="f4299">
                <a:pos x="f5791" y="f5911"/>
              </a:cxn>
              <a:cxn ang="f4299">
                <a:pos x="f5792" y="f5911"/>
              </a:cxn>
              <a:cxn ang="f4299">
                <a:pos x="f5793" y="f5912"/>
              </a:cxn>
              <a:cxn ang="f4299">
                <a:pos x="f5793" y="f5913"/>
              </a:cxn>
              <a:cxn ang="f4299">
                <a:pos x="f5792" y="f5914"/>
              </a:cxn>
              <a:cxn ang="f4299">
                <a:pos x="f5791" y="f5914"/>
              </a:cxn>
              <a:cxn ang="f4299">
                <a:pos x="f5794" y="f5913"/>
              </a:cxn>
              <a:cxn ang="f4299">
                <a:pos x="f5794" y="f5912"/>
              </a:cxn>
              <a:cxn ang="f4299">
                <a:pos x="f5795" y="f5911"/>
              </a:cxn>
              <a:cxn ang="f4299">
                <a:pos x="f5796" y="f5911"/>
              </a:cxn>
              <a:cxn ang="f4299">
                <a:pos x="f5797" y="f5912"/>
              </a:cxn>
              <a:cxn ang="f4299">
                <a:pos x="f5797" y="f5913"/>
              </a:cxn>
              <a:cxn ang="f4299">
                <a:pos x="f5796" y="f5914"/>
              </a:cxn>
              <a:cxn ang="f4299">
                <a:pos x="f5795" y="f5914"/>
              </a:cxn>
              <a:cxn ang="f4299">
                <a:pos x="f5798" y="f5913"/>
              </a:cxn>
              <a:cxn ang="f4299">
                <a:pos x="f5798" y="f5912"/>
              </a:cxn>
              <a:cxn ang="f4299">
                <a:pos x="f5799" y="f5911"/>
              </a:cxn>
              <a:cxn ang="f4299">
                <a:pos x="f5800" y="f5911"/>
              </a:cxn>
              <a:cxn ang="f4299">
                <a:pos x="f5801" y="f5912"/>
              </a:cxn>
              <a:cxn ang="f4299">
                <a:pos x="f5801" y="f5913"/>
              </a:cxn>
              <a:cxn ang="f4299">
                <a:pos x="f5800" y="f5914"/>
              </a:cxn>
              <a:cxn ang="f4299">
                <a:pos x="f5799" y="f5914"/>
              </a:cxn>
              <a:cxn ang="f4299">
                <a:pos x="f5802" y="f5913"/>
              </a:cxn>
              <a:cxn ang="f4299">
                <a:pos x="f5802" y="f5912"/>
              </a:cxn>
              <a:cxn ang="f4299">
                <a:pos x="f5803" y="f5911"/>
              </a:cxn>
              <a:cxn ang="f4299">
                <a:pos x="f5804" y="f5911"/>
              </a:cxn>
              <a:cxn ang="f4299">
                <a:pos x="f5805" y="f5912"/>
              </a:cxn>
              <a:cxn ang="f4299">
                <a:pos x="f5805" y="f5913"/>
              </a:cxn>
              <a:cxn ang="f4299">
                <a:pos x="f5804" y="f5914"/>
              </a:cxn>
              <a:cxn ang="f4299">
                <a:pos x="f5803" y="f5914"/>
              </a:cxn>
              <a:cxn ang="f4299">
                <a:pos x="f5806" y="f5913"/>
              </a:cxn>
              <a:cxn ang="f4299">
                <a:pos x="f5806" y="f5912"/>
              </a:cxn>
              <a:cxn ang="f4299">
                <a:pos x="f5807" y="f5911"/>
              </a:cxn>
              <a:cxn ang="f4299">
                <a:pos x="f5808" y="f5911"/>
              </a:cxn>
              <a:cxn ang="f4299">
                <a:pos x="f5809" y="f5912"/>
              </a:cxn>
              <a:cxn ang="f4299">
                <a:pos x="f5809" y="f5913"/>
              </a:cxn>
              <a:cxn ang="f4299">
                <a:pos x="f5808" y="f5914"/>
              </a:cxn>
              <a:cxn ang="f4299">
                <a:pos x="f5807" y="f5914"/>
              </a:cxn>
              <a:cxn ang="f4299">
                <a:pos x="f5810" y="f5913"/>
              </a:cxn>
              <a:cxn ang="f4299">
                <a:pos x="f5810" y="f5912"/>
              </a:cxn>
              <a:cxn ang="f4299">
                <a:pos x="f5811" y="f5911"/>
              </a:cxn>
              <a:cxn ang="f4299">
                <a:pos x="f5812" y="f5911"/>
              </a:cxn>
              <a:cxn ang="f4299">
                <a:pos x="f5813" y="f5912"/>
              </a:cxn>
              <a:cxn ang="f4299">
                <a:pos x="f5813" y="f5913"/>
              </a:cxn>
              <a:cxn ang="f4299">
                <a:pos x="f5812" y="f5914"/>
              </a:cxn>
              <a:cxn ang="f4299">
                <a:pos x="f5811" y="f5914"/>
              </a:cxn>
              <a:cxn ang="f4299">
                <a:pos x="f5814" y="f5913"/>
              </a:cxn>
              <a:cxn ang="f4299">
                <a:pos x="f5814" y="f5912"/>
              </a:cxn>
              <a:cxn ang="f4299">
                <a:pos x="f5815" y="f5911"/>
              </a:cxn>
              <a:cxn ang="f4299">
                <a:pos x="f5816" y="f5911"/>
              </a:cxn>
              <a:cxn ang="f4299">
                <a:pos x="f5817" y="f5912"/>
              </a:cxn>
              <a:cxn ang="f4299">
                <a:pos x="f5817" y="f5913"/>
              </a:cxn>
              <a:cxn ang="f4299">
                <a:pos x="f5816" y="f5914"/>
              </a:cxn>
              <a:cxn ang="f4299">
                <a:pos x="f5815" y="f5914"/>
              </a:cxn>
              <a:cxn ang="f4299">
                <a:pos x="f5818" y="f5913"/>
              </a:cxn>
              <a:cxn ang="f4299">
                <a:pos x="f5818" y="f5912"/>
              </a:cxn>
              <a:cxn ang="f4299">
                <a:pos x="f5819" y="f5911"/>
              </a:cxn>
              <a:cxn ang="f4299">
                <a:pos x="f5820" y="f5911"/>
              </a:cxn>
              <a:cxn ang="f4299">
                <a:pos x="f5821" y="f5912"/>
              </a:cxn>
              <a:cxn ang="f4299">
                <a:pos x="f5821" y="f5913"/>
              </a:cxn>
              <a:cxn ang="f4299">
                <a:pos x="f5820" y="f5914"/>
              </a:cxn>
              <a:cxn ang="f4299">
                <a:pos x="f5819" y="f5914"/>
              </a:cxn>
              <a:cxn ang="f4299">
                <a:pos x="f5822" y="f5913"/>
              </a:cxn>
              <a:cxn ang="f4299">
                <a:pos x="f5822" y="f5912"/>
              </a:cxn>
              <a:cxn ang="f4299">
                <a:pos x="f5823" y="f5911"/>
              </a:cxn>
              <a:cxn ang="f4299">
                <a:pos x="f5824" y="f5911"/>
              </a:cxn>
              <a:cxn ang="f4299">
                <a:pos x="f5825" y="f5912"/>
              </a:cxn>
              <a:cxn ang="f4299">
                <a:pos x="f5825" y="f5913"/>
              </a:cxn>
              <a:cxn ang="f4299">
                <a:pos x="f5824" y="f5914"/>
              </a:cxn>
              <a:cxn ang="f4299">
                <a:pos x="f5823" y="f5914"/>
              </a:cxn>
              <a:cxn ang="f4299">
                <a:pos x="f5826" y="f5913"/>
              </a:cxn>
              <a:cxn ang="f4299">
                <a:pos x="f5826" y="f5912"/>
              </a:cxn>
              <a:cxn ang="f4299">
                <a:pos x="f5827" y="f5911"/>
              </a:cxn>
              <a:cxn ang="f4299">
                <a:pos x="f5828" y="f5911"/>
              </a:cxn>
              <a:cxn ang="f4299">
                <a:pos x="f5829" y="f5912"/>
              </a:cxn>
              <a:cxn ang="f4299">
                <a:pos x="f5829" y="f5913"/>
              </a:cxn>
              <a:cxn ang="f4299">
                <a:pos x="f5828" y="f5914"/>
              </a:cxn>
              <a:cxn ang="f4299">
                <a:pos x="f5827" y="f5914"/>
              </a:cxn>
              <a:cxn ang="f4299">
                <a:pos x="f5830" y="f5913"/>
              </a:cxn>
              <a:cxn ang="f4299">
                <a:pos x="f5830" y="f5912"/>
              </a:cxn>
              <a:cxn ang="f4299">
                <a:pos x="f5831" y="f5911"/>
              </a:cxn>
              <a:cxn ang="f4299">
                <a:pos x="f5832" y="f5911"/>
              </a:cxn>
              <a:cxn ang="f4299">
                <a:pos x="f5833" y="f5912"/>
              </a:cxn>
              <a:cxn ang="f4299">
                <a:pos x="f5833" y="f5913"/>
              </a:cxn>
              <a:cxn ang="f4299">
                <a:pos x="f5832" y="f5914"/>
              </a:cxn>
              <a:cxn ang="f4299">
                <a:pos x="f5831" y="f5914"/>
              </a:cxn>
              <a:cxn ang="f4299">
                <a:pos x="f5834" y="f5913"/>
              </a:cxn>
              <a:cxn ang="f4299">
                <a:pos x="f5834" y="f5912"/>
              </a:cxn>
              <a:cxn ang="f4299">
                <a:pos x="f5835" y="f5911"/>
              </a:cxn>
              <a:cxn ang="f4299">
                <a:pos x="f5836" y="f5911"/>
              </a:cxn>
              <a:cxn ang="f4299">
                <a:pos x="f5837" y="f5912"/>
              </a:cxn>
              <a:cxn ang="f4299">
                <a:pos x="f5837" y="f5913"/>
              </a:cxn>
              <a:cxn ang="f4299">
                <a:pos x="f5836" y="f5914"/>
              </a:cxn>
              <a:cxn ang="f4299">
                <a:pos x="f5835" y="f5914"/>
              </a:cxn>
              <a:cxn ang="f4299">
                <a:pos x="f5838" y="f5913"/>
              </a:cxn>
              <a:cxn ang="f4299">
                <a:pos x="f5838" y="f5912"/>
              </a:cxn>
              <a:cxn ang="f4299">
                <a:pos x="f5839" y="f5911"/>
              </a:cxn>
              <a:cxn ang="f4299">
                <a:pos x="f5840" y="f5911"/>
              </a:cxn>
              <a:cxn ang="f4299">
                <a:pos x="f5841" y="f5912"/>
              </a:cxn>
              <a:cxn ang="f4299">
                <a:pos x="f5841" y="f5913"/>
              </a:cxn>
              <a:cxn ang="f4299">
                <a:pos x="f5840" y="f5914"/>
              </a:cxn>
              <a:cxn ang="f4299">
                <a:pos x="f5839" y="f5914"/>
              </a:cxn>
              <a:cxn ang="f4299">
                <a:pos x="f5842" y="f5913"/>
              </a:cxn>
              <a:cxn ang="f4299">
                <a:pos x="f5842" y="f5912"/>
              </a:cxn>
              <a:cxn ang="f4299">
                <a:pos x="f5843" y="f5911"/>
              </a:cxn>
              <a:cxn ang="f4299">
                <a:pos x="f5844" y="f5911"/>
              </a:cxn>
              <a:cxn ang="f4299">
                <a:pos x="f5845" y="f5912"/>
              </a:cxn>
              <a:cxn ang="f4299">
                <a:pos x="f5845" y="f5913"/>
              </a:cxn>
              <a:cxn ang="f4299">
                <a:pos x="f5844" y="f5914"/>
              </a:cxn>
              <a:cxn ang="f4299">
                <a:pos x="f5843" y="f5914"/>
              </a:cxn>
              <a:cxn ang="f4299">
                <a:pos x="f5846" y="f5913"/>
              </a:cxn>
              <a:cxn ang="f4299">
                <a:pos x="f5846" y="f5912"/>
              </a:cxn>
              <a:cxn ang="f4299">
                <a:pos x="f5847" y="f5911"/>
              </a:cxn>
              <a:cxn ang="f4299">
                <a:pos x="f5848" y="f5911"/>
              </a:cxn>
              <a:cxn ang="f4299">
                <a:pos x="f5849" y="f5912"/>
              </a:cxn>
              <a:cxn ang="f4299">
                <a:pos x="f5849" y="f5913"/>
              </a:cxn>
              <a:cxn ang="f4299">
                <a:pos x="f5848" y="f5914"/>
              </a:cxn>
              <a:cxn ang="f4299">
                <a:pos x="f5847" y="f5914"/>
              </a:cxn>
              <a:cxn ang="f4299">
                <a:pos x="f5850" y="f5913"/>
              </a:cxn>
              <a:cxn ang="f4299">
                <a:pos x="f5850" y="f5912"/>
              </a:cxn>
              <a:cxn ang="f4299">
                <a:pos x="f5851" y="f5911"/>
              </a:cxn>
              <a:cxn ang="f4299">
                <a:pos x="f5852" y="f5911"/>
              </a:cxn>
              <a:cxn ang="f4299">
                <a:pos x="f5853" y="f5912"/>
              </a:cxn>
              <a:cxn ang="f4299">
                <a:pos x="f5853" y="f5913"/>
              </a:cxn>
              <a:cxn ang="f4299">
                <a:pos x="f5852" y="f5914"/>
              </a:cxn>
              <a:cxn ang="f4299">
                <a:pos x="f5851" y="f5914"/>
              </a:cxn>
              <a:cxn ang="f4299">
                <a:pos x="f5854" y="f5913"/>
              </a:cxn>
              <a:cxn ang="f4299">
                <a:pos x="f5854" y="f5912"/>
              </a:cxn>
              <a:cxn ang="f4299">
                <a:pos x="f5855" y="f5911"/>
              </a:cxn>
              <a:cxn ang="f4299">
                <a:pos x="f5856" y="f5911"/>
              </a:cxn>
              <a:cxn ang="f4299">
                <a:pos x="f5857" y="f5912"/>
              </a:cxn>
              <a:cxn ang="f4299">
                <a:pos x="f5857" y="f5913"/>
              </a:cxn>
              <a:cxn ang="f4299">
                <a:pos x="f5856" y="f5914"/>
              </a:cxn>
              <a:cxn ang="f4299">
                <a:pos x="f5855" y="f5914"/>
              </a:cxn>
              <a:cxn ang="f4299">
                <a:pos x="f5858" y="f5913"/>
              </a:cxn>
              <a:cxn ang="f4299">
                <a:pos x="f5858" y="f5912"/>
              </a:cxn>
              <a:cxn ang="f4299">
                <a:pos x="f5859" y="f5911"/>
              </a:cxn>
              <a:cxn ang="f4299">
                <a:pos x="f5860" y="f5911"/>
              </a:cxn>
              <a:cxn ang="f4299">
                <a:pos x="f5861" y="f5912"/>
              </a:cxn>
              <a:cxn ang="f4299">
                <a:pos x="f5861" y="f5913"/>
              </a:cxn>
              <a:cxn ang="f4299">
                <a:pos x="f5860" y="f5914"/>
              </a:cxn>
              <a:cxn ang="f4299">
                <a:pos x="f5859" y="f5914"/>
              </a:cxn>
              <a:cxn ang="f4299">
                <a:pos x="f5862" y="f5913"/>
              </a:cxn>
              <a:cxn ang="f4299">
                <a:pos x="f5862" y="f5912"/>
              </a:cxn>
              <a:cxn ang="f4299">
                <a:pos x="f5863" y="f5911"/>
              </a:cxn>
              <a:cxn ang="f4299">
                <a:pos x="f5864" y="f5911"/>
              </a:cxn>
              <a:cxn ang="f4299">
                <a:pos x="f5865" y="f5912"/>
              </a:cxn>
              <a:cxn ang="f4299">
                <a:pos x="f5865" y="f5913"/>
              </a:cxn>
              <a:cxn ang="f4299">
                <a:pos x="f5864" y="f5914"/>
              </a:cxn>
              <a:cxn ang="f4299">
                <a:pos x="f5863" y="f5914"/>
              </a:cxn>
              <a:cxn ang="f4299">
                <a:pos x="f5866" y="f5913"/>
              </a:cxn>
              <a:cxn ang="f4299">
                <a:pos x="f5866" y="f5912"/>
              </a:cxn>
              <a:cxn ang="f4299">
                <a:pos x="f5867" y="f5911"/>
              </a:cxn>
              <a:cxn ang="f4299">
                <a:pos x="f5868" y="f5911"/>
              </a:cxn>
              <a:cxn ang="f4299">
                <a:pos x="f5869" y="f5912"/>
              </a:cxn>
              <a:cxn ang="f4299">
                <a:pos x="f5869" y="f5913"/>
              </a:cxn>
              <a:cxn ang="f4299">
                <a:pos x="f5868" y="f5914"/>
              </a:cxn>
              <a:cxn ang="f4299">
                <a:pos x="f5867" y="f5914"/>
              </a:cxn>
              <a:cxn ang="f4299">
                <a:pos x="f5870" y="f5913"/>
              </a:cxn>
              <a:cxn ang="f4299">
                <a:pos x="f5870" y="f5912"/>
              </a:cxn>
              <a:cxn ang="f4299">
                <a:pos x="f5871" y="f5911"/>
              </a:cxn>
              <a:cxn ang="f4299">
                <a:pos x="f5872" y="f5911"/>
              </a:cxn>
              <a:cxn ang="f4299">
                <a:pos x="f5873" y="f5912"/>
              </a:cxn>
              <a:cxn ang="f4299">
                <a:pos x="f5873" y="f5913"/>
              </a:cxn>
              <a:cxn ang="f4299">
                <a:pos x="f5872" y="f5914"/>
              </a:cxn>
              <a:cxn ang="f4299">
                <a:pos x="f5871" y="f5914"/>
              </a:cxn>
              <a:cxn ang="f4299">
                <a:pos x="f5874" y="f5913"/>
              </a:cxn>
              <a:cxn ang="f4299">
                <a:pos x="f5874" y="f5912"/>
              </a:cxn>
              <a:cxn ang="f4299">
                <a:pos x="f5875" y="f5911"/>
              </a:cxn>
              <a:cxn ang="f4299">
                <a:pos x="f5876" y="f5911"/>
              </a:cxn>
              <a:cxn ang="f4299">
                <a:pos x="f5877" y="f5912"/>
              </a:cxn>
              <a:cxn ang="f4299">
                <a:pos x="f5877" y="f5913"/>
              </a:cxn>
              <a:cxn ang="f4299">
                <a:pos x="f5876" y="f5914"/>
              </a:cxn>
              <a:cxn ang="f4299">
                <a:pos x="f5875" y="f5914"/>
              </a:cxn>
              <a:cxn ang="f4299">
                <a:pos x="f5878" y="f5913"/>
              </a:cxn>
              <a:cxn ang="f4299">
                <a:pos x="f5878" y="f5912"/>
              </a:cxn>
              <a:cxn ang="f4299">
                <a:pos x="f5879" y="f5911"/>
              </a:cxn>
              <a:cxn ang="f4299">
                <a:pos x="f5880" y="f5911"/>
              </a:cxn>
              <a:cxn ang="f4299">
                <a:pos x="f5881" y="f5912"/>
              </a:cxn>
              <a:cxn ang="f4299">
                <a:pos x="f5881" y="f5913"/>
              </a:cxn>
              <a:cxn ang="f4299">
                <a:pos x="f5880" y="f5914"/>
              </a:cxn>
              <a:cxn ang="f4299">
                <a:pos x="f5879" y="f5914"/>
              </a:cxn>
              <a:cxn ang="f4299">
                <a:pos x="f5882" y="f5913"/>
              </a:cxn>
              <a:cxn ang="f4299">
                <a:pos x="f5882" y="f5912"/>
              </a:cxn>
              <a:cxn ang="f4299">
                <a:pos x="f5883" y="f5911"/>
              </a:cxn>
              <a:cxn ang="f4299">
                <a:pos x="f5884" y="f5911"/>
              </a:cxn>
              <a:cxn ang="f4299">
                <a:pos x="f5885" y="f5912"/>
              </a:cxn>
              <a:cxn ang="f4299">
                <a:pos x="f5885" y="f5913"/>
              </a:cxn>
              <a:cxn ang="f4299">
                <a:pos x="f5884" y="f5914"/>
              </a:cxn>
              <a:cxn ang="f4299">
                <a:pos x="f5883" y="f5914"/>
              </a:cxn>
              <a:cxn ang="f4299">
                <a:pos x="f5886" y="f5913"/>
              </a:cxn>
              <a:cxn ang="f4299">
                <a:pos x="f5886" y="f5912"/>
              </a:cxn>
              <a:cxn ang="f4299">
                <a:pos x="f5887" y="f5911"/>
              </a:cxn>
              <a:cxn ang="f4299">
                <a:pos x="f5888" y="f5911"/>
              </a:cxn>
              <a:cxn ang="f4299">
                <a:pos x="f5889" y="f5912"/>
              </a:cxn>
              <a:cxn ang="f4299">
                <a:pos x="f5889" y="f5913"/>
              </a:cxn>
              <a:cxn ang="f4299">
                <a:pos x="f5888" y="f5914"/>
              </a:cxn>
              <a:cxn ang="f4299">
                <a:pos x="f5887" y="f5914"/>
              </a:cxn>
              <a:cxn ang="f4299">
                <a:pos x="f5890" y="f5913"/>
              </a:cxn>
              <a:cxn ang="f4299">
                <a:pos x="f5890" y="f5912"/>
              </a:cxn>
              <a:cxn ang="f4299">
                <a:pos x="f5891" y="f5911"/>
              </a:cxn>
              <a:cxn ang="f4299">
                <a:pos x="f5892" y="f5911"/>
              </a:cxn>
              <a:cxn ang="f4299">
                <a:pos x="f5893" y="f5912"/>
              </a:cxn>
              <a:cxn ang="f4299">
                <a:pos x="f5893" y="f5913"/>
              </a:cxn>
              <a:cxn ang="f4299">
                <a:pos x="f5892" y="f5914"/>
              </a:cxn>
              <a:cxn ang="f4299">
                <a:pos x="f5891" y="f5914"/>
              </a:cxn>
              <a:cxn ang="f4299">
                <a:pos x="f5894" y="f5913"/>
              </a:cxn>
              <a:cxn ang="f4299">
                <a:pos x="f5894" y="f5912"/>
              </a:cxn>
              <a:cxn ang="f4299">
                <a:pos x="f5915" y="f5911"/>
              </a:cxn>
              <a:cxn ang="f4299">
                <a:pos x="f5916" y="f5911"/>
              </a:cxn>
              <a:cxn ang="f4299">
                <a:pos x="f5917" y="f5912"/>
              </a:cxn>
              <a:cxn ang="f4299">
                <a:pos x="f5917" y="f5913"/>
              </a:cxn>
              <a:cxn ang="f4299">
                <a:pos x="f5916" y="f5914"/>
              </a:cxn>
              <a:cxn ang="f4299">
                <a:pos x="f5915" y="f5914"/>
              </a:cxn>
              <a:cxn ang="f4299">
                <a:pos x="f5918" y="f5913"/>
              </a:cxn>
              <a:cxn ang="f4299">
                <a:pos x="f5918" y="f5912"/>
              </a:cxn>
              <a:cxn ang="f4299">
                <a:pos x="f5747" y="f5911"/>
              </a:cxn>
              <a:cxn ang="f4299">
                <a:pos x="f5748" y="f5911"/>
              </a:cxn>
              <a:cxn ang="f4299">
                <a:pos x="f5919" y="f5912"/>
              </a:cxn>
              <a:cxn ang="f4299">
                <a:pos x="f5919" y="f5913"/>
              </a:cxn>
              <a:cxn ang="f4299">
                <a:pos x="f5748" y="f5914"/>
              </a:cxn>
              <a:cxn ang="f4299">
                <a:pos x="f5747" y="f5914"/>
              </a:cxn>
              <a:cxn ang="f4299">
                <a:pos x="f5750" y="f5913"/>
              </a:cxn>
              <a:cxn ang="f4299">
                <a:pos x="f5750" y="f5912"/>
              </a:cxn>
              <a:cxn ang="f4299">
                <a:pos x="f5751" y="f5911"/>
              </a:cxn>
              <a:cxn ang="f4299">
                <a:pos x="f5752" y="f5911"/>
              </a:cxn>
              <a:cxn ang="f4299">
                <a:pos x="f5920" y="f5912"/>
              </a:cxn>
              <a:cxn ang="f4299">
                <a:pos x="f5920" y="f5913"/>
              </a:cxn>
              <a:cxn ang="f4299">
                <a:pos x="f5752" y="f5914"/>
              </a:cxn>
              <a:cxn ang="f4299">
                <a:pos x="f5751" y="f5914"/>
              </a:cxn>
              <a:cxn ang="f4299">
                <a:pos x="f5921" y="f5913"/>
              </a:cxn>
              <a:cxn ang="f4299">
                <a:pos x="f5921" y="f5912"/>
              </a:cxn>
              <a:cxn ang="f4299">
                <a:pos x="f5755" y="f5911"/>
              </a:cxn>
              <a:cxn ang="f4299">
                <a:pos x="f5756" y="f5911"/>
              </a:cxn>
              <a:cxn ang="f4299">
                <a:pos x="f5922" y="f5912"/>
              </a:cxn>
              <a:cxn ang="f4299">
                <a:pos x="f5922" y="f5913"/>
              </a:cxn>
              <a:cxn ang="f4299">
                <a:pos x="f5756" y="f5914"/>
              </a:cxn>
              <a:cxn ang="f4299">
                <a:pos x="f5755" y="f5914"/>
              </a:cxn>
              <a:cxn ang="f4299">
                <a:pos x="f5923" y="f5913"/>
              </a:cxn>
              <a:cxn ang="f4299">
                <a:pos x="f5923" y="f5912"/>
              </a:cxn>
              <a:cxn ang="f4299">
                <a:pos x="f5759" y="f5911"/>
              </a:cxn>
              <a:cxn ang="f4299">
                <a:pos x="f5924" y="f5911"/>
              </a:cxn>
              <a:cxn ang="f4299">
                <a:pos x="f5925" y="f5912"/>
              </a:cxn>
              <a:cxn ang="f4299">
                <a:pos x="f5925" y="f5913"/>
              </a:cxn>
              <a:cxn ang="f4299">
                <a:pos x="f5924" y="f5914"/>
              </a:cxn>
              <a:cxn ang="f4299">
                <a:pos x="f5759" y="f5914"/>
              </a:cxn>
              <a:cxn ang="f4299">
                <a:pos x="f5762" y="f5913"/>
              </a:cxn>
              <a:cxn ang="f4299">
                <a:pos x="f5762" y="f5912"/>
              </a:cxn>
              <a:cxn ang="f4299">
                <a:pos x="f5926" y="f5911"/>
              </a:cxn>
              <a:cxn ang="f4299">
                <a:pos x="f5764" y="f5911"/>
              </a:cxn>
              <a:cxn ang="f4299">
                <a:pos x="f5765" y="f5912"/>
              </a:cxn>
              <a:cxn ang="f4299">
                <a:pos x="f5765" y="f5913"/>
              </a:cxn>
              <a:cxn ang="f4299">
                <a:pos x="f5764" y="f5914"/>
              </a:cxn>
              <a:cxn ang="f4299">
                <a:pos x="f5926" y="f5914"/>
              </a:cxn>
              <a:cxn ang="f4299">
                <a:pos x="f5927" y="f5913"/>
              </a:cxn>
              <a:cxn ang="f4299">
                <a:pos x="f5927" y="f5912"/>
              </a:cxn>
              <a:cxn ang="f4299">
                <a:pos x="f5928" y="f5911"/>
              </a:cxn>
              <a:cxn ang="f4299">
                <a:pos x="f5929" y="f5911"/>
              </a:cxn>
              <a:cxn ang="f4299">
                <a:pos x="f5930" y="f5912"/>
              </a:cxn>
              <a:cxn ang="f4299">
                <a:pos x="f5930" y="f5913"/>
              </a:cxn>
              <a:cxn ang="f4299">
                <a:pos x="f5929" y="f5914"/>
              </a:cxn>
              <a:cxn ang="f4299">
                <a:pos x="f5928" y="f5914"/>
              </a:cxn>
              <a:cxn ang="f4299">
                <a:pos x="f5931" y="f5913"/>
              </a:cxn>
              <a:cxn ang="f4299">
                <a:pos x="f5931" y="f5912"/>
              </a:cxn>
              <a:cxn ang="f4299">
                <a:pos x="f5899" y="f5911"/>
              </a:cxn>
              <a:cxn ang="f4299">
                <a:pos x="f5932" y="f5911"/>
              </a:cxn>
              <a:cxn ang="f4299">
                <a:pos x="f5933" y="f5912"/>
              </a:cxn>
              <a:cxn ang="f4299">
                <a:pos x="f5933" y="f5913"/>
              </a:cxn>
              <a:cxn ang="f4299">
                <a:pos x="f5932" y="f5914"/>
              </a:cxn>
              <a:cxn ang="f4299">
                <a:pos x="f5899" y="f5914"/>
              </a:cxn>
              <a:cxn ang="f4299">
                <a:pos x="f5902" y="f5913"/>
              </a:cxn>
              <a:cxn ang="f4299">
                <a:pos x="f5902" y="f5912"/>
              </a:cxn>
              <a:cxn ang="f4299">
                <a:pos x="f5934" y="f5911"/>
              </a:cxn>
              <a:cxn ang="f4299">
                <a:pos x="f5935" y="f5911"/>
              </a:cxn>
              <a:cxn ang="f4299">
                <a:pos x="f5936" y="f5912"/>
              </a:cxn>
              <a:cxn ang="f4299">
                <a:pos x="f5936" y="f5913"/>
              </a:cxn>
              <a:cxn ang="f4299">
                <a:pos x="f5935" y="f5914"/>
              </a:cxn>
              <a:cxn ang="f4299">
                <a:pos x="f5934" y="f5914"/>
              </a:cxn>
              <a:cxn ang="f4299">
                <a:pos x="f5937" y="f5913"/>
              </a:cxn>
              <a:cxn ang="f4299">
                <a:pos x="f5937" y="f5912"/>
              </a:cxn>
              <a:cxn ang="f4299">
                <a:pos x="f5938" y="f5911"/>
              </a:cxn>
              <a:cxn ang="f4299">
                <a:pos x="f5939" y="f5911"/>
              </a:cxn>
              <a:cxn ang="f4299">
                <a:pos x="f5909" y="f5912"/>
              </a:cxn>
              <a:cxn ang="f4299">
                <a:pos x="f5909" y="f5913"/>
              </a:cxn>
              <a:cxn ang="f4299">
                <a:pos x="f5939" y="f5914"/>
              </a:cxn>
              <a:cxn ang="f4299">
                <a:pos x="f5938" y="f5914"/>
              </a:cxn>
              <a:cxn ang="f4299">
                <a:pos x="f5940" y="f5913"/>
              </a:cxn>
              <a:cxn ang="f4299">
                <a:pos x="f5940" y="f5912"/>
              </a:cxn>
              <a:cxn ang="f4299">
                <a:pos x="f5915" y="f5941"/>
              </a:cxn>
              <a:cxn ang="f4299">
                <a:pos x="f5916" y="f5941"/>
              </a:cxn>
              <a:cxn ang="f4299">
                <a:pos x="f5942" y="f5943"/>
              </a:cxn>
              <a:cxn ang="f4299">
                <a:pos x="f5942" y="f5944"/>
              </a:cxn>
              <a:cxn ang="f4299">
                <a:pos x="f5916" y="f5945"/>
              </a:cxn>
              <a:cxn ang="f4299">
                <a:pos x="f5915" y="f5945"/>
              </a:cxn>
              <a:cxn ang="f4299">
                <a:pos x="f5918" y="f5944"/>
              </a:cxn>
              <a:cxn ang="f4299">
                <a:pos x="f5918" y="f5943"/>
              </a:cxn>
              <a:cxn ang="f4299">
                <a:pos x="f5747" y="f5941"/>
              </a:cxn>
              <a:cxn ang="f4299">
                <a:pos x="f5946" y="f5941"/>
              </a:cxn>
              <a:cxn ang="f4299">
                <a:pos x="f5919" y="f5943"/>
              </a:cxn>
              <a:cxn ang="f4299">
                <a:pos x="f5919" y="f5944"/>
              </a:cxn>
              <a:cxn ang="f4299">
                <a:pos x="f5946" y="f5945"/>
              </a:cxn>
              <a:cxn ang="f4299">
                <a:pos x="f5747" y="f5945"/>
              </a:cxn>
              <a:cxn ang="f4299">
                <a:pos x="f5750" y="f5944"/>
              </a:cxn>
              <a:cxn ang="f4299">
                <a:pos x="f5750" y="f5943"/>
              </a:cxn>
              <a:cxn ang="f4299">
                <a:pos x="f5947" y="f5941"/>
              </a:cxn>
              <a:cxn ang="f4299">
                <a:pos x="f5948" y="f5941"/>
              </a:cxn>
              <a:cxn ang="f4299">
                <a:pos x="f5920" y="f5943"/>
              </a:cxn>
              <a:cxn ang="f4299">
                <a:pos x="f5920" y="f5944"/>
              </a:cxn>
              <a:cxn ang="f4299">
                <a:pos x="f5948" y="f5945"/>
              </a:cxn>
              <a:cxn ang="f4299">
                <a:pos x="f5947" y="f5945"/>
              </a:cxn>
              <a:cxn ang="f4299">
                <a:pos x="f5921" y="f5944"/>
              </a:cxn>
              <a:cxn ang="f4299">
                <a:pos x="f5921" y="f5943"/>
              </a:cxn>
              <a:cxn ang="f4299">
                <a:pos x="f5949" y="f5941"/>
              </a:cxn>
              <a:cxn ang="f4299">
                <a:pos x="f5950" y="f5941"/>
              </a:cxn>
              <a:cxn ang="f4299">
                <a:pos x="f5922" y="f5943"/>
              </a:cxn>
              <a:cxn ang="f4299">
                <a:pos x="f5922" y="f5944"/>
              </a:cxn>
              <a:cxn ang="f4299">
                <a:pos x="f5950" y="f5945"/>
              </a:cxn>
              <a:cxn ang="f4299">
                <a:pos x="f5949" y="f5945"/>
              </a:cxn>
              <a:cxn ang="f4299">
                <a:pos x="f5923" y="f5944"/>
              </a:cxn>
              <a:cxn ang="f4299">
                <a:pos x="f5923" y="f5943"/>
              </a:cxn>
              <a:cxn ang="f4299">
                <a:pos x="f5951" y="f5941"/>
              </a:cxn>
              <a:cxn ang="f4299">
                <a:pos x="f5924" y="f5941"/>
              </a:cxn>
              <a:cxn ang="f4299">
                <a:pos x="f5952" y="f5943"/>
              </a:cxn>
              <a:cxn ang="f4299">
                <a:pos x="f5952" y="f5944"/>
              </a:cxn>
              <a:cxn ang="f4299">
                <a:pos x="f5924" y="f5945"/>
              </a:cxn>
              <a:cxn ang="f4299">
                <a:pos x="f5951" y="f5945"/>
              </a:cxn>
              <a:cxn ang="f4299">
                <a:pos x="f5953" y="f5944"/>
              </a:cxn>
              <a:cxn ang="f4299">
                <a:pos x="f5953" y="f5943"/>
              </a:cxn>
              <a:cxn ang="f4299">
                <a:pos x="f5926" y="f5941"/>
              </a:cxn>
              <a:cxn ang="f4299">
                <a:pos x="f5954" y="f5941"/>
              </a:cxn>
              <a:cxn ang="f4299">
                <a:pos x="f5955" y="f5943"/>
              </a:cxn>
              <a:cxn ang="f4299">
                <a:pos x="f5955" y="f5944"/>
              </a:cxn>
              <a:cxn ang="f4299">
                <a:pos x="f5954" y="f5945"/>
              </a:cxn>
              <a:cxn ang="f4299">
                <a:pos x="f5926" y="f5945"/>
              </a:cxn>
              <a:cxn ang="f4299">
                <a:pos x="f5927" y="f5944"/>
              </a:cxn>
              <a:cxn ang="f4299">
                <a:pos x="f5927" y="f5943"/>
              </a:cxn>
              <a:cxn ang="f4299">
                <a:pos x="f5767" y="f5956"/>
              </a:cxn>
              <a:cxn ang="f4299">
                <a:pos x="f5769" y="f5956"/>
              </a:cxn>
              <a:cxn ang="f4299">
                <a:pos x="f5770" y="f5957"/>
              </a:cxn>
              <a:cxn ang="f4299">
                <a:pos x="f5770" y="f5958"/>
              </a:cxn>
              <a:cxn ang="f4299">
                <a:pos x="f5769" y="f5959"/>
              </a:cxn>
              <a:cxn ang="f4299">
                <a:pos x="f5767" y="f5959"/>
              </a:cxn>
              <a:cxn ang="f4299">
                <a:pos x="f5774" y="f5958"/>
              </a:cxn>
              <a:cxn ang="f4299">
                <a:pos x="f5774" y="f5957"/>
              </a:cxn>
              <a:cxn ang="f4299">
                <a:pos x="f5775" y="f5956"/>
              </a:cxn>
              <a:cxn ang="f4299">
                <a:pos x="f5776" y="f5956"/>
              </a:cxn>
              <a:cxn ang="f4299">
                <a:pos x="f5777" y="f5957"/>
              </a:cxn>
              <a:cxn ang="f4299">
                <a:pos x="f5777" y="f5958"/>
              </a:cxn>
              <a:cxn ang="f4299">
                <a:pos x="f5776" y="f5959"/>
              </a:cxn>
              <a:cxn ang="f4299">
                <a:pos x="f5775" y="f5959"/>
              </a:cxn>
              <a:cxn ang="f4299">
                <a:pos x="f5778" y="f5958"/>
              </a:cxn>
              <a:cxn ang="f4299">
                <a:pos x="f5778" y="f5957"/>
              </a:cxn>
              <a:cxn ang="f4299">
                <a:pos x="f5779" y="f5956"/>
              </a:cxn>
              <a:cxn ang="f4299">
                <a:pos x="f5780" y="f5956"/>
              </a:cxn>
              <a:cxn ang="f4299">
                <a:pos x="f5781" y="f5957"/>
              </a:cxn>
              <a:cxn ang="f4299">
                <a:pos x="f5781" y="f5958"/>
              </a:cxn>
              <a:cxn ang="f4299">
                <a:pos x="f5780" y="f5959"/>
              </a:cxn>
              <a:cxn ang="f4299">
                <a:pos x="f5779" y="f5959"/>
              </a:cxn>
              <a:cxn ang="f4299">
                <a:pos x="f5782" y="f5958"/>
              </a:cxn>
              <a:cxn ang="f4299">
                <a:pos x="f5782" y="f5957"/>
              </a:cxn>
              <a:cxn ang="f4299">
                <a:pos x="f5783" y="f5956"/>
              </a:cxn>
              <a:cxn ang="f4299">
                <a:pos x="f5784" y="f5956"/>
              </a:cxn>
              <a:cxn ang="f4299">
                <a:pos x="f5785" y="f5957"/>
              </a:cxn>
              <a:cxn ang="f4299">
                <a:pos x="f5785" y="f5958"/>
              </a:cxn>
              <a:cxn ang="f4299">
                <a:pos x="f5784" y="f5959"/>
              </a:cxn>
              <a:cxn ang="f4299">
                <a:pos x="f5783" y="f5959"/>
              </a:cxn>
              <a:cxn ang="f4299">
                <a:pos x="f5786" y="f5958"/>
              </a:cxn>
              <a:cxn ang="f4299">
                <a:pos x="f5786" y="f5957"/>
              </a:cxn>
              <a:cxn ang="f4299">
                <a:pos x="f5787" y="f5956"/>
              </a:cxn>
              <a:cxn ang="f4299">
                <a:pos x="f5788" y="f5956"/>
              </a:cxn>
              <a:cxn ang="f4299">
                <a:pos x="f5789" y="f5957"/>
              </a:cxn>
              <a:cxn ang="f4299">
                <a:pos x="f5789" y="f5958"/>
              </a:cxn>
              <a:cxn ang="f4299">
                <a:pos x="f5788" y="f5959"/>
              </a:cxn>
              <a:cxn ang="f4299">
                <a:pos x="f5787" y="f5959"/>
              </a:cxn>
              <a:cxn ang="f4299">
                <a:pos x="f5790" y="f5958"/>
              </a:cxn>
              <a:cxn ang="f4299">
                <a:pos x="f5790" y="f5957"/>
              </a:cxn>
              <a:cxn ang="f4299">
                <a:pos x="f5791" y="f5956"/>
              </a:cxn>
              <a:cxn ang="f4299">
                <a:pos x="f5792" y="f5956"/>
              </a:cxn>
              <a:cxn ang="f4299">
                <a:pos x="f5793" y="f5957"/>
              </a:cxn>
              <a:cxn ang="f4299">
                <a:pos x="f5793" y="f5958"/>
              </a:cxn>
              <a:cxn ang="f4299">
                <a:pos x="f5792" y="f5959"/>
              </a:cxn>
              <a:cxn ang="f4299">
                <a:pos x="f5791" y="f5959"/>
              </a:cxn>
              <a:cxn ang="f4299">
                <a:pos x="f5794" y="f5958"/>
              </a:cxn>
              <a:cxn ang="f4299">
                <a:pos x="f5794" y="f5957"/>
              </a:cxn>
              <a:cxn ang="f4299">
                <a:pos x="f5795" y="f5956"/>
              </a:cxn>
              <a:cxn ang="f4299">
                <a:pos x="f5796" y="f5956"/>
              </a:cxn>
              <a:cxn ang="f4299">
                <a:pos x="f5797" y="f5957"/>
              </a:cxn>
              <a:cxn ang="f4299">
                <a:pos x="f5797" y="f5958"/>
              </a:cxn>
              <a:cxn ang="f4299">
                <a:pos x="f5796" y="f5959"/>
              </a:cxn>
              <a:cxn ang="f4299">
                <a:pos x="f5795" y="f5959"/>
              </a:cxn>
              <a:cxn ang="f4299">
                <a:pos x="f5798" y="f5958"/>
              </a:cxn>
              <a:cxn ang="f4299">
                <a:pos x="f5798" y="f5957"/>
              </a:cxn>
              <a:cxn ang="f4299">
                <a:pos x="f5799" y="f5956"/>
              </a:cxn>
              <a:cxn ang="f4299">
                <a:pos x="f5800" y="f5956"/>
              </a:cxn>
              <a:cxn ang="f4299">
                <a:pos x="f5801" y="f5957"/>
              </a:cxn>
              <a:cxn ang="f4299">
                <a:pos x="f5801" y="f5958"/>
              </a:cxn>
              <a:cxn ang="f4299">
                <a:pos x="f5800" y="f5959"/>
              </a:cxn>
              <a:cxn ang="f4299">
                <a:pos x="f5799" y="f5959"/>
              </a:cxn>
              <a:cxn ang="f4299">
                <a:pos x="f5802" y="f5958"/>
              </a:cxn>
              <a:cxn ang="f4299">
                <a:pos x="f5802" y="f5957"/>
              </a:cxn>
              <a:cxn ang="f4299">
                <a:pos x="f5803" y="f5956"/>
              </a:cxn>
              <a:cxn ang="f4299">
                <a:pos x="f5804" y="f5956"/>
              </a:cxn>
              <a:cxn ang="f4299">
                <a:pos x="f5805" y="f5957"/>
              </a:cxn>
              <a:cxn ang="f4299">
                <a:pos x="f5805" y="f5958"/>
              </a:cxn>
              <a:cxn ang="f4299">
                <a:pos x="f5804" y="f5959"/>
              </a:cxn>
              <a:cxn ang="f4299">
                <a:pos x="f5803" y="f5959"/>
              </a:cxn>
              <a:cxn ang="f4299">
                <a:pos x="f5806" y="f5958"/>
              </a:cxn>
              <a:cxn ang="f4299">
                <a:pos x="f5806" y="f5957"/>
              </a:cxn>
              <a:cxn ang="f4299">
                <a:pos x="f5807" y="f5956"/>
              </a:cxn>
              <a:cxn ang="f4299">
                <a:pos x="f5808" y="f5956"/>
              </a:cxn>
              <a:cxn ang="f4299">
                <a:pos x="f5809" y="f5957"/>
              </a:cxn>
              <a:cxn ang="f4299">
                <a:pos x="f5809" y="f5958"/>
              </a:cxn>
              <a:cxn ang="f4299">
                <a:pos x="f5808" y="f5959"/>
              </a:cxn>
              <a:cxn ang="f4299">
                <a:pos x="f5807" y="f5959"/>
              </a:cxn>
              <a:cxn ang="f4299">
                <a:pos x="f5810" y="f5958"/>
              </a:cxn>
              <a:cxn ang="f4299">
                <a:pos x="f5810" y="f5957"/>
              </a:cxn>
              <a:cxn ang="f4299">
                <a:pos x="f5811" y="f5956"/>
              </a:cxn>
              <a:cxn ang="f4299">
                <a:pos x="f5812" y="f5956"/>
              </a:cxn>
              <a:cxn ang="f4299">
                <a:pos x="f5813" y="f5957"/>
              </a:cxn>
              <a:cxn ang="f4299">
                <a:pos x="f5813" y="f5958"/>
              </a:cxn>
              <a:cxn ang="f4299">
                <a:pos x="f5812" y="f5959"/>
              </a:cxn>
              <a:cxn ang="f4299">
                <a:pos x="f5811" y="f5959"/>
              </a:cxn>
              <a:cxn ang="f4299">
                <a:pos x="f5814" y="f5958"/>
              </a:cxn>
              <a:cxn ang="f4299">
                <a:pos x="f5814" y="f5957"/>
              </a:cxn>
              <a:cxn ang="f4299">
                <a:pos x="f5815" y="f5956"/>
              </a:cxn>
              <a:cxn ang="f4299">
                <a:pos x="f5816" y="f5956"/>
              </a:cxn>
              <a:cxn ang="f4299">
                <a:pos x="f5817" y="f5957"/>
              </a:cxn>
              <a:cxn ang="f4299">
                <a:pos x="f5817" y="f5958"/>
              </a:cxn>
              <a:cxn ang="f4299">
                <a:pos x="f5816" y="f5959"/>
              </a:cxn>
              <a:cxn ang="f4299">
                <a:pos x="f5815" y="f5959"/>
              </a:cxn>
              <a:cxn ang="f4299">
                <a:pos x="f5818" y="f5958"/>
              </a:cxn>
              <a:cxn ang="f4299">
                <a:pos x="f5818" y="f5957"/>
              </a:cxn>
              <a:cxn ang="f4299">
                <a:pos x="f5819" y="f5956"/>
              </a:cxn>
              <a:cxn ang="f4299">
                <a:pos x="f5820" y="f5956"/>
              </a:cxn>
              <a:cxn ang="f4299">
                <a:pos x="f5821" y="f5957"/>
              </a:cxn>
              <a:cxn ang="f4299">
                <a:pos x="f5821" y="f5958"/>
              </a:cxn>
              <a:cxn ang="f4299">
                <a:pos x="f5820" y="f5959"/>
              </a:cxn>
              <a:cxn ang="f4299">
                <a:pos x="f5819" y="f5959"/>
              </a:cxn>
              <a:cxn ang="f4299">
                <a:pos x="f5822" y="f5958"/>
              </a:cxn>
              <a:cxn ang="f4299">
                <a:pos x="f5822" y="f5957"/>
              </a:cxn>
              <a:cxn ang="f4299">
                <a:pos x="f5823" y="f5956"/>
              </a:cxn>
              <a:cxn ang="f4299">
                <a:pos x="f5824" y="f5956"/>
              </a:cxn>
              <a:cxn ang="f4299">
                <a:pos x="f5825" y="f5957"/>
              </a:cxn>
              <a:cxn ang="f4299">
                <a:pos x="f5825" y="f5958"/>
              </a:cxn>
              <a:cxn ang="f4299">
                <a:pos x="f5824" y="f5959"/>
              </a:cxn>
              <a:cxn ang="f4299">
                <a:pos x="f5823" y="f5959"/>
              </a:cxn>
              <a:cxn ang="f4299">
                <a:pos x="f5826" y="f5958"/>
              </a:cxn>
              <a:cxn ang="f4299">
                <a:pos x="f5826" y="f5957"/>
              </a:cxn>
              <a:cxn ang="f4299">
                <a:pos x="f5827" y="f5956"/>
              </a:cxn>
              <a:cxn ang="f4299">
                <a:pos x="f5828" y="f5956"/>
              </a:cxn>
              <a:cxn ang="f4299">
                <a:pos x="f5829" y="f5957"/>
              </a:cxn>
              <a:cxn ang="f4299">
                <a:pos x="f5829" y="f5958"/>
              </a:cxn>
              <a:cxn ang="f4299">
                <a:pos x="f5828" y="f5959"/>
              </a:cxn>
              <a:cxn ang="f4299">
                <a:pos x="f5827" y="f5959"/>
              </a:cxn>
              <a:cxn ang="f4299">
                <a:pos x="f5830" y="f5958"/>
              </a:cxn>
              <a:cxn ang="f4299">
                <a:pos x="f5830" y="f5957"/>
              </a:cxn>
              <a:cxn ang="f4299">
                <a:pos x="f5831" y="f5956"/>
              </a:cxn>
              <a:cxn ang="f4299">
                <a:pos x="f5832" y="f5956"/>
              </a:cxn>
              <a:cxn ang="f4299">
                <a:pos x="f5833" y="f5957"/>
              </a:cxn>
              <a:cxn ang="f4299">
                <a:pos x="f5833" y="f5958"/>
              </a:cxn>
              <a:cxn ang="f4299">
                <a:pos x="f5832" y="f5959"/>
              </a:cxn>
              <a:cxn ang="f4299">
                <a:pos x="f5831" y="f5959"/>
              </a:cxn>
              <a:cxn ang="f4299">
                <a:pos x="f5834" y="f5958"/>
              </a:cxn>
              <a:cxn ang="f4299">
                <a:pos x="f5834" y="f5957"/>
              </a:cxn>
              <a:cxn ang="f4299">
                <a:pos x="f5835" y="f5956"/>
              </a:cxn>
              <a:cxn ang="f4299">
                <a:pos x="f5836" y="f5956"/>
              </a:cxn>
              <a:cxn ang="f4299">
                <a:pos x="f5837" y="f5957"/>
              </a:cxn>
              <a:cxn ang="f4299">
                <a:pos x="f5837" y="f5958"/>
              </a:cxn>
              <a:cxn ang="f4299">
                <a:pos x="f5836" y="f5959"/>
              </a:cxn>
              <a:cxn ang="f4299">
                <a:pos x="f5835" y="f5959"/>
              </a:cxn>
              <a:cxn ang="f4299">
                <a:pos x="f5838" y="f5958"/>
              </a:cxn>
              <a:cxn ang="f4299">
                <a:pos x="f5838" y="f5957"/>
              </a:cxn>
              <a:cxn ang="f4299">
                <a:pos x="f5839" y="f5956"/>
              </a:cxn>
              <a:cxn ang="f4299">
                <a:pos x="f5840" y="f5956"/>
              </a:cxn>
              <a:cxn ang="f4299">
                <a:pos x="f5841" y="f5957"/>
              </a:cxn>
              <a:cxn ang="f4299">
                <a:pos x="f5841" y="f5958"/>
              </a:cxn>
              <a:cxn ang="f4299">
                <a:pos x="f5840" y="f5959"/>
              </a:cxn>
              <a:cxn ang="f4299">
                <a:pos x="f5839" y="f5959"/>
              </a:cxn>
              <a:cxn ang="f4299">
                <a:pos x="f5842" y="f5958"/>
              </a:cxn>
              <a:cxn ang="f4299">
                <a:pos x="f5842" y="f5957"/>
              </a:cxn>
              <a:cxn ang="f4299">
                <a:pos x="f5843" y="f5956"/>
              </a:cxn>
              <a:cxn ang="f4299">
                <a:pos x="f5844" y="f5956"/>
              </a:cxn>
              <a:cxn ang="f4299">
                <a:pos x="f5845" y="f5957"/>
              </a:cxn>
              <a:cxn ang="f4299">
                <a:pos x="f5845" y="f5958"/>
              </a:cxn>
              <a:cxn ang="f4299">
                <a:pos x="f5844" y="f5959"/>
              </a:cxn>
              <a:cxn ang="f4299">
                <a:pos x="f5843" y="f5959"/>
              </a:cxn>
              <a:cxn ang="f4299">
                <a:pos x="f5846" y="f5958"/>
              </a:cxn>
              <a:cxn ang="f4299">
                <a:pos x="f5846" y="f5957"/>
              </a:cxn>
              <a:cxn ang="f4299">
                <a:pos x="f5847" y="f5956"/>
              </a:cxn>
              <a:cxn ang="f4299">
                <a:pos x="f5848" y="f5956"/>
              </a:cxn>
              <a:cxn ang="f4299">
                <a:pos x="f5849" y="f5957"/>
              </a:cxn>
              <a:cxn ang="f4299">
                <a:pos x="f5849" y="f5958"/>
              </a:cxn>
              <a:cxn ang="f4299">
                <a:pos x="f5848" y="f5959"/>
              </a:cxn>
              <a:cxn ang="f4299">
                <a:pos x="f5847" y="f5959"/>
              </a:cxn>
              <a:cxn ang="f4299">
                <a:pos x="f5850" y="f5958"/>
              </a:cxn>
              <a:cxn ang="f4299">
                <a:pos x="f5850" y="f5957"/>
              </a:cxn>
              <a:cxn ang="f4299">
                <a:pos x="f5851" y="f5956"/>
              </a:cxn>
              <a:cxn ang="f4299">
                <a:pos x="f5852" y="f5956"/>
              </a:cxn>
              <a:cxn ang="f4299">
                <a:pos x="f5853" y="f5957"/>
              </a:cxn>
              <a:cxn ang="f4299">
                <a:pos x="f5853" y="f5958"/>
              </a:cxn>
              <a:cxn ang="f4299">
                <a:pos x="f5852" y="f5959"/>
              </a:cxn>
              <a:cxn ang="f4299">
                <a:pos x="f5851" y="f5959"/>
              </a:cxn>
              <a:cxn ang="f4299">
                <a:pos x="f5854" y="f5958"/>
              </a:cxn>
              <a:cxn ang="f4299">
                <a:pos x="f5854" y="f5957"/>
              </a:cxn>
              <a:cxn ang="f4299">
                <a:pos x="f5855" y="f5956"/>
              </a:cxn>
              <a:cxn ang="f4299">
                <a:pos x="f5856" y="f5956"/>
              </a:cxn>
              <a:cxn ang="f4299">
                <a:pos x="f5857" y="f5957"/>
              </a:cxn>
              <a:cxn ang="f4299">
                <a:pos x="f5857" y="f5958"/>
              </a:cxn>
              <a:cxn ang="f4299">
                <a:pos x="f5856" y="f5959"/>
              </a:cxn>
              <a:cxn ang="f4299">
                <a:pos x="f5855" y="f5959"/>
              </a:cxn>
              <a:cxn ang="f4299">
                <a:pos x="f5858" y="f5958"/>
              </a:cxn>
              <a:cxn ang="f4299">
                <a:pos x="f5858" y="f5957"/>
              </a:cxn>
              <a:cxn ang="f4299">
                <a:pos x="f5859" y="f5956"/>
              </a:cxn>
              <a:cxn ang="f4299">
                <a:pos x="f5860" y="f5956"/>
              </a:cxn>
              <a:cxn ang="f4299">
                <a:pos x="f5861" y="f5957"/>
              </a:cxn>
              <a:cxn ang="f4299">
                <a:pos x="f5861" y="f5958"/>
              </a:cxn>
              <a:cxn ang="f4299">
                <a:pos x="f5860" y="f5959"/>
              </a:cxn>
              <a:cxn ang="f4299">
                <a:pos x="f5859" y="f5959"/>
              </a:cxn>
              <a:cxn ang="f4299">
                <a:pos x="f5862" y="f5958"/>
              </a:cxn>
              <a:cxn ang="f4299">
                <a:pos x="f5862" y="f5957"/>
              </a:cxn>
              <a:cxn ang="f4299">
                <a:pos x="f5863" y="f5956"/>
              </a:cxn>
              <a:cxn ang="f4299">
                <a:pos x="f5864" y="f5956"/>
              </a:cxn>
              <a:cxn ang="f4299">
                <a:pos x="f5865" y="f5957"/>
              </a:cxn>
              <a:cxn ang="f4299">
                <a:pos x="f5865" y="f5958"/>
              </a:cxn>
              <a:cxn ang="f4299">
                <a:pos x="f5864" y="f5959"/>
              </a:cxn>
              <a:cxn ang="f4299">
                <a:pos x="f5863" y="f5959"/>
              </a:cxn>
              <a:cxn ang="f4299">
                <a:pos x="f5866" y="f5958"/>
              </a:cxn>
              <a:cxn ang="f4299">
                <a:pos x="f5866" y="f5957"/>
              </a:cxn>
              <a:cxn ang="f4299">
                <a:pos x="f5867" y="f5956"/>
              </a:cxn>
              <a:cxn ang="f4299">
                <a:pos x="f5868" y="f5956"/>
              </a:cxn>
              <a:cxn ang="f4299">
                <a:pos x="f5869" y="f5957"/>
              </a:cxn>
              <a:cxn ang="f4299">
                <a:pos x="f5869" y="f5958"/>
              </a:cxn>
              <a:cxn ang="f4299">
                <a:pos x="f5868" y="f5959"/>
              </a:cxn>
              <a:cxn ang="f4299">
                <a:pos x="f5867" y="f5959"/>
              </a:cxn>
              <a:cxn ang="f4299">
                <a:pos x="f5870" y="f5958"/>
              </a:cxn>
              <a:cxn ang="f4299">
                <a:pos x="f5870" y="f5957"/>
              </a:cxn>
              <a:cxn ang="f4299">
                <a:pos x="f5871" y="f5956"/>
              </a:cxn>
              <a:cxn ang="f4299">
                <a:pos x="f5872" y="f5956"/>
              </a:cxn>
              <a:cxn ang="f4299">
                <a:pos x="f5873" y="f5957"/>
              </a:cxn>
              <a:cxn ang="f4299">
                <a:pos x="f5873" y="f5958"/>
              </a:cxn>
              <a:cxn ang="f4299">
                <a:pos x="f5872" y="f5959"/>
              </a:cxn>
              <a:cxn ang="f4299">
                <a:pos x="f5871" y="f5959"/>
              </a:cxn>
              <a:cxn ang="f4299">
                <a:pos x="f5874" y="f5958"/>
              </a:cxn>
              <a:cxn ang="f4299">
                <a:pos x="f5874" y="f5957"/>
              </a:cxn>
              <a:cxn ang="f4299">
                <a:pos x="f5875" y="f5956"/>
              </a:cxn>
              <a:cxn ang="f4299">
                <a:pos x="f5876" y="f5956"/>
              </a:cxn>
              <a:cxn ang="f4299">
                <a:pos x="f5877" y="f5957"/>
              </a:cxn>
              <a:cxn ang="f4299">
                <a:pos x="f5877" y="f5958"/>
              </a:cxn>
              <a:cxn ang="f4299">
                <a:pos x="f5876" y="f5959"/>
              </a:cxn>
              <a:cxn ang="f4299">
                <a:pos x="f5875" y="f5959"/>
              </a:cxn>
              <a:cxn ang="f4299">
                <a:pos x="f5878" y="f5958"/>
              </a:cxn>
              <a:cxn ang="f4299">
                <a:pos x="f5878" y="f5957"/>
              </a:cxn>
              <a:cxn ang="f4299">
                <a:pos x="f5879" y="f5956"/>
              </a:cxn>
              <a:cxn ang="f4299">
                <a:pos x="f5880" y="f5956"/>
              </a:cxn>
              <a:cxn ang="f4299">
                <a:pos x="f5881" y="f5957"/>
              </a:cxn>
              <a:cxn ang="f4299">
                <a:pos x="f5881" y="f5958"/>
              </a:cxn>
              <a:cxn ang="f4299">
                <a:pos x="f5880" y="f5959"/>
              </a:cxn>
              <a:cxn ang="f4299">
                <a:pos x="f5879" y="f5959"/>
              </a:cxn>
              <a:cxn ang="f4299">
                <a:pos x="f5882" y="f5958"/>
              </a:cxn>
              <a:cxn ang="f4299">
                <a:pos x="f5882" y="f5957"/>
              </a:cxn>
              <a:cxn ang="f4299">
                <a:pos x="f5883" y="f5956"/>
              </a:cxn>
              <a:cxn ang="f4299">
                <a:pos x="f5884" y="f5956"/>
              </a:cxn>
              <a:cxn ang="f4299">
                <a:pos x="f5885" y="f5957"/>
              </a:cxn>
              <a:cxn ang="f4299">
                <a:pos x="f5885" y="f5958"/>
              </a:cxn>
              <a:cxn ang="f4299">
                <a:pos x="f5884" y="f5959"/>
              </a:cxn>
              <a:cxn ang="f4299">
                <a:pos x="f5883" y="f5959"/>
              </a:cxn>
              <a:cxn ang="f4299">
                <a:pos x="f5886" y="f5958"/>
              </a:cxn>
              <a:cxn ang="f4299">
                <a:pos x="f5886" y="f5957"/>
              </a:cxn>
              <a:cxn ang="f4299">
                <a:pos x="f5887" y="f5956"/>
              </a:cxn>
              <a:cxn ang="f4299">
                <a:pos x="f5888" y="f5956"/>
              </a:cxn>
              <a:cxn ang="f4299">
                <a:pos x="f5889" y="f5957"/>
              </a:cxn>
              <a:cxn ang="f4299">
                <a:pos x="f5889" y="f5958"/>
              </a:cxn>
              <a:cxn ang="f4299">
                <a:pos x="f5888" y="f5959"/>
              </a:cxn>
              <a:cxn ang="f4299">
                <a:pos x="f5887" y="f5959"/>
              </a:cxn>
              <a:cxn ang="f4299">
                <a:pos x="f5890" y="f5958"/>
              </a:cxn>
              <a:cxn ang="f4299">
                <a:pos x="f5890" y="f5957"/>
              </a:cxn>
              <a:cxn ang="f4299">
                <a:pos x="f5891" y="f5956"/>
              </a:cxn>
              <a:cxn ang="f4299">
                <a:pos x="f5892" y="f5956"/>
              </a:cxn>
              <a:cxn ang="f4299">
                <a:pos x="f5893" y="f5957"/>
              </a:cxn>
              <a:cxn ang="f4299">
                <a:pos x="f5893" y="f5958"/>
              </a:cxn>
              <a:cxn ang="f4299">
                <a:pos x="f5892" y="f5959"/>
              </a:cxn>
              <a:cxn ang="f4299">
                <a:pos x="f5891" y="f5959"/>
              </a:cxn>
              <a:cxn ang="f4299">
                <a:pos x="f5894" y="f5958"/>
              </a:cxn>
              <a:cxn ang="f4299">
                <a:pos x="f5894" y="f5957"/>
              </a:cxn>
              <a:cxn ang="f4299">
                <a:pos x="f5960" y="f5956"/>
              </a:cxn>
              <a:cxn ang="f4299">
                <a:pos x="f5929" y="f5956"/>
              </a:cxn>
              <a:cxn ang="f4299">
                <a:pos x="f5930" y="f5957"/>
              </a:cxn>
              <a:cxn ang="f4299">
                <a:pos x="f5930" y="f5958"/>
              </a:cxn>
              <a:cxn ang="f4299">
                <a:pos x="f5929" y="f5959"/>
              </a:cxn>
              <a:cxn ang="f4299">
                <a:pos x="f5960" y="f5959"/>
              </a:cxn>
              <a:cxn ang="f4299">
                <a:pos x="f5931" y="f5958"/>
              </a:cxn>
              <a:cxn ang="f4299">
                <a:pos x="f5931" y="f5957"/>
              </a:cxn>
              <a:cxn ang="f4299">
                <a:pos x="f5961" y="f5956"/>
              </a:cxn>
              <a:cxn ang="f4299">
                <a:pos x="f5932" y="f5956"/>
              </a:cxn>
              <a:cxn ang="f4299">
                <a:pos x="f5933" y="f5957"/>
              </a:cxn>
              <a:cxn ang="f4299">
                <a:pos x="f5933" y="f5958"/>
              </a:cxn>
              <a:cxn ang="f4299">
                <a:pos x="f5932" y="f5959"/>
              </a:cxn>
              <a:cxn ang="f4299">
                <a:pos x="f5961" y="f5959"/>
              </a:cxn>
              <a:cxn ang="f4299">
                <a:pos x="f5962" y="f5958"/>
              </a:cxn>
              <a:cxn ang="f4299">
                <a:pos x="f5962" y="f5957"/>
              </a:cxn>
              <a:cxn ang="f4299">
                <a:pos x="f5963" y="f5956"/>
              </a:cxn>
              <a:cxn ang="f4299">
                <a:pos x="f5964" y="f5956"/>
              </a:cxn>
              <a:cxn ang="f4299">
                <a:pos x="f5936" y="f5957"/>
              </a:cxn>
              <a:cxn ang="f4299">
                <a:pos x="f5936" y="f5958"/>
              </a:cxn>
              <a:cxn ang="f4299">
                <a:pos x="f5964" y="f5959"/>
              </a:cxn>
              <a:cxn ang="f4299">
                <a:pos x="f5963" y="f5959"/>
              </a:cxn>
              <a:cxn ang="f4299">
                <a:pos x="f5965" y="f5958"/>
              </a:cxn>
              <a:cxn ang="f4299">
                <a:pos x="f5965" y="f5957"/>
              </a:cxn>
              <a:cxn ang="f4299">
                <a:pos x="f5966" y="f5956"/>
              </a:cxn>
              <a:cxn ang="f4299">
                <a:pos x="f5967" y="f5956"/>
              </a:cxn>
              <a:cxn ang="f4299">
                <a:pos x="f5968" y="f5957"/>
              </a:cxn>
              <a:cxn ang="f4299">
                <a:pos x="f5968" y="f5958"/>
              </a:cxn>
              <a:cxn ang="f4299">
                <a:pos x="f5967" y="f5959"/>
              </a:cxn>
              <a:cxn ang="f4299">
                <a:pos x="f5966" y="f5959"/>
              </a:cxn>
              <a:cxn ang="f4299">
                <a:pos x="f5940" y="f5958"/>
              </a:cxn>
              <a:cxn ang="f4299">
                <a:pos x="f5940" y="f5957"/>
              </a:cxn>
              <a:cxn ang="f4299">
                <a:pos x="f5915" y="f5969"/>
              </a:cxn>
              <a:cxn ang="f4299">
                <a:pos x="f5916" y="f5969"/>
              </a:cxn>
              <a:cxn ang="f4299">
                <a:pos x="f5942" y="f5970"/>
              </a:cxn>
              <a:cxn ang="f4299">
                <a:pos x="f5942" y="f5971"/>
              </a:cxn>
              <a:cxn ang="f4299">
                <a:pos x="f5916" y="f5972"/>
              </a:cxn>
              <a:cxn ang="f4299">
                <a:pos x="f5915" y="f5972"/>
              </a:cxn>
              <a:cxn ang="f4299">
                <a:pos x="f5918" y="f5971"/>
              </a:cxn>
              <a:cxn ang="f4299">
                <a:pos x="f5918" y="f5970"/>
              </a:cxn>
              <a:cxn ang="f4299">
                <a:pos x="f5973" y="f5969"/>
              </a:cxn>
              <a:cxn ang="f4299">
                <a:pos x="f5946" y="f5969"/>
              </a:cxn>
              <a:cxn ang="f4299">
                <a:pos x="f5919" y="f5970"/>
              </a:cxn>
              <a:cxn ang="f4299">
                <a:pos x="f5919" y="f5971"/>
              </a:cxn>
              <a:cxn ang="f4299">
                <a:pos x="f5946" y="f5972"/>
              </a:cxn>
              <a:cxn ang="f4299">
                <a:pos x="f5973" y="f5972"/>
              </a:cxn>
              <a:cxn ang="f4299">
                <a:pos x="f5750" y="f5971"/>
              </a:cxn>
              <a:cxn ang="f4299">
                <a:pos x="f5750" y="f5970"/>
              </a:cxn>
              <a:cxn ang="f4299">
                <a:pos x="f5947" y="f5969"/>
              </a:cxn>
              <a:cxn ang="f4299">
                <a:pos x="f5974" y="f5969"/>
              </a:cxn>
              <a:cxn ang="f4299">
                <a:pos x="f5975" y="f5970"/>
              </a:cxn>
              <a:cxn ang="f4299">
                <a:pos x="f5975" y="f5971"/>
              </a:cxn>
              <a:cxn ang="f4299">
                <a:pos x="f5974" y="f5972"/>
              </a:cxn>
              <a:cxn ang="f4299">
                <a:pos x="f5947" y="f5972"/>
              </a:cxn>
              <a:cxn ang="f4299">
                <a:pos x="f5976" y="f5971"/>
              </a:cxn>
              <a:cxn ang="f4299">
                <a:pos x="f5976" y="f5970"/>
              </a:cxn>
              <a:cxn ang="f4299">
                <a:pos x="f5949" y="f5969"/>
              </a:cxn>
              <a:cxn ang="f4299">
                <a:pos x="f5977" y="f5969"/>
              </a:cxn>
              <a:cxn ang="f4299">
                <a:pos x="f5978" y="f5970"/>
              </a:cxn>
              <a:cxn ang="f4299">
                <a:pos x="f5978" y="f5971"/>
              </a:cxn>
              <a:cxn ang="f4299">
                <a:pos x="f5977" y="f5972"/>
              </a:cxn>
              <a:cxn ang="f4299">
                <a:pos x="f5949" y="f5972"/>
              </a:cxn>
              <a:cxn ang="f4299">
                <a:pos x="f5979" y="f5971"/>
              </a:cxn>
              <a:cxn ang="f4299">
                <a:pos x="f5979" y="f5970"/>
              </a:cxn>
              <a:cxn ang="f4299">
                <a:pos x="f5980" y="f5969"/>
              </a:cxn>
              <a:cxn ang="f4299">
                <a:pos x="f5981" y="f5969"/>
              </a:cxn>
              <a:cxn ang="f4299">
                <a:pos x="f5952" y="f5970"/>
              </a:cxn>
              <a:cxn ang="f4299">
                <a:pos x="f5952" y="f5971"/>
              </a:cxn>
              <a:cxn ang="f4299">
                <a:pos x="f5981" y="f5972"/>
              </a:cxn>
              <a:cxn ang="f4299">
                <a:pos x="f5980" y="f5972"/>
              </a:cxn>
              <a:cxn ang="f4299">
                <a:pos x="f5953" y="f5971"/>
              </a:cxn>
              <a:cxn ang="f4299">
                <a:pos x="f5953" y="f5970"/>
              </a:cxn>
              <a:cxn ang="f4299">
                <a:pos x="f5982" y="f5969"/>
              </a:cxn>
              <a:cxn ang="f4299">
                <a:pos x="f5983" y="f5969"/>
              </a:cxn>
              <a:cxn ang="f4299">
                <a:pos x="f5984" y="f5970"/>
              </a:cxn>
              <a:cxn ang="f4299">
                <a:pos x="f5984" y="f5971"/>
              </a:cxn>
              <a:cxn ang="f4299">
                <a:pos x="f5983" y="f5972"/>
              </a:cxn>
              <a:cxn ang="f4299">
                <a:pos x="f5982" y="f5972"/>
              </a:cxn>
              <a:cxn ang="f4299">
                <a:pos x="f5985" y="f5971"/>
              </a:cxn>
              <a:cxn ang="f4299">
                <a:pos x="f5985" y="f5970"/>
              </a:cxn>
              <a:cxn ang="f4299">
                <a:pos x="f5767" y="f5986"/>
              </a:cxn>
              <a:cxn ang="f4299">
                <a:pos x="f5769" y="f5986"/>
              </a:cxn>
              <a:cxn ang="f4299">
                <a:pos x="f5770" y="f5987"/>
              </a:cxn>
              <a:cxn ang="f4299">
                <a:pos x="f5770" y="f5988"/>
              </a:cxn>
              <a:cxn ang="f4299">
                <a:pos x="f5769" y="f5989"/>
              </a:cxn>
              <a:cxn ang="f4299">
                <a:pos x="f5767" y="f5989"/>
              </a:cxn>
              <a:cxn ang="f4299">
                <a:pos x="f5774" y="f5988"/>
              </a:cxn>
              <a:cxn ang="f4299">
                <a:pos x="f5774" y="f5987"/>
              </a:cxn>
              <a:cxn ang="f4299">
                <a:pos x="f5775" y="f5986"/>
              </a:cxn>
              <a:cxn ang="f4299">
                <a:pos x="f5776" y="f5986"/>
              </a:cxn>
              <a:cxn ang="f4299">
                <a:pos x="f5777" y="f5987"/>
              </a:cxn>
              <a:cxn ang="f4299">
                <a:pos x="f5777" y="f5988"/>
              </a:cxn>
              <a:cxn ang="f4299">
                <a:pos x="f5776" y="f5989"/>
              </a:cxn>
              <a:cxn ang="f4299">
                <a:pos x="f5775" y="f5989"/>
              </a:cxn>
              <a:cxn ang="f4299">
                <a:pos x="f5778" y="f5988"/>
              </a:cxn>
              <a:cxn ang="f4299">
                <a:pos x="f5778" y="f5987"/>
              </a:cxn>
              <a:cxn ang="f4299">
                <a:pos x="f5779" y="f5986"/>
              </a:cxn>
              <a:cxn ang="f4299">
                <a:pos x="f5780" y="f5986"/>
              </a:cxn>
              <a:cxn ang="f4299">
                <a:pos x="f5781" y="f5987"/>
              </a:cxn>
              <a:cxn ang="f4299">
                <a:pos x="f5781" y="f5988"/>
              </a:cxn>
              <a:cxn ang="f4299">
                <a:pos x="f5780" y="f5989"/>
              </a:cxn>
              <a:cxn ang="f4299">
                <a:pos x="f5779" y="f5989"/>
              </a:cxn>
              <a:cxn ang="f4299">
                <a:pos x="f5782" y="f5988"/>
              </a:cxn>
              <a:cxn ang="f4299">
                <a:pos x="f5782" y="f5987"/>
              </a:cxn>
              <a:cxn ang="f4299">
                <a:pos x="f5783" y="f5986"/>
              </a:cxn>
              <a:cxn ang="f4299">
                <a:pos x="f5784" y="f5986"/>
              </a:cxn>
              <a:cxn ang="f4299">
                <a:pos x="f5785" y="f5987"/>
              </a:cxn>
              <a:cxn ang="f4299">
                <a:pos x="f5785" y="f5988"/>
              </a:cxn>
              <a:cxn ang="f4299">
                <a:pos x="f5784" y="f5989"/>
              </a:cxn>
              <a:cxn ang="f4299">
                <a:pos x="f5783" y="f5989"/>
              </a:cxn>
              <a:cxn ang="f4299">
                <a:pos x="f5786" y="f5988"/>
              </a:cxn>
              <a:cxn ang="f4299">
                <a:pos x="f5786" y="f5987"/>
              </a:cxn>
              <a:cxn ang="f4299">
                <a:pos x="f5787" y="f5986"/>
              </a:cxn>
              <a:cxn ang="f4299">
                <a:pos x="f5788" y="f5986"/>
              </a:cxn>
              <a:cxn ang="f4299">
                <a:pos x="f5789" y="f5987"/>
              </a:cxn>
              <a:cxn ang="f4299">
                <a:pos x="f5789" y="f5988"/>
              </a:cxn>
              <a:cxn ang="f4299">
                <a:pos x="f5788" y="f5989"/>
              </a:cxn>
              <a:cxn ang="f4299">
                <a:pos x="f5787" y="f5989"/>
              </a:cxn>
              <a:cxn ang="f4299">
                <a:pos x="f5790" y="f5988"/>
              </a:cxn>
              <a:cxn ang="f4299">
                <a:pos x="f5790" y="f5987"/>
              </a:cxn>
              <a:cxn ang="f4299">
                <a:pos x="f5791" y="f5986"/>
              </a:cxn>
              <a:cxn ang="f4299">
                <a:pos x="f5792" y="f5986"/>
              </a:cxn>
              <a:cxn ang="f4299">
                <a:pos x="f5793" y="f5987"/>
              </a:cxn>
              <a:cxn ang="f4299">
                <a:pos x="f5793" y="f5988"/>
              </a:cxn>
              <a:cxn ang="f4299">
                <a:pos x="f5792" y="f5989"/>
              </a:cxn>
              <a:cxn ang="f4299">
                <a:pos x="f5791" y="f5989"/>
              </a:cxn>
              <a:cxn ang="f4299">
                <a:pos x="f5794" y="f5988"/>
              </a:cxn>
              <a:cxn ang="f4299">
                <a:pos x="f5794" y="f5987"/>
              </a:cxn>
              <a:cxn ang="f4299">
                <a:pos x="f5795" y="f5986"/>
              </a:cxn>
              <a:cxn ang="f4299">
                <a:pos x="f5796" y="f5986"/>
              </a:cxn>
              <a:cxn ang="f4299">
                <a:pos x="f5797" y="f5987"/>
              </a:cxn>
              <a:cxn ang="f4299">
                <a:pos x="f5797" y="f5988"/>
              </a:cxn>
              <a:cxn ang="f4299">
                <a:pos x="f5796" y="f5989"/>
              </a:cxn>
              <a:cxn ang="f4299">
                <a:pos x="f5795" y="f5989"/>
              </a:cxn>
              <a:cxn ang="f4299">
                <a:pos x="f5798" y="f5988"/>
              </a:cxn>
              <a:cxn ang="f4299">
                <a:pos x="f5798" y="f5987"/>
              </a:cxn>
              <a:cxn ang="f4299">
                <a:pos x="f5799" y="f5986"/>
              </a:cxn>
              <a:cxn ang="f4299">
                <a:pos x="f5800" y="f5986"/>
              </a:cxn>
              <a:cxn ang="f4299">
                <a:pos x="f5801" y="f5987"/>
              </a:cxn>
              <a:cxn ang="f4299">
                <a:pos x="f5801" y="f5988"/>
              </a:cxn>
              <a:cxn ang="f4299">
                <a:pos x="f5800" y="f5989"/>
              </a:cxn>
              <a:cxn ang="f4299">
                <a:pos x="f5799" y="f5989"/>
              </a:cxn>
              <a:cxn ang="f4299">
                <a:pos x="f5802" y="f5988"/>
              </a:cxn>
              <a:cxn ang="f4299">
                <a:pos x="f5802" y="f5987"/>
              </a:cxn>
              <a:cxn ang="f4299">
                <a:pos x="f5803" y="f5986"/>
              </a:cxn>
              <a:cxn ang="f4299">
                <a:pos x="f5804" y="f5986"/>
              </a:cxn>
              <a:cxn ang="f4299">
                <a:pos x="f5805" y="f5987"/>
              </a:cxn>
              <a:cxn ang="f4299">
                <a:pos x="f5805" y="f5988"/>
              </a:cxn>
              <a:cxn ang="f4299">
                <a:pos x="f5804" y="f5989"/>
              </a:cxn>
              <a:cxn ang="f4299">
                <a:pos x="f5803" y="f5989"/>
              </a:cxn>
              <a:cxn ang="f4299">
                <a:pos x="f5806" y="f5988"/>
              </a:cxn>
              <a:cxn ang="f4299">
                <a:pos x="f5806" y="f5987"/>
              </a:cxn>
              <a:cxn ang="f4299">
                <a:pos x="f5807" y="f5986"/>
              </a:cxn>
              <a:cxn ang="f4299">
                <a:pos x="f5808" y="f5986"/>
              </a:cxn>
              <a:cxn ang="f4299">
                <a:pos x="f5809" y="f5987"/>
              </a:cxn>
              <a:cxn ang="f4299">
                <a:pos x="f5809" y="f5988"/>
              </a:cxn>
              <a:cxn ang="f4299">
                <a:pos x="f5808" y="f5989"/>
              </a:cxn>
              <a:cxn ang="f4299">
                <a:pos x="f5807" y="f5989"/>
              </a:cxn>
              <a:cxn ang="f4299">
                <a:pos x="f5810" y="f5988"/>
              </a:cxn>
              <a:cxn ang="f4299">
                <a:pos x="f5810" y="f5987"/>
              </a:cxn>
              <a:cxn ang="f4299">
                <a:pos x="f5811" y="f5986"/>
              </a:cxn>
              <a:cxn ang="f4299">
                <a:pos x="f5812" y="f5986"/>
              </a:cxn>
              <a:cxn ang="f4299">
                <a:pos x="f5813" y="f5987"/>
              </a:cxn>
              <a:cxn ang="f4299">
                <a:pos x="f5813" y="f5988"/>
              </a:cxn>
              <a:cxn ang="f4299">
                <a:pos x="f5812" y="f5989"/>
              </a:cxn>
              <a:cxn ang="f4299">
                <a:pos x="f5811" y="f5989"/>
              </a:cxn>
              <a:cxn ang="f4299">
                <a:pos x="f5814" y="f5988"/>
              </a:cxn>
              <a:cxn ang="f4299">
                <a:pos x="f5814" y="f5987"/>
              </a:cxn>
              <a:cxn ang="f4299">
                <a:pos x="f5815" y="f5986"/>
              </a:cxn>
              <a:cxn ang="f4299">
                <a:pos x="f5816" y="f5986"/>
              </a:cxn>
              <a:cxn ang="f4299">
                <a:pos x="f5817" y="f5987"/>
              </a:cxn>
              <a:cxn ang="f4299">
                <a:pos x="f5817" y="f5988"/>
              </a:cxn>
              <a:cxn ang="f4299">
                <a:pos x="f5816" y="f5989"/>
              </a:cxn>
              <a:cxn ang="f4299">
                <a:pos x="f5815" y="f5989"/>
              </a:cxn>
              <a:cxn ang="f4299">
                <a:pos x="f5818" y="f5988"/>
              </a:cxn>
              <a:cxn ang="f4299">
                <a:pos x="f5818" y="f5987"/>
              </a:cxn>
              <a:cxn ang="f4299">
                <a:pos x="f5819" y="f5986"/>
              </a:cxn>
              <a:cxn ang="f4299">
                <a:pos x="f5820" y="f5986"/>
              </a:cxn>
              <a:cxn ang="f4299">
                <a:pos x="f5821" y="f5987"/>
              </a:cxn>
              <a:cxn ang="f4299">
                <a:pos x="f5821" y="f5988"/>
              </a:cxn>
              <a:cxn ang="f4299">
                <a:pos x="f5820" y="f5989"/>
              </a:cxn>
              <a:cxn ang="f4299">
                <a:pos x="f5819" y="f5989"/>
              </a:cxn>
              <a:cxn ang="f4299">
                <a:pos x="f5822" y="f5988"/>
              </a:cxn>
              <a:cxn ang="f4299">
                <a:pos x="f5822" y="f5987"/>
              </a:cxn>
              <a:cxn ang="f4299">
                <a:pos x="f5823" y="f5986"/>
              </a:cxn>
              <a:cxn ang="f4299">
                <a:pos x="f5824" y="f5986"/>
              </a:cxn>
              <a:cxn ang="f4299">
                <a:pos x="f5825" y="f5987"/>
              </a:cxn>
              <a:cxn ang="f4299">
                <a:pos x="f5825" y="f5988"/>
              </a:cxn>
              <a:cxn ang="f4299">
                <a:pos x="f5824" y="f5989"/>
              </a:cxn>
              <a:cxn ang="f4299">
                <a:pos x="f5823" y="f5989"/>
              </a:cxn>
              <a:cxn ang="f4299">
                <a:pos x="f5826" y="f5988"/>
              </a:cxn>
              <a:cxn ang="f4299">
                <a:pos x="f5826" y="f5987"/>
              </a:cxn>
              <a:cxn ang="f4299">
                <a:pos x="f5827" y="f5986"/>
              </a:cxn>
              <a:cxn ang="f4299">
                <a:pos x="f5828" y="f5986"/>
              </a:cxn>
              <a:cxn ang="f4299">
                <a:pos x="f5829" y="f5987"/>
              </a:cxn>
              <a:cxn ang="f4299">
                <a:pos x="f5829" y="f5988"/>
              </a:cxn>
              <a:cxn ang="f4299">
                <a:pos x="f5828" y="f5989"/>
              </a:cxn>
              <a:cxn ang="f4299">
                <a:pos x="f5827" y="f5989"/>
              </a:cxn>
              <a:cxn ang="f4299">
                <a:pos x="f5830" y="f5988"/>
              </a:cxn>
              <a:cxn ang="f4299">
                <a:pos x="f5830" y="f5987"/>
              </a:cxn>
              <a:cxn ang="f4299">
                <a:pos x="f5831" y="f5986"/>
              </a:cxn>
              <a:cxn ang="f4299">
                <a:pos x="f5832" y="f5986"/>
              </a:cxn>
              <a:cxn ang="f4299">
                <a:pos x="f5833" y="f5987"/>
              </a:cxn>
              <a:cxn ang="f4299">
                <a:pos x="f5833" y="f5988"/>
              </a:cxn>
              <a:cxn ang="f4299">
                <a:pos x="f5832" y="f5989"/>
              </a:cxn>
              <a:cxn ang="f4299">
                <a:pos x="f5831" y="f5989"/>
              </a:cxn>
              <a:cxn ang="f4299">
                <a:pos x="f5834" y="f5988"/>
              </a:cxn>
              <a:cxn ang="f4299">
                <a:pos x="f5834" y="f5987"/>
              </a:cxn>
              <a:cxn ang="f4299">
                <a:pos x="f5835" y="f5986"/>
              </a:cxn>
              <a:cxn ang="f4299">
                <a:pos x="f5836" y="f5986"/>
              </a:cxn>
              <a:cxn ang="f4299">
                <a:pos x="f5837" y="f5987"/>
              </a:cxn>
              <a:cxn ang="f4299">
                <a:pos x="f5837" y="f5988"/>
              </a:cxn>
              <a:cxn ang="f4299">
                <a:pos x="f5836" y="f5989"/>
              </a:cxn>
              <a:cxn ang="f4299">
                <a:pos x="f5835" y="f5989"/>
              </a:cxn>
              <a:cxn ang="f4299">
                <a:pos x="f5838" y="f5988"/>
              </a:cxn>
              <a:cxn ang="f4299">
                <a:pos x="f5838" y="f5987"/>
              </a:cxn>
              <a:cxn ang="f4299">
                <a:pos x="f5839" y="f5986"/>
              </a:cxn>
              <a:cxn ang="f4299">
                <a:pos x="f5840" y="f5986"/>
              </a:cxn>
              <a:cxn ang="f4299">
                <a:pos x="f5841" y="f5987"/>
              </a:cxn>
              <a:cxn ang="f4299">
                <a:pos x="f5841" y="f5988"/>
              </a:cxn>
              <a:cxn ang="f4299">
                <a:pos x="f5840" y="f5989"/>
              </a:cxn>
              <a:cxn ang="f4299">
                <a:pos x="f5839" y="f5989"/>
              </a:cxn>
              <a:cxn ang="f4299">
                <a:pos x="f5842" y="f5988"/>
              </a:cxn>
              <a:cxn ang="f4299">
                <a:pos x="f5842" y="f5987"/>
              </a:cxn>
              <a:cxn ang="f4299">
                <a:pos x="f5843" y="f5986"/>
              </a:cxn>
              <a:cxn ang="f4299">
                <a:pos x="f5844" y="f5986"/>
              </a:cxn>
              <a:cxn ang="f4299">
                <a:pos x="f5845" y="f5987"/>
              </a:cxn>
              <a:cxn ang="f4299">
                <a:pos x="f5845" y="f5988"/>
              </a:cxn>
              <a:cxn ang="f4299">
                <a:pos x="f5844" y="f5989"/>
              </a:cxn>
              <a:cxn ang="f4299">
                <a:pos x="f5843" y="f5989"/>
              </a:cxn>
              <a:cxn ang="f4299">
                <a:pos x="f5846" y="f5988"/>
              </a:cxn>
              <a:cxn ang="f4299">
                <a:pos x="f5846" y="f5987"/>
              </a:cxn>
              <a:cxn ang="f4299">
                <a:pos x="f5847" y="f5986"/>
              </a:cxn>
              <a:cxn ang="f4299">
                <a:pos x="f5848" y="f5986"/>
              </a:cxn>
              <a:cxn ang="f4299">
                <a:pos x="f5849" y="f5987"/>
              </a:cxn>
              <a:cxn ang="f4299">
                <a:pos x="f5849" y="f5988"/>
              </a:cxn>
              <a:cxn ang="f4299">
                <a:pos x="f5848" y="f5989"/>
              </a:cxn>
              <a:cxn ang="f4299">
                <a:pos x="f5847" y="f5989"/>
              </a:cxn>
              <a:cxn ang="f4299">
                <a:pos x="f5850" y="f5988"/>
              </a:cxn>
              <a:cxn ang="f4299">
                <a:pos x="f5850" y="f5987"/>
              </a:cxn>
              <a:cxn ang="f4299">
                <a:pos x="f5851" y="f5986"/>
              </a:cxn>
              <a:cxn ang="f4299">
                <a:pos x="f5852" y="f5986"/>
              </a:cxn>
              <a:cxn ang="f4299">
                <a:pos x="f5853" y="f5987"/>
              </a:cxn>
              <a:cxn ang="f4299">
                <a:pos x="f5853" y="f5988"/>
              </a:cxn>
              <a:cxn ang="f4299">
                <a:pos x="f5852" y="f5989"/>
              </a:cxn>
              <a:cxn ang="f4299">
                <a:pos x="f5851" y="f5989"/>
              </a:cxn>
              <a:cxn ang="f4299">
                <a:pos x="f5854" y="f5988"/>
              </a:cxn>
              <a:cxn ang="f4299">
                <a:pos x="f5854" y="f5987"/>
              </a:cxn>
              <a:cxn ang="f4299">
                <a:pos x="f5855" y="f5986"/>
              </a:cxn>
              <a:cxn ang="f4299">
                <a:pos x="f5856" y="f5986"/>
              </a:cxn>
              <a:cxn ang="f4299">
                <a:pos x="f5857" y="f5987"/>
              </a:cxn>
              <a:cxn ang="f4299">
                <a:pos x="f5857" y="f5988"/>
              </a:cxn>
              <a:cxn ang="f4299">
                <a:pos x="f5856" y="f5989"/>
              </a:cxn>
              <a:cxn ang="f4299">
                <a:pos x="f5855" y="f5989"/>
              </a:cxn>
              <a:cxn ang="f4299">
                <a:pos x="f5858" y="f5988"/>
              </a:cxn>
              <a:cxn ang="f4299">
                <a:pos x="f5858" y="f5987"/>
              </a:cxn>
              <a:cxn ang="f4299">
                <a:pos x="f5859" y="f5986"/>
              </a:cxn>
              <a:cxn ang="f4299">
                <a:pos x="f5860" y="f5986"/>
              </a:cxn>
              <a:cxn ang="f4299">
                <a:pos x="f5861" y="f5987"/>
              </a:cxn>
              <a:cxn ang="f4299">
                <a:pos x="f5861" y="f5988"/>
              </a:cxn>
              <a:cxn ang="f4299">
                <a:pos x="f5860" y="f5989"/>
              </a:cxn>
              <a:cxn ang="f4299">
                <a:pos x="f5859" y="f5989"/>
              </a:cxn>
              <a:cxn ang="f4299">
                <a:pos x="f5862" y="f5988"/>
              </a:cxn>
              <a:cxn ang="f4299">
                <a:pos x="f5862" y="f5987"/>
              </a:cxn>
              <a:cxn ang="f4299">
                <a:pos x="f5863" y="f5986"/>
              </a:cxn>
              <a:cxn ang="f4299">
                <a:pos x="f5864" y="f5986"/>
              </a:cxn>
              <a:cxn ang="f4299">
                <a:pos x="f5865" y="f5987"/>
              </a:cxn>
              <a:cxn ang="f4299">
                <a:pos x="f5865" y="f5988"/>
              </a:cxn>
              <a:cxn ang="f4299">
                <a:pos x="f5864" y="f5989"/>
              </a:cxn>
              <a:cxn ang="f4299">
                <a:pos x="f5863" y="f5989"/>
              </a:cxn>
              <a:cxn ang="f4299">
                <a:pos x="f5866" y="f5988"/>
              </a:cxn>
              <a:cxn ang="f4299">
                <a:pos x="f5866" y="f5987"/>
              </a:cxn>
              <a:cxn ang="f4299">
                <a:pos x="f5867" y="f5986"/>
              </a:cxn>
              <a:cxn ang="f4299">
                <a:pos x="f5868" y="f5986"/>
              </a:cxn>
              <a:cxn ang="f4299">
                <a:pos x="f5869" y="f5987"/>
              </a:cxn>
              <a:cxn ang="f4299">
                <a:pos x="f5869" y="f5988"/>
              </a:cxn>
              <a:cxn ang="f4299">
                <a:pos x="f5868" y="f5989"/>
              </a:cxn>
              <a:cxn ang="f4299">
                <a:pos x="f5867" y="f5989"/>
              </a:cxn>
              <a:cxn ang="f4299">
                <a:pos x="f5870" y="f5988"/>
              </a:cxn>
              <a:cxn ang="f4299">
                <a:pos x="f5870" y="f5987"/>
              </a:cxn>
              <a:cxn ang="f4299">
                <a:pos x="f5871" y="f5986"/>
              </a:cxn>
              <a:cxn ang="f4299">
                <a:pos x="f5872" y="f5986"/>
              </a:cxn>
              <a:cxn ang="f4299">
                <a:pos x="f5873" y="f5987"/>
              </a:cxn>
              <a:cxn ang="f4299">
                <a:pos x="f5873" y="f5988"/>
              </a:cxn>
              <a:cxn ang="f4299">
                <a:pos x="f5872" y="f5989"/>
              </a:cxn>
              <a:cxn ang="f4299">
                <a:pos x="f5871" y="f5989"/>
              </a:cxn>
              <a:cxn ang="f4299">
                <a:pos x="f5874" y="f5988"/>
              </a:cxn>
              <a:cxn ang="f4299">
                <a:pos x="f5874" y="f5987"/>
              </a:cxn>
              <a:cxn ang="f4299">
                <a:pos x="f5875" y="f5986"/>
              </a:cxn>
              <a:cxn ang="f4299">
                <a:pos x="f5876" y="f5986"/>
              </a:cxn>
              <a:cxn ang="f4299">
                <a:pos x="f5877" y="f5987"/>
              </a:cxn>
              <a:cxn ang="f4299">
                <a:pos x="f5877" y="f5988"/>
              </a:cxn>
              <a:cxn ang="f4299">
                <a:pos x="f5876" y="f5989"/>
              </a:cxn>
              <a:cxn ang="f4299">
                <a:pos x="f5875" y="f5989"/>
              </a:cxn>
              <a:cxn ang="f4299">
                <a:pos x="f5878" y="f5988"/>
              </a:cxn>
              <a:cxn ang="f4299">
                <a:pos x="f5878" y="f5987"/>
              </a:cxn>
              <a:cxn ang="f4299">
                <a:pos x="f5879" y="f5986"/>
              </a:cxn>
              <a:cxn ang="f4299">
                <a:pos x="f5880" y="f5986"/>
              </a:cxn>
              <a:cxn ang="f4299">
                <a:pos x="f5881" y="f5987"/>
              </a:cxn>
              <a:cxn ang="f4299">
                <a:pos x="f5881" y="f5988"/>
              </a:cxn>
              <a:cxn ang="f4299">
                <a:pos x="f5880" y="f5989"/>
              </a:cxn>
              <a:cxn ang="f4299">
                <a:pos x="f5879" y="f5989"/>
              </a:cxn>
              <a:cxn ang="f4299">
                <a:pos x="f5882" y="f5988"/>
              </a:cxn>
              <a:cxn ang="f4299">
                <a:pos x="f5882" y="f5987"/>
              </a:cxn>
              <a:cxn ang="f4299">
                <a:pos x="f5883" y="f5986"/>
              </a:cxn>
              <a:cxn ang="f4299">
                <a:pos x="f5884" y="f5986"/>
              </a:cxn>
              <a:cxn ang="f4299">
                <a:pos x="f5885" y="f5987"/>
              </a:cxn>
              <a:cxn ang="f4299">
                <a:pos x="f5885" y="f5988"/>
              </a:cxn>
              <a:cxn ang="f4299">
                <a:pos x="f5884" y="f5989"/>
              </a:cxn>
              <a:cxn ang="f4299">
                <a:pos x="f5883" y="f5989"/>
              </a:cxn>
              <a:cxn ang="f4299">
                <a:pos x="f5886" y="f5988"/>
              </a:cxn>
              <a:cxn ang="f4299">
                <a:pos x="f5886" y="f5987"/>
              </a:cxn>
              <a:cxn ang="f4299">
                <a:pos x="f5887" y="f5986"/>
              </a:cxn>
              <a:cxn ang="f4299">
                <a:pos x="f5888" y="f5986"/>
              </a:cxn>
              <a:cxn ang="f4299">
                <a:pos x="f5889" y="f5987"/>
              </a:cxn>
              <a:cxn ang="f4299">
                <a:pos x="f5889" y="f5988"/>
              </a:cxn>
              <a:cxn ang="f4299">
                <a:pos x="f5888" y="f5989"/>
              </a:cxn>
              <a:cxn ang="f4299">
                <a:pos x="f5887" y="f5989"/>
              </a:cxn>
              <a:cxn ang="f4299">
                <a:pos x="f5890" y="f5988"/>
              </a:cxn>
              <a:cxn ang="f4299">
                <a:pos x="f5890" y="f5987"/>
              </a:cxn>
              <a:cxn ang="f4299">
                <a:pos x="f5891" y="f5986"/>
              </a:cxn>
              <a:cxn ang="f4299">
                <a:pos x="f5892" y="f5986"/>
              </a:cxn>
              <a:cxn ang="f4299">
                <a:pos x="f5893" y="f5987"/>
              </a:cxn>
              <a:cxn ang="f4299">
                <a:pos x="f5893" y="f5988"/>
              </a:cxn>
              <a:cxn ang="f4299">
                <a:pos x="f5892" y="f5989"/>
              </a:cxn>
              <a:cxn ang="f4299">
                <a:pos x="f5891" y="f5989"/>
              </a:cxn>
              <a:cxn ang="f4299">
                <a:pos x="f5894" y="f5988"/>
              </a:cxn>
              <a:cxn ang="f4299">
                <a:pos x="f5894" y="f5987"/>
              </a:cxn>
              <a:cxn ang="f4299">
                <a:pos x="f5960" y="f5986"/>
              </a:cxn>
              <a:cxn ang="f4299">
                <a:pos x="f5990" y="f5986"/>
              </a:cxn>
              <a:cxn ang="f4299">
                <a:pos x="f5991" y="f5987"/>
              </a:cxn>
              <a:cxn ang="f4299">
                <a:pos x="f5991" y="f5988"/>
              </a:cxn>
              <a:cxn ang="f4299">
                <a:pos x="f5990" y="f5989"/>
              </a:cxn>
              <a:cxn ang="f4299">
                <a:pos x="f5960" y="f5989"/>
              </a:cxn>
              <a:cxn ang="f4299">
                <a:pos x="f5992" y="f5988"/>
              </a:cxn>
              <a:cxn ang="f4299">
                <a:pos x="f5992" y="f5987"/>
              </a:cxn>
              <a:cxn ang="f4299">
                <a:pos x="f5993" y="f5986"/>
              </a:cxn>
              <a:cxn ang="f4299">
                <a:pos x="f5994" y="f5986"/>
              </a:cxn>
              <a:cxn ang="f4299">
                <a:pos x="f5995" y="f5987"/>
              </a:cxn>
              <a:cxn ang="f4299">
                <a:pos x="f5995" y="f5988"/>
              </a:cxn>
              <a:cxn ang="f4299">
                <a:pos x="f5994" y="f5989"/>
              </a:cxn>
              <a:cxn ang="f4299">
                <a:pos x="f5993" y="f5989"/>
              </a:cxn>
              <a:cxn ang="f4299">
                <a:pos x="f5996" y="f5988"/>
              </a:cxn>
              <a:cxn ang="f4299">
                <a:pos x="f5996" y="f5987"/>
              </a:cxn>
              <a:cxn ang="f4299">
                <a:pos x="f5963" y="f5986"/>
              </a:cxn>
              <a:cxn ang="f4299">
                <a:pos x="f5997" y="f5986"/>
              </a:cxn>
              <a:cxn ang="f4299">
                <a:pos x="f5998" y="f5987"/>
              </a:cxn>
              <a:cxn ang="f4299">
                <a:pos x="f5998" y="f5988"/>
              </a:cxn>
              <a:cxn ang="f4299">
                <a:pos x="f5997" y="f5989"/>
              </a:cxn>
              <a:cxn ang="f4299">
                <a:pos x="f5963" y="f5989"/>
              </a:cxn>
              <a:cxn ang="f4299">
                <a:pos x="f5965" y="f5988"/>
              </a:cxn>
              <a:cxn ang="f4299">
                <a:pos x="f5965" y="f5987"/>
              </a:cxn>
              <a:cxn ang="f4299">
                <a:pos x="f5966" y="f5986"/>
              </a:cxn>
              <a:cxn ang="f4299">
                <a:pos x="f5999" y="f5986"/>
              </a:cxn>
              <a:cxn ang="f4299">
                <a:pos x="f5968" y="f5987"/>
              </a:cxn>
              <a:cxn ang="f4299">
                <a:pos x="f5968" y="f5988"/>
              </a:cxn>
              <a:cxn ang="f4299">
                <a:pos x="f5999" y="f5989"/>
              </a:cxn>
              <a:cxn ang="f4299">
                <a:pos x="f5966" y="f5989"/>
              </a:cxn>
              <a:cxn ang="f4299">
                <a:pos x="f6000" y="f5988"/>
              </a:cxn>
              <a:cxn ang="f4299">
                <a:pos x="f6000" y="f5987"/>
              </a:cxn>
              <a:cxn ang="f4299">
                <a:pos x="f5767" y="f6001"/>
              </a:cxn>
              <a:cxn ang="f4299">
                <a:pos x="f5769" y="f6001"/>
              </a:cxn>
              <a:cxn ang="f4299">
                <a:pos x="f5770" y="f6002"/>
              </a:cxn>
              <a:cxn ang="f4299">
                <a:pos x="f5770" y="f6003"/>
              </a:cxn>
              <a:cxn ang="f4299">
                <a:pos x="f5769" y="f6004"/>
              </a:cxn>
              <a:cxn ang="f4299">
                <a:pos x="f5767" y="f6004"/>
              </a:cxn>
              <a:cxn ang="f4299">
                <a:pos x="f5774" y="f6003"/>
              </a:cxn>
              <a:cxn ang="f4299">
                <a:pos x="f5774" y="f6002"/>
              </a:cxn>
              <a:cxn ang="f4299">
                <a:pos x="f5775" y="f6001"/>
              </a:cxn>
              <a:cxn ang="f4299">
                <a:pos x="f5776" y="f6001"/>
              </a:cxn>
              <a:cxn ang="f4299">
                <a:pos x="f5777" y="f6002"/>
              </a:cxn>
              <a:cxn ang="f4299">
                <a:pos x="f5777" y="f6003"/>
              </a:cxn>
              <a:cxn ang="f4299">
                <a:pos x="f5776" y="f6004"/>
              </a:cxn>
              <a:cxn ang="f4299">
                <a:pos x="f5775" y="f6004"/>
              </a:cxn>
              <a:cxn ang="f4299">
                <a:pos x="f5778" y="f6003"/>
              </a:cxn>
              <a:cxn ang="f4299">
                <a:pos x="f5778" y="f6002"/>
              </a:cxn>
              <a:cxn ang="f4299">
                <a:pos x="f5779" y="f6001"/>
              </a:cxn>
              <a:cxn ang="f4299">
                <a:pos x="f5780" y="f6001"/>
              </a:cxn>
              <a:cxn ang="f4299">
                <a:pos x="f5781" y="f6002"/>
              </a:cxn>
              <a:cxn ang="f4299">
                <a:pos x="f5781" y="f6003"/>
              </a:cxn>
              <a:cxn ang="f4299">
                <a:pos x="f5780" y="f6004"/>
              </a:cxn>
              <a:cxn ang="f4299">
                <a:pos x="f5779" y="f6004"/>
              </a:cxn>
              <a:cxn ang="f4299">
                <a:pos x="f5782" y="f6003"/>
              </a:cxn>
              <a:cxn ang="f4299">
                <a:pos x="f5782" y="f6002"/>
              </a:cxn>
              <a:cxn ang="f4299">
                <a:pos x="f5783" y="f6001"/>
              </a:cxn>
              <a:cxn ang="f4299">
                <a:pos x="f5784" y="f6001"/>
              </a:cxn>
              <a:cxn ang="f4299">
                <a:pos x="f5785" y="f6002"/>
              </a:cxn>
              <a:cxn ang="f4299">
                <a:pos x="f5785" y="f6003"/>
              </a:cxn>
              <a:cxn ang="f4299">
                <a:pos x="f5784" y="f6004"/>
              </a:cxn>
              <a:cxn ang="f4299">
                <a:pos x="f5783" y="f6004"/>
              </a:cxn>
              <a:cxn ang="f4299">
                <a:pos x="f5786" y="f6003"/>
              </a:cxn>
              <a:cxn ang="f4299">
                <a:pos x="f5786" y="f6002"/>
              </a:cxn>
              <a:cxn ang="f4299">
                <a:pos x="f5787" y="f6001"/>
              </a:cxn>
              <a:cxn ang="f4299">
                <a:pos x="f5788" y="f6001"/>
              </a:cxn>
              <a:cxn ang="f4299">
                <a:pos x="f5789" y="f6002"/>
              </a:cxn>
              <a:cxn ang="f4299">
                <a:pos x="f5789" y="f6003"/>
              </a:cxn>
              <a:cxn ang="f4299">
                <a:pos x="f5788" y="f6004"/>
              </a:cxn>
              <a:cxn ang="f4299">
                <a:pos x="f5787" y="f6004"/>
              </a:cxn>
              <a:cxn ang="f4299">
                <a:pos x="f5790" y="f6003"/>
              </a:cxn>
              <a:cxn ang="f4299">
                <a:pos x="f5790" y="f6002"/>
              </a:cxn>
              <a:cxn ang="f4299">
                <a:pos x="f5791" y="f6001"/>
              </a:cxn>
              <a:cxn ang="f4299">
                <a:pos x="f5792" y="f6001"/>
              </a:cxn>
              <a:cxn ang="f4299">
                <a:pos x="f5793" y="f6002"/>
              </a:cxn>
              <a:cxn ang="f4299">
                <a:pos x="f5793" y="f6003"/>
              </a:cxn>
              <a:cxn ang="f4299">
                <a:pos x="f5792" y="f6004"/>
              </a:cxn>
              <a:cxn ang="f4299">
                <a:pos x="f5791" y="f6004"/>
              </a:cxn>
              <a:cxn ang="f4299">
                <a:pos x="f5794" y="f6003"/>
              </a:cxn>
              <a:cxn ang="f4299">
                <a:pos x="f5794" y="f6002"/>
              </a:cxn>
              <a:cxn ang="f4299">
                <a:pos x="f5795" y="f6001"/>
              </a:cxn>
              <a:cxn ang="f4299">
                <a:pos x="f5796" y="f6001"/>
              </a:cxn>
              <a:cxn ang="f4299">
                <a:pos x="f5797" y="f6002"/>
              </a:cxn>
              <a:cxn ang="f4299">
                <a:pos x="f5797" y="f6003"/>
              </a:cxn>
              <a:cxn ang="f4299">
                <a:pos x="f5796" y="f6004"/>
              </a:cxn>
              <a:cxn ang="f4299">
                <a:pos x="f5795" y="f6004"/>
              </a:cxn>
              <a:cxn ang="f4299">
                <a:pos x="f5798" y="f6003"/>
              </a:cxn>
              <a:cxn ang="f4299">
                <a:pos x="f5798" y="f6002"/>
              </a:cxn>
              <a:cxn ang="f4299">
                <a:pos x="f5799" y="f6001"/>
              </a:cxn>
              <a:cxn ang="f4299">
                <a:pos x="f5800" y="f6001"/>
              </a:cxn>
              <a:cxn ang="f4299">
                <a:pos x="f5801" y="f6002"/>
              </a:cxn>
              <a:cxn ang="f4299">
                <a:pos x="f5801" y="f6003"/>
              </a:cxn>
              <a:cxn ang="f4299">
                <a:pos x="f5800" y="f6004"/>
              </a:cxn>
              <a:cxn ang="f4299">
                <a:pos x="f5799" y="f6004"/>
              </a:cxn>
              <a:cxn ang="f4299">
                <a:pos x="f5802" y="f6003"/>
              </a:cxn>
              <a:cxn ang="f4299">
                <a:pos x="f5802" y="f6002"/>
              </a:cxn>
              <a:cxn ang="f4299">
                <a:pos x="f5803" y="f6001"/>
              </a:cxn>
              <a:cxn ang="f4299">
                <a:pos x="f5804" y="f6001"/>
              </a:cxn>
              <a:cxn ang="f4299">
                <a:pos x="f5805" y="f6002"/>
              </a:cxn>
              <a:cxn ang="f4299">
                <a:pos x="f5805" y="f6003"/>
              </a:cxn>
              <a:cxn ang="f4299">
                <a:pos x="f5804" y="f6004"/>
              </a:cxn>
              <a:cxn ang="f4299">
                <a:pos x="f5803" y="f6004"/>
              </a:cxn>
              <a:cxn ang="f4299">
                <a:pos x="f5806" y="f6003"/>
              </a:cxn>
              <a:cxn ang="f4299">
                <a:pos x="f5806" y="f6002"/>
              </a:cxn>
              <a:cxn ang="f4299">
                <a:pos x="f5807" y="f6001"/>
              </a:cxn>
              <a:cxn ang="f4299">
                <a:pos x="f5808" y="f6001"/>
              </a:cxn>
              <a:cxn ang="f4299">
                <a:pos x="f5809" y="f6002"/>
              </a:cxn>
              <a:cxn ang="f4299">
                <a:pos x="f5809" y="f6003"/>
              </a:cxn>
              <a:cxn ang="f4299">
                <a:pos x="f5808" y="f6004"/>
              </a:cxn>
              <a:cxn ang="f4299">
                <a:pos x="f5807" y="f6004"/>
              </a:cxn>
              <a:cxn ang="f4299">
                <a:pos x="f5810" y="f6003"/>
              </a:cxn>
              <a:cxn ang="f4299">
                <a:pos x="f5810" y="f6002"/>
              </a:cxn>
              <a:cxn ang="f4299">
                <a:pos x="f5811" y="f6001"/>
              </a:cxn>
              <a:cxn ang="f4299">
                <a:pos x="f5812" y="f6001"/>
              </a:cxn>
              <a:cxn ang="f4299">
                <a:pos x="f5813" y="f6002"/>
              </a:cxn>
              <a:cxn ang="f4299">
                <a:pos x="f5813" y="f6003"/>
              </a:cxn>
              <a:cxn ang="f4299">
                <a:pos x="f5812" y="f6004"/>
              </a:cxn>
              <a:cxn ang="f4299">
                <a:pos x="f5811" y="f6004"/>
              </a:cxn>
              <a:cxn ang="f4299">
                <a:pos x="f5814" y="f6003"/>
              </a:cxn>
              <a:cxn ang="f4299">
                <a:pos x="f5814" y="f6002"/>
              </a:cxn>
              <a:cxn ang="f4299">
                <a:pos x="f5815" y="f6001"/>
              </a:cxn>
              <a:cxn ang="f4299">
                <a:pos x="f5816" y="f6001"/>
              </a:cxn>
              <a:cxn ang="f4299">
                <a:pos x="f5817" y="f6002"/>
              </a:cxn>
              <a:cxn ang="f4299">
                <a:pos x="f5817" y="f6003"/>
              </a:cxn>
              <a:cxn ang="f4299">
                <a:pos x="f5816" y="f6004"/>
              </a:cxn>
              <a:cxn ang="f4299">
                <a:pos x="f5815" y="f6004"/>
              </a:cxn>
              <a:cxn ang="f4299">
                <a:pos x="f5818" y="f6003"/>
              </a:cxn>
              <a:cxn ang="f4299">
                <a:pos x="f5818" y="f6002"/>
              </a:cxn>
              <a:cxn ang="f4299">
                <a:pos x="f5819" y="f6001"/>
              </a:cxn>
              <a:cxn ang="f4299">
                <a:pos x="f5820" y="f6001"/>
              </a:cxn>
              <a:cxn ang="f4299">
                <a:pos x="f5821" y="f6002"/>
              </a:cxn>
              <a:cxn ang="f4299">
                <a:pos x="f5821" y="f6003"/>
              </a:cxn>
              <a:cxn ang="f4299">
                <a:pos x="f5820" y="f6004"/>
              </a:cxn>
              <a:cxn ang="f4299">
                <a:pos x="f5819" y="f6004"/>
              </a:cxn>
              <a:cxn ang="f4299">
                <a:pos x="f5822" y="f6003"/>
              </a:cxn>
              <a:cxn ang="f4299">
                <a:pos x="f5822" y="f6002"/>
              </a:cxn>
              <a:cxn ang="f4299">
                <a:pos x="f5823" y="f6001"/>
              </a:cxn>
              <a:cxn ang="f4299">
                <a:pos x="f5824" y="f6001"/>
              </a:cxn>
              <a:cxn ang="f4299">
                <a:pos x="f5825" y="f6002"/>
              </a:cxn>
              <a:cxn ang="f4299">
                <a:pos x="f5825" y="f6003"/>
              </a:cxn>
              <a:cxn ang="f4299">
                <a:pos x="f5824" y="f6004"/>
              </a:cxn>
              <a:cxn ang="f4299">
                <a:pos x="f5823" y="f6004"/>
              </a:cxn>
              <a:cxn ang="f4299">
                <a:pos x="f5826" y="f6003"/>
              </a:cxn>
              <a:cxn ang="f4299">
                <a:pos x="f5826" y="f6002"/>
              </a:cxn>
              <a:cxn ang="f4299">
                <a:pos x="f5827" y="f6001"/>
              </a:cxn>
              <a:cxn ang="f4299">
                <a:pos x="f5828" y="f6001"/>
              </a:cxn>
              <a:cxn ang="f4299">
                <a:pos x="f5829" y="f6002"/>
              </a:cxn>
              <a:cxn ang="f4299">
                <a:pos x="f5829" y="f6003"/>
              </a:cxn>
              <a:cxn ang="f4299">
                <a:pos x="f5828" y="f6004"/>
              </a:cxn>
              <a:cxn ang="f4299">
                <a:pos x="f5827" y="f6004"/>
              </a:cxn>
              <a:cxn ang="f4299">
                <a:pos x="f5830" y="f6003"/>
              </a:cxn>
              <a:cxn ang="f4299">
                <a:pos x="f5830" y="f6002"/>
              </a:cxn>
              <a:cxn ang="f4299">
                <a:pos x="f5831" y="f6001"/>
              </a:cxn>
              <a:cxn ang="f4299">
                <a:pos x="f5832" y="f6001"/>
              </a:cxn>
              <a:cxn ang="f4299">
                <a:pos x="f5833" y="f6002"/>
              </a:cxn>
              <a:cxn ang="f4299">
                <a:pos x="f5833" y="f6003"/>
              </a:cxn>
              <a:cxn ang="f4299">
                <a:pos x="f5832" y="f6004"/>
              </a:cxn>
              <a:cxn ang="f4299">
                <a:pos x="f5831" y="f6004"/>
              </a:cxn>
              <a:cxn ang="f4299">
                <a:pos x="f5834" y="f6003"/>
              </a:cxn>
              <a:cxn ang="f4299">
                <a:pos x="f5834" y="f6002"/>
              </a:cxn>
              <a:cxn ang="f4299">
                <a:pos x="f5835" y="f6001"/>
              </a:cxn>
              <a:cxn ang="f4299">
                <a:pos x="f5836" y="f6001"/>
              </a:cxn>
              <a:cxn ang="f4299">
                <a:pos x="f5837" y="f6002"/>
              </a:cxn>
              <a:cxn ang="f4299">
                <a:pos x="f5837" y="f6003"/>
              </a:cxn>
              <a:cxn ang="f4299">
                <a:pos x="f5836" y="f6004"/>
              </a:cxn>
              <a:cxn ang="f4299">
                <a:pos x="f5835" y="f6004"/>
              </a:cxn>
              <a:cxn ang="f4299">
                <a:pos x="f5838" y="f6003"/>
              </a:cxn>
              <a:cxn ang="f4299">
                <a:pos x="f5838" y="f6002"/>
              </a:cxn>
              <a:cxn ang="f4299">
                <a:pos x="f5839" y="f6001"/>
              </a:cxn>
              <a:cxn ang="f4299">
                <a:pos x="f5840" y="f6001"/>
              </a:cxn>
              <a:cxn ang="f4299">
                <a:pos x="f5841" y="f6002"/>
              </a:cxn>
              <a:cxn ang="f4299">
                <a:pos x="f5841" y="f6003"/>
              </a:cxn>
              <a:cxn ang="f4299">
                <a:pos x="f5840" y="f6004"/>
              </a:cxn>
              <a:cxn ang="f4299">
                <a:pos x="f5839" y="f6004"/>
              </a:cxn>
              <a:cxn ang="f4299">
                <a:pos x="f5842" y="f6003"/>
              </a:cxn>
              <a:cxn ang="f4299">
                <a:pos x="f5842" y="f6002"/>
              </a:cxn>
              <a:cxn ang="f4299">
                <a:pos x="f5843" y="f6001"/>
              </a:cxn>
              <a:cxn ang="f4299">
                <a:pos x="f5844" y="f6001"/>
              </a:cxn>
              <a:cxn ang="f4299">
                <a:pos x="f5845" y="f6002"/>
              </a:cxn>
              <a:cxn ang="f4299">
                <a:pos x="f5845" y="f6003"/>
              </a:cxn>
              <a:cxn ang="f4299">
                <a:pos x="f5844" y="f6004"/>
              </a:cxn>
              <a:cxn ang="f4299">
                <a:pos x="f5843" y="f6004"/>
              </a:cxn>
              <a:cxn ang="f4299">
                <a:pos x="f5846" y="f6003"/>
              </a:cxn>
              <a:cxn ang="f4299">
                <a:pos x="f5846" y="f6002"/>
              </a:cxn>
              <a:cxn ang="f4299">
                <a:pos x="f5847" y="f6001"/>
              </a:cxn>
              <a:cxn ang="f4299">
                <a:pos x="f5848" y="f6001"/>
              </a:cxn>
              <a:cxn ang="f4299">
                <a:pos x="f5849" y="f6002"/>
              </a:cxn>
              <a:cxn ang="f4299">
                <a:pos x="f5849" y="f6003"/>
              </a:cxn>
              <a:cxn ang="f4299">
                <a:pos x="f5848" y="f6004"/>
              </a:cxn>
              <a:cxn ang="f4299">
                <a:pos x="f5847" y="f6004"/>
              </a:cxn>
              <a:cxn ang="f4299">
                <a:pos x="f5850" y="f6003"/>
              </a:cxn>
              <a:cxn ang="f4299">
                <a:pos x="f5850" y="f6002"/>
              </a:cxn>
              <a:cxn ang="f4299">
                <a:pos x="f5851" y="f6001"/>
              </a:cxn>
              <a:cxn ang="f4299">
                <a:pos x="f5852" y="f6001"/>
              </a:cxn>
              <a:cxn ang="f4299">
                <a:pos x="f5853" y="f6002"/>
              </a:cxn>
              <a:cxn ang="f4299">
                <a:pos x="f5853" y="f6003"/>
              </a:cxn>
              <a:cxn ang="f4299">
                <a:pos x="f5852" y="f6004"/>
              </a:cxn>
              <a:cxn ang="f4299">
                <a:pos x="f5851" y="f6004"/>
              </a:cxn>
              <a:cxn ang="f4299">
                <a:pos x="f5854" y="f6003"/>
              </a:cxn>
              <a:cxn ang="f4299">
                <a:pos x="f5854" y="f6002"/>
              </a:cxn>
              <a:cxn ang="f4299">
                <a:pos x="f5855" y="f6001"/>
              </a:cxn>
              <a:cxn ang="f4299">
                <a:pos x="f5856" y="f6001"/>
              </a:cxn>
              <a:cxn ang="f4299">
                <a:pos x="f5857" y="f6002"/>
              </a:cxn>
              <a:cxn ang="f4299">
                <a:pos x="f5857" y="f6003"/>
              </a:cxn>
              <a:cxn ang="f4299">
                <a:pos x="f5856" y="f6004"/>
              </a:cxn>
              <a:cxn ang="f4299">
                <a:pos x="f5855" y="f6004"/>
              </a:cxn>
              <a:cxn ang="f4299">
                <a:pos x="f5858" y="f6003"/>
              </a:cxn>
              <a:cxn ang="f4299">
                <a:pos x="f5858" y="f6002"/>
              </a:cxn>
              <a:cxn ang="f4299">
                <a:pos x="f5859" y="f6001"/>
              </a:cxn>
              <a:cxn ang="f4299">
                <a:pos x="f5860" y="f6001"/>
              </a:cxn>
              <a:cxn ang="f4299">
                <a:pos x="f5861" y="f6002"/>
              </a:cxn>
              <a:cxn ang="f4299">
                <a:pos x="f5861" y="f6003"/>
              </a:cxn>
              <a:cxn ang="f4299">
                <a:pos x="f5860" y="f6004"/>
              </a:cxn>
              <a:cxn ang="f4299">
                <a:pos x="f5859" y="f6004"/>
              </a:cxn>
              <a:cxn ang="f4299">
                <a:pos x="f5862" y="f6003"/>
              </a:cxn>
              <a:cxn ang="f4299">
                <a:pos x="f5862" y="f6002"/>
              </a:cxn>
              <a:cxn ang="f4299">
                <a:pos x="f5863" y="f6001"/>
              </a:cxn>
              <a:cxn ang="f4299">
                <a:pos x="f5864" y="f6001"/>
              </a:cxn>
              <a:cxn ang="f4299">
                <a:pos x="f5865" y="f6002"/>
              </a:cxn>
              <a:cxn ang="f4299">
                <a:pos x="f5865" y="f6003"/>
              </a:cxn>
              <a:cxn ang="f4299">
                <a:pos x="f5864" y="f6004"/>
              </a:cxn>
              <a:cxn ang="f4299">
                <a:pos x="f5863" y="f6004"/>
              </a:cxn>
              <a:cxn ang="f4299">
                <a:pos x="f5866" y="f6003"/>
              </a:cxn>
              <a:cxn ang="f4299">
                <a:pos x="f5866" y="f6002"/>
              </a:cxn>
              <a:cxn ang="f4299">
                <a:pos x="f5867" y="f6001"/>
              </a:cxn>
              <a:cxn ang="f4299">
                <a:pos x="f5868" y="f6001"/>
              </a:cxn>
              <a:cxn ang="f4299">
                <a:pos x="f5869" y="f6002"/>
              </a:cxn>
              <a:cxn ang="f4299">
                <a:pos x="f5869" y="f6003"/>
              </a:cxn>
              <a:cxn ang="f4299">
                <a:pos x="f5868" y="f6004"/>
              </a:cxn>
              <a:cxn ang="f4299">
                <a:pos x="f5867" y="f6004"/>
              </a:cxn>
              <a:cxn ang="f4299">
                <a:pos x="f5870" y="f6003"/>
              </a:cxn>
              <a:cxn ang="f4299">
                <a:pos x="f5870" y="f6002"/>
              </a:cxn>
              <a:cxn ang="f4299">
                <a:pos x="f5871" y="f6001"/>
              </a:cxn>
              <a:cxn ang="f4299">
                <a:pos x="f5872" y="f6001"/>
              </a:cxn>
              <a:cxn ang="f4299">
                <a:pos x="f5873" y="f6002"/>
              </a:cxn>
              <a:cxn ang="f4299">
                <a:pos x="f5873" y="f6003"/>
              </a:cxn>
              <a:cxn ang="f4299">
                <a:pos x="f5872" y="f6004"/>
              </a:cxn>
              <a:cxn ang="f4299">
                <a:pos x="f5871" y="f6004"/>
              </a:cxn>
              <a:cxn ang="f4299">
                <a:pos x="f5874" y="f6003"/>
              </a:cxn>
              <a:cxn ang="f4299">
                <a:pos x="f5874" y="f6002"/>
              </a:cxn>
              <a:cxn ang="f4299">
                <a:pos x="f5875" y="f6001"/>
              </a:cxn>
              <a:cxn ang="f4299">
                <a:pos x="f5876" y="f6001"/>
              </a:cxn>
              <a:cxn ang="f4299">
                <a:pos x="f5877" y="f6002"/>
              </a:cxn>
              <a:cxn ang="f4299">
                <a:pos x="f5877" y="f6003"/>
              </a:cxn>
              <a:cxn ang="f4299">
                <a:pos x="f5876" y="f6004"/>
              </a:cxn>
              <a:cxn ang="f4299">
                <a:pos x="f5875" y="f6004"/>
              </a:cxn>
              <a:cxn ang="f4299">
                <a:pos x="f5878" y="f6003"/>
              </a:cxn>
              <a:cxn ang="f4299">
                <a:pos x="f5878" y="f6002"/>
              </a:cxn>
              <a:cxn ang="f4299">
                <a:pos x="f5879" y="f6001"/>
              </a:cxn>
              <a:cxn ang="f4299">
                <a:pos x="f5880" y="f6001"/>
              </a:cxn>
              <a:cxn ang="f4299">
                <a:pos x="f5881" y="f6002"/>
              </a:cxn>
              <a:cxn ang="f4299">
                <a:pos x="f5881" y="f6003"/>
              </a:cxn>
              <a:cxn ang="f4299">
                <a:pos x="f5880" y="f6004"/>
              </a:cxn>
              <a:cxn ang="f4299">
                <a:pos x="f5879" y="f6004"/>
              </a:cxn>
              <a:cxn ang="f4299">
                <a:pos x="f5882" y="f6003"/>
              </a:cxn>
              <a:cxn ang="f4299">
                <a:pos x="f5882" y="f6002"/>
              </a:cxn>
              <a:cxn ang="f4299">
                <a:pos x="f5883" y="f6001"/>
              </a:cxn>
              <a:cxn ang="f4299">
                <a:pos x="f5884" y="f6001"/>
              </a:cxn>
              <a:cxn ang="f4299">
                <a:pos x="f5885" y="f6002"/>
              </a:cxn>
              <a:cxn ang="f4299">
                <a:pos x="f5885" y="f6003"/>
              </a:cxn>
              <a:cxn ang="f4299">
                <a:pos x="f5884" y="f6004"/>
              </a:cxn>
              <a:cxn ang="f4299">
                <a:pos x="f5883" y="f6004"/>
              </a:cxn>
              <a:cxn ang="f4299">
                <a:pos x="f5886" y="f6003"/>
              </a:cxn>
              <a:cxn ang="f4299">
                <a:pos x="f5886" y="f6002"/>
              </a:cxn>
              <a:cxn ang="f4299">
                <a:pos x="f5887" y="f6001"/>
              </a:cxn>
              <a:cxn ang="f4299">
                <a:pos x="f5888" y="f6001"/>
              </a:cxn>
              <a:cxn ang="f4299">
                <a:pos x="f5889" y="f6002"/>
              </a:cxn>
              <a:cxn ang="f4299">
                <a:pos x="f5889" y="f6003"/>
              </a:cxn>
              <a:cxn ang="f4299">
                <a:pos x="f5888" y="f6004"/>
              </a:cxn>
              <a:cxn ang="f4299">
                <a:pos x="f5887" y="f6004"/>
              </a:cxn>
              <a:cxn ang="f4299">
                <a:pos x="f5890" y="f6003"/>
              </a:cxn>
              <a:cxn ang="f4299">
                <a:pos x="f5890" y="f6002"/>
              </a:cxn>
              <a:cxn ang="f4299">
                <a:pos x="f5891" y="f6001"/>
              </a:cxn>
              <a:cxn ang="f4299">
                <a:pos x="f5892" y="f6001"/>
              </a:cxn>
              <a:cxn ang="f4299">
                <a:pos x="f5893" y="f6002"/>
              </a:cxn>
              <a:cxn ang="f4299">
                <a:pos x="f5893" y="f6003"/>
              </a:cxn>
              <a:cxn ang="f4299">
                <a:pos x="f5892" y="f6004"/>
              </a:cxn>
              <a:cxn ang="f4299">
                <a:pos x="f5891" y="f6004"/>
              </a:cxn>
              <a:cxn ang="f4299">
                <a:pos x="f5894" y="f6003"/>
              </a:cxn>
              <a:cxn ang="f4299">
                <a:pos x="f5894" y="f6002"/>
              </a:cxn>
              <a:cxn ang="f4299">
                <a:pos x="f5915" y="f6001"/>
              </a:cxn>
              <a:cxn ang="f4299">
                <a:pos x="f5916" y="f6001"/>
              </a:cxn>
              <a:cxn ang="f4299">
                <a:pos x="f6005" y="f6002"/>
              </a:cxn>
              <a:cxn ang="f4299">
                <a:pos x="f6005" y="f6003"/>
              </a:cxn>
              <a:cxn ang="f4299">
                <a:pos x="f5916" y="f6004"/>
              </a:cxn>
              <a:cxn ang="f4299">
                <a:pos x="f5915" y="f6004"/>
              </a:cxn>
              <a:cxn ang="f4299">
                <a:pos x="f5918" y="f6003"/>
              </a:cxn>
              <a:cxn ang="f4299">
                <a:pos x="f5918" y="f6002"/>
              </a:cxn>
              <a:cxn ang="f4299">
                <a:pos x="f5973" y="f6001"/>
              </a:cxn>
              <a:cxn ang="f4299">
                <a:pos x="f5946" y="f6001"/>
              </a:cxn>
              <a:cxn ang="f4299">
                <a:pos x="f5919" y="f6002"/>
              </a:cxn>
              <a:cxn ang="f4299">
                <a:pos x="f5919" y="f6003"/>
              </a:cxn>
              <a:cxn ang="f4299">
                <a:pos x="f5946" y="f6004"/>
              </a:cxn>
              <a:cxn ang="f4299">
                <a:pos x="f5973" y="f6004"/>
              </a:cxn>
              <a:cxn ang="f4299">
                <a:pos x="f5750" y="f6003"/>
              </a:cxn>
              <a:cxn ang="f4299">
                <a:pos x="f5750" y="f6002"/>
              </a:cxn>
              <a:cxn ang="f4299">
                <a:pos x="f6006" y="f6001"/>
              </a:cxn>
              <a:cxn ang="f4299">
                <a:pos x="f5974" y="f6001"/>
              </a:cxn>
              <a:cxn ang="f4299">
                <a:pos x="f6007" y="f6002"/>
              </a:cxn>
              <a:cxn ang="f4299">
                <a:pos x="f6007" y="f6003"/>
              </a:cxn>
              <a:cxn ang="f4299">
                <a:pos x="f5974" y="f6004"/>
              </a:cxn>
              <a:cxn ang="f4299">
                <a:pos x="f6006" y="f6004"/>
              </a:cxn>
              <a:cxn ang="f4299">
                <a:pos x="f6008" y="f6003"/>
              </a:cxn>
              <a:cxn ang="f4299">
                <a:pos x="f6008" y="f6002"/>
              </a:cxn>
              <a:cxn ang="f4299">
                <a:pos x="f6009" y="f6001"/>
              </a:cxn>
              <a:cxn ang="f4299">
                <a:pos x="f5977" y="f6001"/>
              </a:cxn>
              <a:cxn ang="f4299">
                <a:pos x="f5978" y="f6002"/>
              </a:cxn>
              <a:cxn ang="f4299">
                <a:pos x="f5978" y="f6003"/>
              </a:cxn>
              <a:cxn ang="f4299">
                <a:pos x="f5977" y="f6004"/>
              </a:cxn>
              <a:cxn ang="f4299">
                <a:pos x="f6009" y="f6004"/>
              </a:cxn>
              <a:cxn ang="f4299">
                <a:pos x="f6010" y="f6003"/>
              </a:cxn>
              <a:cxn ang="f4299">
                <a:pos x="f6010" y="f6002"/>
              </a:cxn>
              <a:cxn ang="f4299">
                <a:pos x="f5980" y="f6001"/>
              </a:cxn>
              <a:cxn ang="f4299">
                <a:pos x="f6011" y="f6001"/>
              </a:cxn>
              <a:cxn ang="f4299">
                <a:pos x="f6012" y="f6002"/>
              </a:cxn>
              <a:cxn ang="f4299">
                <a:pos x="f6012" y="f6003"/>
              </a:cxn>
              <a:cxn ang="f4299">
                <a:pos x="f6011" y="f6004"/>
              </a:cxn>
              <a:cxn ang="f4299">
                <a:pos x="f5980" y="f6004"/>
              </a:cxn>
              <a:cxn ang="f4299">
                <a:pos x="f6013" y="f6003"/>
              </a:cxn>
              <a:cxn ang="f4299">
                <a:pos x="f6013" y="f6002"/>
              </a:cxn>
              <a:cxn ang="f4299">
                <a:pos x="f6014" y="f6001"/>
              </a:cxn>
              <a:cxn ang="f4299">
                <a:pos x="f5983" y="f6001"/>
              </a:cxn>
              <a:cxn ang="f4299">
                <a:pos x="f6015" y="f6002"/>
              </a:cxn>
              <a:cxn ang="f4299">
                <a:pos x="f6015" y="f6003"/>
              </a:cxn>
              <a:cxn ang="f4299">
                <a:pos x="f5983" y="f6004"/>
              </a:cxn>
              <a:cxn ang="f4299">
                <a:pos x="f6014" y="f6004"/>
              </a:cxn>
              <a:cxn ang="f4299">
                <a:pos x="f6016" y="f6003"/>
              </a:cxn>
              <a:cxn ang="f4299">
                <a:pos x="f6016" y="f6002"/>
              </a:cxn>
              <a:cxn ang="f4299">
                <a:pos x="f6017" y="f6001"/>
              </a:cxn>
              <a:cxn ang="f4299">
                <a:pos x="f5990" y="f6001"/>
              </a:cxn>
              <a:cxn ang="f4299">
                <a:pos x="f6018" y="f6002"/>
              </a:cxn>
              <a:cxn ang="f4299">
                <a:pos x="f6018" y="f6003"/>
              </a:cxn>
              <a:cxn ang="f4299">
                <a:pos x="f5990" y="f6004"/>
              </a:cxn>
              <a:cxn ang="f4299">
                <a:pos x="f6017" y="f6004"/>
              </a:cxn>
              <a:cxn ang="f4299">
                <a:pos x="f6019" y="f6003"/>
              </a:cxn>
              <a:cxn ang="f4299">
                <a:pos x="f6019" y="f6002"/>
              </a:cxn>
              <a:cxn ang="f4299">
                <a:pos x="f6020" y="f6001"/>
              </a:cxn>
              <a:cxn ang="f4299">
                <a:pos x="f6021" y="f6001"/>
              </a:cxn>
              <a:cxn ang="f4299">
                <a:pos x="f5995" y="f6002"/>
              </a:cxn>
              <a:cxn ang="f4299">
                <a:pos x="f5995" y="f6003"/>
              </a:cxn>
              <a:cxn ang="f4299">
                <a:pos x="f6021" y="f6004"/>
              </a:cxn>
              <a:cxn ang="f4299">
                <a:pos x="f6020" y="f6004"/>
              </a:cxn>
              <a:cxn ang="f4299">
                <a:pos x="f6022" y="f6003"/>
              </a:cxn>
              <a:cxn ang="f4299">
                <a:pos x="f6022" y="f6002"/>
              </a:cxn>
              <a:cxn ang="f4299">
                <a:pos x="f6023" y="f6001"/>
              </a:cxn>
              <a:cxn ang="f4299">
                <a:pos x="f5997" y="f6001"/>
              </a:cxn>
              <a:cxn ang="f4299">
                <a:pos x="f5998" y="f6002"/>
              </a:cxn>
              <a:cxn ang="f4299">
                <a:pos x="f5998" y="f6003"/>
              </a:cxn>
              <a:cxn ang="f4299">
                <a:pos x="f5997" y="f6004"/>
              </a:cxn>
              <a:cxn ang="f4299">
                <a:pos x="f6023" y="f6004"/>
              </a:cxn>
              <a:cxn ang="f4299">
                <a:pos x="f6024" y="f6003"/>
              </a:cxn>
              <a:cxn ang="f4299">
                <a:pos x="f6024" y="f6002"/>
              </a:cxn>
              <a:cxn ang="f4299">
                <a:pos x="f6025" y="f6001"/>
              </a:cxn>
              <a:cxn ang="f4299">
                <a:pos x="f5999" y="f6001"/>
              </a:cxn>
              <a:cxn ang="f4299">
                <a:pos x="f6026" y="f6002"/>
              </a:cxn>
              <a:cxn ang="f4299">
                <a:pos x="f6026" y="f6003"/>
              </a:cxn>
              <a:cxn ang="f4299">
                <a:pos x="f5999" y="f6004"/>
              </a:cxn>
              <a:cxn ang="f4299">
                <a:pos x="f6025" y="f6004"/>
              </a:cxn>
              <a:cxn ang="f4299">
                <a:pos x="f6027" y="f6003"/>
              </a:cxn>
              <a:cxn ang="f4299">
                <a:pos x="f6027" y="f6002"/>
              </a:cxn>
              <a:cxn ang="f4299">
                <a:pos x="f5915" y="f6028"/>
              </a:cxn>
              <a:cxn ang="f4299">
                <a:pos x="f6029" y="f6028"/>
              </a:cxn>
              <a:cxn ang="f4299">
                <a:pos x="f6005" y="f6030"/>
              </a:cxn>
              <a:cxn ang="f4299">
                <a:pos x="f6005" y="f6031"/>
              </a:cxn>
              <a:cxn ang="f4299">
                <a:pos x="f6029" y="f6032"/>
              </a:cxn>
              <a:cxn ang="f4299">
                <a:pos x="f5915" y="f6032"/>
              </a:cxn>
              <a:cxn ang="f4299">
                <a:pos x="f5918" y="f6031"/>
              </a:cxn>
              <a:cxn ang="f4299">
                <a:pos x="f5918" y="f6030"/>
              </a:cxn>
              <a:cxn ang="f4299">
                <a:pos x="f5973" y="f6028"/>
              </a:cxn>
              <a:cxn ang="f4299">
                <a:pos x="f5946" y="f6028"/>
              </a:cxn>
              <a:cxn ang="f4299">
                <a:pos x="f5919" y="f6030"/>
              </a:cxn>
              <a:cxn ang="f4299">
                <a:pos x="f5919" y="f6031"/>
              </a:cxn>
              <a:cxn ang="f4299">
                <a:pos x="f5946" y="f6032"/>
              </a:cxn>
              <a:cxn ang="f4299">
                <a:pos x="f5973" y="f6032"/>
              </a:cxn>
              <a:cxn ang="f4299">
                <a:pos x="f6033" y="f6031"/>
              </a:cxn>
              <a:cxn ang="f4299">
                <a:pos x="f6033" y="f6030"/>
              </a:cxn>
              <a:cxn ang="f4299">
                <a:pos x="f6034" y="f6028"/>
              </a:cxn>
              <a:cxn ang="f4299">
                <a:pos x="f6035" y="f6028"/>
              </a:cxn>
              <a:cxn ang="f4299">
                <a:pos x="f6007" y="f6030"/>
              </a:cxn>
              <a:cxn ang="f4299">
                <a:pos x="f6007" y="f6031"/>
              </a:cxn>
              <a:cxn ang="f4299">
                <a:pos x="f6035" y="f6032"/>
              </a:cxn>
              <a:cxn ang="f4299">
                <a:pos x="f6034" y="f6032"/>
              </a:cxn>
              <a:cxn ang="f4299">
                <a:pos x="f6008" y="f6031"/>
              </a:cxn>
              <a:cxn ang="f4299">
                <a:pos x="f6008" y="f6030"/>
              </a:cxn>
              <a:cxn ang="f4299">
                <a:pos x="f6036" y="f6028"/>
              </a:cxn>
              <a:cxn ang="f4299">
                <a:pos x="f6037" y="f6028"/>
              </a:cxn>
              <a:cxn ang="f4299">
                <a:pos x="f6038" y="f6030"/>
              </a:cxn>
              <a:cxn ang="f4299">
                <a:pos x="f6038" y="f6031"/>
              </a:cxn>
              <a:cxn ang="f4299">
                <a:pos x="f6037" y="f6032"/>
              </a:cxn>
              <a:cxn ang="f4299">
                <a:pos x="f6036" y="f6032"/>
              </a:cxn>
              <a:cxn ang="f4299">
                <a:pos x="f6010" y="f6031"/>
              </a:cxn>
              <a:cxn ang="f4299">
                <a:pos x="f6010" y="f6030"/>
              </a:cxn>
              <a:cxn ang="f4299">
                <a:pos x="f6039" y="f6028"/>
              </a:cxn>
              <a:cxn ang="f4299">
                <a:pos x="f6011" y="f6028"/>
              </a:cxn>
              <a:cxn ang="f4299">
                <a:pos x="f6040" y="f6030"/>
              </a:cxn>
              <a:cxn ang="f4299">
                <a:pos x="f6040" y="f6031"/>
              </a:cxn>
              <a:cxn ang="f4299">
                <a:pos x="f6011" y="f6032"/>
              </a:cxn>
              <a:cxn ang="f4299">
                <a:pos x="f6039" y="f6032"/>
              </a:cxn>
              <a:cxn ang="f4299">
                <a:pos x="f6013" y="f6031"/>
              </a:cxn>
              <a:cxn ang="f4299">
                <a:pos x="f6013" y="f6030"/>
              </a:cxn>
              <a:cxn ang="f4299">
                <a:pos x="f6014" y="f6028"/>
              </a:cxn>
              <a:cxn ang="f4299">
                <a:pos x="f6041" y="f6028"/>
              </a:cxn>
              <a:cxn ang="f4299">
                <a:pos x="f6015" y="f6030"/>
              </a:cxn>
              <a:cxn ang="f4299">
                <a:pos x="f6015" y="f6031"/>
              </a:cxn>
              <a:cxn ang="f4299">
                <a:pos x="f6041" y="f6032"/>
              </a:cxn>
              <a:cxn ang="f4299">
                <a:pos x="f6014" y="f6032"/>
              </a:cxn>
              <a:cxn ang="f4299">
                <a:pos x="f6016" y="f6031"/>
              </a:cxn>
              <a:cxn ang="f4299">
                <a:pos x="f6016" y="f6030"/>
              </a:cxn>
              <a:cxn ang="f4299">
                <a:pos x="f5767" y="f6042"/>
              </a:cxn>
              <a:cxn ang="f4299">
                <a:pos x="f5769" y="f6042"/>
              </a:cxn>
              <a:cxn ang="f4299">
                <a:pos x="f5770" y="f6043"/>
              </a:cxn>
              <a:cxn ang="f4299">
                <a:pos x="f5770" y="f6044"/>
              </a:cxn>
              <a:cxn ang="f4299">
                <a:pos x="f5769" y="f6045"/>
              </a:cxn>
              <a:cxn ang="f4299">
                <a:pos x="f5767" y="f6045"/>
              </a:cxn>
              <a:cxn ang="f4299">
                <a:pos x="f5774" y="f6044"/>
              </a:cxn>
              <a:cxn ang="f4299">
                <a:pos x="f5774" y="f6043"/>
              </a:cxn>
              <a:cxn ang="f4299">
                <a:pos x="f5775" y="f6042"/>
              </a:cxn>
              <a:cxn ang="f4299">
                <a:pos x="f5776" y="f6042"/>
              </a:cxn>
              <a:cxn ang="f4299">
                <a:pos x="f5777" y="f6043"/>
              </a:cxn>
              <a:cxn ang="f4299">
                <a:pos x="f5777" y="f6044"/>
              </a:cxn>
              <a:cxn ang="f4299">
                <a:pos x="f5776" y="f6045"/>
              </a:cxn>
              <a:cxn ang="f4299">
                <a:pos x="f5775" y="f6045"/>
              </a:cxn>
              <a:cxn ang="f4299">
                <a:pos x="f5778" y="f6044"/>
              </a:cxn>
              <a:cxn ang="f4299">
                <a:pos x="f5778" y="f6043"/>
              </a:cxn>
              <a:cxn ang="f4299">
                <a:pos x="f5779" y="f6042"/>
              </a:cxn>
              <a:cxn ang="f4299">
                <a:pos x="f5780" y="f6042"/>
              </a:cxn>
              <a:cxn ang="f4299">
                <a:pos x="f5781" y="f6043"/>
              </a:cxn>
              <a:cxn ang="f4299">
                <a:pos x="f5781" y="f6044"/>
              </a:cxn>
              <a:cxn ang="f4299">
                <a:pos x="f5780" y="f6045"/>
              </a:cxn>
              <a:cxn ang="f4299">
                <a:pos x="f5779" y="f6045"/>
              </a:cxn>
              <a:cxn ang="f4299">
                <a:pos x="f5782" y="f6044"/>
              </a:cxn>
              <a:cxn ang="f4299">
                <a:pos x="f5782" y="f6043"/>
              </a:cxn>
              <a:cxn ang="f4299">
                <a:pos x="f5783" y="f6042"/>
              </a:cxn>
              <a:cxn ang="f4299">
                <a:pos x="f5784" y="f6042"/>
              </a:cxn>
              <a:cxn ang="f4299">
                <a:pos x="f5785" y="f6043"/>
              </a:cxn>
              <a:cxn ang="f4299">
                <a:pos x="f5785" y="f6044"/>
              </a:cxn>
              <a:cxn ang="f4299">
                <a:pos x="f5784" y="f6045"/>
              </a:cxn>
              <a:cxn ang="f4299">
                <a:pos x="f5783" y="f6045"/>
              </a:cxn>
              <a:cxn ang="f4299">
                <a:pos x="f5786" y="f6044"/>
              </a:cxn>
              <a:cxn ang="f4299">
                <a:pos x="f5786" y="f6043"/>
              </a:cxn>
              <a:cxn ang="f4299">
                <a:pos x="f5787" y="f6042"/>
              </a:cxn>
              <a:cxn ang="f4299">
                <a:pos x="f5788" y="f6042"/>
              </a:cxn>
              <a:cxn ang="f4299">
                <a:pos x="f5789" y="f6043"/>
              </a:cxn>
              <a:cxn ang="f4299">
                <a:pos x="f5789" y="f6044"/>
              </a:cxn>
              <a:cxn ang="f4299">
                <a:pos x="f5788" y="f6045"/>
              </a:cxn>
              <a:cxn ang="f4299">
                <a:pos x="f5787" y="f6045"/>
              </a:cxn>
              <a:cxn ang="f4299">
                <a:pos x="f5790" y="f6044"/>
              </a:cxn>
              <a:cxn ang="f4299">
                <a:pos x="f5790" y="f6043"/>
              </a:cxn>
              <a:cxn ang="f4299">
                <a:pos x="f5791" y="f6042"/>
              </a:cxn>
              <a:cxn ang="f4299">
                <a:pos x="f5792" y="f6042"/>
              </a:cxn>
              <a:cxn ang="f4299">
                <a:pos x="f5793" y="f6043"/>
              </a:cxn>
              <a:cxn ang="f4299">
                <a:pos x="f5793" y="f6044"/>
              </a:cxn>
              <a:cxn ang="f4299">
                <a:pos x="f5792" y="f6045"/>
              </a:cxn>
              <a:cxn ang="f4299">
                <a:pos x="f5791" y="f6045"/>
              </a:cxn>
              <a:cxn ang="f4299">
                <a:pos x="f5794" y="f6044"/>
              </a:cxn>
              <a:cxn ang="f4299">
                <a:pos x="f5794" y="f6043"/>
              </a:cxn>
              <a:cxn ang="f4299">
                <a:pos x="f5795" y="f6042"/>
              </a:cxn>
              <a:cxn ang="f4299">
                <a:pos x="f5796" y="f6042"/>
              </a:cxn>
              <a:cxn ang="f4299">
                <a:pos x="f5797" y="f6043"/>
              </a:cxn>
              <a:cxn ang="f4299">
                <a:pos x="f5797" y="f6044"/>
              </a:cxn>
              <a:cxn ang="f4299">
                <a:pos x="f5796" y="f6045"/>
              </a:cxn>
              <a:cxn ang="f4299">
                <a:pos x="f5795" y="f6045"/>
              </a:cxn>
              <a:cxn ang="f4299">
                <a:pos x="f5798" y="f6044"/>
              </a:cxn>
              <a:cxn ang="f4299">
                <a:pos x="f5798" y="f6043"/>
              </a:cxn>
              <a:cxn ang="f4299">
                <a:pos x="f5799" y="f6042"/>
              </a:cxn>
              <a:cxn ang="f4299">
                <a:pos x="f5800" y="f6042"/>
              </a:cxn>
              <a:cxn ang="f4299">
                <a:pos x="f5801" y="f6043"/>
              </a:cxn>
              <a:cxn ang="f4299">
                <a:pos x="f5801" y="f6044"/>
              </a:cxn>
              <a:cxn ang="f4299">
                <a:pos x="f5800" y="f6045"/>
              </a:cxn>
              <a:cxn ang="f4299">
                <a:pos x="f5799" y="f6045"/>
              </a:cxn>
              <a:cxn ang="f4299">
                <a:pos x="f5802" y="f6044"/>
              </a:cxn>
              <a:cxn ang="f4299">
                <a:pos x="f5802" y="f6043"/>
              </a:cxn>
              <a:cxn ang="f4299">
                <a:pos x="f5803" y="f6042"/>
              </a:cxn>
              <a:cxn ang="f4299">
                <a:pos x="f5804" y="f6042"/>
              </a:cxn>
              <a:cxn ang="f4299">
                <a:pos x="f5805" y="f6043"/>
              </a:cxn>
              <a:cxn ang="f4299">
                <a:pos x="f5805" y="f6044"/>
              </a:cxn>
              <a:cxn ang="f4299">
                <a:pos x="f5804" y="f6045"/>
              </a:cxn>
              <a:cxn ang="f4299">
                <a:pos x="f5803" y="f6045"/>
              </a:cxn>
              <a:cxn ang="f4299">
                <a:pos x="f5806" y="f6044"/>
              </a:cxn>
              <a:cxn ang="f4299">
                <a:pos x="f5806" y="f6043"/>
              </a:cxn>
              <a:cxn ang="f4299">
                <a:pos x="f5807" y="f6042"/>
              </a:cxn>
              <a:cxn ang="f4299">
                <a:pos x="f5808" y="f6042"/>
              </a:cxn>
              <a:cxn ang="f4299">
                <a:pos x="f5809" y="f6043"/>
              </a:cxn>
              <a:cxn ang="f4299">
                <a:pos x="f5809" y="f6044"/>
              </a:cxn>
              <a:cxn ang="f4299">
                <a:pos x="f5808" y="f6045"/>
              </a:cxn>
              <a:cxn ang="f4299">
                <a:pos x="f5807" y="f6045"/>
              </a:cxn>
              <a:cxn ang="f4299">
                <a:pos x="f5810" y="f6044"/>
              </a:cxn>
              <a:cxn ang="f4299">
                <a:pos x="f5810" y="f6043"/>
              </a:cxn>
              <a:cxn ang="f4299">
                <a:pos x="f5811" y="f6042"/>
              </a:cxn>
              <a:cxn ang="f4299">
                <a:pos x="f5812" y="f6042"/>
              </a:cxn>
              <a:cxn ang="f4299">
                <a:pos x="f5813" y="f6043"/>
              </a:cxn>
              <a:cxn ang="f4299">
                <a:pos x="f5813" y="f6044"/>
              </a:cxn>
              <a:cxn ang="f4299">
                <a:pos x="f5812" y="f6045"/>
              </a:cxn>
              <a:cxn ang="f4299">
                <a:pos x="f5811" y="f6045"/>
              </a:cxn>
              <a:cxn ang="f4299">
                <a:pos x="f5814" y="f6044"/>
              </a:cxn>
              <a:cxn ang="f4299">
                <a:pos x="f5814" y="f6043"/>
              </a:cxn>
              <a:cxn ang="f4299">
                <a:pos x="f5815" y="f6042"/>
              </a:cxn>
              <a:cxn ang="f4299">
                <a:pos x="f5816" y="f6042"/>
              </a:cxn>
              <a:cxn ang="f4299">
                <a:pos x="f5817" y="f6043"/>
              </a:cxn>
              <a:cxn ang="f4299">
                <a:pos x="f5817" y="f6044"/>
              </a:cxn>
              <a:cxn ang="f4299">
                <a:pos x="f5816" y="f6045"/>
              </a:cxn>
              <a:cxn ang="f4299">
                <a:pos x="f5815" y="f6045"/>
              </a:cxn>
              <a:cxn ang="f4299">
                <a:pos x="f5818" y="f6044"/>
              </a:cxn>
              <a:cxn ang="f4299">
                <a:pos x="f5818" y="f6043"/>
              </a:cxn>
              <a:cxn ang="f4299">
                <a:pos x="f5819" y="f6042"/>
              </a:cxn>
              <a:cxn ang="f4299">
                <a:pos x="f5820" y="f6042"/>
              </a:cxn>
              <a:cxn ang="f4299">
                <a:pos x="f5821" y="f6043"/>
              </a:cxn>
              <a:cxn ang="f4299">
                <a:pos x="f5821" y="f6044"/>
              </a:cxn>
              <a:cxn ang="f4299">
                <a:pos x="f5820" y="f6045"/>
              </a:cxn>
              <a:cxn ang="f4299">
                <a:pos x="f5819" y="f6045"/>
              </a:cxn>
              <a:cxn ang="f4299">
                <a:pos x="f5822" y="f6044"/>
              </a:cxn>
              <a:cxn ang="f4299">
                <a:pos x="f5822" y="f6043"/>
              </a:cxn>
              <a:cxn ang="f4299">
                <a:pos x="f5823" y="f6042"/>
              </a:cxn>
              <a:cxn ang="f4299">
                <a:pos x="f5824" y="f6042"/>
              </a:cxn>
              <a:cxn ang="f4299">
                <a:pos x="f5825" y="f6043"/>
              </a:cxn>
              <a:cxn ang="f4299">
                <a:pos x="f5825" y="f6044"/>
              </a:cxn>
              <a:cxn ang="f4299">
                <a:pos x="f5824" y="f6045"/>
              </a:cxn>
              <a:cxn ang="f4299">
                <a:pos x="f5823" y="f6045"/>
              </a:cxn>
              <a:cxn ang="f4299">
                <a:pos x="f5826" y="f6044"/>
              </a:cxn>
              <a:cxn ang="f4299">
                <a:pos x="f5826" y="f6043"/>
              </a:cxn>
              <a:cxn ang="f4299">
                <a:pos x="f5827" y="f6042"/>
              </a:cxn>
              <a:cxn ang="f4299">
                <a:pos x="f5828" y="f6042"/>
              </a:cxn>
              <a:cxn ang="f4299">
                <a:pos x="f5829" y="f6043"/>
              </a:cxn>
              <a:cxn ang="f4299">
                <a:pos x="f5829" y="f6044"/>
              </a:cxn>
              <a:cxn ang="f4299">
                <a:pos x="f5828" y="f6045"/>
              </a:cxn>
              <a:cxn ang="f4299">
                <a:pos x="f5827" y="f6045"/>
              </a:cxn>
              <a:cxn ang="f4299">
                <a:pos x="f5830" y="f6044"/>
              </a:cxn>
              <a:cxn ang="f4299">
                <a:pos x="f5830" y="f6043"/>
              </a:cxn>
              <a:cxn ang="f4299">
                <a:pos x="f5831" y="f6042"/>
              </a:cxn>
              <a:cxn ang="f4299">
                <a:pos x="f5832" y="f6042"/>
              </a:cxn>
              <a:cxn ang="f4299">
                <a:pos x="f5833" y="f6043"/>
              </a:cxn>
              <a:cxn ang="f4299">
                <a:pos x="f5833" y="f6044"/>
              </a:cxn>
              <a:cxn ang="f4299">
                <a:pos x="f5832" y="f6045"/>
              </a:cxn>
              <a:cxn ang="f4299">
                <a:pos x="f5831" y="f6045"/>
              </a:cxn>
              <a:cxn ang="f4299">
                <a:pos x="f5834" y="f6044"/>
              </a:cxn>
              <a:cxn ang="f4299">
                <a:pos x="f5834" y="f6043"/>
              </a:cxn>
              <a:cxn ang="f4299">
                <a:pos x="f5835" y="f6042"/>
              </a:cxn>
              <a:cxn ang="f4299">
                <a:pos x="f5836" y="f6042"/>
              </a:cxn>
              <a:cxn ang="f4299">
                <a:pos x="f5837" y="f6043"/>
              </a:cxn>
              <a:cxn ang="f4299">
                <a:pos x="f5837" y="f6044"/>
              </a:cxn>
              <a:cxn ang="f4299">
                <a:pos x="f5836" y="f6045"/>
              </a:cxn>
              <a:cxn ang="f4299">
                <a:pos x="f5835" y="f6045"/>
              </a:cxn>
              <a:cxn ang="f4299">
                <a:pos x="f5838" y="f6044"/>
              </a:cxn>
              <a:cxn ang="f4299">
                <a:pos x="f5838" y="f6043"/>
              </a:cxn>
              <a:cxn ang="f4299">
                <a:pos x="f5839" y="f6042"/>
              </a:cxn>
              <a:cxn ang="f4299">
                <a:pos x="f5840" y="f6042"/>
              </a:cxn>
              <a:cxn ang="f4299">
                <a:pos x="f5841" y="f6043"/>
              </a:cxn>
              <a:cxn ang="f4299">
                <a:pos x="f5841" y="f6044"/>
              </a:cxn>
              <a:cxn ang="f4299">
                <a:pos x="f5840" y="f6045"/>
              </a:cxn>
              <a:cxn ang="f4299">
                <a:pos x="f5839" y="f6045"/>
              </a:cxn>
              <a:cxn ang="f4299">
                <a:pos x="f5842" y="f6044"/>
              </a:cxn>
              <a:cxn ang="f4299">
                <a:pos x="f5842" y="f6043"/>
              </a:cxn>
              <a:cxn ang="f4299">
                <a:pos x="f5843" y="f6042"/>
              </a:cxn>
              <a:cxn ang="f4299">
                <a:pos x="f5844" y="f6042"/>
              </a:cxn>
              <a:cxn ang="f4299">
                <a:pos x="f5845" y="f6043"/>
              </a:cxn>
              <a:cxn ang="f4299">
                <a:pos x="f5845" y="f6044"/>
              </a:cxn>
              <a:cxn ang="f4299">
                <a:pos x="f5844" y="f6045"/>
              </a:cxn>
              <a:cxn ang="f4299">
                <a:pos x="f5843" y="f6045"/>
              </a:cxn>
              <a:cxn ang="f4299">
                <a:pos x="f5846" y="f6044"/>
              </a:cxn>
              <a:cxn ang="f4299">
                <a:pos x="f5846" y="f6043"/>
              </a:cxn>
              <a:cxn ang="f4299">
                <a:pos x="f5847" y="f6042"/>
              </a:cxn>
              <a:cxn ang="f4299">
                <a:pos x="f5848" y="f6042"/>
              </a:cxn>
              <a:cxn ang="f4299">
                <a:pos x="f5849" y="f6043"/>
              </a:cxn>
              <a:cxn ang="f4299">
                <a:pos x="f5849" y="f6044"/>
              </a:cxn>
              <a:cxn ang="f4299">
                <a:pos x="f5848" y="f6045"/>
              </a:cxn>
              <a:cxn ang="f4299">
                <a:pos x="f5847" y="f6045"/>
              </a:cxn>
              <a:cxn ang="f4299">
                <a:pos x="f5850" y="f6044"/>
              </a:cxn>
              <a:cxn ang="f4299">
                <a:pos x="f5850" y="f6043"/>
              </a:cxn>
              <a:cxn ang="f4299">
                <a:pos x="f5851" y="f6042"/>
              </a:cxn>
              <a:cxn ang="f4299">
                <a:pos x="f5852" y="f6042"/>
              </a:cxn>
              <a:cxn ang="f4299">
                <a:pos x="f5853" y="f6043"/>
              </a:cxn>
              <a:cxn ang="f4299">
                <a:pos x="f5853" y="f6044"/>
              </a:cxn>
              <a:cxn ang="f4299">
                <a:pos x="f5852" y="f6045"/>
              </a:cxn>
              <a:cxn ang="f4299">
                <a:pos x="f5851" y="f6045"/>
              </a:cxn>
              <a:cxn ang="f4299">
                <a:pos x="f5854" y="f6044"/>
              </a:cxn>
              <a:cxn ang="f4299">
                <a:pos x="f5854" y="f6043"/>
              </a:cxn>
              <a:cxn ang="f4299">
                <a:pos x="f5855" y="f6042"/>
              </a:cxn>
              <a:cxn ang="f4299">
                <a:pos x="f5856" y="f6042"/>
              </a:cxn>
              <a:cxn ang="f4299">
                <a:pos x="f5857" y="f6043"/>
              </a:cxn>
              <a:cxn ang="f4299">
                <a:pos x="f5857" y="f6044"/>
              </a:cxn>
              <a:cxn ang="f4299">
                <a:pos x="f5856" y="f6045"/>
              </a:cxn>
              <a:cxn ang="f4299">
                <a:pos x="f5855" y="f6045"/>
              </a:cxn>
              <a:cxn ang="f4299">
                <a:pos x="f5858" y="f6044"/>
              </a:cxn>
              <a:cxn ang="f4299">
                <a:pos x="f5858" y="f6043"/>
              </a:cxn>
              <a:cxn ang="f4299">
                <a:pos x="f5859" y="f6042"/>
              </a:cxn>
              <a:cxn ang="f4299">
                <a:pos x="f5860" y="f6042"/>
              </a:cxn>
              <a:cxn ang="f4299">
                <a:pos x="f5861" y="f6043"/>
              </a:cxn>
              <a:cxn ang="f4299">
                <a:pos x="f5861" y="f6044"/>
              </a:cxn>
              <a:cxn ang="f4299">
                <a:pos x="f5860" y="f6045"/>
              </a:cxn>
              <a:cxn ang="f4299">
                <a:pos x="f5859" y="f6045"/>
              </a:cxn>
              <a:cxn ang="f4299">
                <a:pos x="f5862" y="f6044"/>
              </a:cxn>
              <a:cxn ang="f4299">
                <a:pos x="f5862" y="f6043"/>
              </a:cxn>
              <a:cxn ang="f4299">
                <a:pos x="f5863" y="f6042"/>
              </a:cxn>
              <a:cxn ang="f4299">
                <a:pos x="f5864" y="f6042"/>
              </a:cxn>
              <a:cxn ang="f4299">
                <a:pos x="f5865" y="f6043"/>
              </a:cxn>
              <a:cxn ang="f4299">
                <a:pos x="f5865" y="f6044"/>
              </a:cxn>
              <a:cxn ang="f4299">
                <a:pos x="f5864" y="f6045"/>
              </a:cxn>
              <a:cxn ang="f4299">
                <a:pos x="f5863" y="f6045"/>
              </a:cxn>
              <a:cxn ang="f4299">
                <a:pos x="f5866" y="f6044"/>
              </a:cxn>
              <a:cxn ang="f4299">
                <a:pos x="f5866" y="f6043"/>
              </a:cxn>
              <a:cxn ang="f4299">
                <a:pos x="f5867" y="f6042"/>
              </a:cxn>
              <a:cxn ang="f4299">
                <a:pos x="f5868" y="f6042"/>
              </a:cxn>
              <a:cxn ang="f4299">
                <a:pos x="f5869" y="f6043"/>
              </a:cxn>
              <a:cxn ang="f4299">
                <a:pos x="f5869" y="f6044"/>
              </a:cxn>
              <a:cxn ang="f4299">
                <a:pos x="f5868" y="f6045"/>
              </a:cxn>
              <a:cxn ang="f4299">
                <a:pos x="f5867" y="f6045"/>
              </a:cxn>
              <a:cxn ang="f4299">
                <a:pos x="f5870" y="f6044"/>
              </a:cxn>
              <a:cxn ang="f4299">
                <a:pos x="f5870" y="f6043"/>
              </a:cxn>
              <a:cxn ang="f4299">
                <a:pos x="f5871" y="f6042"/>
              </a:cxn>
              <a:cxn ang="f4299">
                <a:pos x="f5872" y="f6042"/>
              </a:cxn>
              <a:cxn ang="f4299">
                <a:pos x="f5873" y="f6043"/>
              </a:cxn>
              <a:cxn ang="f4299">
                <a:pos x="f5873" y="f6044"/>
              </a:cxn>
              <a:cxn ang="f4299">
                <a:pos x="f5872" y="f6045"/>
              </a:cxn>
              <a:cxn ang="f4299">
                <a:pos x="f5871" y="f6045"/>
              </a:cxn>
              <a:cxn ang="f4299">
                <a:pos x="f5874" y="f6044"/>
              </a:cxn>
              <a:cxn ang="f4299">
                <a:pos x="f5874" y="f6043"/>
              </a:cxn>
              <a:cxn ang="f4299">
                <a:pos x="f5875" y="f6042"/>
              </a:cxn>
              <a:cxn ang="f4299">
                <a:pos x="f5876" y="f6042"/>
              </a:cxn>
              <a:cxn ang="f4299">
                <a:pos x="f5877" y="f6043"/>
              </a:cxn>
              <a:cxn ang="f4299">
                <a:pos x="f5877" y="f6044"/>
              </a:cxn>
              <a:cxn ang="f4299">
                <a:pos x="f5876" y="f6045"/>
              </a:cxn>
              <a:cxn ang="f4299">
                <a:pos x="f5875" y="f6045"/>
              </a:cxn>
              <a:cxn ang="f4299">
                <a:pos x="f5878" y="f6044"/>
              </a:cxn>
              <a:cxn ang="f4299">
                <a:pos x="f5878" y="f6043"/>
              </a:cxn>
              <a:cxn ang="f4299">
                <a:pos x="f5879" y="f6042"/>
              </a:cxn>
              <a:cxn ang="f4299">
                <a:pos x="f5880" y="f6042"/>
              </a:cxn>
              <a:cxn ang="f4299">
                <a:pos x="f5881" y="f6043"/>
              </a:cxn>
              <a:cxn ang="f4299">
                <a:pos x="f5881" y="f6044"/>
              </a:cxn>
              <a:cxn ang="f4299">
                <a:pos x="f5880" y="f6045"/>
              </a:cxn>
              <a:cxn ang="f4299">
                <a:pos x="f5879" y="f6045"/>
              </a:cxn>
              <a:cxn ang="f4299">
                <a:pos x="f5882" y="f6044"/>
              </a:cxn>
              <a:cxn ang="f4299">
                <a:pos x="f5882" y="f6043"/>
              </a:cxn>
              <a:cxn ang="f4299">
                <a:pos x="f5883" y="f6042"/>
              </a:cxn>
              <a:cxn ang="f4299">
                <a:pos x="f5884" y="f6042"/>
              </a:cxn>
              <a:cxn ang="f4299">
                <a:pos x="f5885" y="f6043"/>
              </a:cxn>
              <a:cxn ang="f4299">
                <a:pos x="f5885" y="f6044"/>
              </a:cxn>
              <a:cxn ang="f4299">
                <a:pos x="f5884" y="f6045"/>
              </a:cxn>
              <a:cxn ang="f4299">
                <a:pos x="f5883" y="f6045"/>
              </a:cxn>
              <a:cxn ang="f4299">
                <a:pos x="f5886" y="f6044"/>
              </a:cxn>
              <a:cxn ang="f4299">
                <a:pos x="f5886" y="f6043"/>
              </a:cxn>
              <a:cxn ang="f4299">
                <a:pos x="f5887" y="f6042"/>
              </a:cxn>
              <a:cxn ang="f4299">
                <a:pos x="f5888" y="f6042"/>
              </a:cxn>
              <a:cxn ang="f4299">
                <a:pos x="f5889" y="f6043"/>
              </a:cxn>
              <a:cxn ang="f4299">
                <a:pos x="f5889" y="f6044"/>
              </a:cxn>
              <a:cxn ang="f4299">
                <a:pos x="f5888" y="f6045"/>
              </a:cxn>
              <a:cxn ang="f4299">
                <a:pos x="f5887" y="f6045"/>
              </a:cxn>
              <a:cxn ang="f4299">
                <a:pos x="f5890" y="f6044"/>
              </a:cxn>
              <a:cxn ang="f4299">
                <a:pos x="f5890" y="f6043"/>
              </a:cxn>
              <a:cxn ang="f4299">
                <a:pos x="f5891" y="f6042"/>
              </a:cxn>
              <a:cxn ang="f4299">
                <a:pos x="f5892" y="f6042"/>
              </a:cxn>
              <a:cxn ang="f4299">
                <a:pos x="f5893" y="f6043"/>
              </a:cxn>
              <a:cxn ang="f4299">
                <a:pos x="f5893" y="f6044"/>
              </a:cxn>
              <a:cxn ang="f4299">
                <a:pos x="f5892" y="f6045"/>
              </a:cxn>
              <a:cxn ang="f4299">
                <a:pos x="f5891" y="f6045"/>
              </a:cxn>
              <a:cxn ang="f4299">
                <a:pos x="f5894" y="f6044"/>
              </a:cxn>
              <a:cxn ang="f4299">
                <a:pos x="f5894" y="f6043"/>
              </a:cxn>
              <a:cxn ang="f4299">
                <a:pos x="f6017" y="f6042"/>
              </a:cxn>
              <a:cxn ang="f4299">
                <a:pos x="f6046" y="f6042"/>
              </a:cxn>
              <a:cxn ang="f4299">
                <a:pos x="f6047" y="f6043"/>
              </a:cxn>
              <a:cxn ang="f4299">
                <a:pos x="f6047" y="f6044"/>
              </a:cxn>
              <a:cxn ang="f4299">
                <a:pos x="f6046" y="f6045"/>
              </a:cxn>
              <a:cxn ang="f4299">
                <a:pos x="f6017" y="f6045"/>
              </a:cxn>
              <a:cxn ang="f4299">
                <a:pos x="f6048" y="f6044"/>
              </a:cxn>
              <a:cxn ang="f4299">
                <a:pos x="f6048" y="f6043"/>
              </a:cxn>
              <a:cxn ang="f4299">
                <a:pos x="f6020" y="f6042"/>
              </a:cxn>
              <a:cxn ang="f4299">
                <a:pos x="f6049" y="f6042"/>
              </a:cxn>
              <a:cxn ang="f4299">
                <a:pos x="f6050" y="f6043"/>
              </a:cxn>
              <a:cxn ang="f4299">
                <a:pos x="f6050" y="f6044"/>
              </a:cxn>
              <a:cxn ang="f4299">
                <a:pos x="f6049" y="f6045"/>
              </a:cxn>
              <a:cxn ang="f4299">
                <a:pos x="f6020" y="f6045"/>
              </a:cxn>
              <a:cxn ang="f4299">
                <a:pos x="f6022" y="f6044"/>
              </a:cxn>
              <a:cxn ang="f4299">
                <a:pos x="f6022" y="f6043"/>
              </a:cxn>
              <a:cxn ang="f4299">
                <a:pos x="f6051" y="f6042"/>
              </a:cxn>
              <a:cxn ang="f4299">
                <a:pos x="f6052" y="f6042"/>
              </a:cxn>
              <a:cxn ang="f4299">
                <a:pos x="f6053" y="f6043"/>
              </a:cxn>
              <a:cxn ang="f4299">
                <a:pos x="f6053" y="f6044"/>
              </a:cxn>
              <a:cxn ang="f4299">
                <a:pos x="f6052" y="f6045"/>
              </a:cxn>
              <a:cxn ang="f4299">
                <a:pos x="f6051" y="f6045"/>
              </a:cxn>
              <a:cxn ang="f4299">
                <a:pos x="f6054" y="f6044"/>
              </a:cxn>
              <a:cxn ang="f4299">
                <a:pos x="f6054" y="f6043"/>
              </a:cxn>
              <a:cxn ang="f4299">
                <a:pos x="f6025" y="f6042"/>
              </a:cxn>
              <a:cxn ang="f4299">
                <a:pos x="f6055" y="f6042"/>
              </a:cxn>
              <a:cxn ang="f4299">
                <a:pos x="f6056" y="f6043"/>
              </a:cxn>
              <a:cxn ang="f4299">
                <a:pos x="f6056" y="f6044"/>
              </a:cxn>
              <a:cxn ang="f4299">
                <a:pos x="f6055" y="f6045"/>
              </a:cxn>
              <a:cxn ang="f4299">
                <a:pos x="f6025" y="f6045"/>
              </a:cxn>
              <a:cxn ang="f4299">
                <a:pos x="f6027" y="f6044"/>
              </a:cxn>
              <a:cxn ang="f4299">
                <a:pos x="f6027" y="f6043"/>
              </a:cxn>
              <a:cxn ang="f4299">
                <a:pos x="f6057" y="f6058"/>
              </a:cxn>
              <a:cxn ang="f4299">
                <a:pos x="f6029" y="f6058"/>
              </a:cxn>
              <a:cxn ang="f4299">
                <a:pos x="f6005" y="f6059"/>
              </a:cxn>
              <a:cxn ang="f4299">
                <a:pos x="f6005" y="f6060"/>
              </a:cxn>
              <a:cxn ang="f4299">
                <a:pos x="f6029" y="f6061"/>
              </a:cxn>
              <a:cxn ang="f4299">
                <a:pos x="f6057" y="f6061"/>
              </a:cxn>
              <a:cxn ang="f4299">
                <a:pos x="f6062" y="f6060"/>
              </a:cxn>
              <a:cxn ang="f4299">
                <a:pos x="f6062" y="f6059"/>
              </a:cxn>
              <a:cxn ang="f4299">
                <a:pos x="f5973" y="f6058"/>
              </a:cxn>
              <a:cxn ang="f4299">
                <a:pos x="f5946" y="f6058"/>
              </a:cxn>
              <a:cxn ang="f4299">
                <a:pos x="f6063" y="f6059"/>
              </a:cxn>
              <a:cxn ang="f4299">
                <a:pos x="f6063" y="f6060"/>
              </a:cxn>
              <a:cxn ang="f4299">
                <a:pos x="f5946" y="f6061"/>
              </a:cxn>
              <a:cxn ang="f4299">
                <a:pos x="f5973" y="f6061"/>
              </a:cxn>
              <a:cxn ang="f4299">
                <a:pos x="f6033" y="f6060"/>
              </a:cxn>
              <a:cxn ang="f4299">
                <a:pos x="f6033" y="f6059"/>
              </a:cxn>
              <a:cxn ang="f4299">
                <a:pos x="f6034" y="f6058"/>
              </a:cxn>
              <a:cxn ang="f4299">
                <a:pos x="f6064" y="f6058"/>
              </a:cxn>
              <a:cxn ang="f4299">
                <a:pos x="f6065" y="f6059"/>
              </a:cxn>
              <a:cxn ang="f4299">
                <a:pos x="f6065" y="f6060"/>
              </a:cxn>
              <a:cxn ang="f4299">
                <a:pos x="f6064" y="f6061"/>
              </a:cxn>
              <a:cxn ang="f4299">
                <a:pos x="f6034" y="f6061"/>
              </a:cxn>
              <a:cxn ang="f4299">
                <a:pos x="f6066" y="f6060"/>
              </a:cxn>
              <a:cxn ang="f4299">
                <a:pos x="f6066" y="f6059"/>
              </a:cxn>
              <a:cxn ang="f4299">
                <a:pos x="f6036" y="f6058"/>
              </a:cxn>
              <a:cxn ang="f4299">
                <a:pos x="f6037" y="f6058"/>
              </a:cxn>
              <a:cxn ang="f4299">
                <a:pos x="f6067" y="f6059"/>
              </a:cxn>
              <a:cxn ang="f4299">
                <a:pos x="f6067" y="f6060"/>
              </a:cxn>
              <a:cxn ang="f4299">
                <a:pos x="f6037" y="f6061"/>
              </a:cxn>
              <a:cxn ang="f4299">
                <a:pos x="f6036" y="f6061"/>
              </a:cxn>
              <a:cxn ang="f4299">
                <a:pos x="f6068" y="f6060"/>
              </a:cxn>
              <a:cxn ang="f4299">
                <a:pos x="f6068" y="f6059"/>
              </a:cxn>
              <a:cxn ang="f4299">
                <a:pos x="f6039" y="f6058"/>
              </a:cxn>
              <a:cxn ang="f4299">
                <a:pos x="f6069" y="f6058"/>
              </a:cxn>
              <a:cxn ang="f4299">
                <a:pos x="f6040" y="f6059"/>
              </a:cxn>
              <a:cxn ang="f4299">
                <a:pos x="f6040" y="f6060"/>
              </a:cxn>
              <a:cxn ang="f4299">
                <a:pos x="f6069" y="f6061"/>
              </a:cxn>
              <a:cxn ang="f4299">
                <a:pos x="f6039" y="f6061"/>
              </a:cxn>
              <a:cxn ang="f4299">
                <a:pos x="f6070" y="f6060"/>
              </a:cxn>
              <a:cxn ang="f4299">
                <a:pos x="f6070" y="f6059"/>
              </a:cxn>
              <a:cxn ang="f4299">
                <a:pos x="f6071" y="f6058"/>
              </a:cxn>
              <a:cxn ang="f4299">
                <a:pos x="f6041" y="f6058"/>
              </a:cxn>
              <a:cxn ang="f4299">
                <a:pos x="f6072" y="f6059"/>
              </a:cxn>
              <a:cxn ang="f4299">
                <a:pos x="f6072" y="f6060"/>
              </a:cxn>
              <a:cxn ang="f4299">
                <a:pos x="f6041" y="f6061"/>
              </a:cxn>
              <a:cxn ang="f4299">
                <a:pos x="f6071" y="f6061"/>
              </a:cxn>
              <a:cxn ang="f4299">
                <a:pos x="f6073" y="f6060"/>
              </a:cxn>
              <a:cxn ang="f4299">
                <a:pos x="f6073" y="f6059"/>
              </a:cxn>
              <a:cxn ang="f4299">
                <a:pos x="f5767" y="f6074"/>
              </a:cxn>
              <a:cxn ang="f4299">
                <a:pos x="f5769" y="f6074"/>
              </a:cxn>
              <a:cxn ang="f4299">
                <a:pos x="f5770" y="f6075"/>
              </a:cxn>
              <a:cxn ang="f4299">
                <a:pos x="f5770" y="f6076"/>
              </a:cxn>
              <a:cxn ang="f4299">
                <a:pos x="f5769" y="f6077"/>
              </a:cxn>
              <a:cxn ang="f4299">
                <a:pos x="f5767" y="f6077"/>
              </a:cxn>
              <a:cxn ang="f4299">
                <a:pos x="f5774" y="f6076"/>
              </a:cxn>
              <a:cxn ang="f4299">
                <a:pos x="f5774" y="f6075"/>
              </a:cxn>
              <a:cxn ang="f4299">
                <a:pos x="f5775" y="f6074"/>
              </a:cxn>
              <a:cxn ang="f4299">
                <a:pos x="f5776" y="f6074"/>
              </a:cxn>
              <a:cxn ang="f4299">
                <a:pos x="f5777" y="f6075"/>
              </a:cxn>
              <a:cxn ang="f4299">
                <a:pos x="f5777" y="f6076"/>
              </a:cxn>
              <a:cxn ang="f4299">
                <a:pos x="f5776" y="f6077"/>
              </a:cxn>
              <a:cxn ang="f4299">
                <a:pos x="f5775" y="f6077"/>
              </a:cxn>
              <a:cxn ang="f4299">
                <a:pos x="f5778" y="f6076"/>
              </a:cxn>
              <a:cxn ang="f4299">
                <a:pos x="f5778" y="f6075"/>
              </a:cxn>
              <a:cxn ang="f4299">
                <a:pos x="f5779" y="f6074"/>
              </a:cxn>
              <a:cxn ang="f4299">
                <a:pos x="f5780" y="f6074"/>
              </a:cxn>
              <a:cxn ang="f4299">
                <a:pos x="f5781" y="f6075"/>
              </a:cxn>
              <a:cxn ang="f4299">
                <a:pos x="f5781" y="f6076"/>
              </a:cxn>
              <a:cxn ang="f4299">
                <a:pos x="f5780" y="f6077"/>
              </a:cxn>
              <a:cxn ang="f4299">
                <a:pos x="f5779" y="f6077"/>
              </a:cxn>
              <a:cxn ang="f4299">
                <a:pos x="f5782" y="f6076"/>
              </a:cxn>
              <a:cxn ang="f4299">
                <a:pos x="f5782" y="f6075"/>
              </a:cxn>
              <a:cxn ang="f4299">
                <a:pos x="f5783" y="f6074"/>
              </a:cxn>
              <a:cxn ang="f4299">
                <a:pos x="f5784" y="f6074"/>
              </a:cxn>
              <a:cxn ang="f4299">
                <a:pos x="f5785" y="f6075"/>
              </a:cxn>
              <a:cxn ang="f4299">
                <a:pos x="f5785" y="f6076"/>
              </a:cxn>
              <a:cxn ang="f4299">
                <a:pos x="f5784" y="f6077"/>
              </a:cxn>
              <a:cxn ang="f4299">
                <a:pos x="f5783" y="f6077"/>
              </a:cxn>
              <a:cxn ang="f4299">
                <a:pos x="f5786" y="f6076"/>
              </a:cxn>
              <a:cxn ang="f4299">
                <a:pos x="f5786" y="f6075"/>
              </a:cxn>
              <a:cxn ang="f4299">
                <a:pos x="f5787" y="f6074"/>
              </a:cxn>
              <a:cxn ang="f4299">
                <a:pos x="f5788" y="f6074"/>
              </a:cxn>
              <a:cxn ang="f4299">
                <a:pos x="f5789" y="f6075"/>
              </a:cxn>
              <a:cxn ang="f4299">
                <a:pos x="f5789" y="f6076"/>
              </a:cxn>
              <a:cxn ang="f4299">
                <a:pos x="f5788" y="f6077"/>
              </a:cxn>
              <a:cxn ang="f4299">
                <a:pos x="f5787" y="f6077"/>
              </a:cxn>
              <a:cxn ang="f4299">
                <a:pos x="f5790" y="f6076"/>
              </a:cxn>
              <a:cxn ang="f4299">
                <a:pos x="f5790" y="f6075"/>
              </a:cxn>
              <a:cxn ang="f4299">
                <a:pos x="f5791" y="f6074"/>
              </a:cxn>
              <a:cxn ang="f4299">
                <a:pos x="f5792" y="f6074"/>
              </a:cxn>
              <a:cxn ang="f4299">
                <a:pos x="f5793" y="f6075"/>
              </a:cxn>
              <a:cxn ang="f4299">
                <a:pos x="f5793" y="f6076"/>
              </a:cxn>
              <a:cxn ang="f4299">
                <a:pos x="f5792" y="f6077"/>
              </a:cxn>
              <a:cxn ang="f4299">
                <a:pos x="f5791" y="f6077"/>
              </a:cxn>
              <a:cxn ang="f4299">
                <a:pos x="f5794" y="f6076"/>
              </a:cxn>
              <a:cxn ang="f4299">
                <a:pos x="f5794" y="f6075"/>
              </a:cxn>
              <a:cxn ang="f4299">
                <a:pos x="f5795" y="f6074"/>
              </a:cxn>
              <a:cxn ang="f4299">
                <a:pos x="f5796" y="f6074"/>
              </a:cxn>
              <a:cxn ang="f4299">
                <a:pos x="f5797" y="f6075"/>
              </a:cxn>
              <a:cxn ang="f4299">
                <a:pos x="f5797" y="f6076"/>
              </a:cxn>
              <a:cxn ang="f4299">
                <a:pos x="f5796" y="f6077"/>
              </a:cxn>
              <a:cxn ang="f4299">
                <a:pos x="f5795" y="f6077"/>
              </a:cxn>
              <a:cxn ang="f4299">
                <a:pos x="f5798" y="f6076"/>
              </a:cxn>
              <a:cxn ang="f4299">
                <a:pos x="f5798" y="f6075"/>
              </a:cxn>
              <a:cxn ang="f4299">
                <a:pos x="f5799" y="f6074"/>
              </a:cxn>
              <a:cxn ang="f4299">
                <a:pos x="f5800" y="f6074"/>
              </a:cxn>
              <a:cxn ang="f4299">
                <a:pos x="f5801" y="f6075"/>
              </a:cxn>
              <a:cxn ang="f4299">
                <a:pos x="f5801" y="f6076"/>
              </a:cxn>
              <a:cxn ang="f4299">
                <a:pos x="f5800" y="f6077"/>
              </a:cxn>
              <a:cxn ang="f4299">
                <a:pos x="f5799" y="f6077"/>
              </a:cxn>
              <a:cxn ang="f4299">
                <a:pos x="f5802" y="f6076"/>
              </a:cxn>
              <a:cxn ang="f4299">
                <a:pos x="f5802" y="f6075"/>
              </a:cxn>
              <a:cxn ang="f4299">
                <a:pos x="f5803" y="f6074"/>
              </a:cxn>
              <a:cxn ang="f4299">
                <a:pos x="f5804" y="f6074"/>
              </a:cxn>
              <a:cxn ang="f4299">
                <a:pos x="f5805" y="f6075"/>
              </a:cxn>
              <a:cxn ang="f4299">
                <a:pos x="f5805" y="f6076"/>
              </a:cxn>
              <a:cxn ang="f4299">
                <a:pos x="f5804" y="f6077"/>
              </a:cxn>
              <a:cxn ang="f4299">
                <a:pos x="f5803" y="f6077"/>
              </a:cxn>
              <a:cxn ang="f4299">
                <a:pos x="f5806" y="f6076"/>
              </a:cxn>
              <a:cxn ang="f4299">
                <a:pos x="f5806" y="f6075"/>
              </a:cxn>
              <a:cxn ang="f4299">
                <a:pos x="f5807" y="f6074"/>
              </a:cxn>
              <a:cxn ang="f4299">
                <a:pos x="f5808" y="f6074"/>
              </a:cxn>
              <a:cxn ang="f4299">
                <a:pos x="f5809" y="f6075"/>
              </a:cxn>
              <a:cxn ang="f4299">
                <a:pos x="f5809" y="f6076"/>
              </a:cxn>
              <a:cxn ang="f4299">
                <a:pos x="f5808" y="f6077"/>
              </a:cxn>
              <a:cxn ang="f4299">
                <a:pos x="f5807" y="f6077"/>
              </a:cxn>
              <a:cxn ang="f4299">
                <a:pos x="f5810" y="f6076"/>
              </a:cxn>
              <a:cxn ang="f4299">
                <a:pos x="f5810" y="f6075"/>
              </a:cxn>
              <a:cxn ang="f4299">
                <a:pos x="f5811" y="f6074"/>
              </a:cxn>
              <a:cxn ang="f4299">
                <a:pos x="f5812" y="f6074"/>
              </a:cxn>
              <a:cxn ang="f4299">
                <a:pos x="f5813" y="f6075"/>
              </a:cxn>
              <a:cxn ang="f4299">
                <a:pos x="f5813" y="f6076"/>
              </a:cxn>
              <a:cxn ang="f4299">
                <a:pos x="f5812" y="f6077"/>
              </a:cxn>
              <a:cxn ang="f4299">
                <a:pos x="f5811" y="f6077"/>
              </a:cxn>
              <a:cxn ang="f4299">
                <a:pos x="f5814" y="f6076"/>
              </a:cxn>
              <a:cxn ang="f4299">
                <a:pos x="f5814" y="f6075"/>
              </a:cxn>
              <a:cxn ang="f4299">
                <a:pos x="f5815" y="f6074"/>
              </a:cxn>
              <a:cxn ang="f4299">
                <a:pos x="f5816" y="f6074"/>
              </a:cxn>
              <a:cxn ang="f4299">
                <a:pos x="f5817" y="f6075"/>
              </a:cxn>
              <a:cxn ang="f4299">
                <a:pos x="f5817" y="f6076"/>
              </a:cxn>
              <a:cxn ang="f4299">
                <a:pos x="f5816" y="f6077"/>
              </a:cxn>
              <a:cxn ang="f4299">
                <a:pos x="f5815" y="f6077"/>
              </a:cxn>
              <a:cxn ang="f4299">
                <a:pos x="f5818" y="f6076"/>
              </a:cxn>
              <a:cxn ang="f4299">
                <a:pos x="f5818" y="f6075"/>
              </a:cxn>
              <a:cxn ang="f4299">
                <a:pos x="f5819" y="f6074"/>
              </a:cxn>
              <a:cxn ang="f4299">
                <a:pos x="f5820" y="f6074"/>
              </a:cxn>
              <a:cxn ang="f4299">
                <a:pos x="f5821" y="f6075"/>
              </a:cxn>
              <a:cxn ang="f4299">
                <a:pos x="f5821" y="f6076"/>
              </a:cxn>
              <a:cxn ang="f4299">
                <a:pos x="f5820" y="f6077"/>
              </a:cxn>
              <a:cxn ang="f4299">
                <a:pos x="f5819" y="f6077"/>
              </a:cxn>
              <a:cxn ang="f4299">
                <a:pos x="f5822" y="f6076"/>
              </a:cxn>
              <a:cxn ang="f4299">
                <a:pos x="f5822" y="f6075"/>
              </a:cxn>
              <a:cxn ang="f4299">
                <a:pos x="f5823" y="f6074"/>
              </a:cxn>
              <a:cxn ang="f4299">
                <a:pos x="f5824" y="f6074"/>
              </a:cxn>
              <a:cxn ang="f4299">
                <a:pos x="f5825" y="f6075"/>
              </a:cxn>
              <a:cxn ang="f4299">
                <a:pos x="f5825" y="f6076"/>
              </a:cxn>
              <a:cxn ang="f4299">
                <a:pos x="f5824" y="f6077"/>
              </a:cxn>
              <a:cxn ang="f4299">
                <a:pos x="f5823" y="f6077"/>
              </a:cxn>
              <a:cxn ang="f4299">
                <a:pos x="f5826" y="f6076"/>
              </a:cxn>
              <a:cxn ang="f4299">
                <a:pos x="f5826" y="f6075"/>
              </a:cxn>
              <a:cxn ang="f4299">
                <a:pos x="f5827" y="f6074"/>
              </a:cxn>
              <a:cxn ang="f4299">
                <a:pos x="f5828" y="f6074"/>
              </a:cxn>
              <a:cxn ang="f4299">
                <a:pos x="f5829" y="f6075"/>
              </a:cxn>
              <a:cxn ang="f4299">
                <a:pos x="f5829" y="f6076"/>
              </a:cxn>
              <a:cxn ang="f4299">
                <a:pos x="f5828" y="f6077"/>
              </a:cxn>
              <a:cxn ang="f4299">
                <a:pos x="f5827" y="f6077"/>
              </a:cxn>
              <a:cxn ang="f4299">
                <a:pos x="f5830" y="f6076"/>
              </a:cxn>
              <a:cxn ang="f4299">
                <a:pos x="f5830" y="f6075"/>
              </a:cxn>
              <a:cxn ang="f4299">
                <a:pos x="f5831" y="f6074"/>
              </a:cxn>
              <a:cxn ang="f4299">
                <a:pos x="f5832" y="f6074"/>
              </a:cxn>
              <a:cxn ang="f4299">
                <a:pos x="f5833" y="f6075"/>
              </a:cxn>
              <a:cxn ang="f4299">
                <a:pos x="f5833" y="f6076"/>
              </a:cxn>
              <a:cxn ang="f4299">
                <a:pos x="f5832" y="f6077"/>
              </a:cxn>
              <a:cxn ang="f4299">
                <a:pos x="f5831" y="f6077"/>
              </a:cxn>
              <a:cxn ang="f4299">
                <a:pos x="f5834" y="f6076"/>
              </a:cxn>
              <a:cxn ang="f4299">
                <a:pos x="f5834" y="f6075"/>
              </a:cxn>
              <a:cxn ang="f4299">
                <a:pos x="f5835" y="f6074"/>
              </a:cxn>
              <a:cxn ang="f4299">
                <a:pos x="f5836" y="f6074"/>
              </a:cxn>
              <a:cxn ang="f4299">
                <a:pos x="f5837" y="f6075"/>
              </a:cxn>
              <a:cxn ang="f4299">
                <a:pos x="f5837" y="f6076"/>
              </a:cxn>
              <a:cxn ang="f4299">
                <a:pos x="f5836" y="f6077"/>
              </a:cxn>
              <a:cxn ang="f4299">
                <a:pos x="f5835" y="f6077"/>
              </a:cxn>
              <a:cxn ang="f4299">
                <a:pos x="f5838" y="f6076"/>
              </a:cxn>
              <a:cxn ang="f4299">
                <a:pos x="f5838" y="f6075"/>
              </a:cxn>
              <a:cxn ang="f4299">
                <a:pos x="f5839" y="f6074"/>
              </a:cxn>
              <a:cxn ang="f4299">
                <a:pos x="f5840" y="f6074"/>
              </a:cxn>
              <a:cxn ang="f4299">
                <a:pos x="f5841" y="f6075"/>
              </a:cxn>
              <a:cxn ang="f4299">
                <a:pos x="f5841" y="f6076"/>
              </a:cxn>
              <a:cxn ang="f4299">
                <a:pos x="f5840" y="f6077"/>
              </a:cxn>
              <a:cxn ang="f4299">
                <a:pos x="f5839" y="f6077"/>
              </a:cxn>
              <a:cxn ang="f4299">
                <a:pos x="f5842" y="f6076"/>
              </a:cxn>
              <a:cxn ang="f4299">
                <a:pos x="f5842" y="f6075"/>
              </a:cxn>
              <a:cxn ang="f4299">
                <a:pos x="f5843" y="f6074"/>
              </a:cxn>
              <a:cxn ang="f4299">
                <a:pos x="f5844" y="f6074"/>
              </a:cxn>
              <a:cxn ang="f4299">
                <a:pos x="f5845" y="f6075"/>
              </a:cxn>
              <a:cxn ang="f4299">
                <a:pos x="f5845" y="f6076"/>
              </a:cxn>
              <a:cxn ang="f4299">
                <a:pos x="f5844" y="f6077"/>
              </a:cxn>
              <a:cxn ang="f4299">
                <a:pos x="f5843" y="f6077"/>
              </a:cxn>
              <a:cxn ang="f4299">
                <a:pos x="f5846" y="f6076"/>
              </a:cxn>
              <a:cxn ang="f4299">
                <a:pos x="f5846" y="f6075"/>
              </a:cxn>
              <a:cxn ang="f4299">
                <a:pos x="f5847" y="f6074"/>
              </a:cxn>
              <a:cxn ang="f4299">
                <a:pos x="f5848" y="f6074"/>
              </a:cxn>
              <a:cxn ang="f4299">
                <a:pos x="f5849" y="f6075"/>
              </a:cxn>
              <a:cxn ang="f4299">
                <a:pos x="f5849" y="f6076"/>
              </a:cxn>
              <a:cxn ang="f4299">
                <a:pos x="f5848" y="f6077"/>
              </a:cxn>
              <a:cxn ang="f4299">
                <a:pos x="f5847" y="f6077"/>
              </a:cxn>
              <a:cxn ang="f4299">
                <a:pos x="f5850" y="f6076"/>
              </a:cxn>
              <a:cxn ang="f4299">
                <a:pos x="f5850" y="f6075"/>
              </a:cxn>
              <a:cxn ang="f4299">
                <a:pos x="f5851" y="f6074"/>
              </a:cxn>
              <a:cxn ang="f4299">
                <a:pos x="f5852" y="f6074"/>
              </a:cxn>
              <a:cxn ang="f4299">
                <a:pos x="f5853" y="f6075"/>
              </a:cxn>
              <a:cxn ang="f4299">
                <a:pos x="f5853" y="f6076"/>
              </a:cxn>
              <a:cxn ang="f4299">
                <a:pos x="f5852" y="f6077"/>
              </a:cxn>
              <a:cxn ang="f4299">
                <a:pos x="f5851" y="f6077"/>
              </a:cxn>
              <a:cxn ang="f4299">
                <a:pos x="f5854" y="f6076"/>
              </a:cxn>
              <a:cxn ang="f4299">
                <a:pos x="f5854" y="f6075"/>
              </a:cxn>
              <a:cxn ang="f4299">
                <a:pos x="f5855" y="f6074"/>
              </a:cxn>
              <a:cxn ang="f4299">
                <a:pos x="f5856" y="f6074"/>
              </a:cxn>
              <a:cxn ang="f4299">
                <a:pos x="f5857" y="f6075"/>
              </a:cxn>
              <a:cxn ang="f4299">
                <a:pos x="f5857" y="f6076"/>
              </a:cxn>
              <a:cxn ang="f4299">
                <a:pos x="f5856" y="f6077"/>
              </a:cxn>
              <a:cxn ang="f4299">
                <a:pos x="f5855" y="f6077"/>
              </a:cxn>
              <a:cxn ang="f4299">
                <a:pos x="f5858" y="f6076"/>
              </a:cxn>
              <a:cxn ang="f4299">
                <a:pos x="f5858" y="f6075"/>
              </a:cxn>
              <a:cxn ang="f4299">
                <a:pos x="f5859" y="f6074"/>
              </a:cxn>
              <a:cxn ang="f4299">
                <a:pos x="f5860" y="f6074"/>
              </a:cxn>
              <a:cxn ang="f4299">
                <a:pos x="f5861" y="f6075"/>
              </a:cxn>
              <a:cxn ang="f4299">
                <a:pos x="f5861" y="f6076"/>
              </a:cxn>
              <a:cxn ang="f4299">
                <a:pos x="f5860" y="f6077"/>
              </a:cxn>
              <a:cxn ang="f4299">
                <a:pos x="f5859" y="f6077"/>
              </a:cxn>
              <a:cxn ang="f4299">
                <a:pos x="f5862" y="f6076"/>
              </a:cxn>
              <a:cxn ang="f4299">
                <a:pos x="f5862" y="f6075"/>
              </a:cxn>
              <a:cxn ang="f4299">
                <a:pos x="f5863" y="f6074"/>
              </a:cxn>
              <a:cxn ang="f4299">
                <a:pos x="f5864" y="f6074"/>
              </a:cxn>
              <a:cxn ang="f4299">
                <a:pos x="f5865" y="f6075"/>
              </a:cxn>
              <a:cxn ang="f4299">
                <a:pos x="f5865" y="f6076"/>
              </a:cxn>
              <a:cxn ang="f4299">
                <a:pos x="f5864" y="f6077"/>
              </a:cxn>
              <a:cxn ang="f4299">
                <a:pos x="f5863" y="f6077"/>
              </a:cxn>
              <a:cxn ang="f4299">
                <a:pos x="f5866" y="f6076"/>
              </a:cxn>
              <a:cxn ang="f4299">
                <a:pos x="f5866" y="f6075"/>
              </a:cxn>
              <a:cxn ang="f4299">
                <a:pos x="f5867" y="f6074"/>
              </a:cxn>
              <a:cxn ang="f4299">
                <a:pos x="f5868" y="f6074"/>
              </a:cxn>
              <a:cxn ang="f4299">
                <a:pos x="f5869" y="f6075"/>
              </a:cxn>
              <a:cxn ang="f4299">
                <a:pos x="f5869" y="f6076"/>
              </a:cxn>
              <a:cxn ang="f4299">
                <a:pos x="f5868" y="f6077"/>
              </a:cxn>
              <a:cxn ang="f4299">
                <a:pos x="f5867" y="f6077"/>
              </a:cxn>
              <a:cxn ang="f4299">
                <a:pos x="f5870" y="f6076"/>
              </a:cxn>
              <a:cxn ang="f4299">
                <a:pos x="f5870" y="f6075"/>
              </a:cxn>
              <a:cxn ang="f4299">
                <a:pos x="f5871" y="f6074"/>
              </a:cxn>
              <a:cxn ang="f4299">
                <a:pos x="f5872" y="f6074"/>
              </a:cxn>
              <a:cxn ang="f4299">
                <a:pos x="f5873" y="f6075"/>
              </a:cxn>
              <a:cxn ang="f4299">
                <a:pos x="f5873" y="f6076"/>
              </a:cxn>
              <a:cxn ang="f4299">
                <a:pos x="f5872" y="f6077"/>
              </a:cxn>
              <a:cxn ang="f4299">
                <a:pos x="f5871" y="f6077"/>
              </a:cxn>
              <a:cxn ang="f4299">
                <a:pos x="f5874" y="f6076"/>
              </a:cxn>
              <a:cxn ang="f4299">
                <a:pos x="f5874" y="f6075"/>
              </a:cxn>
              <a:cxn ang="f4299">
                <a:pos x="f5875" y="f6074"/>
              </a:cxn>
              <a:cxn ang="f4299">
                <a:pos x="f5876" y="f6074"/>
              </a:cxn>
              <a:cxn ang="f4299">
                <a:pos x="f5877" y="f6075"/>
              </a:cxn>
              <a:cxn ang="f4299">
                <a:pos x="f5877" y="f6076"/>
              </a:cxn>
              <a:cxn ang="f4299">
                <a:pos x="f5876" y="f6077"/>
              </a:cxn>
              <a:cxn ang="f4299">
                <a:pos x="f5875" y="f6077"/>
              </a:cxn>
              <a:cxn ang="f4299">
                <a:pos x="f5878" y="f6076"/>
              </a:cxn>
              <a:cxn ang="f4299">
                <a:pos x="f5878" y="f6075"/>
              </a:cxn>
              <a:cxn ang="f4299">
                <a:pos x="f5879" y="f6074"/>
              </a:cxn>
              <a:cxn ang="f4299">
                <a:pos x="f5880" y="f6074"/>
              </a:cxn>
              <a:cxn ang="f4299">
                <a:pos x="f5881" y="f6075"/>
              </a:cxn>
              <a:cxn ang="f4299">
                <a:pos x="f5881" y="f6076"/>
              </a:cxn>
              <a:cxn ang="f4299">
                <a:pos x="f5880" y="f6077"/>
              </a:cxn>
              <a:cxn ang="f4299">
                <a:pos x="f5879" y="f6077"/>
              </a:cxn>
              <a:cxn ang="f4299">
                <a:pos x="f5882" y="f6076"/>
              </a:cxn>
              <a:cxn ang="f4299">
                <a:pos x="f5882" y="f6075"/>
              </a:cxn>
              <a:cxn ang="f4299">
                <a:pos x="f5883" y="f6074"/>
              </a:cxn>
              <a:cxn ang="f4299">
                <a:pos x="f5884" y="f6074"/>
              </a:cxn>
              <a:cxn ang="f4299">
                <a:pos x="f5885" y="f6075"/>
              </a:cxn>
              <a:cxn ang="f4299">
                <a:pos x="f5885" y="f6076"/>
              </a:cxn>
              <a:cxn ang="f4299">
                <a:pos x="f5884" y="f6077"/>
              </a:cxn>
              <a:cxn ang="f4299">
                <a:pos x="f5883" y="f6077"/>
              </a:cxn>
              <a:cxn ang="f4299">
                <a:pos x="f5886" y="f6076"/>
              </a:cxn>
              <a:cxn ang="f4299">
                <a:pos x="f5886" y="f6075"/>
              </a:cxn>
              <a:cxn ang="f4299">
                <a:pos x="f5887" y="f6074"/>
              </a:cxn>
              <a:cxn ang="f4299">
                <a:pos x="f5888" y="f6074"/>
              </a:cxn>
              <a:cxn ang="f4299">
                <a:pos x="f5889" y="f6075"/>
              </a:cxn>
              <a:cxn ang="f4299">
                <a:pos x="f5889" y="f6076"/>
              </a:cxn>
              <a:cxn ang="f4299">
                <a:pos x="f5888" y="f6077"/>
              </a:cxn>
              <a:cxn ang="f4299">
                <a:pos x="f5887" y="f6077"/>
              </a:cxn>
              <a:cxn ang="f4299">
                <a:pos x="f5890" y="f6076"/>
              </a:cxn>
              <a:cxn ang="f4299">
                <a:pos x="f5890" y="f6075"/>
              </a:cxn>
              <a:cxn ang="f4299">
                <a:pos x="f5891" y="f6074"/>
              </a:cxn>
              <a:cxn ang="f4299">
                <a:pos x="f5892" y="f6074"/>
              </a:cxn>
              <a:cxn ang="f4299">
                <a:pos x="f5893" y="f6075"/>
              </a:cxn>
              <a:cxn ang="f4299">
                <a:pos x="f5893" y="f6076"/>
              </a:cxn>
              <a:cxn ang="f4299">
                <a:pos x="f5892" y="f6077"/>
              </a:cxn>
              <a:cxn ang="f4299">
                <a:pos x="f5891" y="f6077"/>
              </a:cxn>
              <a:cxn ang="f4299">
                <a:pos x="f5894" y="f6076"/>
              </a:cxn>
              <a:cxn ang="f4299">
                <a:pos x="f5894" y="f6075"/>
              </a:cxn>
              <a:cxn ang="f4299">
                <a:pos x="f6078" y="f6074"/>
              </a:cxn>
              <a:cxn ang="f4299">
                <a:pos x="f6046" y="f6074"/>
              </a:cxn>
              <a:cxn ang="f4299">
                <a:pos x="f6047" y="f6075"/>
              </a:cxn>
              <a:cxn ang="f4299">
                <a:pos x="f6047" y="f6076"/>
              </a:cxn>
              <a:cxn ang="f4299">
                <a:pos x="f6046" y="f6077"/>
              </a:cxn>
              <a:cxn ang="f4299">
                <a:pos x="f6078" y="f6077"/>
              </a:cxn>
              <a:cxn ang="f4299">
                <a:pos x="f6079" y="f6076"/>
              </a:cxn>
              <a:cxn ang="f4299">
                <a:pos x="f6079" y="f6075"/>
              </a:cxn>
              <a:cxn ang="f4299">
                <a:pos x="f6080" y="f6074"/>
              </a:cxn>
              <a:cxn ang="f4299">
                <a:pos x="f6049" y="f6074"/>
              </a:cxn>
              <a:cxn ang="f4299">
                <a:pos x="f6081" y="f6075"/>
              </a:cxn>
              <a:cxn ang="f4299">
                <a:pos x="f6081" y="f6076"/>
              </a:cxn>
              <a:cxn ang="f4299">
                <a:pos x="f6049" y="f6077"/>
              </a:cxn>
              <a:cxn ang="f4299">
                <a:pos x="f6080" y="f6077"/>
              </a:cxn>
              <a:cxn ang="f4299">
                <a:pos x="f6082" y="f6076"/>
              </a:cxn>
              <a:cxn ang="f4299">
                <a:pos x="f6082" y="f6075"/>
              </a:cxn>
              <a:cxn ang="f4299">
                <a:pos x="f6051" y="f6074"/>
              </a:cxn>
              <a:cxn ang="f4299">
                <a:pos x="f6083" y="f6074"/>
              </a:cxn>
              <a:cxn ang="f4299">
                <a:pos x="f6084" y="f6075"/>
              </a:cxn>
              <a:cxn ang="f4299">
                <a:pos x="f6084" y="f6076"/>
              </a:cxn>
              <a:cxn ang="f4299">
                <a:pos x="f6083" y="f6077"/>
              </a:cxn>
              <a:cxn ang="f4299">
                <a:pos x="f6051" y="f6077"/>
              </a:cxn>
              <a:cxn ang="f4299">
                <a:pos x="f6054" y="f6076"/>
              </a:cxn>
              <a:cxn ang="f4299">
                <a:pos x="f6054" y="f6075"/>
              </a:cxn>
              <a:cxn ang="f4299">
                <a:pos x="f6085" y="f6074"/>
              </a:cxn>
              <a:cxn ang="f4299">
                <a:pos x="f6055" y="f6074"/>
              </a:cxn>
              <a:cxn ang="f4299">
                <a:pos x="f6056" y="f6075"/>
              </a:cxn>
              <a:cxn ang="f4299">
                <a:pos x="f6056" y="f6076"/>
              </a:cxn>
              <a:cxn ang="f4299">
                <a:pos x="f6055" y="f6077"/>
              </a:cxn>
              <a:cxn ang="f4299">
                <a:pos x="f6085" y="f6077"/>
              </a:cxn>
              <a:cxn ang="f4299">
                <a:pos x="f6086" y="f6076"/>
              </a:cxn>
              <a:cxn ang="f4299">
                <a:pos x="f6086" y="f6075"/>
              </a:cxn>
              <a:cxn ang="f4299">
                <a:pos x="f5767" y="f6087"/>
              </a:cxn>
              <a:cxn ang="f4299">
                <a:pos x="f5769" y="f6087"/>
              </a:cxn>
              <a:cxn ang="f4299">
                <a:pos x="f5770" y="f6088"/>
              </a:cxn>
              <a:cxn ang="f4299">
                <a:pos x="f5770" y="f6089"/>
              </a:cxn>
              <a:cxn ang="f4299">
                <a:pos x="f5769" y="f6090"/>
              </a:cxn>
              <a:cxn ang="f4299">
                <a:pos x="f5767" y="f6090"/>
              </a:cxn>
              <a:cxn ang="f4299">
                <a:pos x="f5774" y="f6089"/>
              </a:cxn>
              <a:cxn ang="f4299">
                <a:pos x="f5774" y="f6088"/>
              </a:cxn>
              <a:cxn ang="f4299">
                <a:pos x="f5775" y="f6087"/>
              </a:cxn>
              <a:cxn ang="f4299">
                <a:pos x="f5776" y="f6087"/>
              </a:cxn>
              <a:cxn ang="f4299">
                <a:pos x="f5777" y="f6088"/>
              </a:cxn>
              <a:cxn ang="f4299">
                <a:pos x="f5777" y="f6089"/>
              </a:cxn>
              <a:cxn ang="f4299">
                <a:pos x="f5776" y="f6090"/>
              </a:cxn>
              <a:cxn ang="f4299">
                <a:pos x="f5775" y="f6090"/>
              </a:cxn>
              <a:cxn ang="f4299">
                <a:pos x="f5778" y="f6089"/>
              </a:cxn>
              <a:cxn ang="f4299">
                <a:pos x="f5778" y="f6088"/>
              </a:cxn>
              <a:cxn ang="f4299">
                <a:pos x="f5779" y="f6087"/>
              </a:cxn>
              <a:cxn ang="f4299">
                <a:pos x="f5780" y="f6087"/>
              </a:cxn>
              <a:cxn ang="f4299">
                <a:pos x="f5781" y="f6088"/>
              </a:cxn>
              <a:cxn ang="f4299">
                <a:pos x="f5781" y="f6089"/>
              </a:cxn>
              <a:cxn ang="f4299">
                <a:pos x="f5780" y="f6090"/>
              </a:cxn>
              <a:cxn ang="f4299">
                <a:pos x="f5779" y="f6090"/>
              </a:cxn>
              <a:cxn ang="f4299">
                <a:pos x="f5782" y="f6089"/>
              </a:cxn>
              <a:cxn ang="f4299">
                <a:pos x="f5782" y="f6088"/>
              </a:cxn>
              <a:cxn ang="f4299">
                <a:pos x="f5783" y="f6087"/>
              </a:cxn>
              <a:cxn ang="f4299">
                <a:pos x="f5784" y="f6087"/>
              </a:cxn>
              <a:cxn ang="f4299">
                <a:pos x="f5785" y="f6088"/>
              </a:cxn>
              <a:cxn ang="f4299">
                <a:pos x="f5785" y="f6089"/>
              </a:cxn>
              <a:cxn ang="f4299">
                <a:pos x="f5784" y="f6090"/>
              </a:cxn>
              <a:cxn ang="f4299">
                <a:pos x="f5783" y="f6090"/>
              </a:cxn>
              <a:cxn ang="f4299">
                <a:pos x="f5786" y="f6089"/>
              </a:cxn>
              <a:cxn ang="f4299">
                <a:pos x="f5786" y="f6088"/>
              </a:cxn>
              <a:cxn ang="f4299">
                <a:pos x="f5787" y="f6087"/>
              </a:cxn>
              <a:cxn ang="f4299">
                <a:pos x="f5788" y="f6087"/>
              </a:cxn>
              <a:cxn ang="f4299">
                <a:pos x="f5789" y="f6088"/>
              </a:cxn>
              <a:cxn ang="f4299">
                <a:pos x="f5789" y="f6089"/>
              </a:cxn>
              <a:cxn ang="f4299">
                <a:pos x="f5788" y="f6090"/>
              </a:cxn>
              <a:cxn ang="f4299">
                <a:pos x="f5787" y="f6090"/>
              </a:cxn>
              <a:cxn ang="f4299">
                <a:pos x="f5790" y="f6089"/>
              </a:cxn>
              <a:cxn ang="f4299">
                <a:pos x="f5790" y="f6088"/>
              </a:cxn>
              <a:cxn ang="f4299">
                <a:pos x="f5791" y="f6087"/>
              </a:cxn>
              <a:cxn ang="f4299">
                <a:pos x="f5792" y="f6087"/>
              </a:cxn>
              <a:cxn ang="f4299">
                <a:pos x="f5793" y="f6088"/>
              </a:cxn>
              <a:cxn ang="f4299">
                <a:pos x="f5793" y="f6089"/>
              </a:cxn>
              <a:cxn ang="f4299">
                <a:pos x="f5792" y="f6090"/>
              </a:cxn>
              <a:cxn ang="f4299">
                <a:pos x="f5791" y="f6090"/>
              </a:cxn>
              <a:cxn ang="f4299">
                <a:pos x="f5794" y="f6089"/>
              </a:cxn>
              <a:cxn ang="f4299">
                <a:pos x="f5794" y="f6088"/>
              </a:cxn>
              <a:cxn ang="f4299">
                <a:pos x="f5795" y="f6087"/>
              </a:cxn>
              <a:cxn ang="f4299">
                <a:pos x="f5796" y="f6087"/>
              </a:cxn>
              <a:cxn ang="f4299">
                <a:pos x="f5797" y="f6088"/>
              </a:cxn>
              <a:cxn ang="f4299">
                <a:pos x="f5797" y="f6089"/>
              </a:cxn>
              <a:cxn ang="f4299">
                <a:pos x="f5796" y="f6090"/>
              </a:cxn>
              <a:cxn ang="f4299">
                <a:pos x="f5795" y="f6090"/>
              </a:cxn>
              <a:cxn ang="f4299">
                <a:pos x="f5798" y="f6089"/>
              </a:cxn>
              <a:cxn ang="f4299">
                <a:pos x="f5798" y="f6088"/>
              </a:cxn>
              <a:cxn ang="f4299">
                <a:pos x="f5799" y="f6087"/>
              </a:cxn>
              <a:cxn ang="f4299">
                <a:pos x="f5800" y="f6087"/>
              </a:cxn>
              <a:cxn ang="f4299">
                <a:pos x="f5801" y="f6088"/>
              </a:cxn>
              <a:cxn ang="f4299">
                <a:pos x="f5801" y="f6089"/>
              </a:cxn>
              <a:cxn ang="f4299">
                <a:pos x="f5800" y="f6090"/>
              </a:cxn>
              <a:cxn ang="f4299">
                <a:pos x="f5799" y="f6090"/>
              </a:cxn>
              <a:cxn ang="f4299">
                <a:pos x="f5802" y="f6089"/>
              </a:cxn>
              <a:cxn ang="f4299">
                <a:pos x="f5802" y="f6088"/>
              </a:cxn>
              <a:cxn ang="f4299">
                <a:pos x="f5803" y="f6087"/>
              </a:cxn>
              <a:cxn ang="f4299">
                <a:pos x="f5804" y="f6087"/>
              </a:cxn>
              <a:cxn ang="f4299">
                <a:pos x="f5805" y="f6088"/>
              </a:cxn>
              <a:cxn ang="f4299">
                <a:pos x="f5805" y="f6089"/>
              </a:cxn>
              <a:cxn ang="f4299">
                <a:pos x="f5804" y="f6090"/>
              </a:cxn>
              <a:cxn ang="f4299">
                <a:pos x="f5803" y="f6090"/>
              </a:cxn>
              <a:cxn ang="f4299">
                <a:pos x="f5806" y="f6089"/>
              </a:cxn>
              <a:cxn ang="f4299">
                <a:pos x="f5806" y="f6088"/>
              </a:cxn>
              <a:cxn ang="f4299">
                <a:pos x="f5807" y="f6087"/>
              </a:cxn>
              <a:cxn ang="f4299">
                <a:pos x="f5808" y="f6087"/>
              </a:cxn>
              <a:cxn ang="f4299">
                <a:pos x="f5809" y="f6088"/>
              </a:cxn>
              <a:cxn ang="f4299">
                <a:pos x="f5809" y="f6089"/>
              </a:cxn>
              <a:cxn ang="f4299">
                <a:pos x="f5808" y="f6090"/>
              </a:cxn>
              <a:cxn ang="f4299">
                <a:pos x="f5807" y="f6090"/>
              </a:cxn>
              <a:cxn ang="f4299">
                <a:pos x="f5810" y="f6089"/>
              </a:cxn>
              <a:cxn ang="f4299">
                <a:pos x="f5810" y="f6088"/>
              </a:cxn>
              <a:cxn ang="f4299">
                <a:pos x="f5811" y="f6087"/>
              </a:cxn>
              <a:cxn ang="f4299">
                <a:pos x="f5812" y="f6087"/>
              </a:cxn>
              <a:cxn ang="f4299">
                <a:pos x="f5813" y="f6088"/>
              </a:cxn>
              <a:cxn ang="f4299">
                <a:pos x="f5813" y="f6089"/>
              </a:cxn>
              <a:cxn ang="f4299">
                <a:pos x="f5812" y="f6090"/>
              </a:cxn>
              <a:cxn ang="f4299">
                <a:pos x="f5811" y="f6090"/>
              </a:cxn>
              <a:cxn ang="f4299">
                <a:pos x="f5814" y="f6089"/>
              </a:cxn>
              <a:cxn ang="f4299">
                <a:pos x="f5814" y="f6088"/>
              </a:cxn>
              <a:cxn ang="f4299">
                <a:pos x="f5815" y="f6087"/>
              </a:cxn>
              <a:cxn ang="f4299">
                <a:pos x="f5816" y="f6087"/>
              </a:cxn>
              <a:cxn ang="f4299">
                <a:pos x="f5817" y="f6088"/>
              </a:cxn>
              <a:cxn ang="f4299">
                <a:pos x="f5817" y="f6089"/>
              </a:cxn>
              <a:cxn ang="f4299">
                <a:pos x="f5816" y="f6090"/>
              </a:cxn>
              <a:cxn ang="f4299">
                <a:pos x="f5815" y="f6090"/>
              </a:cxn>
              <a:cxn ang="f4299">
                <a:pos x="f5818" y="f6089"/>
              </a:cxn>
              <a:cxn ang="f4299">
                <a:pos x="f5818" y="f6088"/>
              </a:cxn>
              <a:cxn ang="f4299">
                <a:pos x="f5819" y="f6087"/>
              </a:cxn>
              <a:cxn ang="f4299">
                <a:pos x="f5820" y="f6087"/>
              </a:cxn>
              <a:cxn ang="f4299">
                <a:pos x="f5821" y="f6088"/>
              </a:cxn>
              <a:cxn ang="f4299">
                <a:pos x="f5821" y="f6089"/>
              </a:cxn>
              <a:cxn ang="f4299">
                <a:pos x="f5820" y="f6090"/>
              </a:cxn>
              <a:cxn ang="f4299">
                <a:pos x="f5819" y="f6090"/>
              </a:cxn>
              <a:cxn ang="f4299">
                <a:pos x="f5822" y="f6089"/>
              </a:cxn>
              <a:cxn ang="f4299">
                <a:pos x="f5822" y="f6088"/>
              </a:cxn>
              <a:cxn ang="f4299">
                <a:pos x="f5823" y="f6087"/>
              </a:cxn>
              <a:cxn ang="f4299">
                <a:pos x="f5824" y="f6087"/>
              </a:cxn>
              <a:cxn ang="f4299">
                <a:pos x="f5825" y="f6088"/>
              </a:cxn>
              <a:cxn ang="f4299">
                <a:pos x="f5825" y="f6089"/>
              </a:cxn>
              <a:cxn ang="f4299">
                <a:pos x="f5824" y="f6090"/>
              </a:cxn>
              <a:cxn ang="f4299">
                <a:pos x="f5823" y="f6090"/>
              </a:cxn>
              <a:cxn ang="f4299">
                <a:pos x="f5826" y="f6089"/>
              </a:cxn>
              <a:cxn ang="f4299">
                <a:pos x="f5826" y="f6088"/>
              </a:cxn>
              <a:cxn ang="f4299">
                <a:pos x="f5827" y="f6087"/>
              </a:cxn>
              <a:cxn ang="f4299">
                <a:pos x="f5828" y="f6087"/>
              </a:cxn>
              <a:cxn ang="f4299">
                <a:pos x="f5829" y="f6088"/>
              </a:cxn>
              <a:cxn ang="f4299">
                <a:pos x="f5829" y="f6089"/>
              </a:cxn>
              <a:cxn ang="f4299">
                <a:pos x="f5828" y="f6090"/>
              </a:cxn>
              <a:cxn ang="f4299">
                <a:pos x="f5827" y="f6090"/>
              </a:cxn>
              <a:cxn ang="f4299">
                <a:pos x="f5830" y="f6089"/>
              </a:cxn>
              <a:cxn ang="f4299">
                <a:pos x="f5830" y="f6088"/>
              </a:cxn>
              <a:cxn ang="f4299">
                <a:pos x="f5831" y="f6087"/>
              </a:cxn>
              <a:cxn ang="f4299">
                <a:pos x="f5832" y="f6087"/>
              </a:cxn>
              <a:cxn ang="f4299">
                <a:pos x="f5833" y="f6088"/>
              </a:cxn>
              <a:cxn ang="f4299">
                <a:pos x="f5833" y="f6089"/>
              </a:cxn>
              <a:cxn ang="f4299">
                <a:pos x="f5832" y="f6090"/>
              </a:cxn>
              <a:cxn ang="f4299">
                <a:pos x="f5831" y="f6090"/>
              </a:cxn>
              <a:cxn ang="f4299">
                <a:pos x="f5834" y="f6089"/>
              </a:cxn>
              <a:cxn ang="f4299">
                <a:pos x="f5834" y="f6088"/>
              </a:cxn>
              <a:cxn ang="f4299">
                <a:pos x="f5835" y="f6087"/>
              </a:cxn>
              <a:cxn ang="f4299">
                <a:pos x="f5836" y="f6087"/>
              </a:cxn>
              <a:cxn ang="f4299">
                <a:pos x="f5837" y="f6088"/>
              </a:cxn>
              <a:cxn ang="f4299">
                <a:pos x="f5837" y="f6089"/>
              </a:cxn>
              <a:cxn ang="f4299">
                <a:pos x="f5836" y="f6090"/>
              </a:cxn>
              <a:cxn ang="f4299">
                <a:pos x="f5835" y="f6090"/>
              </a:cxn>
              <a:cxn ang="f4299">
                <a:pos x="f5838" y="f6089"/>
              </a:cxn>
              <a:cxn ang="f4299">
                <a:pos x="f5838" y="f6088"/>
              </a:cxn>
              <a:cxn ang="f4299">
                <a:pos x="f5839" y="f6087"/>
              </a:cxn>
              <a:cxn ang="f4299">
                <a:pos x="f5840" y="f6087"/>
              </a:cxn>
              <a:cxn ang="f4299">
                <a:pos x="f5841" y="f6088"/>
              </a:cxn>
              <a:cxn ang="f4299">
                <a:pos x="f5841" y="f6089"/>
              </a:cxn>
              <a:cxn ang="f4299">
                <a:pos x="f5840" y="f6090"/>
              </a:cxn>
              <a:cxn ang="f4299">
                <a:pos x="f5839" y="f6090"/>
              </a:cxn>
              <a:cxn ang="f4299">
                <a:pos x="f5842" y="f6089"/>
              </a:cxn>
              <a:cxn ang="f4299">
                <a:pos x="f5842" y="f6088"/>
              </a:cxn>
              <a:cxn ang="f4299">
                <a:pos x="f5843" y="f6087"/>
              </a:cxn>
              <a:cxn ang="f4299">
                <a:pos x="f5844" y="f6087"/>
              </a:cxn>
              <a:cxn ang="f4299">
                <a:pos x="f5845" y="f6088"/>
              </a:cxn>
              <a:cxn ang="f4299">
                <a:pos x="f5845" y="f6089"/>
              </a:cxn>
              <a:cxn ang="f4299">
                <a:pos x="f5844" y="f6090"/>
              </a:cxn>
              <a:cxn ang="f4299">
                <a:pos x="f5843" y="f6090"/>
              </a:cxn>
              <a:cxn ang="f4299">
                <a:pos x="f5846" y="f6089"/>
              </a:cxn>
              <a:cxn ang="f4299">
                <a:pos x="f5846" y="f6088"/>
              </a:cxn>
              <a:cxn ang="f4299">
                <a:pos x="f5847" y="f6087"/>
              </a:cxn>
              <a:cxn ang="f4299">
                <a:pos x="f5848" y="f6087"/>
              </a:cxn>
              <a:cxn ang="f4299">
                <a:pos x="f5849" y="f6088"/>
              </a:cxn>
              <a:cxn ang="f4299">
                <a:pos x="f5849" y="f6089"/>
              </a:cxn>
              <a:cxn ang="f4299">
                <a:pos x="f5848" y="f6090"/>
              </a:cxn>
              <a:cxn ang="f4299">
                <a:pos x="f5847" y="f6090"/>
              </a:cxn>
              <a:cxn ang="f4299">
                <a:pos x="f5850" y="f6089"/>
              </a:cxn>
              <a:cxn ang="f4299">
                <a:pos x="f5850" y="f6088"/>
              </a:cxn>
              <a:cxn ang="f4299">
                <a:pos x="f5851" y="f6087"/>
              </a:cxn>
              <a:cxn ang="f4299">
                <a:pos x="f5852" y="f6087"/>
              </a:cxn>
              <a:cxn ang="f4299">
                <a:pos x="f5853" y="f6088"/>
              </a:cxn>
              <a:cxn ang="f4299">
                <a:pos x="f5853" y="f6089"/>
              </a:cxn>
              <a:cxn ang="f4299">
                <a:pos x="f5852" y="f6090"/>
              </a:cxn>
              <a:cxn ang="f4299">
                <a:pos x="f5851" y="f6090"/>
              </a:cxn>
              <a:cxn ang="f4299">
                <a:pos x="f5854" y="f6089"/>
              </a:cxn>
              <a:cxn ang="f4299">
                <a:pos x="f5854" y="f6088"/>
              </a:cxn>
              <a:cxn ang="f4299">
                <a:pos x="f5855" y="f6087"/>
              </a:cxn>
              <a:cxn ang="f4299">
                <a:pos x="f5856" y="f6087"/>
              </a:cxn>
              <a:cxn ang="f4299">
                <a:pos x="f5857" y="f6088"/>
              </a:cxn>
              <a:cxn ang="f4299">
                <a:pos x="f5857" y="f6089"/>
              </a:cxn>
              <a:cxn ang="f4299">
                <a:pos x="f5856" y="f6090"/>
              </a:cxn>
              <a:cxn ang="f4299">
                <a:pos x="f5855" y="f6090"/>
              </a:cxn>
              <a:cxn ang="f4299">
                <a:pos x="f5858" y="f6089"/>
              </a:cxn>
              <a:cxn ang="f4299">
                <a:pos x="f5858" y="f6088"/>
              </a:cxn>
              <a:cxn ang="f4299">
                <a:pos x="f5859" y="f6087"/>
              </a:cxn>
              <a:cxn ang="f4299">
                <a:pos x="f5860" y="f6087"/>
              </a:cxn>
              <a:cxn ang="f4299">
                <a:pos x="f5861" y="f6088"/>
              </a:cxn>
              <a:cxn ang="f4299">
                <a:pos x="f5861" y="f6089"/>
              </a:cxn>
              <a:cxn ang="f4299">
                <a:pos x="f5860" y="f6090"/>
              </a:cxn>
              <a:cxn ang="f4299">
                <a:pos x="f5859" y="f6090"/>
              </a:cxn>
              <a:cxn ang="f4299">
                <a:pos x="f5862" y="f6089"/>
              </a:cxn>
              <a:cxn ang="f4299">
                <a:pos x="f5862" y="f6088"/>
              </a:cxn>
              <a:cxn ang="f4299">
                <a:pos x="f5863" y="f6087"/>
              </a:cxn>
              <a:cxn ang="f4299">
                <a:pos x="f5864" y="f6087"/>
              </a:cxn>
              <a:cxn ang="f4299">
                <a:pos x="f5865" y="f6088"/>
              </a:cxn>
              <a:cxn ang="f4299">
                <a:pos x="f5865" y="f6089"/>
              </a:cxn>
              <a:cxn ang="f4299">
                <a:pos x="f5864" y="f6090"/>
              </a:cxn>
              <a:cxn ang="f4299">
                <a:pos x="f5863" y="f6090"/>
              </a:cxn>
              <a:cxn ang="f4299">
                <a:pos x="f5866" y="f6089"/>
              </a:cxn>
              <a:cxn ang="f4299">
                <a:pos x="f5866" y="f6088"/>
              </a:cxn>
              <a:cxn ang="f4299">
                <a:pos x="f5867" y="f6087"/>
              </a:cxn>
              <a:cxn ang="f4299">
                <a:pos x="f5868" y="f6087"/>
              </a:cxn>
              <a:cxn ang="f4299">
                <a:pos x="f5869" y="f6088"/>
              </a:cxn>
              <a:cxn ang="f4299">
                <a:pos x="f5869" y="f6089"/>
              </a:cxn>
              <a:cxn ang="f4299">
                <a:pos x="f5868" y="f6090"/>
              </a:cxn>
              <a:cxn ang="f4299">
                <a:pos x="f5867" y="f6090"/>
              </a:cxn>
              <a:cxn ang="f4299">
                <a:pos x="f5870" y="f6089"/>
              </a:cxn>
              <a:cxn ang="f4299">
                <a:pos x="f5870" y="f6088"/>
              </a:cxn>
              <a:cxn ang="f4299">
                <a:pos x="f5871" y="f6087"/>
              </a:cxn>
              <a:cxn ang="f4299">
                <a:pos x="f5872" y="f6087"/>
              </a:cxn>
              <a:cxn ang="f4299">
                <a:pos x="f5873" y="f6088"/>
              </a:cxn>
              <a:cxn ang="f4299">
                <a:pos x="f5873" y="f6089"/>
              </a:cxn>
              <a:cxn ang="f4299">
                <a:pos x="f5872" y="f6090"/>
              </a:cxn>
              <a:cxn ang="f4299">
                <a:pos x="f5871" y="f6090"/>
              </a:cxn>
              <a:cxn ang="f4299">
                <a:pos x="f5874" y="f6089"/>
              </a:cxn>
              <a:cxn ang="f4299">
                <a:pos x="f5874" y="f6088"/>
              </a:cxn>
              <a:cxn ang="f4299">
                <a:pos x="f5875" y="f6087"/>
              </a:cxn>
              <a:cxn ang="f4299">
                <a:pos x="f5876" y="f6087"/>
              </a:cxn>
              <a:cxn ang="f4299">
                <a:pos x="f5877" y="f6088"/>
              </a:cxn>
              <a:cxn ang="f4299">
                <a:pos x="f5877" y="f6089"/>
              </a:cxn>
              <a:cxn ang="f4299">
                <a:pos x="f5876" y="f6090"/>
              </a:cxn>
              <a:cxn ang="f4299">
                <a:pos x="f5875" y="f6090"/>
              </a:cxn>
              <a:cxn ang="f4299">
                <a:pos x="f5878" y="f6089"/>
              </a:cxn>
              <a:cxn ang="f4299">
                <a:pos x="f5878" y="f6088"/>
              </a:cxn>
              <a:cxn ang="f4299">
                <a:pos x="f5879" y="f6087"/>
              </a:cxn>
              <a:cxn ang="f4299">
                <a:pos x="f5880" y="f6087"/>
              </a:cxn>
              <a:cxn ang="f4299">
                <a:pos x="f5881" y="f6088"/>
              </a:cxn>
              <a:cxn ang="f4299">
                <a:pos x="f5881" y="f6089"/>
              </a:cxn>
              <a:cxn ang="f4299">
                <a:pos x="f5880" y="f6090"/>
              </a:cxn>
              <a:cxn ang="f4299">
                <a:pos x="f5879" y="f6090"/>
              </a:cxn>
              <a:cxn ang="f4299">
                <a:pos x="f5882" y="f6089"/>
              </a:cxn>
              <a:cxn ang="f4299">
                <a:pos x="f5882" y="f6088"/>
              </a:cxn>
              <a:cxn ang="f4299">
                <a:pos x="f5883" y="f6087"/>
              </a:cxn>
              <a:cxn ang="f4299">
                <a:pos x="f5884" y="f6087"/>
              </a:cxn>
              <a:cxn ang="f4299">
                <a:pos x="f5885" y="f6088"/>
              </a:cxn>
              <a:cxn ang="f4299">
                <a:pos x="f5885" y="f6089"/>
              </a:cxn>
              <a:cxn ang="f4299">
                <a:pos x="f5884" y="f6090"/>
              </a:cxn>
              <a:cxn ang="f4299">
                <a:pos x="f5883" y="f6090"/>
              </a:cxn>
              <a:cxn ang="f4299">
                <a:pos x="f5886" y="f6089"/>
              </a:cxn>
              <a:cxn ang="f4299">
                <a:pos x="f5886" y="f6088"/>
              </a:cxn>
              <a:cxn ang="f4299">
                <a:pos x="f5887" y="f6087"/>
              </a:cxn>
              <a:cxn ang="f4299">
                <a:pos x="f5888" y="f6087"/>
              </a:cxn>
              <a:cxn ang="f4299">
                <a:pos x="f5889" y="f6088"/>
              </a:cxn>
              <a:cxn ang="f4299">
                <a:pos x="f5889" y="f6089"/>
              </a:cxn>
              <a:cxn ang="f4299">
                <a:pos x="f5888" y="f6090"/>
              </a:cxn>
              <a:cxn ang="f4299">
                <a:pos x="f5887" y="f6090"/>
              </a:cxn>
              <a:cxn ang="f4299">
                <a:pos x="f5890" y="f6089"/>
              </a:cxn>
              <a:cxn ang="f4299">
                <a:pos x="f5890" y="f6088"/>
              </a:cxn>
              <a:cxn ang="f4299">
                <a:pos x="f5891" y="f6087"/>
              </a:cxn>
              <a:cxn ang="f4299">
                <a:pos x="f5892" y="f6087"/>
              </a:cxn>
              <a:cxn ang="f4299">
                <a:pos x="f5893" y="f6088"/>
              </a:cxn>
              <a:cxn ang="f4299">
                <a:pos x="f5893" y="f6089"/>
              </a:cxn>
              <a:cxn ang="f4299">
                <a:pos x="f5892" y="f6090"/>
              </a:cxn>
              <a:cxn ang="f4299">
                <a:pos x="f5891" y="f6090"/>
              </a:cxn>
              <a:cxn ang="f4299">
                <a:pos x="f5894" y="f6089"/>
              </a:cxn>
              <a:cxn ang="f4299">
                <a:pos x="f5894" y="f6088"/>
              </a:cxn>
              <a:cxn ang="f4299">
                <a:pos x="f6057" y="f6087"/>
              </a:cxn>
              <a:cxn ang="f4299">
                <a:pos x="f6029" y="f6087"/>
              </a:cxn>
              <a:cxn ang="f4299">
                <a:pos x="f6005" y="f6088"/>
              </a:cxn>
              <a:cxn ang="f4299">
                <a:pos x="f6005" y="f6089"/>
              </a:cxn>
              <a:cxn ang="f4299">
                <a:pos x="f6029" y="f6090"/>
              </a:cxn>
              <a:cxn ang="f4299">
                <a:pos x="f6057" y="f6090"/>
              </a:cxn>
              <a:cxn ang="f4299">
                <a:pos x="f6062" y="f6089"/>
              </a:cxn>
              <a:cxn ang="f4299">
                <a:pos x="f6062" y="f6088"/>
              </a:cxn>
              <a:cxn ang="f4299">
                <a:pos x="f5973" y="f6087"/>
              </a:cxn>
              <a:cxn ang="f4299">
                <a:pos x="f5946" y="f6087"/>
              </a:cxn>
              <a:cxn ang="f4299">
                <a:pos x="f6063" y="f6088"/>
              </a:cxn>
              <a:cxn ang="f4299">
                <a:pos x="f6063" y="f6089"/>
              </a:cxn>
              <a:cxn ang="f4299">
                <a:pos x="f5946" y="f6090"/>
              </a:cxn>
              <a:cxn ang="f4299">
                <a:pos x="f5973" y="f6090"/>
              </a:cxn>
              <a:cxn ang="f4299">
                <a:pos x="f6033" y="f6089"/>
              </a:cxn>
              <a:cxn ang="f4299">
                <a:pos x="f6033" y="f6088"/>
              </a:cxn>
              <a:cxn ang="f4299">
                <a:pos x="f6091" y="f6087"/>
              </a:cxn>
              <a:cxn ang="f4299">
                <a:pos x="f6064" y="f6087"/>
              </a:cxn>
              <a:cxn ang="f4299">
                <a:pos x="f6092" y="f6088"/>
              </a:cxn>
              <a:cxn ang="f4299">
                <a:pos x="f6092" y="f6089"/>
              </a:cxn>
              <a:cxn ang="f4299">
                <a:pos x="f6064" y="f6090"/>
              </a:cxn>
              <a:cxn ang="f4299">
                <a:pos x="f6091" y="f6090"/>
              </a:cxn>
              <a:cxn ang="f4299">
                <a:pos x="f6093" y="f6089"/>
              </a:cxn>
              <a:cxn ang="f4299">
                <a:pos x="f6093" y="f6088"/>
              </a:cxn>
              <a:cxn ang="f4299">
                <a:pos x="f6094" y="f6087"/>
              </a:cxn>
              <a:cxn ang="f4299">
                <a:pos x="f6095" y="f6087"/>
              </a:cxn>
              <a:cxn ang="f4299">
                <a:pos x="f6067" y="f6088"/>
              </a:cxn>
              <a:cxn ang="f4299">
                <a:pos x="f6067" y="f6089"/>
              </a:cxn>
              <a:cxn ang="f4299">
                <a:pos x="f6095" y="f6090"/>
              </a:cxn>
              <a:cxn ang="f4299">
                <a:pos x="f6094" y="f6090"/>
              </a:cxn>
              <a:cxn ang="f4299">
                <a:pos x="f6068" y="f6089"/>
              </a:cxn>
              <a:cxn ang="f4299">
                <a:pos x="f6068" y="f6088"/>
              </a:cxn>
              <a:cxn ang="f4299">
                <a:pos x="f6096" y="f6087"/>
              </a:cxn>
              <a:cxn ang="f4299">
                <a:pos x="f6069" y="f6087"/>
              </a:cxn>
              <a:cxn ang="f4299">
                <a:pos x="f6097" y="f6088"/>
              </a:cxn>
              <a:cxn ang="f4299">
                <a:pos x="f6097" y="f6089"/>
              </a:cxn>
              <a:cxn ang="f4299">
                <a:pos x="f6069" y="f6090"/>
              </a:cxn>
              <a:cxn ang="f4299">
                <a:pos x="f6096" y="f6090"/>
              </a:cxn>
              <a:cxn ang="f4299">
                <a:pos x="f6070" y="f6089"/>
              </a:cxn>
              <a:cxn ang="f4299">
                <a:pos x="f6070" y="f6088"/>
              </a:cxn>
              <a:cxn ang="f4299">
                <a:pos x="f6098" y="f6087"/>
              </a:cxn>
              <a:cxn ang="f4299">
                <a:pos x="f6099" y="f6087"/>
              </a:cxn>
              <a:cxn ang="f4299">
                <a:pos x="f6072" y="f6088"/>
              </a:cxn>
              <a:cxn ang="f4299">
                <a:pos x="f6072" y="f6089"/>
              </a:cxn>
              <a:cxn ang="f4299">
                <a:pos x="f6099" y="f6090"/>
              </a:cxn>
              <a:cxn ang="f4299">
                <a:pos x="f6098" y="f6090"/>
              </a:cxn>
              <a:cxn ang="f4299">
                <a:pos x="f6073" y="f6089"/>
              </a:cxn>
              <a:cxn ang="f4299">
                <a:pos x="f6073" y="f6088"/>
              </a:cxn>
              <a:cxn ang="f4299">
                <a:pos x="f6100" y="f6087"/>
              </a:cxn>
              <a:cxn ang="f4299">
                <a:pos x="f6101" y="f6087"/>
              </a:cxn>
              <a:cxn ang="f4299">
                <a:pos x="f6102" y="f6088"/>
              </a:cxn>
              <a:cxn ang="f4299">
                <a:pos x="f6102" y="f6089"/>
              </a:cxn>
              <a:cxn ang="f4299">
                <a:pos x="f6101" y="f6090"/>
              </a:cxn>
              <a:cxn ang="f4299">
                <a:pos x="f6100" y="f6090"/>
              </a:cxn>
              <a:cxn ang="f4299">
                <a:pos x="f6079" y="f6089"/>
              </a:cxn>
              <a:cxn ang="f4299">
                <a:pos x="f6079" y="f6088"/>
              </a:cxn>
              <a:cxn ang="f4299">
                <a:pos x="f6103" y="f6087"/>
              </a:cxn>
              <a:cxn ang="f4299">
                <a:pos x="f6104" y="f6087"/>
              </a:cxn>
              <a:cxn ang="f4299">
                <a:pos x="f6081" y="f6088"/>
              </a:cxn>
              <a:cxn ang="f4299">
                <a:pos x="f6081" y="f6089"/>
              </a:cxn>
              <a:cxn ang="f4299">
                <a:pos x="f6104" y="f6090"/>
              </a:cxn>
              <a:cxn ang="f4299">
                <a:pos x="f6103" y="f6090"/>
              </a:cxn>
              <a:cxn ang="f4299">
                <a:pos x="f6105" y="f6089"/>
              </a:cxn>
              <a:cxn ang="f4299">
                <a:pos x="f6105" y="f6088"/>
              </a:cxn>
              <a:cxn ang="f4299">
                <a:pos x="f6106" y="f6087"/>
              </a:cxn>
              <a:cxn ang="f4299">
                <a:pos x="f6083" y="f6087"/>
              </a:cxn>
              <a:cxn ang="f4299">
                <a:pos x="f6084" y="f6088"/>
              </a:cxn>
              <a:cxn ang="f4299">
                <a:pos x="f6084" y="f6089"/>
              </a:cxn>
              <a:cxn ang="f4299">
                <a:pos x="f6083" y="f6090"/>
              </a:cxn>
              <a:cxn ang="f4299">
                <a:pos x="f6106" y="f6090"/>
              </a:cxn>
              <a:cxn ang="f4299">
                <a:pos x="f6107" y="f6089"/>
              </a:cxn>
              <a:cxn ang="f4299">
                <a:pos x="f6107" y="f6088"/>
              </a:cxn>
              <a:cxn ang="f4299">
                <a:pos x="f6085" y="f6087"/>
              </a:cxn>
              <a:cxn ang="f4299">
                <a:pos x="f6108" y="f6087"/>
              </a:cxn>
              <a:cxn ang="f4299">
                <a:pos x="f6109" y="f6088"/>
              </a:cxn>
              <a:cxn ang="f4299">
                <a:pos x="f6109" y="f6089"/>
              </a:cxn>
              <a:cxn ang="f4299">
                <a:pos x="f6108" y="f6090"/>
              </a:cxn>
              <a:cxn ang="f4299">
                <a:pos x="f6085" y="f6090"/>
              </a:cxn>
              <a:cxn ang="f4299">
                <a:pos x="f6110" y="f6089"/>
              </a:cxn>
              <a:cxn ang="f4299">
                <a:pos x="f6110" y="f6088"/>
              </a:cxn>
              <a:cxn ang="f4299">
                <a:pos x="f6057" y="f6111"/>
              </a:cxn>
              <a:cxn ang="f4299">
                <a:pos x="f6029" y="f6111"/>
              </a:cxn>
              <a:cxn ang="f4299">
                <a:pos x="f6005" y="f6112"/>
              </a:cxn>
              <a:cxn ang="f4299">
                <a:pos x="f6005" y="f6113"/>
              </a:cxn>
              <a:cxn ang="f4299">
                <a:pos x="f6029" y="f6114"/>
              </a:cxn>
              <a:cxn ang="f4299">
                <a:pos x="f6057" y="f6114"/>
              </a:cxn>
              <a:cxn ang="f4299">
                <a:pos x="f6115" y="f6113"/>
              </a:cxn>
              <a:cxn ang="f4299">
                <a:pos x="f6115" y="f6112"/>
              </a:cxn>
              <a:cxn ang="f4299">
                <a:pos x="f5973" y="f6111"/>
              </a:cxn>
              <a:cxn ang="f4299">
                <a:pos x="f6116" y="f6111"/>
              </a:cxn>
              <a:cxn ang="f4299">
                <a:pos x="f6063" y="f6112"/>
              </a:cxn>
              <a:cxn ang="f4299">
                <a:pos x="f6063" y="f6113"/>
              </a:cxn>
              <a:cxn ang="f4299">
                <a:pos x="f6116" y="f6114"/>
              </a:cxn>
              <a:cxn ang="f4299">
                <a:pos x="f5973" y="f6114"/>
              </a:cxn>
              <a:cxn ang="f4299">
                <a:pos x="f6033" y="f6113"/>
              </a:cxn>
              <a:cxn ang="f4299">
                <a:pos x="f6033" y="f6112"/>
              </a:cxn>
              <a:cxn ang="f4299">
                <a:pos x="f6117" y="f6111"/>
              </a:cxn>
              <a:cxn ang="f4299">
                <a:pos x="f6118" y="f6111"/>
              </a:cxn>
              <a:cxn ang="f4299">
                <a:pos x="f6092" y="f6112"/>
              </a:cxn>
              <a:cxn ang="f4299">
                <a:pos x="f6092" y="f6113"/>
              </a:cxn>
              <a:cxn ang="f4299">
                <a:pos x="f6118" y="f6114"/>
              </a:cxn>
              <a:cxn ang="f4299">
                <a:pos x="f6117" y="f6114"/>
              </a:cxn>
              <a:cxn ang="f4299">
                <a:pos x="f6093" y="f6113"/>
              </a:cxn>
              <a:cxn ang="f4299">
                <a:pos x="f6093" y="f6112"/>
              </a:cxn>
              <a:cxn ang="f4299">
                <a:pos x="f6094" y="f6111"/>
              </a:cxn>
              <a:cxn ang="f4299">
                <a:pos x="f6095" y="f6111"/>
              </a:cxn>
              <a:cxn ang="f4299">
                <a:pos x="f6119" y="f6112"/>
              </a:cxn>
              <a:cxn ang="f4299">
                <a:pos x="f6119" y="f6113"/>
              </a:cxn>
              <a:cxn ang="f4299">
                <a:pos x="f6095" y="f6114"/>
              </a:cxn>
              <a:cxn ang="f4299">
                <a:pos x="f6094" y="f6114"/>
              </a:cxn>
              <a:cxn ang="f4299">
                <a:pos x="f6120" y="f6113"/>
              </a:cxn>
              <a:cxn ang="f4299">
                <a:pos x="f6120" y="f6112"/>
              </a:cxn>
              <a:cxn ang="f4299">
                <a:pos x="f6121" y="f6111"/>
              </a:cxn>
              <a:cxn ang="f4299">
                <a:pos x="f6122" y="f6111"/>
              </a:cxn>
              <a:cxn ang="f4299">
                <a:pos x="f6123" y="f6112"/>
              </a:cxn>
              <a:cxn ang="f4299">
                <a:pos x="f6123" y="f6113"/>
              </a:cxn>
              <a:cxn ang="f4299">
                <a:pos x="f6122" y="f6114"/>
              </a:cxn>
              <a:cxn ang="f4299">
                <a:pos x="f6121" y="f6114"/>
              </a:cxn>
              <a:cxn ang="f4299">
                <a:pos x="f6124" y="f6113"/>
              </a:cxn>
              <a:cxn ang="f4299">
                <a:pos x="f6124" y="f6112"/>
              </a:cxn>
              <a:cxn ang="f4299">
                <a:pos x="f6098" y="f6111"/>
              </a:cxn>
              <a:cxn ang="f4299">
                <a:pos x="f6099" y="f6111"/>
              </a:cxn>
              <a:cxn ang="f4299">
                <a:pos x="f6125" y="f6112"/>
              </a:cxn>
              <a:cxn ang="f4299">
                <a:pos x="f6125" y="f6113"/>
              </a:cxn>
              <a:cxn ang="f4299">
                <a:pos x="f6099" y="f6114"/>
              </a:cxn>
              <a:cxn ang="f4299">
                <a:pos x="f6098" y="f6114"/>
              </a:cxn>
              <a:cxn ang="f4299">
                <a:pos x="f6126" y="f6113"/>
              </a:cxn>
              <a:cxn ang="f4299">
                <a:pos x="f6126" y="f6112"/>
              </a:cxn>
              <a:cxn ang="f4299">
                <a:pos x="f5767" y="f6127"/>
              </a:cxn>
              <a:cxn ang="f4299">
                <a:pos x="f5769" y="f6127"/>
              </a:cxn>
              <a:cxn ang="f4299">
                <a:pos x="f5770" y="f6128"/>
              </a:cxn>
              <a:cxn ang="f4299">
                <a:pos x="f5770" y="f6129"/>
              </a:cxn>
              <a:cxn ang="f4299">
                <a:pos x="f5769" y="f6130"/>
              </a:cxn>
              <a:cxn ang="f4299">
                <a:pos x="f5767" y="f6130"/>
              </a:cxn>
              <a:cxn ang="f4299">
                <a:pos x="f5774" y="f6129"/>
              </a:cxn>
              <a:cxn ang="f4299">
                <a:pos x="f5774" y="f6128"/>
              </a:cxn>
              <a:cxn ang="f4299">
                <a:pos x="f5775" y="f6127"/>
              </a:cxn>
              <a:cxn ang="f4299">
                <a:pos x="f5776" y="f6127"/>
              </a:cxn>
              <a:cxn ang="f4299">
                <a:pos x="f5777" y="f6128"/>
              </a:cxn>
              <a:cxn ang="f4299">
                <a:pos x="f5777" y="f6129"/>
              </a:cxn>
              <a:cxn ang="f4299">
                <a:pos x="f5776" y="f6130"/>
              </a:cxn>
              <a:cxn ang="f4299">
                <a:pos x="f5775" y="f6130"/>
              </a:cxn>
              <a:cxn ang="f4299">
                <a:pos x="f5778" y="f6129"/>
              </a:cxn>
              <a:cxn ang="f4299">
                <a:pos x="f5778" y="f6128"/>
              </a:cxn>
              <a:cxn ang="f4299">
                <a:pos x="f5779" y="f6127"/>
              </a:cxn>
              <a:cxn ang="f4299">
                <a:pos x="f5780" y="f6127"/>
              </a:cxn>
              <a:cxn ang="f4299">
                <a:pos x="f5781" y="f6128"/>
              </a:cxn>
              <a:cxn ang="f4299">
                <a:pos x="f5781" y="f6129"/>
              </a:cxn>
              <a:cxn ang="f4299">
                <a:pos x="f5780" y="f6130"/>
              </a:cxn>
              <a:cxn ang="f4299">
                <a:pos x="f5779" y="f6130"/>
              </a:cxn>
              <a:cxn ang="f4299">
                <a:pos x="f5782" y="f6129"/>
              </a:cxn>
              <a:cxn ang="f4299">
                <a:pos x="f5782" y="f6128"/>
              </a:cxn>
              <a:cxn ang="f4299">
                <a:pos x="f5783" y="f6127"/>
              </a:cxn>
              <a:cxn ang="f4299">
                <a:pos x="f5784" y="f6127"/>
              </a:cxn>
              <a:cxn ang="f4299">
                <a:pos x="f5785" y="f6128"/>
              </a:cxn>
              <a:cxn ang="f4299">
                <a:pos x="f5785" y="f6129"/>
              </a:cxn>
              <a:cxn ang="f4299">
                <a:pos x="f5784" y="f6130"/>
              </a:cxn>
              <a:cxn ang="f4299">
                <a:pos x="f5783" y="f6130"/>
              </a:cxn>
              <a:cxn ang="f4299">
                <a:pos x="f5786" y="f6129"/>
              </a:cxn>
              <a:cxn ang="f4299">
                <a:pos x="f5786" y="f6128"/>
              </a:cxn>
              <a:cxn ang="f4299">
                <a:pos x="f5787" y="f6127"/>
              </a:cxn>
              <a:cxn ang="f4299">
                <a:pos x="f5788" y="f6127"/>
              </a:cxn>
              <a:cxn ang="f4299">
                <a:pos x="f5789" y="f6128"/>
              </a:cxn>
              <a:cxn ang="f4299">
                <a:pos x="f5789" y="f6129"/>
              </a:cxn>
              <a:cxn ang="f4299">
                <a:pos x="f5788" y="f6130"/>
              </a:cxn>
              <a:cxn ang="f4299">
                <a:pos x="f5787" y="f6130"/>
              </a:cxn>
              <a:cxn ang="f4299">
                <a:pos x="f5790" y="f6129"/>
              </a:cxn>
              <a:cxn ang="f4299">
                <a:pos x="f5790" y="f6128"/>
              </a:cxn>
              <a:cxn ang="f4299">
                <a:pos x="f5791" y="f6127"/>
              </a:cxn>
              <a:cxn ang="f4299">
                <a:pos x="f5792" y="f6127"/>
              </a:cxn>
              <a:cxn ang="f4299">
                <a:pos x="f5793" y="f6128"/>
              </a:cxn>
              <a:cxn ang="f4299">
                <a:pos x="f5793" y="f6129"/>
              </a:cxn>
              <a:cxn ang="f4299">
                <a:pos x="f5792" y="f6130"/>
              </a:cxn>
              <a:cxn ang="f4299">
                <a:pos x="f5791" y="f6130"/>
              </a:cxn>
              <a:cxn ang="f4299">
                <a:pos x="f5794" y="f6129"/>
              </a:cxn>
              <a:cxn ang="f4299">
                <a:pos x="f5794" y="f6128"/>
              </a:cxn>
              <a:cxn ang="f4299">
                <a:pos x="f5795" y="f6127"/>
              </a:cxn>
              <a:cxn ang="f4299">
                <a:pos x="f5796" y="f6127"/>
              </a:cxn>
              <a:cxn ang="f4299">
                <a:pos x="f5797" y="f6128"/>
              </a:cxn>
              <a:cxn ang="f4299">
                <a:pos x="f5797" y="f6129"/>
              </a:cxn>
              <a:cxn ang="f4299">
                <a:pos x="f5796" y="f6130"/>
              </a:cxn>
              <a:cxn ang="f4299">
                <a:pos x="f5795" y="f6130"/>
              </a:cxn>
              <a:cxn ang="f4299">
                <a:pos x="f5798" y="f6129"/>
              </a:cxn>
              <a:cxn ang="f4299">
                <a:pos x="f5798" y="f6128"/>
              </a:cxn>
              <a:cxn ang="f4299">
                <a:pos x="f5799" y="f6127"/>
              </a:cxn>
              <a:cxn ang="f4299">
                <a:pos x="f5800" y="f6127"/>
              </a:cxn>
              <a:cxn ang="f4299">
                <a:pos x="f5801" y="f6128"/>
              </a:cxn>
              <a:cxn ang="f4299">
                <a:pos x="f5801" y="f6129"/>
              </a:cxn>
              <a:cxn ang="f4299">
                <a:pos x="f5800" y="f6130"/>
              </a:cxn>
              <a:cxn ang="f4299">
                <a:pos x="f5799" y="f6130"/>
              </a:cxn>
              <a:cxn ang="f4299">
                <a:pos x="f5802" y="f6129"/>
              </a:cxn>
              <a:cxn ang="f4299">
                <a:pos x="f5802" y="f6128"/>
              </a:cxn>
              <a:cxn ang="f4299">
                <a:pos x="f5803" y="f6127"/>
              </a:cxn>
              <a:cxn ang="f4299">
                <a:pos x="f5804" y="f6127"/>
              </a:cxn>
              <a:cxn ang="f4299">
                <a:pos x="f5805" y="f6128"/>
              </a:cxn>
              <a:cxn ang="f4299">
                <a:pos x="f5805" y="f6129"/>
              </a:cxn>
              <a:cxn ang="f4299">
                <a:pos x="f5804" y="f6130"/>
              </a:cxn>
              <a:cxn ang="f4299">
                <a:pos x="f5803" y="f6130"/>
              </a:cxn>
              <a:cxn ang="f4299">
                <a:pos x="f5806" y="f6129"/>
              </a:cxn>
              <a:cxn ang="f4299">
                <a:pos x="f5806" y="f6128"/>
              </a:cxn>
              <a:cxn ang="f4299">
                <a:pos x="f5807" y="f6127"/>
              </a:cxn>
              <a:cxn ang="f4299">
                <a:pos x="f5808" y="f6127"/>
              </a:cxn>
              <a:cxn ang="f4299">
                <a:pos x="f5809" y="f6128"/>
              </a:cxn>
              <a:cxn ang="f4299">
                <a:pos x="f5809" y="f6129"/>
              </a:cxn>
              <a:cxn ang="f4299">
                <a:pos x="f5808" y="f6130"/>
              </a:cxn>
              <a:cxn ang="f4299">
                <a:pos x="f5807" y="f6130"/>
              </a:cxn>
              <a:cxn ang="f4299">
                <a:pos x="f5810" y="f6129"/>
              </a:cxn>
              <a:cxn ang="f4299">
                <a:pos x="f5810" y="f6128"/>
              </a:cxn>
              <a:cxn ang="f4299">
                <a:pos x="f5811" y="f6127"/>
              </a:cxn>
              <a:cxn ang="f4299">
                <a:pos x="f5812" y="f6127"/>
              </a:cxn>
              <a:cxn ang="f4299">
                <a:pos x="f5813" y="f6128"/>
              </a:cxn>
              <a:cxn ang="f4299">
                <a:pos x="f5813" y="f6129"/>
              </a:cxn>
              <a:cxn ang="f4299">
                <a:pos x="f5812" y="f6130"/>
              </a:cxn>
              <a:cxn ang="f4299">
                <a:pos x="f5811" y="f6130"/>
              </a:cxn>
              <a:cxn ang="f4299">
                <a:pos x="f5814" y="f6129"/>
              </a:cxn>
              <a:cxn ang="f4299">
                <a:pos x="f5814" y="f6128"/>
              </a:cxn>
              <a:cxn ang="f4299">
                <a:pos x="f5815" y="f6127"/>
              </a:cxn>
              <a:cxn ang="f4299">
                <a:pos x="f5816" y="f6127"/>
              </a:cxn>
              <a:cxn ang="f4299">
                <a:pos x="f5817" y="f6128"/>
              </a:cxn>
              <a:cxn ang="f4299">
                <a:pos x="f5817" y="f6129"/>
              </a:cxn>
              <a:cxn ang="f4299">
                <a:pos x="f5816" y="f6130"/>
              </a:cxn>
              <a:cxn ang="f4299">
                <a:pos x="f5815" y="f6130"/>
              </a:cxn>
              <a:cxn ang="f4299">
                <a:pos x="f5818" y="f6129"/>
              </a:cxn>
              <a:cxn ang="f4299">
                <a:pos x="f5818" y="f6128"/>
              </a:cxn>
              <a:cxn ang="f4299">
                <a:pos x="f5819" y="f6127"/>
              </a:cxn>
              <a:cxn ang="f4299">
                <a:pos x="f5820" y="f6127"/>
              </a:cxn>
              <a:cxn ang="f4299">
                <a:pos x="f5821" y="f6128"/>
              </a:cxn>
              <a:cxn ang="f4299">
                <a:pos x="f5821" y="f6129"/>
              </a:cxn>
              <a:cxn ang="f4299">
                <a:pos x="f5820" y="f6130"/>
              </a:cxn>
              <a:cxn ang="f4299">
                <a:pos x="f5819" y="f6130"/>
              </a:cxn>
              <a:cxn ang="f4299">
                <a:pos x="f5822" y="f6129"/>
              </a:cxn>
              <a:cxn ang="f4299">
                <a:pos x="f5822" y="f6128"/>
              </a:cxn>
              <a:cxn ang="f4299">
                <a:pos x="f5823" y="f6127"/>
              </a:cxn>
              <a:cxn ang="f4299">
                <a:pos x="f5824" y="f6127"/>
              </a:cxn>
              <a:cxn ang="f4299">
                <a:pos x="f5825" y="f6128"/>
              </a:cxn>
              <a:cxn ang="f4299">
                <a:pos x="f5825" y="f6129"/>
              </a:cxn>
              <a:cxn ang="f4299">
                <a:pos x="f5824" y="f6130"/>
              </a:cxn>
              <a:cxn ang="f4299">
                <a:pos x="f5823" y="f6130"/>
              </a:cxn>
              <a:cxn ang="f4299">
                <a:pos x="f5826" y="f6129"/>
              </a:cxn>
              <a:cxn ang="f4299">
                <a:pos x="f5826" y="f6128"/>
              </a:cxn>
              <a:cxn ang="f4299">
                <a:pos x="f5827" y="f6127"/>
              </a:cxn>
              <a:cxn ang="f4299">
                <a:pos x="f5828" y="f6127"/>
              </a:cxn>
              <a:cxn ang="f4299">
                <a:pos x="f5829" y="f6128"/>
              </a:cxn>
              <a:cxn ang="f4299">
                <a:pos x="f5829" y="f6129"/>
              </a:cxn>
              <a:cxn ang="f4299">
                <a:pos x="f5828" y="f6130"/>
              </a:cxn>
              <a:cxn ang="f4299">
                <a:pos x="f5827" y="f6130"/>
              </a:cxn>
              <a:cxn ang="f4299">
                <a:pos x="f5830" y="f6129"/>
              </a:cxn>
              <a:cxn ang="f4299">
                <a:pos x="f5830" y="f6128"/>
              </a:cxn>
              <a:cxn ang="f4299">
                <a:pos x="f5831" y="f6127"/>
              </a:cxn>
              <a:cxn ang="f4299">
                <a:pos x="f5832" y="f6127"/>
              </a:cxn>
              <a:cxn ang="f4299">
                <a:pos x="f5833" y="f6128"/>
              </a:cxn>
              <a:cxn ang="f4299">
                <a:pos x="f5833" y="f6129"/>
              </a:cxn>
              <a:cxn ang="f4299">
                <a:pos x="f5832" y="f6130"/>
              </a:cxn>
              <a:cxn ang="f4299">
                <a:pos x="f5831" y="f6130"/>
              </a:cxn>
              <a:cxn ang="f4299">
                <a:pos x="f5834" y="f6129"/>
              </a:cxn>
              <a:cxn ang="f4299">
                <a:pos x="f5834" y="f6128"/>
              </a:cxn>
              <a:cxn ang="f4299">
                <a:pos x="f5835" y="f6127"/>
              </a:cxn>
              <a:cxn ang="f4299">
                <a:pos x="f5836" y="f6127"/>
              </a:cxn>
              <a:cxn ang="f4299">
                <a:pos x="f5837" y="f6128"/>
              </a:cxn>
              <a:cxn ang="f4299">
                <a:pos x="f5837" y="f6129"/>
              </a:cxn>
              <a:cxn ang="f4299">
                <a:pos x="f5836" y="f6130"/>
              </a:cxn>
              <a:cxn ang="f4299">
                <a:pos x="f5835" y="f6130"/>
              </a:cxn>
              <a:cxn ang="f4299">
                <a:pos x="f5838" y="f6129"/>
              </a:cxn>
              <a:cxn ang="f4299">
                <a:pos x="f5838" y="f6128"/>
              </a:cxn>
              <a:cxn ang="f4299">
                <a:pos x="f5839" y="f6127"/>
              </a:cxn>
              <a:cxn ang="f4299">
                <a:pos x="f5840" y="f6127"/>
              </a:cxn>
              <a:cxn ang="f4299">
                <a:pos x="f5841" y="f6128"/>
              </a:cxn>
              <a:cxn ang="f4299">
                <a:pos x="f5841" y="f6129"/>
              </a:cxn>
              <a:cxn ang="f4299">
                <a:pos x="f5840" y="f6130"/>
              </a:cxn>
              <a:cxn ang="f4299">
                <a:pos x="f5839" y="f6130"/>
              </a:cxn>
              <a:cxn ang="f4299">
                <a:pos x="f5842" y="f6129"/>
              </a:cxn>
              <a:cxn ang="f4299">
                <a:pos x="f5842" y="f6128"/>
              </a:cxn>
              <a:cxn ang="f4299">
                <a:pos x="f5843" y="f6127"/>
              </a:cxn>
              <a:cxn ang="f4299">
                <a:pos x="f5844" y="f6127"/>
              </a:cxn>
              <a:cxn ang="f4299">
                <a:pos x="f5845" y="f6128"/>
              </a:cxn>
              <a:cxn ang="f4299">
                <a:pos x="f5845" y="f6129"/>
              </a:cxn>
              <a:cxn ang="f4299">
                <a:pos x="f5844" y="f6130"/>
              </a:cxn>
              <a:cxn ang="f4299">
                <a:pos x="f5843" y="f6130"/>
              </a:cxn>
              <a:cxn ang="f4299">
                <a:pos x="f5846" y="f6129"/>
              </a:cxn>
              <a:cxn ang="f4299">
                <a:pos x="f5846" y="f6128"/>
              </a:cxn>
              <a:cxn ang="f4299">
                <a:pos x="f5847" y="f6127"/>
              </a:cxn>
              <a:cxn ang="f4299">
                <a:pos x="f5848" y="f6127"/>
              </a:cxn>
              <a:cxn ang="f4299">
                <a:pos x="f5849" y="f6128"/>
              </a:cxn>
              <a:cxn ang="f4299">
                <a:pos x="f5849" y="f6129"/>
              </a:cxn>
              <a:cxn ang="f4299">
                <a:pos x="f5848" y="f6130"/>
              </a:cxn>
              <a:cxn ang="f4299">
                <a:pos x="f5847" y="f6130"/>
              </a:cxn>
              <a:cxn ang="f4299">
                <a:pos x="f5850" y="f6129"/>
              </a:cxn>
              <a:cxn ang="f4299">
                <a:pos x="f5850" y="f6128"/>
              </a:cxn>
              <a:cxn ang="f4299">
                <a:pos x="f5851" y="f6127"/>
              </a:cxn>
              <a:cxn ang="f4299">
                <a:pos x="f5852" y="f6127"/>
              </a:cxn>
              <a:cxn ang="f4299">
                <a:pos x="f5853" y="f6128"/>
              </a:cxn>
              <a:cxn ang="f4299">
                <a:pos x="f5853" y="f6129"/>
              </a:cxn>
              <a:cxn ang="f4299">
                <a:pos x="f5852" y="f6130"/>
              </a:cxn>
              <a:cxn ang="f4299">
                <a:pos x="f5851" y="f6130"/>
              </a:cxn>
              <a:cxn ang="f4299">
                <a:pos x="f5854" y="f6129"/>
              </a:cxn>
              <a:cxn ang="f4299">
                <a:pos x="f5854" y="f6128"/>
              </a:cxn>
              <a:cxn ang="f4299">
                <a:pos x="f5855" y="f6127"/>
              </a:cxn>
              <a:cxn ang="f4299">
                <a:pos x="f5856" y="f6127"/>
              </a:cxn>
              <a:cxn ang="f4299">
                <a:pos x="f5857" y="f6128"/>
              </a:cxn>
              <a:cxn ang="f4299">
                <a:pos x="f5857" y="f6129"/>
              </a:cxn>
              <a:cxn ang="f4299">
                <a:pos x="f5856" y="f6130"/>
              </a:cxn>
              <a:cxn ang="f4299">
                <a:pos x="f5855" y="f6130"/>
              </a:cxn>
              <a:cxn ang="f4299">
                <a:pos x="f5858" y="f6129"/>
              </a:cxn>
              <a:cxn ang="f4299">
                <a:pos x="f5858" y="f6128"/>
              </a:cxn>
              <a:cxn ang="f4299">
                <a:pos x="f5859" y="f6127"/>
              </a:cxn>
              <a:cxn ang="f4299">
                <a:pos x="f5860" y="f6127"/>
              </a:cxn>
              <a:cxn ang="f4299">
                <a:pos x="f5861" y="f6128"/>
              </a:cxn>
              <a:cxn ang="f4299">
                <a:pos x="f5861" y="f6129"/>
              </a:cxn>
              <a:cxn ang="f4299">
                <a:pos x="f5860" y="f6130"/>
              </a:cxn>
              <a:cxn ang="f4299">
                <a:pos x="f5859" y="f6130"/>
              </a:cxn>
              <a:cxn ang="f4299">
                <a:pos x="f5862" y="f6129"/>
              </a:cxn>
              <a:cxn ang="f4299">
                <a:pos x="f5862" y="f6128"/>
              </a:cxn>
              <a:cxn ang="f4299">
                <a:pos x="f5863" y="f6127"/>
              </a:cxn>
              <a:cxn ang="f4299">
                <a:pos x="f5864" y="f6127"/>
              </a:cxn>
              <a:cxn ang="f4299">
                <a:pos x="f5865" y="f6128"/>
              </a:cxn>
              <a:cxn ang="f4299">
                <a:pos x="f5865" y="f6129"/>
              </a:cxn>
              <a:cxn ang="f4299">
                <a:pos x="f5864" y="f6130"/>
              </a:cxn>
              <a:cxn ang="f4299">
                <a:pos x="f5863" y="f6130"/>
              </a:cxn>
              <a:cxn ang="f4299">
                <a:pos x="f5866" y="f6129"/>
              </a:cxn>
              <a:cxn ang="f4299">
                <a:pos x="f5866" y="f6128"/>
              </a:cxn>
              <a:cxn ang="f4299">
                <a:pos x="f5867" y="f6127"/>
              </a:cxn>
              <a:cxn ang="f4299">
                <a:pos x="f5868" y="f6127"/>
              </a:cxn>
              <a:cxn ang="f4299">
                <a:pos x="f5869" y="f6128"/>
              </a:cxn>
              <a:cxn ang="f4299">
                <a:pos x="f5869" y="f6129"/>
              </a:cxn>
              <a:cxn ang="f4299">
                <a:pos x="f5868" y="f6130"/>
              </a:cxn>
              <a:cxn ang="f4299">
                <a:pos x="f5867" y="f6130"/>
              </a:cxn>
              <a:cxn ang="f4299">
                <a:pos x="f5870" y="f6129"/>
              </a:cxn>
              <a:cxn ang="f4299">
                <a:pos x="f5870" y="f6128"/>
              </a:cxn>
              <a:cxn ang="f4299">
                <a:pos x="f5871" y="f6127"/>
              </a:cxn>
              <a:cxn ang="f4299">
                <a:pos x="f5872" y="f6127"/>
              </a:cxn>
              <a:cxn ang="f4299">
                <a:pos x="f5873" y="f6128"/>
              </a:cxn>
              <a:cxn ang="f4299">
                <a:pos x="f5873" y="f6129"/>
              </a:cxn>
              <a:cxn ang="f4299">
                <a:pos x="f5872" y="f6130"/>
              </a:cxn>
              <a:cxn ang="f4299">
                <a:pos x="f5871" y="f6130"/>
              </a:cxn>
              <a:cxn ang="f4299">
                <a:pos x="f5874" y="f6129"/>
              </a:cxn>
              <a:cxn ang="f4299">
                <a:pos x="f5874" y="f6128"/>
              </a:cxn>
              <a:cxn ang="f4299">
                <a:pos x="f5875" y="f6127"/>
              </a:cxn>
              <a:cxn ang="f4299">
                <a:pos x="f5876" y="f6127"/>
              </a:cxn>
              <a:cxn ang="f4299">
                <a:pos x="f5877" y="f6128"/>
              </a:cxn>
              <a:cxn ang="f4299">
                <a:pos x="f5877" y="f6129"/>
              </a:cxn>
              <a:cxn ang="f4299">
                <a:pos x="f5876" y="f6130"/>
              </a:cxn>
              <a:cxn ang="f4299">
                <a:pos x="f5875" y="f6130"/>
              </a:cxn>
              <a:cxn ang="f4299">
                <a:pos x="f5878" y="f6129"/>
              </a:cxn>
              <a:cxn ang="f4299">
                <a:pos x="f5878" y="f6128"/>
              </a:cxn>
              <a:cxn ang="f4299">
                <a:pos x="f5879" y="f6127"/>
              </a:cxn>
              <a:cxn ang="f4299">
                <a:pos x="f5880" y="f6127"/>
              </a:cxn>
              <a:cxn ang="f4299">
                <a:pos x="f5881" y="f6128"/>
              </a:cxn>
              <a:cxn ang="f4299">
                <a:pos x="f5881" y="f6129"/>
              </a:cxn>
              <a:cxn ang="f4299">
                <a:pos x="f5880" y="f6130"/>
              </a:cxn>
              <a:cxn ang="f4299">
                <a:pos x="f5879" y="f6130"/>
              </a:cxn>
              <a:cxn ang="f4299">
                <a:pos x="f5882" y="f6129"/>
              </a:cxn>
              <a:cxn ang="f4299">
                <a:pos x="f5882" y="f6128"/>
              </a:cxn>
              <a:cxn ang="f4299">
                <a:pos x="f5883" y="f6127"/>
              </a:cxn>
              <a:cxn ang="f4299">
                <a:pos x="f5884" y="f6127"/>
              </a:cxn>
              <a:cxn ang="f4299">
                <a:pos x="f5885" y="f6128"/>
              </a:cxn>
              <a:cxn ang="f4299">
                <a:pos x="f5885" y="f6129"/>
              </a:cxn>
              <a:cxn ang="f4299">
                <a:pos x="f5884" y="f6130"/>
              </a:cxn>
              <a:cxn ang="f4299">
                <a:pos x="f5883" y="f6130"/>
              </a:cxn>
              <a:cxn ang="f4299">
                <a:pos x="f5886" y="f6129"/>
              </a:cxn>
              <a:cxn ang="f4299">
                <a:pos x="f5886" y="f6128"/>
              </a:cxn>
              <a:cxn ang="f4299">
                <a:pos x="f5887" y="f6127"/>
              </a:cxn>
              <a:cxn ang="f4299">
                <a:pos x="f5888" y="f6127"/>
              </a:cxn>
              <a:cxn ang="f4299">
                <a:pos x="f5889" y="f6128"/>
              </a:cxn>
              <a:cxn ang="f4299">
                <a:pos x="f5889" y="f6129"/>
              </a:cxn>
              <a:cxn ang="f4299">
                <a:pos x="f5888" y="f6130"/>
              </a:cxn>
              <a:cxn ang="f4299">
                <a:pos x="f5887" y="f6130"/>
              </a:cxn>
              <a:cxn ang="f4299">
                <a:pos x="f5890" y="f6129"/>
              </a:cxn>
              <a:cxn ang="f4299">
                <a:pos x="f5890" y="f6128"/>
              </a:cxn>
              <a:cxn ang="f4299">
                <a:pos x="f5891" y="f6127"/>
              </a:cxn>
              <a:cxn ang="f4299">
                <a:pos x="f5892" y="f6127"/>
              </a:cxn>
              <a:cxn ang="f4299">
                <a:pos x="f5893" y="f6128"/>
              </a:cxn>
              <a:cxn ang="f4299">
                <a:pos x="f5893" y="f6129"/>
              </a:cxn>
              <a:cxn ang="f4299">
                <a:pos x="f5892" y="f6130"/>
              </a:cxn>
              <a:cxn ang="f4299">
                <a:pos x="f5891" y="f6130"/>
              </a:cxn>
              <a:cxn ang="f4299">
                <a:pos x="f5894" y="f6129"/>
              </a:cxn>
              <a:cxn ang="f4299">
                <a:pos x="f5894" y="f6128"/>
              </a:cxn>
              <a:cxn ang="f4299">
                <a:pos x="f6131" y="f6127"/>
              </a:cxn>
              <a:cxn ang="f4299">
                <a:pos x="f6132" y="f6127"/>
              </a:cxn>
              <a:cxn ang="f4299">
                <a:pos x="f6133" y="f6128"/>
              </a:cxn>
              <a:cxn ang="f4299">
                <a:pos x="f6133" y="f6129"/>
              </a:cxn>
              <a:cxn ang="f4299">
                <a:pos x="f6132" y="f6130"/>
              </a:cxn>
              <a:cxn ang="f4299">
                <a:pos x="f6131" y="f6130"/>
              </a:cxn>
              <a:cxn ang="f4299">
                <a:pos x="f6134" y="f6129"/>
              </a:cxn>
              <a:cxn ang="f4299">
                <a:pos x="f6134" y="f6128"/>
              </a:cxn>
              <a:cxn ang="f4299">
                <a:pos x="f6103" y="f6127"/>
              </a:cxn>
              <a:cxn ang="f4299">
                <a:pos x="f6135" y="f6127"/>
              </a:cxn>
              <a:cxn ang="f4299">
                <a:pos x="f6136" y="f6128"/>
              </a:cxn>
              <a:cxn ang="f4299">
                <a:pos x="f6136" y="f6129"/>
              </a:cxn>
              <a:cxn ang="f4299">
                <a:pos x="f6135" y="f6130"/>
              </a:cxn>
              <a:cxn ang="f4299">
                <a:pos x="f6103" y="f6130"/>
              </a:cxn>
              <a:cxn ang="f4299">
                <a:pos x="f6105" y="f6129"/>
              </a:cxn>
              <a:cxn ang="f4299">
                <a:pos x="f6105" y="f6128"/>
              </a:cxn>
              <a:cxn ang="f4299">
                <a:pos x="f6106" y="f6127"/>
              </a:cxn>
              <a:cxn ang="f4299">
                <a:pos x="f6137" y="f6127"/>
              </a:cxn>
              <a:cxn ang="f4299">
                <a:pos x="f6138" y="f6128"/>
              </a:cxn>
              <a:cxn ang="f4299">
                <a:pos x="f6138" y="f6129"/>
              </a:cxn>
              <a:cxn ang="f4299">
                <a:pos x="f6137" y="f6130"/>
              </a:cxn>
              <a:cxn ang="f4299">
                <a:pos x="f6106" y="f6130"/>
              </a:cxn>
              <a:cxn ang="f4299">
                <a:pos x="f6139" y="f6129"/>
              </a:cxn>
              <a:cxn ang="f4299">
                <a:pos x="f6139" y="f6128"/>
              </a:cxn>
              <a:cxn ang="f4299">
                <a:pos x="f6140" y="f6127"/>
              </a:cxn>
              <a:cxn ang="f4299">
                <a:pos x="f6141" y="f6127"/>
              </a:cxn>
              <a:cxn ang="f4299">
                <a:pos x="f6109" y="f6128"/>
              </a:cxn>
              <a:cxn ang="f4299">
                <a:pos x="f6109" y="f6129"/>
              </a:cxn>
              <a:cxn ang="f4299">
                <a:pos x="f6141" y="f6130"/>
              </a:cxn>
              <a:cxn ang="f4299">
                <a:pos x="f6140" y="f6130"/>
              </a:cxn>
              <a:cxn ang="f4299">
                <a:pos x="f6142" y="f6129"/>
              </a:cxn>
              <a:cxn ang="f4299">
                <a:pos x="f6142" y="f6128"/>
              </a:cxn>
              <a:cxn ang="f4299">
                <a:pos x="f6057" y="f6143"/>
              </a:cxn>
              <a:cxn ang="f4299">
                <a:pos x="f6029" y="f6143"/>
              </a:cxn>
              <a:cxn ang="f4299">
                <a:pos x="f6144" y="f6145"/>
              </a:cxn>
              <a:cxn ang="f4299">
                <a:pos x="f6144" y="f6146"/>
              </a:cxn>
              <a:cxn ang="f4299">
                <a:pos x="f6029" y="f6147"/>
              </a:cxn>
              <a:cxn ang="f4299">
                <a:pos x="f6057" y="f6147"/>
              </a:cxn>
              <a:cxn ang="f4299">
                <a:pos x="f6115" y="f6146"/>
              </a:cxn>
              <a:cxn ang="f4299">
                <a:pos x="f6115" y="f6145"/>
              </a:cxn>
              <a:cxn ang="f4299">
                <a:pos x="f6148" y="f6143"/>
              </a:cxn>
              <a:cxn ang="f4299">
                <a:pos x="f6116" y="f6143"/>
              </a:cxn>
              <a:cxn ang="f4299">
                <a:pos x="f6063" y="f6145"/>
              </a:cxn>
              <a:cxn ang="f4299">
                <a:pos x="f6063" y="f6146"/>
              </a:cxn>
              <a:cxn ang="f4299">
                <a:pos x="f6116" y="f6147"/>
              </a:cxn>
              <a:cxn ang="f4299">
                <a:pos x="f6148" y="f6147"/>
              </a:cxn>
              <a:cxn ang="f4299">
                <a:pos x="f6033" y="f6146"/>
              </a:cxn>
              <a:cxn ang="f4299">
                <a:pos x="f6033" y="f6145"/>
              </a:cxn>
              <a:cxn ang="f4299">
                <a:pos x="f6117" y="f6143"/>
              </a:cxn>
              <a:cxn ang="f4299">
                <a:pos x="f6149" y="f6143"/>
              </a:cxn>
              <a:cxn ang="f4299">
                <a:pos x="f6150" y="f6145"/>
              </a:cxn>
              <a:cxn ang="f4299">
                <a:pos x="f6150" y="f6146"/>
              </a:cxn>
              <a:cxn ang="f4299">
                <a:pos x="f6149" y="f6147"/>
              </a:cxn>
              <a:cxn ang="f4299">
                <a:pos x="f6117" y="f6147"/>
              </a:cxn>
              <a:cxn ang="f4299">
                <a:pos x="f6151" y="f6146"/>
              </a:cxn>
              <a:cxn ang="f4299">
                <a:pos x="f6151" y="f6145"/>
              </a:cxn>
              <a:cxn ang="f4299">
                <a:pos x="f6152" y="f6143"/>
              </a:cxn>
              <a:cxn ang="f4299">
                <a:pos x="f6153" y="f6143"/>
              </a:cxn>
              <a:cxn ang="f4299">
                <a:pos x="f6119" y="f6145"/>
              </a:cxn>
              <a:cxn ang="f4299">
                <a:pos x="f6119" y="f6146"/>
              </a:cxn>
              <a:cxn ang="f4299">
                <a:pos x="f6153" y="f6147"/>
              </a:cxn>
              <a:cxn ang="f4299">
                <a:pos x="f6152" y="f6147"/>
              </a:cxn>
              <a:cxn ang="f4299">
                <a:pos x="f6120" y="f6146"/>
              </a:cxn>
              <a:cxn ang="f4299">
                <a:pos x="f6120" y="f6145"/>
              </a:cxn>
              <a:cxn ang="f4299">
                <a:pos x="f6121" y="f6143"/>
              </a:cxn>
              <a:cxn ang="f4299">
                <a:pos x="f6154" y="f6143"/>
              </a:cxn>
              <a:cxn ang="f4299">
                <a:pos x="f6155" y="f6145"/>
              </a:cxn>
              <a:cxn ang="f4299">
                <a:pos x="f6155" y="f6146"/>
              </a:cxn>
              <a:cxn ang="f4299">
                <a:pos x="f6154" y="f6147"/>
              </a:cxn>
              <a:cxn ang="f4299">
                <a:pos x="f6121" y="f6147"/>
              </a:cxn>
              <a:cxn ang="f4299">
                <a:pos x="f6124" y="f6146"/>
              </a:cxn>
              <a:cxn ang="f4299">
                <a:pos x="f6124" y="f6145"/>
              </a:cxn>
              <a:cxn ang="f4299">
                <a:pos x="f6156" y="f6143"/>
              </a:cxn>
              <a:cxn ang="f4299">
                <a:pos x="f6157" y="f6143"/>
              </a:cxn>
              <a:cxn ang="f4299">
                <a:pos x="f6125" y="f6145"/>
              </a:cxn>
              <a:cxn ang="f4299">
                <a:pos x="f6125" y="f6146"/>
              </a:cxn>
              <a:cxn ang="f4299">
                <a:pos x="f6157" y="f6147"/>
              </a:cxn>
              <a:cxn ang="f4299">
                <a:pos x="f6156" y="f6147"/>
              </a:cxn>
              <a:cxn ang="f4299">
                <a:pos x="f6158" y="f6146"/>
              </a:cxn>
              <a:cxn ang="f4299">
                <a:pos x="f6158" y="f6145"/>
              </a:cxn>
              <a:cxn ang="f4299">
                <a:pos x="f5767" y="f6159"/>
              </a:cxn>
              <a:cxn ang="f4299">
                <a:pos x="f5769" y="f6159"/>
              </a:cxn>
              <a:cxn ang="f4299">
                <a:pos x="f5770" y="f6160"/>
              </a:cxn>
              <a:cxn ang="f4299">
                <a:pos x="f5770" y="f6161"/>
              </a:cxn>
              <a:cxn ang="f4299">
                <a:pos x="f5769" y="f6162"/>
              </a:cxn>
              <a:cxn ang="f4299">
                <a:pos x="f5767" y="f6162"/>
              </a:cxn>
              <a:cxn ang="f4299">
                <a:pos x="f5774" y="f6161"/>
              </a:cxn>
              <a:cxn ang="f4299">
                <a:pos x="f5774" y="f6160"/>
              </a:cxn>
              <a:cxn ang="f4299">
                <a:pos x="f5775" y="f6159"/>
              </a:cxn>
              <a:cxn ang="f4299">
                <a:pos x="f5776" y="f6159"/>
              </a:cxn>
              <a:cxn ang="f4299">
                <a:pos x="f5777" y="f6160"/>
              </a:cxn>
              <a:cxn ang="f4299">
                <a:pos x="f5777" y="f6161"/>
              </a:cxn>
              <a:cxn ang="f4299">
                <a:pos x="f5776" y="f6162"/>
              </a:cxn>
              <a:cxn ang="f4299">
                <a:pos x="f5775" y="f6162"/>
              </a:cxn>
              <a:cxn ang="f4299">
                <a:pos x="f5778" y="f6161"/>
              </a:cxn>
              <a:cxn ang="f4299">
                <a:pos x="f5778" y="f6160"/>
              </a:cxn>
              <a:cxn ang="f4299">
                <a:pos x="f5779" y="f6159"/>
              </a:cxn>
              <a:cxn ang="f4299">
                <a:pos x="f5780" y="f6159"/>
              </a:cxn>
              <a:cxn ang="f4299">
                <a:pos x="f5781" y="f6160"/>
              </a:cxn>
              <a:cxn ang="f4299">
                <a:pos x="f5781" y="f6161"/>
              </a:cxn>
              <a:cxn ang="f4299">
                <a:pos x="f5780" y="f6162"/>
              </a:cxn>
              <a:cxn ang="f4299">
                <a:pos x="f5779" y="f6162"/>
              </a:cxn>
              <a:cxn ang="f4299">
                <a:pos x="f5782" y="f6161"/>
              </a:cxn>
              <a:cxn ang="f4299">
                <a:pos x="f5782" y="f6160"/>
              </a:cxn>
              <a:cxn ang="f4299">
                <a:pos x="f5783" y="f6159"/>
              </a:cxn>
              <a:cxn ang="f4299">
                <a:pos x="f5784" y="f6159"/>
              </a:cxn>
              <a:cxn ang="f4299">
                <a:pos x="f5785" y="f6160"/>
              </a:cxn>
              <a:cxn ang="f4299">
                <a:pos x="f5785" y="f6161"/>
              </a:cxn>
              <a:cxn ang="f4299">
                <a:pos x="f5784" y="f6162"/>
              </a:cxn>
              <a:cxn ang="f4299">
                <a:pos x="f5783" y="f6162"/>
              </a:cxn>
              <a:cxn ang="f4299">
                <a:pos x="f5786" y="f6161"/>
              </a:cxn>
              <a:cxn ang="f4299">
                <a:pos x="f5786" y="f6160"/>
              </a:cxn>
              <a:cxn ang="f4299">
                <a:pos x="f5787" y="f6159"/>
              </a:cxn>
              <a:cxn ang="f4299">
                <a:pos x="f5788" y="f6159"/>
              </a:cxn>
              <a:cxn ang="f4299">
                <a:pos x="f5789" y="f6160"/>
              </a:cxn>
              <a:cxn ang="f4299">
                <a:pos x="f5789" y="f6161"/>
              </a:cxn>
              <a:cxn ang="f4299">
                <a:pos x="f5788" y="f6162"/>
              </a:cxn>
              <a:cxn ang="f4299">
                <a:pos x="f5787" y="f6162"/>
              </a:cxn>
              <a:cxn ang="f4299">
                <a:pos x="f5790" y="f6161"/>
              </a:cxn>
              <a:cxn ang="f4299">
                <a:pos x="f5790" y="f6160"/>
              </a:cxn>
              <a:cxn ang="f4299">
                <a:pos x="f5791" y="f6159"/>
              </a:cxn>
              <a:cxn ang="f4299">
                <a:pos x="f5792" y="f6159"/>
              </a:cxn>
              <a:cxn ang="f4299">
                <a:pos x="f5793" y="f6160"/>
              </a:cxn>
              <a:cxn ang="f4299">
                <a:pos x="f5793" y="f6161"/>
              </a:cxn>
              <a:cxn ang="f4299">
                <a:pos x="f5792" y="f6162"/>
              </a:cxn>
              <a:cxn ang="f4299">
                <a:pos x="f5791" y="f6162"/>
              </a:cxn>
              <a:cxn ang="f4299">
                <a:pos x="f5794" y="f6161"/>
              </a:cxn>
              <a:cxn ang="f4299">
                <a:pos x="f5794" y="f6160"/>
              </a:cxn>
              <a:cxn ang="f4299">
                <a:pos x="f5795" y="f6159"/>
              </a:cxn>
              <a:cxn ang="f4299">
                <a:pos x="f5796" y="f6159"/>
              </a:cxn>
              <a:cxn ang="f4299">
                <a:pos x="f5797" y="f6160"/>
              </a:cxn>
              <a:cxn ang="f4299">
                <a:pos x="f5797" y="f6161"/>
              </a:cxn>
              <a:cxn ang="f4299">
                <a:pos x="f5796" y="f6162"/>
              </a:cxn>
              <a:cxn ang="f4299">
                <a:pos x="f5795" y="f6162"/>
              </a:cxn>
              <a:cxn ang="f4299">
                <a:pos x="f5798" y="f6161"/>
              </a:cxn>
              <a:cxn ang="f4299">
                <a:pos x="f5798" y="f6160"/>
              </a:cxn>
              <a:cxn ang="f4299">
                <a:pos x="f5799" y="f6159"/>
              </a:cxn>
              <a:cxn ang="f4299">
                <a:pos x="f5800" y="f6159"/>
              </a:cxn>
              <a:cxn ang="f4299">
                <a:pos x="f5801" y="f6160"/>
              </a:cxn>
              <a:cxn ang="f4299">
                <a:pos x="f5801" y="f6161"/>
              </a:cxn>
              <a:cxn ang="f4299">
                <a:pos x="f5800" y="f6162"/>
              </a:cxn>
              <a:cxn ang="f4299">
                <a:pos x="f5799" y="f6162"/>
              </a:cxn>
              <a:cxn ang="f4299">
                <a:pos x="f5802" y="f6161"/>
              </a:cxn>
              <a:cxn ang="f4299">
                <a:pos x="f5802" y="f6160"/>
              </a:cxn>
              <a:cxn ang="f4299">
                <a:pos x="f5803" y="f6159"/>
              </a:cxn>
              <a:cxn ang="f4299">
                <a:pos x="f5804" y="f6159"/>
              </a:cxn>
              <a:cxn ang="f4299">
                <a:pos x="f5805" y="f6160"/>
              </a:cxn>
              <a:cxn ang="f4299">
                <a:pos x="f5805" y="f6161"/>
              </a:cxn>
              <a:cxn ang="f4299">
                <a:pos x="f5804" y="f6162"/>
              </a:cxn>
              <a:cxn ang="f4299">
                <a:pos x="f5803" y="f6162"/>
              </a:cxn>
              <a:cxn ang="f4299">
                <a:pos x="f5806" y="f6161"/>
              </a:cxn>
              <a:cxn ang="f4299">
                <a:pos x="f5806" y="f6160"/>
              </a:cxn>
              <a:cxn ang="f4299">
                <a:pos x="f5807" y="f6159"/>
              </a:cxn>
              <a:cxn ang="f4299">
                <a:pos x="f5808" y="f6159"/>
              </a:cxn>
              <a:cxn ang="f4299">
                <a:pos x="f5809" y="f6160"/>
              </a:cxn>
              <a:cxn ang="f4299">
                <a:pos x="f5809" y="f6161"/>
              </a:cxn>
              <a:cxn ang="f4299">
                <a:pos x="f5808" y="f6162"/>
              </a:cxn>
              <a:cxn ang="f4299">
                <a:pos x="f5807" y="f6162"/>
              </a:cxn>
              <a:cxn ang="f4299">
                <a:pos x="f5810" y="f6161"/>
              </a:cxn>
              <a:cxn ang="f4299">
                <a:pos x="f5810" y="f6160"/>
              </a:cxn>
              <a:cxn ang="f4299">
                <a:pos x="f5811" y="f6159"/>
              </a:cxn>
              <a:cxn ang="f4299">
                <a:pos x="f5812" y="f6159"/>
              </a:cxn>
              <a:cxn ang="f4299">
                <a:pos x="f5813" y="f6160"/>
              </a:cxn>
              <a:cxn ang="f4299">
                <a:pos x="f5813" y="f6161"/>
              </a:cxn>
              <a:cxn ang="f4299">
                <a:pos x="f5812" y="f6162"/>
              </a:cxn>
              <a:cxn ang="f4299">
                <a:pos x="f5811" y="f6162"/>
              </a:cxn>
              <a:cxn ang="f4299">
                <a:pos x="f5814" y="f6161"/>
              </a:cxn>
              <a:cxn ang="f4299">
                <a:pos x="f5814" y="f6160"/>
              </a:cxn>
              <a:cxn ang="f4299">
                <a:pos x="f5815" y="f6159"/>
              </a:cxn>
              <a:cxn ang="f4299">
                <a:pos x="f5816" y="f6159"/>
              </a:cxn>
              <a:cxn ang="f4299">
                <a:pos x="f5817" y="f6160"/>
              </a:cxn>
              <a:cxn ang="f4299">
                <a:pos x="f5817" y="f6161"/>
              </a:cxn>
              <a:cxn ang="f4299">
                <a:pos x="f5816" y="f6162"/>
              </a:cxn>
              <a:cxn ang="f4299">
                <a:pos x="f5815" y="f6162"/>
              </a:cxn>
              <a:cxn ang="f4299">
                <a:pos x="f5818" y="f6161"/>
              </a:cxn>
              <a:cxn ang="f4299">
                <a:pos x="f5818" y="f6160"/>
              </a:cxn>
              <a:cxn ang="f4299">
                <a:pos x="f5819" y="f6159"/>
              </a:cxn>
              <a:cxn ang="f4299">
                <a:pos x="f5820" y="f6159"/>
              </a:cxn>
              <a:cxn ang="f4299">
                <a:pos x="f5821" y="f6160"/>
              </a:cxn>
              <a:cxn ang="f4299">
                <a:pos x="f5821" y="f6161"/>
              </a:cxn>
              <a:cxn ang="f4299">
                <a:pos x="f5820" y="f6162"/>
              </a:cxn>
              <a:cxn ang="f4299">
                <a:pos x="f5819" y="f6162"/>
              </a:cxn>
              <a:cxn ang="f4299">
                <a:pos x="f5822" y="f6161"/>
              </a:cxn>
              <a:cxn ang="f4299">
                <a:pos x="f5822" y="f6160"/>
              </a:cxn>
              <a:cxn ang="f4299">
                <a:pos x="f5823" y="f6159"/>
              </a:cxn>
              <a:cxn ang="f4299">
                <a:pos x="f5824" y="f6159"/>
              </a:cxn>
              <a:cxn ang="f4299">
                <a:pos x="f5825" y="f6160"/>
              </a:cxn>
              <a:cxn ang="f4299">
                <a:pos x="f5825" y="f6161"/>
              </a:cxn>
              <a:cxn ang="f4299">
                <a:pos x="f5824" y="f6162"/>
              </a:cxn>
              <a:cxn ang="f4299">
                <a:pos x="f5823" y="f6162"/>
              </a:cxn>
              <a:cxn ang="f4299">
                <a:pos x="f5826" y="f6161"/>
              </a:cxn>
              <a:cxn ang="f4299">
                <a:pos x="f5826" y="f6160"/>
              </a:cxn>
              <a:cxn ang="f4299">
                <a:pos x="f5827" y="f6159"/>
              </a:cxn>
              <a:cxn ang="f4299">
                <a:pos x="f5828" y="f6159"/>
              </a:cxn>
              <a:cxn ang="f4299">
                <a:pos x="f5829" y="f6160"/>
              </a:cxn>
              <a:cxn ang="f4299">
                <a:pos x="f5829" y="f6161"/>
              </a:cxn>
              <a:cxn ang="f4299">
                <a:pos x="f5828" y="f6162"/>
              </a:cxn>
              <a:cxn ang="f4299">
                <a:pos x="f5827" y="f6162"/>
              </a:cxn>
              <a:cxn ang="f4299">
                <a:pos x="f5830" y="f6161"/>
              </a:cxn>
              <a:cxn ang="f4299">
                <a:pos x="f5830" y="f6160"/>
              </a:cxn>
              <a:cxn ang="f4299">
                <a:pos x="f5831" y="f6159"/>
              </a:cxn>
              <a:cxn ang="f4299">
                <a:pos x="f5832" y="f6159"/>
              </a:cxn>
              <a:cxn ang="f4299">
                <a:pos x="f5833" y="f6160"/>
              </a:cxn>
              <a:cxn ang="f4299">
                <a:pos x="f5833" y="f6161"/>
              </a:cxn>
              <a:cxn ang="f4299">
                <a:pos x="f5832" y="f6162"/>
              </a:cxn>
              <a:cxn ang="f4299">
                <a:pos x="f5831" y="f6162"/>
              </a:cxn>
              <a:cxn ang="f4299">
                <a:pos x="f5834" y="f6161"/>
              </a:cxn>
              <a:cxn ang="f4299">
                <a:pos x="f5834" y="f6160"/>
              </a:cxn>
              <a:cxn ang="f4299">
                <a:pos x="f5835" y="f6159"/>
              </a:cxn>
              <a:cxn ang="f4299">
                <a:pos x="f5836" y="f6159"/>
              </a:cxn>
              <a:cxn ang="f4299">
                <a:pos x="f5837" y="f6160"/>
              </a:cxn>
              <a:cxn ang="f4299">
                <a:pos x="f5837" y="f6161"/>
              </a:cxn>
              <a:cxn ang="f4299">
                <a:pos x="f5836" y="f6162"/>
              </a:cxn>
              <a:cxn ang="f4299">
                <a:pos x="f5835" y="f6162"/>
              </a:cxn>
              <a:cxn ang="f4299">
                <a:pos x="f5838" y="f6161"/>
              </a:cxn>
              <a:cxn ang="f4299">
                <a:pos x="f5838" y="f6160"/>
              </a:cxn>
              <a:cxn ang="f4299">
                <a:pos x="f5839" y="f6159"/>
              </a:cxn>
              <a:cxn ang="f4299">
                <a:pos x="f5840" y="f6159"/>
              </a:cxn>
              <a:cxn ang="f4299">
                <a:pos x="f5841" y="f6160"/>
              </a:cxn>
              <a:cxn ang="f4299">
                <a:pos x="f5841" y="f6161"/>
              </a:cxn>
              <a:cxn ang="f4299">
                <a:pos x="f5840" y="f6162"/>
              </a:cxn>
              <a:cxn ang="f4299">
                <a:pos x="f5839" y="f6162"/>
              </a:cxn>
              <a:cxn ang="f4299">
                <a:pos x="f5842" y="f6161"/>
              </a:cxn>
              <a:cxn ang="f4299">
                <a:pos x="f5842" y="f6160"/>
              </a:cxn>
              <a:cxn ang="f4299">
                <a:pos x="f5843" y="f6159"/>
              </a:cxn>
              <a:cxn ang="f4299">
                <a:pos x="f5844" y="f6159"/>
              </a:cxn>
              <a:cxn ang="f4299">
                <a:pos x="f5845" y="f6160"/>
              </a:cxn>
              <a:cxn ang="f4299">
                <a:pos x="f5845" y="f6161"/>
              </a:cxn>
              <a:cxn ang="f4299">
                <a:pos x="f5844" y="f6162"/>
              </a:cxn>
              <a:cxn ang="f4299">
                <a:pos x="f5843" y="f6162"/>
              </a:cxn>
              <a:cxn ang="f4299">
                <a:pos x="f5846" y="f6161"/>
              </a:cxn>
              <a:cxn ang="f4299">
                <a:pos x="f5846" y="f6160"/>
              </a:cxn>
              <a:cxn ang="f4299">
                <a:pos x="f5847" y="f6159"/>
              </a:cxn>
              <a:cxn ang="f4299">
                <a:pos x="f5848" y="f6159"/>
              </a:cxn>
              <a:cxn ang="f4299">
                <a:pos x="f5849" y="f6160"/>
              </a:cxn>
              <a:cxn ang="f4299">
                <a:pos x="f5849" y="f6161"/>
              </a:cxn>
              <a:cxn ang="f4299">
                <a:pos x="f5848" y="f6162"/>
              </a:cxn>
              <a:cxn ang="f4299">
                <a:pos x="f5847" y="f6162"/>
              </a:cxn>
              <a:cxn ang="f4299">
                <a:pos x="f5850" y="f6161"/>
              </a:cxn>
              <a:cxn ang="f4299">
                <a:pos x="f5850" y="f6160"/>
              </a:cxn>
              <a:cxn ang="f4299">
                <a:pos x="f5851" y="f6159"/>
              </a:cxn>
              <a:cxn ang="f4299">
                <a:pos x="f5852" y="f6159"/>
              </a:cxn>
              <a:cxn ang="f4299">
                <a:pos x="f5853" y="f6160"/>
              </a:cxn>
              <a:cxn ang="f4299">
                <a:pos x="f5853" y="f6161"/>
              </a:cxn>
              <a:cxn ang="f4299">
                <a:pos x="f5852" y="f6162"/>
              </a:cxn>
              <a:cxn ang="f4299">
                <a:pos x="f5851" y="f6162"/>
              </a:cxn>
              <a:cxn ang="f4299">
                <a:pos x="f5854" y="f6161"/>
              </a:cxn>
              <a:cxn ang="f4299">
                <a:pos x="f5854" y="f6160"/>
              </a:cxn>
              <a:cxn ang="f4299">
                <a:pos x="f5855" y="f6159"/>
              </a:cxn>
              <a:cxn ang="f4299">
                <a:pos x="f5856" y="f6159"/>
              </a:cxn>
              <a:cxn ang="f4299">
                <a:pos x="f5857" y="f6160"/>
              </a:cxn>
              <a:cxn ang="f4299">
                <a:pos x="f5857" y="f6161"/>
              </a:cxn>
              <a:cxn ang="f4299">
                <a:pos x="f5856" y="f6162"/>
              </a:cxn>
              <a:cxn ang="f4299">
                <a:pos x="f5855" y="f6162"/>
              </a:cxn>
              <a:cxn ang="f4299">
                <a:pos x="f5858" y="f6161"/>
              </a:cxn>
              <a:cxn ang="f4299">
                <a:pos x="f5858" y="f6160"/>
              </a:cxn>
              <a:cxn ang="f4299">
                <a:pos x="f5859" y="f6159"/>
              </a:cxn>
              <a:cxn ang="f4299">
                <a:pos x="f5860" y="f6159"/>
              </a:cxn>
              <a:cxn ang="f4299">
                <a:pos x="f5861" y="f6160"/>
              </a:cxn>
              <a:cxn ang="f4299">
                <a:pos x="f5861" y="f6161"/>
              </a:cxn>
              <a:cxn ang="f4299">
                <a:pos x="f5860" y="f6162"/>
              </a:cxn>
              <a:cxn ang="f4299">
                <a:pos x="f5859" y="f6162"/>
              </a:cxn>
              <a:cxn ang="f4299">
                <a:pos x="f5862" y="f6161"/>
              </a:cxn>
              <a:cxn ang="f4299">
                <a:pos x="f5862" y="f6160"/>
              </a:cxn>
              <a:cxn ang="f4299">
                <a:pos x="f5863" y="f6159"/>
              </a:cxn>
              <a:cxn ang="f4299">
                <a:pos x="f5864" y="f6159"/>
              </a:cxn>
              <a:cxn ang="f4299">
                <a:pos x="f5865" y="f6160"/>
              </a:cxn>
              <a:cxn ang="f4299">
                <a:pos x="f5865" y="f6161"/>
              </a:cxn>
              <a:cxn ang="f4299">
                <a:pos x="f5864" y="f6162"/>
              </a:cxn>
              <a:cxn ang="f4299">
                <a:pos x="f5863" y="f6162"/>
              </a:cxn>
              <a:cxn ang="f4299">
                <a:pos x="f5866" y="f6161"/>
              </a:cxn>
              <a:cxn ang="f4299">
                <a:pos x="f5866" y="f6160"/>
              </a:cxn>
              <a:cxn ang="f4299">
                <a:pos x="f5867" y="f6159"/>
              </a:cxn>
              <a:cxn ang="f4299">
                <a:pos x="f5868" y="f6159"/>
              </a:cxn>
              <a:cxn ang="f4299">
                <a:pos x="f5869" y="f6160"/>
              </a:cxn>
              <a:cxn ang="f4299">
                <a:pos x="f5869" y="f6161"/>
              </a:cxn>
              <a:cxn ang="f4299">
                <a:pos x="f5868" y="f6162"/>
              </a:cxn>
              <a:cxn ang="f4299">
                <a:pos x="f5867" y="f6162"/>
              </a:cxn>
              <a:cxn ang="f4299">
                <a:pos x="f5870" y="f6161"/>
              </a:cxn>
              <a:cxn ang="f4299">
                <a:pos x="f5870" y="f6160"/>
              </a:cxn>
              <a:cxn ang="f4299">
                <a:pos x="f5871" y="f6159"/>
              </a:cxn>
              <a:cxn ang="f4299">
                <a:pos x="f5872" y="f6159"/>
              </a:cxn>
              <a:cxn ang="f4299">
                <a:pos x="f5873" y="f6160"/>
              </a:cxn>
              <a:cxn ang="f4299">
                <a:pos x="f5873" y="f6161"/>
              </a:cxn>
              <a:cxn ang="f4299">
                <a:pos x="f5872" y="f6162"/>
              </a:cxn>
              <a:cxn ang="f4299">
                <a:pos x="f5871" y="f6162"/>
              </a:cxn>
              <a:cxn ang="f4299">
                <a:pos x="f5874" y="f6161"/>
              </a:cxn>
              <a:cxn ang="f4299">
                <a:pos x="f5874" y="f6160"/>
              </a:cxn>
              <a:cxn ang="f4299">
                <a:pos x="f5875" y="f6159"/>
              </a:cxn>
              <a:cxn ang="f4299">
                <a:pos x="f5876" y="f6159"/>
              </a:cxn>
              <a:cxn ang="f4299">
                <a:pos x="f5877" y="f6160"/>
              </a:cxn>
              <a:cxn ang="f4299">
                <a:pos x="f5877" y="f6161"/>
              </a:cxn>
              <a:cxn ang="f4299">
                <a:pos x="f5876" y="f6162"/>
              </a:cxn>
              <a:cxn ang="f4299">
                <a:pos x="f5875" y="f6162"/>
              </a:cxn>
              <a:cxn ang="f4299">
                <a:pos x="f5878" y="f6161"/>
              </a:cxn>
              <a:cxn ang="f4299">
                <a:pos x="f5878" y="f6160"/>
              </a:cxn>
              <a:cxn ang="f4299">
                <a:pos x="f5879" y="f6159"/>
              </a:cxn>
              <a:cxn ang="f4299">
                <a:pos x="f5880" y="f6159"/>
              </a:cxn>
              <a:cxn ang="f4299">
                <a:pos x="f5881" y="f6160"/>
              </a:cxn>
              <a:cxn ang="f4299">
                <a:pos x="f5881" y="f6161"/>
              </a:cxn>
              <a:cxn ang="f4299">
                <a:pos x="f5880" y="f6162"/>
              </a:cxn>
              <a:cxn ang="f4299">
                <a:pos x="f5879" y="f6162"/>
              </a:cxn>
              <a:cxn ang="f4299">
                <a:pos x="f5882" y="f6161"/>
              </a:cxn>
              <a:cxn ang="f4299">
                <a:pos x="f5882" y="f6160"/>
              </a:cxn>
              <a:cxn ang="f4299">
                <a:pos x="f5883" y="f6159"/>
              </a:cxn>
              <a:cxn ang="f4299">
                <a:pos x="f5884" y="f6159"/>
              </a:cxn>
              <a:cxn ang="f4299">
                <a:pos x="f5885" y="f6160"/>
              </a:cxn>
              <a:cxn ang="f4299">
                <a:pos x="f5885" y="f6161"/>
              </a:cxn>
              <a:cxn ang="f4299">
                <a:pos x="f5884" y="f6162"/>
              </a:cxn>
              <a:cxn ang="f4299">
                <a:pos x="f5883" y="f6162"/>
              </a:cxn>
              <a:cxn ang="f4299">
                <a:pos x="f5886" y="f6161"/>
              </a:cxn>
              <a:cxn ang="f4299">
                <a:pos x="f5886" y="f6160"/>
              </a:cxn>
              <a:cxn ang="f4299">
                <a:pos x="f5887" y="f6159"/>
              </a:cxn>
              <a:cxn ang="f4299">
                <a:pos x="f5888" y="f6159"/>
              </a:cxn>
              <a:cxn ang="f4299">
                <a:pos x="f5889" y="f6160"/>
              </a:cxn>
              <a:cxn ang="f4299">
                <a:pos x="f5889" y="f6161"/>
              </a:cxn>
              <a:cxn ang="f4299">
                <a:pos x="f5888" y="f6162"/>
              </a:cxn>
              <a:cxn ang="f4299">
                <a:pos x="f5887" y="f6162"/>
              </a:cxn>
              <a:cxn ang="f4299">
                <a:pos x="f5890" y="f6161"/>
              </a:cxn>
              <a:cxn ang="f4299">
                <a:pos x="f5890" y="f6160"/>
              </a:cxn>
              <a:cxn ang="f4299">
                <a:pos x="f5891" y="f6159"/>
              </a:cxn>
              <a:cxn ang="f4299">
                <a:pos x="f5892" y="f6159"/>
              </a:cxn>
              <a:cxn ang="f4299">
                <a:pos x="f5893" y="f6160"/>
              </a:cxn>
              <a:cxn ang="f4299">
                <a:pos x="f5893" y="f6161"/>
              </a:cxn>
              <a:cxn ang="f4299">
                <a:pos x="f5892" y="f6162"/>
              </a:cxn>
              <a:cxn ang="f4299">
                <a:pos x="f5891" y="f6162"/>
              </a:cxn>
              <a:cxn ang="f4299">
                <a:pos x="f5894" y="f6161"/>
              </a:cxn>
              <a:cxn ang="f4299">
                <a:pos x="f5894" y="f6160"/>
              </a:cxn>
              <a:cxn ang="f4299">
                <a:pos x="f6163" y="f6159"/>
              </a:cxn>
              <a:cxn ang="f4299">
                <a:pos x="f6132" y="f6159"/>
              </a:cxn>
              <a:cxn ang="f4299">
                <a:pos x="f6133" y="f6160"/>
              </a:cxn>
              <a:cxn ang="f4299">
                <a:pos x="f6133" y="f6161"/>
              </a:cxn>
              <a:cxn ang="f4299">
                <a:pos x="f6132" y="f6162"/>
              </a:cxn>
              <a:cxn ang="f4299">
                <a:pos x="f6163" y="f6162"/>
              </a:cxn>
              <a:cxn ang="f4299">
                <a:pos x="f6134" y="f6161"/>
              </a:cxn>
              <a:cxn ang="f4299">
                <a:pos x="f6134" y="f6160"/>
              </a:cxn>
              <a:cxn ang="f4299">
                <a:pos x="f6164" y="f6159"/>
              </a:cxn>
              <a:cxn ang="f4299">
                <a:pos x="f6135" y="f6159"/>
              </a:cxn>
              <a:cxn ang="f4299">
                <a:pos x="f6136" y="f6160"/>
              </a:cxn>
              <a:cxn ang="f4299">
                <a:pos x="f6136" y="f6161"/>
              </a:cxn>
              <a:cxn ang="f4299">
                <a:pos x="f6135" y="f6162"/>
              </a:cxn>
              <a:cxn ang="f4299">
                <a:pos x="f6164" y="f6162"/>
              </a:cxn>
              <a:cxn ang="f4299">
                <a:pos x="f6165" y="f6161"/>
              </a:cxn>
              <a:cxn ang="f4299">
                <a:pos x="f6165" y="f6160"/>
              </a:cxn>
              <a:cxn ang="f4299">
                <a:pos x="f6166" y="f6159"/>
              </a:cxn>
              <a:cxn ang="f4299">
                <a:pos x="f6167" y="f6159"/>
              </a:cxn>
              <a:cxn ang="f4299">
                <a:pos x="f6168" y="f6160"/>
              </a:cxn>
              <a:cxn ang="f4299">
                <a:pos x="f6168" y="f6161"/>
              </a:cxn>
              <a:cxn ang="f4299">
                <a:pos x="f6167" y="f6162"/>
              </a:cxn>
              <a:cxn ang="f4299">
                <a:pos x="f6166" y="f6162"/>
              </a:cxn>
              <a:cxn ang="f4299">
                <a:pos x="f6169" y="f6161"/>
              </a:cxn>
              <a:cxn ang="f4299">
                <a:pos x="f6169" y="f6160"/>
              </a:cxn>
              <a:cxn ang="f4299">
                <a:pos x="f6140" y="f6159"/>
              </a:cxn>
              <a:cxn ang="f4299">
                <a:pos x="f6170" y="f6159"/>
              </a:cxn>
              <a:cxn ang="f4299">
                <a:pos x="f6171" y="f6160"/>
              </a:cxn>
              <a:cxn ang="f4299">
                <a:pos x="f6171" y="f6161"/>
              </a:cxn>
              <a:cxn ang="f4299">
                <a:pos x="f6170" y="f6162"/>
              </a:cxn>
              <a:cxn ang="f4299">
                <a:pos x="f6140" y="f6162"/>
              </a:cxn>
              <a:cxn ang="f4299">
                <a:pos x="f6172" y="f6161"/>
              </a:cxn>
              <a:cxn ang="f4299">
                <a:pos x="f6172" y="f6160"/>
              </a:cxn>
              <a:cxn ang="f4299">
                <a:pos x="f5767" y="f6173"/>
              </a:cxn>
              <a:cxn ang="f4299">
                <a:pos x="f5769" y="f6173"/>
              </a:cxn>
              <a:cxn ang="f4299">
                <a:pos x="f5770" y="f6174"/>
              </a:cxn>
              <a:cxn ang="f4299">
                <a:pos x="f5770" y="f6175"/>
              </a:cxn>
              <a:cxn ang="f4299">
                <a:pos x="f5769" y="f6176"/>
              </a:cxn>
              <a:cxn ang="f4299">
                <a:pos x="f5767" y="f6176"/>
              </a:cxn>
              <a:cxn ang="f4299">
                <a:pos x="f5774" y="f6175"/>
              </a:cxn>
              <a:cxn ang="f4299">
                <a:pos x="f5774" y="f6174"/>
              </a:cxn>
              <a:cxn ang="f4299">
                <a:pos x="f5775" y="f6173"/>
              </a:cxn>
              <a:cxn ang="f4299">
                <a:pos x="f5776" y="f6173"/>
              </a:cxn>
              <a:cxn ang="f4299">
                <a:pos x="f5777" y="f6174"/>
              </a:cxn>
              <a:cxn ang="f4299">
                <a:pos x="f5777" y="f6175"/>
              </a:cxn>
              <a:cxn ang="f4299">
                <a:pos x="f5776" y="f6176"/>
              </a:cxn>
              <a:cxn ang="f4299">
                <a:pos x="f5775" y="f6176"/>
              </a:cxn>
              <a:cxn ang="f4299">
                <a:pos x="f5778" y="f6175"/>
              </a:cxn>
              <a:cxn ang="f4299">
                <a:pos x="f5778" y="f6174"/>
              </a:cxn>
              <a:cxn ang="f4299">
                <a:pos x="f5779" y="f6173"/>
              </a:cxn>
              <a:cxn ang="f4299">
                <a:pos x="f5780" y="f6173"/>
              </a:cxn>
              <a:cxn ang="f4299">
                <a:pos x="f5781" y="f6174"/>
              </a:cxn>
              <a:cxn ang="f4299">
                <a:pos x="f5781" y="f6175"/>
              </a:cxn>
              <a:cxn ang="f4299">
                <a:pos x="f5780" y="f6176"/>
              </a:cxn>
              <a:cxn ang="f4299">
                <a:pos x="f5779" y="f6176"/>
              </a:cxn>
              <a:cxn ang="f4299">
                <a:pos x="f5782" y="f6175"/>
              </a:cxn>
              <a:cxn ang="f4299">
                <a:pos x="f5782" y="f6174"/>
              </a:cxn>
              <a:cxn ang="f4299">
                <a:pos x="f5783" y="f6173"/>
              </a:cxn>
              <a:cxn ang="f4299">
                <a:pos x="f5784" y="f6173"/>
              </a:cxn>
              <a:cxn ang="f4299">
                <a:pos x="f5785" y="f6174"/>
              </a:cxn>
              <a:cxn ang="f4299">
                <a:pos x="f5785" y="f6175"/>
              </a:cxn>
              <a:cxn ang="f4299">
                <a:pos x="f5784" y="f6176"/>
              </a:cxn>
              <a:cxn ang="f4299">
                <a:pos x="f5783" y="f6176"/>
              </a:cxn>
              <a:cxn ang="f4299">
                <a:pos x="f5786" y="f6175"/>
              </a:cxn>
              <a:cxn ang="f4299">
                <a:pos x="f5786" y="f6174"/>
              </a:cxn>
              <a:cxn ang="f4299">
                <a:pos x="f5787" y="f6173"/>
              </a:cxn>
              <a:cxn ang="f4299">
                <a:pos x="f5788" y="f6173"/>
              </a:cxn>
              <a:cxn ang="f4299">
                <a:pos x="f5789" y="f6174"/>
              </a:cxn>
              <a:cxn ang="f4299">
                <a:pos x="f5789" y="f6175"/>
              </a:cxn>
              <a:cxn ang="f4299">
                <a:pos x="f5788" y="f6176"/>
              </a:cxn>
              <a:cxn ang="f4299">
                <a:pos x="f5787" y="f6176"/>
              </a:cxn>
              <a:cxn ang="f4299">
                <a:pos x="f5790" y="f6175"/>
              </a:cxn>
              <a:cxn ang="f4299">
                <a:pos x="f5790" y="f6174"/>
              </a:cxn>
              <a:cxn ang="f4299">
                <a:pos x="f5791" y="f6173"/>
              </a:cxn>
              <a:cxn ang="f4299">
                <a:pos x="f5792" y="f6173"/>
              </a:cxn>
              <a:cxn ang="f4299">
                <a:pos x="f5793" y="f6174"/>
              </a:cxn>
              <a:cxn ang="f4299">
                <a:pos x="f5793" y="f6175"/>
              </a:cxn>
              <a:cxn ang="f4299">
                <a:pos x="f5792" y="f6176"/>
              </a:cxn>
              <a:cxn ang="f4299">
                <a:pos x="f5791" y="f6176"/>
              </a:cxn>
              <a:cxn ang="f4299">
                <a:pos x="f5794" y="f6175"/>
              </a:cxn>
              <a:cxn ang="f4299">
                <a:pos x="f5794" y="f6174"/>
              </a:cxn>
              <a:cxn ang="f4299">
                <a:pos x="f5795" y="f6173"/>
              </a:cxn>
              <a:cxn ang="f4299">
                <a:pos x="f5796" y="f6173"/>
              </a:cxn>
              <a:cxn ang="f4299">
                <a:pos x="f5797" y="f6174"/>
              </a:cxn>
              <a:cxn ang="f4299">
                <a:pos x="f5797" y="f6175"/>
              </a:cxn>
              <a:cxn ang="f4299">
                <a:pos x="f5796" y="f6176"/>
              </a:cxn>
              <a:cxn ang="f4299">
                <a:pos x="f5795" y="f6176"/>
              </a:cxn>
              <a:cxn ang="f4299">
                <a:pos x="f5798" y="f6175"/>
              </a:cxn>
              <a:cxn ang="f4299">
                <a:pos x="f5798" y="f6174"/>
              </a:cxn>
              <a:cxn ang="f4299">
                <a:pos x="f5799" y="f6173"/>
              </a:cxn>
              <a:cxn ang="f4299">
                <a:pos x="f5800" y="f6173"/>
              </a:cxn>
              <a:cxn ang="f4299">
                <a:pos x="f5801" y="f6174"/>
              </a:cxn>
              <a:cxn ang="f4299">
                <a:pos x="f5801" y="f6175"/>
              </a:cxn>
              <a:cxn ang="f4299">
                <a:pos x="f5800" y="f6176"/>
              </a:cxn>
              <a:cxn ang="f4299">
                <a:pos x="f5799" y="f6176"/>
              </a:cxn>
              <a:cxn ang="f4299">
                <a:pos x="f5802" y="f6175"/>
              </a:cxn>
              <a:cxn ang="f4299">
                <a:pos x="f5802" y="f6174"/>
              </a:cxn>
              <a:cxn ang="f4299">
                <a:pos x="f5803" y="f6173"/>
              </a:cxn>
              <a:cxn ang="f4299">
                <a:pos x="f5804" y="f6173"/>
              </a:cxn>
              <a:cxn ang="f4299">
                <a:pos x="f5805" y="f6174"/>
              </a:cxn>
              <a:cxn ang="f4299">
                <a:pos x="f5805" y="f6175"/>
              </a:cxn>
              <a:cxn ang="f4299">
                <a:pos x="f5804" y="f6176"/>
              </a:cxn>
              <a:cxn ang="f4299">
                <a:pos x="f5803" y="f6176"/>
              </a:cxn>
              <a:cxn ang="f4299">
                <a:pos x="f5806" y="f6175"/>
              </a:cxn>
              <a:cxn ang="f4299">
                <a:pos x="f5806" y="f6174"/>
              </a:cxn>
              <a:cxn ang="f4299">
                <a:pos x="f5807" y="f6173"/>
              </a:cxn>
              <a:cxn ang="f4299">
                <a:pos x="f5808" y="f6173"/>
              </a:cxn>
              <a:cxn ang="f4299">
                <a:pos x="f5809" y="f6174"/>
              </a:cxn>
              <a:cxn ang="f4299">
                <a:pos x="f5809" y="f6175"/>
              </a:cxn>
              <a:cxn ang="f4299">
                <a:pos x="f5808" y="f6176"/>
              </a:cxn>
              <a:cxn ang="f4299">
                <a:pos x="f5807" y="f6176"/>
              </a:cxn>
              <a:cxn ang="f4299">
                <a:pos x="f5810" y="f6175"/>
              </a:cxn>
              <a:cxn ang="f4299">
                <a:pos x="f5810" y="f6174"/>
              </a:cxn>
              <a:cxn ang="f4299">
                <a:pos x="f5811" y="f6173"/>
              </a:cxn>
              <a:cxn ang="f4299">
                <a:pos x="f5812" y="f6173"/>
              </a:cxn>
              <a:cxn ang="f4299">
                <a:pos x="f5813" y="f6174"/>
              </a:cxn>
              <a:cxn ang="f4299">
                <a:pos x="f5813" y="f6175"/>
              </a:cxn>
              <a:cxn ang="f4299">
                <a:pos x="f5812" y="f6176"/>
              </a:cxn>
              <a:cxn ang="f4299">
                <a:pos x="f5811" y="f6176"/>
              </a:cxn>
              <a:cxn ang="f4299">
                <a:pos x="f5814" y="f6175"/>
              </a:cxn>
              <a:cxn ang="f4299">
                <a:pos x="f5814" y="f6174"/>
              </a:cxn>
              <a:cxn ang="f4299">
                <a:pos x="f5815" y="f6173"/>
              </a:cxn>
              <a:cxn ang="f4299">
                <a:pos x="f5816" y="f6173"/>
              </a:cxn>
              <a:cxn ang="f4299">
                <a:pos x="f5817" y="f6174"/>
              </a:cxn>
              <a:cxn ang="f4299">
                <a:pos x="f5817" y="f6175"/>
              </a:cxn>
              <a:cxn ang="f4299">
                <a:pos x="f5816" y="f6176"/>
              </a:cxn>
              <a:cxn ang="f4299">
                <a:pos x="f5815" y="f6176"/>
              </a:cxn>
              <a:cxn ang="f4299">
                <a:pos x="f5818" y="f6175"/>
              </a:cxn>
              <a:cxn ang="f4299">
                <a:pos x="f5818" y="f6174"/>
              </a:cxn>
              <a:cxn ang="f4299">
                <a:pos x="f5819" y="f6173"/>
              </a:cxn>
              <a:cxn ang="f4299">
                <a:pos x="f5820" y="f6173"/>
              </a:cxn>
              <a:cxn ang="f4299">
                <a:pos x="f5821" y="f6174"/>
              </a:cxn>
              <a:cxn ang="f4299">
                <a:pos x="f5821" y="f6175"/>
              </a:cxn>
              <a:cxn ang="f4299">
                <a:pos x="f5820" y="f6176"/>
              </a:cxn>
              <a:cxn ang="f4299">
                <a:pos x="f5819" y="f6176"/>
              </a:cxn>
              <a:cxn ang="f4299">
                <a:pos x="f5822" y="f6175"/>
              </a:cxn>
              <a:cxn ang="f4299">
                <a:pos x="f5822" y="f6174"/>
              </a:cxn>
              <a:cxn ang="f4299">
                <a:pos x="f5823" y="f6173"/>
              </a:cxn>
              <a:cxn ang="f4299">
                <a:pos x="f5824" y="f6173"/>
              </a:cxn>
              <a:cxn ang="f4299">
                <a:pos x="f5825" y="f6174"/>
              </a:cxn>
              <a:cxn ang="f4299">
                <a:pos x="f5825" y="f6175"/>
              </a:cxn>
              <a:cxn ang="f4299">
                <a:pos x="f5824" y="f6176"/>
              </a:cxn>
              <a:cxn ang="f4299">
                <a:pos x="f5823" y="f6176"/>
              </a:cxn>
              <a:cxn ang="f4299">
                <a:pos x="f5826" y="f6175"/>
              </a:cxn>
              <a:cxn ang="f4299">
                <a:pos x="f5826" y="f6174"/>
              </a:cxn>
              <a:cxn ang="f4299">
                <a:pos x="f5827" y="f6173"/>
              </a:cxn>
              <a:cxn ang="f4299">
                <a:pos x="f5828" y="f6173"/>
              </a:cxn>
              <a:cxn ang="f4299">
                <a:pos x="f5829" y="f6174"/>
              </a:cxn>
              <a:cxn ang="f4299">
                <a:pos x="f5829" y="f6175"/>
              </a:cxn>
              <a:cxn ang="f4299">
                <a:pos x="f5828" y="f6176"/>
              </a:cxn>
              <a:cxn ang="f4299">
                <a:pos x="f5827" y="f6176"/>
              </a:cxn>
              <a:cxn ang="f4299">
                <a:pos x="f5830" y="f6175"/>
              </a:cxn>
              <a:cxn ang="f4299">
                <a:pos x="f5830" y="f6174"/>
              </a:cxn>
              <a:cxn ang="f4299">
                <a:pos x="f5831" y="f6173"/>
              </a:cxn>
              <a:cxn ang="f4299">
                <a:pos x="f5832" y="f6173"/>
              </a:cxn>
              <a:cxn ang="f4299">
                <a:pos x="f5833" y="f6174"/>
              </a:cxn>
              <a:cxn ang="f4299">
                <a:pos x="f5833" y="f6175"/>
              </a:cxn>
              <a:cxn ang="f4299">
                <a:pos x="f5832" y="f6176"/>
              </a:cxn>
              <a:cxn ang="f4299">
                <a:pos x="f5831" y="f6176"/>
              </a:cxn>
              <a:cxn ang="f4299">
                <a:pos x="f5834" y="f6175"/>
              </a:cxn>
              <a:cxn ang="f4299">
                <a:pos x="f5834" y="f6174"/>
              </a:cxn>
              <a:cxn ang="f4299">
                <a:pos x="f5835" y="f6173"/>
              </a:cxn>
              <a:cxn ang="f4299">
                <a:pos x="f5836" y="f6173"/>
              </a:cxn>
              <a:cxn ang="f4299">
                <a:pos x="f5837" y="f6174"/>
              </a:cxn>
              <a:cxn ang="f4299">
                <a:pos x="f5837" y="f6175"/>
              </a:cxn>
              <a:cxn ang="f4299">
                <a:pos x="f5836" y="f6176"/>
              </a:cxn>
              <a:cxn ang="f4299">
                <a:pos x="f5835" y="f6176"/>
              </a:cxn>
              <a:cxn ang="f4299">
                <a:pos x="f5838" y="f6175"/>
              </a:cxn>
              <a:cxn ang="f4299">
                <a:pos x="f5838" y="f6174"/>
              </a:cxn>
              <a:cxn ang="f4299">
                <a:pos x="f5839" y="f6173"/>
              </a:cxn>
              <a:cxn ang="f4299">
                <a:pos x="f5840" y="f6173"/>
              </a:cxn>
              <a:cxn ang="f4299">
                <a:pos x="f5841" y="f6174"/>
              </a:cxn>
              <a:cxn ang="f4299">
                <a:pos x="f5841" y="f6175"/>
              </a:cxn>
              <a:cxn ang="f4299">
                <a:pos x="f5840" y="f6176"/>
              </a:cxn>
              <a:cxn ang="f4299">
                <a:pos x="f5839" y="f6176"/>
              </a:cxn>
              <a:cxn ang="f4299">
                <a:pos x="f5842" y="f6175"/>
              </a:cxn>
              <a:cxn ang="f4299">
                <a:pos x="f5842" y="f6174"/>
              </a:cxn>
              <a:cxn ang="f4299">
                <a:pos x="f5843" y="f6173"/>
              </a:cxn>
              <a:cxn ang="f4299">
                <a:pos x="f5844" y="f6173"/>
              </a:cxn>
              <a:cxn ang="f4299">
                <a:pos x="f5845" y="f6174"/>
              </a:cxn>
              <a:cxn ang="f4299">
                <a:pos x="f5845" y="f6175"/>
              </a:cxn>
              <a:cxn ang="f4299">
                <a:pos x="f5844" y="f6176"/>
              </a:cxn>
              <a:cxn ang="f4299">
                <a:pos x="f5843" y="f6176"/>
              </a:cxn>
              <a:cxn ang="f4299">
                <a:pos x="f5846" y="f6175"/>
              </a:cxn>
              <a:cxn ang="f4299">
                <a:pos x="f5846" y="f6174"/>
              </a:cxn>
              <a:cxn ang="f4299">
                <a:pos x="f5847" y="f6173"/>
              </a:cxn>
              <a:cxn ang="f4299">
                <a:pos x="f5848" y="f6173"/>
              </a:cxn>
              <a:cxn ang="f4299">
                <a:pos x="f5849" y="f6174"/>
              </a:cxn>
              <a:cxn ang="f4299">
                <a:pos x="f5849" y="f6175"/>
              </a:cxn>
              <a:cxn ang="f4299">
                <a:pos x="f5848" y="f6176"/>
              </a:cxn>
              <a:cxn ang="f4299">
                <a:pos x="f5847" y="f6176"/>
              </a:cxn>
              <a:cxn ang="f4299">
                <a:pos x="f5850" y="f6175"/>
              </a:cxn>
              <a:cxn ang="f4299">
                <a:pos x="f5850" y="f6174"/>
              </a:cxn>
              <a:cxn ang="f4299">
                <a:pos x="f5851" y="f6173"/>
              </a:cxn>
              <a:cxn ang="f4299">
                <a:pos x="f5852" y="f6173"/>
              </a:cxn>
              <a:cxn ang="f4299">
                <a:pos x="f5853" y="f6174"/>
              </a:cxn>
              <a:cxn ang="f4299">
                <a:pos x="f5853" y="f6175"/>
              </a:cxn>
              <a:cxn ang="f4299">
                <a:pos x="f5852" y="f6176"/>
              </a:cxn>
              <a:cxn ang="f4299">
                <a:pos x="f5851" y="f6176"/>
              </a:cxn>
              <a:cxn ang="f4299">
                <a:pos x="f5854" y="f6175"/>
              </a:cxn>
              <a:cxn ang="f4299">
                <a:pos x="f5854" y="f6174"/>
              </a:cxn>
              <a:cxn ang="f4299">
                <a:pos x="f5855" y="f6173"/>
              </a:cxn>
              <a:cxn ang="f4299">
                <a:pos x="f5856" y="f6173"/>
              </a:cxn>
              <a:cxn ang="f4299">
                <a:pos x="f5857" y="f6174"/>
              </a:cxn>
              <a:cxn ang="f4299">
                <a:pos x="f5857" y="f6175"/>
              </a:cxn>
              <a:cxn ang="f4299">
                <a:pos x="f5856" y="f6176"/>
              </a:cxn>
              <a:cxn ang="f4299">
                <a:pos x="f5855" y="f6176"/>
              </a:cxn>
              <a:cxn ang="f4299">
                <a:pos x="f5858" y="f6175"/>
              </a:cxn>
              <a:cxn ang="f4299">
                <a:pos x="f5858" y="f6174"/>
              </a:cxn>
              <a:cxn ang="f4299">
                <a:pos x="f5859" y="f6173"/>
              </a:cxn>
              <a:cxn ang="f4299">
                <a:pos x="f5860" y="f6173"/>
              </a:cxn>
              <a:cxn ang="f4299">
                <a:pos x="f5861" y="f6174"/>
              </a:cxn>
              <a:cxn ang="f4299">
                <a:pos x="f5861" y="f6175"/>
              </a:cxn>
              <a:cxn ang="f4299">
                <a:pos x="f5860" y="f6176"/>
              </a:cxn>
              <a:cxn ang="f4299">
                <a:pos x="f5859" y="f6176"/>
              </a:cxn>
              <a:cxn ang="f4299">
                <a:pos x="f5862" y="f6175"/>
              </a:cxn>
              <a:cxn ang="f4299">
                <a:pos x="f5862" y="f6174"/>
              </a:cxn>
              <a:cxn ang="f4299">
                <a:pos x="f5863" y="f6173"/>
              </a:cxn>
              <a:cxn ang="f4299">
                <a:pos x="f5864" y="f6173"/>
              </a:cxn>
              <a:cxn ang="f4299">
                <a:pos x="f5865" y="f6174"/>
              </a:cxn>
              <a:cxn ang="f4299">
                <a:pos x="f5865" y="f6175"/>
              </a:cxn>
              <a:cxn ang="f4299">
                <a:pos x="f5864" y="f6176"/>
              </a:cxn>
              <a:cxn ang="f4299">
                <a:pos x="f5863" y="f6176"/>
              </a:cxn>
              <a:cxn ang="f4299">
                <a:pos x="f5866" y="f6175"/>
              </a:cxn>
              <a:cxn ang="f4299">
                <a:pos x="f5866" y="f6174"/>
              </a:cxn>
              <a:cxn ang="f4299">
                <a:pos x="f5867" y="f6173"/>
              </a:cxn>
              <a:cxn ang="f4299">
                <a:pos x="f5868" y="f6173"/>
              </a:cxn>
              <a:cxn ang="f4299">
                <a:pos x="f5869" y="f6174"/>
              </a:cxn>
              <a:cxn ang="f4299">
                <a:pos x="f5869" y="f6175"/>
              </a:cxn>
              <a:cxn ang="f4299">
                <a:pos x="f5868" y="f6176"/>
              </a:cxn>
              <a:cxn ang="f4299">
                <a:pos x="f5867" y="f6176"/>
              </a:cxn>
              <a:cxn ang="f4299">
                <a:pos x="f5870" y="f6175"/>
              </a:cxn>
              <a:cxn ang="f4299">
                <a:pos x="f5870" y="f6174"/>
              </a:cxn>
              <a:cxn ang="f4299">
                <a:pos x="f5871" y="f6173"/>
              </a:cxn>
              <a:cxn ang="f4299">
                <a:pos x="f5872" y="f6173"/>
              </a:cxn>
              <a:cxn ang="f4299">
                <a:pos x="f5873" y="f6174"/>
              </a:cxn>
              <a:cxn ang="f4299">
                <a:pos x="f5873" y="f6175"/>
              </a:cxn>
              <a:cxn ang="f4299">
                <a:pos x="f5872" y="f6176"/>
              </a:cxn>
              <a:cxn ang="f4299">
                <a:pos x="f5871" y="f6176"/>
              </a:cxn>
              <a:cxn ang="f4299">
                <a:pos x="f5874" y="f6175"/>
              </a:cxn>
              <a:cxn ang="f4299">
                <a:pos x="f5874" y="f6174"/>
              </a:cxn>
              <a:cxn ang="f4299">
                <a:pos x="f5875" y="f6173"/>
              </a:cxn>
              <a:cxn ang="f4299">
                <a:pos x="f5876" y="f6173"/>
              </a:cxn>
              <a:cxn ang="f4299">
                <a:pos x="f5877" y="f6174"/>
              </a:cxn>
              <a:cxn ang="f4299">
                <a:pos x="f5877" y="f6175"/>
              </a:cxn>
              <a:cxn ang="f4299">
                <a:pos x="f5876" y="f6176"/>
              </a:cxn>
              <a:cxn ang="f4299">
                <a:pos x="f5875" y="f6176"/>
              </a:cxn>
              <a:cxn ang="f4299">
                <a:pos x="f5878" y="f6175"/>
              </a:cxn>
              <a:cxn ang="f4299">
                <a:pos x="f5878" y="f6174"/>
              </a:cxn>
              <a:cxn ang="f4299">
                <a:pos x="f5879" y="f6173"/>
              </a:cxn>
              <a:cxn ang="f4299">
                <a:pos x="f5880" y="f6173"/>
              </a:cxn>
              <a:cxn ang="f4299">
                <a:pos x="f5881" y="f6174"/>
              </a:cxn>
              <a:cxn ang="f4299">
                <a:pos x="f5881" y="f6175"/>
              </a:cxn>
              <a:cxn ang="f4299">
                <a:pos x="f5880" y="f6176"/>
              </a:cxn>
              <a:cxn ang="f4299">
                <a:pos x="f5879" y="f6176"/>
              </a:cxn>
              <a:cxn ang="f4299">
                <a:pos x="f5882" y="f6175"/>
              </a:cxn>
              <a:cxn ang="f4299">
                <a:pos x="f5882" y="f6174"/>
              </a:cxn>
              <a:cxn ang="f4299">
                <a:pos x="f5883" y="f6173"/>
              </a:cxn>
              <a:cxn ang="f4299">
                <a:pos x="f5884" y="f6173"/>
              </a:cxn>
              <a:cxn ang="f4299">
                <a:pos x="f5885" y="f6174"/>
              </a:cxn>
              <a:cxn ang="f4299">
                <a:pos x="f5885" y="f6175"/>
              </a:cxn>
              <a:cxn ang="f4299">
                <a:pos x="f5884" y="f6176"/>
              </a:cxn>
              <a:cxn ang="f4299">
                <a:pos x="f5883" y="f6176"/>
              </a:cxn>
              <a:cxn ang="f4299">
                <a:pos x="f5886" y="f6175"/>
              </a:cxn>
              <a:cxn ang="f4299">
                <a:pos x="f5886" y="f6174"/>
              </a:cxn>
              <a:cxn ang="f4299">
                <a:pos x="f5887" y="f6173"/>
              </a:cxn>
              <a:cxn ang="f4299">
                <a:pos x="f5888" y="f6173"/>
              </a:cxn>
              <a:cxn ang="f4299">
                <a:pos x="f5889" y="f6174"/>
              </a:cxn>
              <a:cxn ang="f4299">
                <a:pos x="f5889" y="f6175"/>
              </a:cxn>
              <a:cxn ang="f4299">
                <a:pos x="f5888" y="f6176"/>
              </a:cxn>
              <a:cxn ang="f4299">
                <a:pos x="f5887" y="f6176"/>
              </a:cxn>
              <a:cxn ang="f4299">
                <a:pos x="f5890" y="f6175"/>
              </a:cxn>
              <a:cxn ang="f4299">
                <a:pos x="f5890" y="f6174"/>
              </a:cxn>
              <a:cxn ang="f4299">
                <a:pos x="f5891" y="f6173"/>
              </a:cxn>
              <a:cxn ang="f4299">
                <a:pos x="f5892" y="f6173"/>
              </a:cxn>
              <a:cxn ang="f4299">
                <a:pos x="f5893" y="f6174"/>
              </a:cxn>
              <a:cxn ang="f4299">
                <a:pos x="f5893" y="f6175"/>
              </a:cxn>
              <a:cxn ang="f4299">
                <a:pos x="f5892" y="f6176"/>
              </a:cxn>
              <a:cxn ang="f4299">
                <a:pos x="f5891" y="f6176"/>
              </a:cxn>
              <a:cxn ang="f4299">
                <a:pos x="f5894" y="f6175"/>
              </a:cxn>
              <a:cxn ang="f4299">
                <a:pos x="f5894" y="f6174"/>
              </a:cxn>
              <a:cxn ang="f4299">
                <a:pos x="f6057" y="f6173"/>
              </a:cxn>
              <a:cxn ang="f4299">
                <a:pos x="f6029" y="f6173"/>
              </a:cxn>
              <a:cxn ang="f4299">
                <a:pos x="f6144" y="f6174"/>
              </a:cxn>
              <a:cxn ang="f4299">
                <a:pos x="f6144" y="f6175"/>
              </a:cxn>
              <a:cxn ang="f4299">
                <a:pos x="f6029" y="f6176"/>
              </a:cxn>
              <a:cxn ang="f4299">
                <a:pos x="f6057" y="f6176"/>
              </a:cxn>
              <a:cxn ang="f4299">
                <a:pos x="f6115" y="f6175"/>
              </a:cxn>
              <a:cxn ang="f4299">
                <a:pos x="f6115" y="f6174"/>
              </a:cxn>
              <a:cxn ang="f4299">
                <a:pos x="f6148" y="f6173"/>
              </a:cxn>
              <a:cxn ang="f4299">
                <a:pos x="f6116" y="f6173"/>
              </a:cxn>
              <a:cxn ang="f4299">
                <a:pos x="f6063" y="f6174"/>
              </a:cxn>
              <a:cxn ang="f4299">
                <a:pos x="f6063" y="f6175"/>
              </a:cxn>
              <a:cxn ang="f4299">
                <a:pos x="f6116" y="f6176"/>
              </a:cxn>
              <a:cxn ang="f4299">
                <a:pos x="f6148" y="f6176"/>
              </a:cxn>
              <a:cxn ang="f4299">
                <a:pos x="f6033" y="f6175"/>
              </a:cxn>
              <a:cxn ang="f4299">
                <a:pos x="f6033" y="f6174"/>
              </a:cxn>
              <a:cxn ang="f4299">
                <a:pos x="f6177" y="f6173"/>
              </a:cxn>
              <a:cxn ang="f4299">
                <a:pos x="f6149" y="f6173"/>
              </a:cxn>
              <a:cxn ang="f4299">
                <a:pos x="f6178" y="f6174"/>
              </a:cxn>
              <a:cxn ang="f4299">
                <a:pos x="f6178" y="f6175"/>
              </a:cxn>
              <a:cxn ang="f4299">
                <a:pos x="f6149" y="f6176"/>
              </a:cxn>
              <a:cxn ang="f4299">
                <a:pos x="f6177" y="f6176"/>
              </a:cxn>
              <a:cxn ang="f4299">
                <a:pos x="f6179" y="f6175"/>
              </a:cxn>
              <a:cxn ang="f4299">
                <a:pos x="f6179" y="f6174"/>
              </a:cxn>
              <a:cxn ang="f4299">
                <a:pos x="f6152" y="f6173"/>
              </a:cxn>
              <a:cxn ang="f4299">
                <a:pos x="f6180" y="f6173"/>
              </a:cxn>
              <a:cxn ang="f4299">
                <a:pos x="f6181" y="f6174"/>
              </a:cxn>
              <a:cxn ang="f4299">
                <a:pos x="f6181" y="f6175"/>
              </a:cxn>
              <a:cxn ang="f4299">
                <a:pos x="f6180" y="f6176"/>
              </a:cxn>
              <a:cxn ang="f4299">
                <a:pos x="f6152" y="f6176"/>
              </a:cxn>
              <a:cxn ang="f4299">
                <a:pos x="f6182" y="f6175"/>
              </a:cxn>
              <a:cxn ang="f4299">
                <a:pos x="f6182" y="f6174"/>
              </a:cxn>
              <a:cxn ang="f4299">
                <a:pos x="f6183" y="f6173"/>
              </a:cxn>
              <a:cxn ang="f4299">
                <a:pos x="f6154" y="f6173"/>
              </a:cxn>
              <a:cxn ang="f4299">
                <a:pos x="f6155" y="f6174"/>
              </a:cxn>
              <a:cxn ang="f4299">
                <a:pos x="f6155" y="f6175"/>
              </a:cxn>
              <a:cxn ang="f4299">
                <a:pos x="f6154" y="f6176"/>
              </a:cxn>
              <a:cxn ang="f4299">
                <a:pos x="f6183" y="f6176"/>
              </a:cxn>
              <a:cxn ang="f4299">
                <a:pos x="f6184" y="f6175"/>
              </a:cxn>
              <a:cxn ang="f4299">
                <a:pos x="f6184" y="f6174"/>
              </a:cxn>
              <a:cxn ang="f4299">
                <a:pos x="f6156" y="f6173"/>
              </a:cxn>
              <a:cxn ang="f4299">
                <a:pos x="f6185" y="f6173"/>
              </a:cxn>
              <a:cxn ang="f4299">
                <a:pos x="f6186" y="f6174"/>
              </a:cxn>
              <a:cxn ang="f4299">
                <a:pos x="f6186" y="f6175"/>
              </a:cxn>
              <a:cxn ang="f4299">
                <a:pos x="f6185" y="f6176"/>
              </a:cxn>
              <a:cxn ang="f4299">
                <a:pos x="f6156" y="f6176"/>
              </a:cxn>
              <a:cxn ang="f4299">
                <a:pos x="f6158" y="f6175"/>
              </a:cxn>
              <a:cxn ang="f4299">
                <a:pos x="f6158" y="f6174"/>
              </a:cxn>
              <a:cxn ang="f4299">
                <a:pos x="f6163" y="f6173"/>
              </a:cxn>
              <a:cxn ang="f4299">
                <a:pos x="f6187" y="f6173"/>
              </a:cxn>
              <a:cxn ang="f4299">
                <a:pos x="f6188" y="f6174"/>
              </a:cxn>
              <a:cxn ang="f4299">
                <a:pos x="f6188" y="f6175"/>
              </a:cxn>
              <a:cxn ang="f4299">
                <a:pos x="f6187" y="f6176"/>
              </a:cxn>
              <a:cxn ang="f4299">
                <a:pos x="f6163" y="f6176"/>
              </a:cxn>
              <a:cxn ang="f4299">
                <a:pos x="f6189" y="f6175"/>
              </a:cxn>
              <a:cxn ang="f4299">
                <a:pos x="f6189" y="f6174"/>
              </a:cxn>
              <a:cxn ang="f4299">
                <a:pos x="f6190" y="f6173"/>
              </a:cxn>
              <a:cxn ang="f4299">
                <a:pos x="f6191" y="f6173"/>
              </a:cxn>
              <a:cxn ang="f4299">
                <a:pos x="f6192" y="f6174"/>
              </a:cxn>
              <a:cxn ang="f4299">
                <a:pos x="f6192" y="f6175"/>
              </a:cxn>
              <a:cxn ang="f4299">
                <a:pos x="f6191" y="f6176"/>
              </a:cxn>
              <a:cxn ang="f4299">
                <a:pos x="f6190" y="f6176"/>
              </a:cxn>
              <a:cxn ang="f4299">
                <a:pos x="f6193" y="f6175"/>
              </a:cxn>
              <a:cxn ang="f4299">
                <a:pos x="f6193" y="f6174"/>
              </a:cxn>
              <a:cxn ang="f4299">
                <a:pos x="f6166" y="f6173"/>
              </a:cxn>
              <a:cxn ang="f4299">
                <a:pos x="f6194" y="f6173"/>
              </a:cxn>
              <a:cxn ang="f4299">
                <a:pos x="f6195" y="f6174"/>
              </a:cxn>
              <a:cxn ang="f4299">
                <a:pos x="f6195" y="f6175"/>
              </a:cxn>
              <a:cxn ang="f4299">
                <a:pos x="f6194" y="f6176"/>
              </a:cxn>
              <a:cxn ang="f4299">
                <a:pos x="f6166" y="f6176"/>
              </a:cxn>
              <a:cxn ang="f4299">
                <a:pos x="f6169" y="f6175"/>
              </a:cxn>
              <a:cxn ang="f4299">
                <a:pos x="f6169" y="f6174"/>
              </a:cxn>
              <a:cxn ang="f4299">
                <a:pos x="f6196" y="f6173"/>
              </a:cxn>
              <a:cxn ang="f4299">
                <a:pos x="f6170" y="f6173"/>
              </a:cxn>
              <a:cxn ang="f4299">
                <a:pos x="f6197" y="f6174"/>
              </a:cxn>
              <a:cxn ang="f4299">
                <a:pos x="f6197" y="f6175"/>
              </a:cxn>
              <a:cxn ang="f4299">
                <a:pos x="f6170" y="f6176"/>
              </a:cxn>
              <a:cxn ang="f4299">
                <a:pos x="f6196" y="f6176"/>
              </a:cxn>
              <a:cxn ang="f4299">
                <a:pos x="f6172" y="f6175"/>
              </a:cxn>
              <a:cxn ang="f4299">
                <a:pos x="f6172" y="f6174"/>
              </a:cxn>
              <a:cxn ang="f4299">
                <a:pos x="f6198" y="f6199"/>
              </a:cxn>
              <a:cxn ang="f4299">
                <a:pos x="f6200" y="f6199"/>
              </a:cxn>
              <a:cxn ang="f4299">
                <a:pos x="f6144" y="f6201"/>
              </a:cxn>
              <a:cxn ang="f4299">
                <a:pos x="f6144" y="f6202"/>
              </a:cxn>
              <a:cxn ang="f4299">
                <a:pos x="f6200" y="f6203"/>
              </a:cxn>
              <a:cxn ang="f4299">
                <a:pos x="f6198" y="f6203"/>
              </a:cxn>
              <a:cxn ang="f4299">
                <a:pos x="f6115" y="f6202"/>
              </a:cxn>
              <a:cxn ang="f4299">
                <a:pos x="f6115" y="f6201"/>
              </a:cxn>
              <a:cxn ang="f4299">
                <a:pos x="f6148" y="f6199"/>
              </a:cxn>
              <a:cxn ang="f4299">
                <a:pos x="f6116" y="f6199"/>
              </a:cxn>
              <a:cxn ang="f4299">
                <a:pos x="f6063" y="f6201"/>
              </a:cxn>
              <a:cxn ang="f4299">
                <a:pos x="f6063" y="f6202"/>
              </a:cxn>
              <a:cxn ang="f4299">
                <a:pos x="f6116" y="f6203"/>
              </a:cxn>
              <a:cxn ang="f4299">
                <a:pos x="f6148" y="f6203"/>
              </a:cxn>
              <a:cxn ang="f4299">
                <a:pos x="f6204" y="f6202"/>
              </a:cxn>
              <a:cxn ang="f4299">
                <a:pos x="f6204" y="f6201"/>
              </a:cxn>
              <a:cxn ang="f4299">
                <a:pos x="f6205" y="f6199"/>
              </a:cxn>
              <a:cxn ang="f4299">
                <a:pos x="f6206" y="f6199"/>
              </a:cxn>
              <a:cxn ang="f4299">
                <a:pos x="f6178" y="f6201"/>
              </a:cxn>
              <a:cxn ang="f4299">
                <a:pos x="f6178" y="f6202"/>
              </a:cxn>
              <a:cxn ang="f4299">
                <a:pos x="f6206" y="f6203"/>
              </a:cxn>
              <a:cxn ang="f4299">
                <a:pos x="f6205" y="f6203"/>
              </a:cxn>
              <a:cxn ang="f4299">
                <a:pos x="f6179" y="f6202"/>
              </a:cxn>
              <a:cxn ang="f4299">
                <a:pos x="f6179" y="f6201"/>
              </a:cxn>
              <a:cxn ang="f4299">
                <a:pos x="f6207" y="f6199"/>
              </a:cxn>
              <a:cxn ang="f4299">
                <a:pos x="f6180" y="f6199"/>
              </a:cxn>
              <a:cxn ang="f4299">
                <a:pos x="f6181" y="f6201"/>
              </a:cxn>
              <a:cxn ang="f4299">
                <a:pos x="f6181" y="f6202"/>
              </a:cxn>
              <a:cxn ang="f4299">
                <a:pos x="f6180" y="f6203"/>
              </a:cxn>
              <a:cxn ang="f4299">
                <a:pos x="f6207" y="f6203"/>
              </a:cxn>
              <a:cxn ang="f4299">
                <a:pos x="f6208" y="f6202"/>
              </a:cxn>
              <a:cxn ang="f4299">
                <a:pos x="f6208" y="f6201"/>
              </a:cxn>
              <a:cxn ang="f4299">
                <a:pos x="f6209" y="f6199"/>
              </a:cxn>
              <a:cxn ang="f4299">
                <a:pos x="f6210" y="f6199"/>
              </a:cxn>
              <a:cxn ang="f4299">
                <a:pos x="f6211" y="f6201"/>
              </a:cxn>
              <a:cxn ang="f4299">
                <a:pos x="f6211" y="f6202"/>
              </a:cxn>
              <a:cxn ang="f4299">
                <a:pos x="f6210" y="f6203"/>
              </a:cxn>
              <a:cxn ang="f4299">
                <a:pos x="f6209" y="f6203"/>
              </a:cxn>
              <a:cxn ang="f4299">
                <a:pos x="f6184" y="f6202"/>
              </a:cxn>
              <a:cxn ang="f4299">
                <a:pos x="f6184" y="f6201"/>
              </a:cxn>
              <a:cxn ang="f4299">
                <a:pos x="f6212" y="f6199"/>
              </a:cxn>
              <a:cxn ang="f4299">
                <a:pos x="f6185" y="f6199"/>
              </a:cxn>
              <a:cxn ang="f4299">
                <a:pos x="f6213" y="f6201"/>
              </a:cxn>
              <a:cxn ang="f4299">
                <a:pos x="f6213" y="f6202"/>
              </a:cxn>
              <a:cxn ang="f4299">
                <a:pos x="f6185" y="f6203"/>
              </a:cxn>
              <a:cxn ang="f4299">
                <a:pos x="f6212" y="f6203"/>
              </a:cxn>
              <a:cxn ang="f4299">
                <a:pos x="f6214" y="f6202"/>
              </a:cxn>
              <a:cxn ang="f4299">
                <a:pos x="f6214" y="f6201"/>
              </a:cxn>
              <a:cxn ang="f4299">
                <a:pos x="f5767" y="f6215"/>
              </a:cxn>
              <a:cxn ang="f4299">
                <a:pos x="f5769" y="f6215"/>
              </a:cxn>
              <a:cxn ang="f4299">
                <a:pos x="f5770" y="f6216"/>
              </a:cxn>
              <a:cxn ang="f4299">
                <a:pos x="f5770" y="f6217"/>
              </a:cxn>
              <a:cxn ang="f4299">
                <a:pos x="f5769" y="f6218"/>
              </a:cxn>
              <a:cxn ang="f4299">
                <a:pos x="f5767" y="f6218"/>
              </a:cxn>
              <a:cxn ang="f4299">
                <a:pos x="f5774" y="f6217"/>
              </a:cxn>
              <a:cxn ang="f4299">
                <a:pos x="f5774" y="f6216"/>
              </a:cxn>
              <a:cxn ang="f4299">
                <a:pos x="f5775" y="f6215"/>
              </a:cxn>
              <a:cxn ang="f4299">
                <a:pos x="f5776" y="f6215"/>
              </a:cxn>
              <a:cxn ang="f4299">
                <a:pos x="f5777" y="f6216"/>
              </a:cxn>
              <a:cxn ang="f4299">
                <a:pos x="f5777" y="f6217"/>
              </a:cxn>
              <a:cxn ang="f4299">
                <a:pos x="f5776" y="f6218"/>
              </a:cxn>
              <a:cxn ang="f4299">
                <a:pos x="f5775" y="f6218"/>
              </a:cxn>
              <a:cxn ang="f4299">
                <a:pos x="f5778" y="f6217"/>
              </a:cxn>
              <a:cxn ang="f4299">
                <a:pos x="f5778" y="f6216"/>
              </a:cxn>
              <a:cxn ang="f4299">
                <a:pos x="f5779" y="f6215"/>
              </a:cxn>
              <a:cxn ang="f4299">
                <a:pos x="f5780" y="f6215"/>
              </a:cxn>
              <a:cxn ang="f4299">
                <a:pos x="f5781" y="f6216"/>
              </a:cxn>
              <a:cxn ang="f4299">
                <a:pos x="f5781" y="f6217"/>
              </a:cxn>
              <a:cxn ang="f4299">
                <a:pos x="f5780" y="f6218"/>
              </a:cxn>
              <a:cxn ang="f4299">
                <a:pos x="f5779" y="f6218"/>
              </a:cxn>
              <a:cxn ang="f4299">
                <a:pos x="f5782" y="f6217"/>
              </a:cxn>
              <a:cxn ang="f4299">
                <a:pos x="f5782" y="f6216"/>
              </a:cxn>
              <a:cxn ang="f4299">
                <a:pos x="f5783" y="f6215"/>
              </a:cxn>
              <a:cxn ang="f4299">
                <a:pos x="f5784" y="f6215"/>
              </a:cxn>
              <a:cxn ang="f4299">
                <a:pos x="f5785" y="f6216"/>
              </a:cxn>
              <a:cxn ang="f4299">
                <a:pos x="f5785" y="f6217"/>
              </a:cxn>
              <a:cxn ang="f4299">
                <a:pos x="f5784" y="f6218"/>
              </a:cxn>
              <a:cxn ang="f4299">
                <a:pos x="f5783" y="f6218"/>
              </a:cxn>
              <a:cxn ang="f4299">
                <a:pos x="f5786" y="f6217"/>
              </a:cxn>
              <a:cxn ang="f4299">
                <a:pos x="f5786" y="f6216"/>
              </a:cxn>
              <a:cxn ang="f4299">
                <a:pos x="f5787" y="f6215"/>
              </a:cxn>
              <a:cxn ang="f4299">
                <a:pos x="f5788" y="f6215"/>
              </a:cxn>
              <a:cxn ang="f4299">
                <a:pos x="f5789" y="f6216"/>
              </a:cxn>
              <a:cxn ang="f4299">
                <a:pos x="f5789" y="f6217"/>
              </a:cxn>
              <a:cxn ang="f4299">
                <a:pos x="f5788" y="f6218"/>
              </a:cxn>
              <a:cxn ang="f4299">
                <a:pos x="f5787" y="f6218"/>
              </a:cxn>
              <a:cxn ang="f4299">
                <a:pos x="f5790" y="f6217"/>
              </a:cxn>
              <a:cxn ang="f4299">
                <a:pos x="f5790" y="f6216"/>
              </a:cxn>
              <a:cxn ang="f4299">
                <a:pos x="f5791" y="f6215"/>
              </a:cxn>
              <a:cxn ang="f4299">
                <a:pos x="f5792" y="f6215"/>
              </a:cxn>
              <a:cxn ang="f4299">
                <a:pos x="f5793" y="f6216"/>
              </a:cxn>
              <a:cxn ang="f4299">
                <a:pos x="f5793" y="f6217"/>
              </a:cxn>
              <a:cxn ang="f4299">
                <a:pos x="f5792" y="f6218"/>
              </a:cxn>
              <a:cxn ang="f4299">
                <a:pos x="f5791" y="f6218"/>
              </a:cxn>
              <a:cxn ang="f4299">
                <a:pos x="f5794" y="f6217"/>
              </a:cxn>
              <a:cxn ang="f4299">
                <a:pos x="f5794" y="f6216"/>
              </a:cxn>
              <a:cxn ang="f4299">
                <a:pos x="f5795" y="f6215"/>
              </a:cxn>
              <a:cxn ang="f4299">
                <a:pos x="f5796" y="f6215"/>
              </a:cxn>
              <a:cxn ang="f4299">
                <a:pos x="f5797" y="f6216"/>
              </a:cxn>
              <a:cxn ang="f4299">
                <a:pos x="f5797" y="f6217"/>
              </a:cxn>
              <a:cxn ang="f4299">
                <a:pos x="f5796" y="f6218"/>
              </a:cxn>
              <a:cxn ang="f4299">
                <a:pos x="f5795" y="f6218"/>
              </a:cxn>
              <a:cxn ang="f4299">
                <a:pos x="f5798" y="f6217"/>
              </a:cxn>
              <a:cxn ang="f4299">
                <a:pos x="f5798" y="f6216"/>
              </a:cxn>
              <a:cxn ang="f4299">
                <a:pos x="f5799" y="f6215"/>
              </a:cxn>
              <a:cxn ang="f4299">
                <a:pos x="f5800" y="f6215"/>
              </a:cxn>
              <a:cxn ang="f4299">
                <a:pos x="f5801" y="f6216"/>
              </a:cxn>
              <a:cxn ang="f4299">
                <a:pos x="f5801" y="f6217"/>
              </a:cxn>
              <a:cxn ang="f4299">
                <a:pos x="f5800" y="f6218"/>
              </a:cxn>
              <a:cxn ang="f4299">
                <a:pos x="f5799" y="f6218"/>
              </a:cxn>
              <a:cxn ang="f4299">
                <a:pos x="f5802" y="f6217"/>
              </a:cxn>
              <a:cxn ang="f4299">
                <a:pos x="f5802" y="f6216"/>
              </a:cxn>
              <a:cxn ang="f4299">
                <a:pos x="f5803" y="f6215"/>
              </a:cxn>
              <a:cxn ang="f4299">
                <a:pos x="f5804" y="f6215"/>
              </a:cxn>
              <a:cxn ang="f4299">
                <a:pos x="f5805" y="f6216"/>
              </a:cxn>
              <a:cxn ang="f4299">
                <a:pos x="f5805" y="f6217"/>
              </a:cxn>
              <a:cxn ang="f4299">
                <a:pos x="f5804" y="f6218"/>
              </a:cxn>
              <a:cxn ang="f4299">
                <a:pos x="f5803" y="f6218"/>
              </a:cxn>
              <a:cxn ang="f4299">
                <a:pos x="f5806" y="f6217"/>
              </a:cxn>
              <a:cxn ang="f4299">
                <a:pos x="f5806" y="f6216"/>
              </a:cxn>
              <a:cxn ang="f4299">
                <a:pos x="f5807" y="f6215"/>
              </a:cxn>
              <a:cxn ang="f4299">
                <a:pos x="f5808" y="f6215"/>
              </a:cxn>
              <a:cxn ang="f4299">
                <a:pos x="f5809" y="f6216"/>
              </a:cxn>
              <a:cxn ang="f4299">
                <a:pos x="f5809" y="f6217"/>
              </a:cxn>
              <a:cxn ang="f4299">
                <a:pos x="f5808" y="f6218"/>
              </a:cxn>
              <a:cxn ang="f4299">
                <a:pos x="f5807" y="f6218"/>
              </a:cxn>
              <a:cxn ang="f4299">
                <a:pos x="f5810" y="f6217"/>
              </a:cxn>
              <a:cxn ang="f4299">
                <a:pos x="f5810" y="f6216"/>
              </a:cxn>
              <a:cxn ang="f4299">
                <a:pos x="f5811" y="f6215"/>
              </a:cxn>
              <a:cxn ang="f4299">
                <a:pos x="f5812" y="f6215"/>
              </a:cxn>
              <a:cxn ang="f4299">
                <a:pos x="f5813" y="f6216"/>
              </a:cxn>
              <a:cxn ang="f4299">
                <a:pos x="f5813" y="f6217"/>
              </a:cxn>
              <a:cxn ang="f4299">
                <a:pos x="f5812" y="f6218"/>
              </a:cxn>
              <a:cxn ang="f4299">
                <a:pos x="f5811" y="f6218"/>
              </a:cxn>
              <a:cxn ang="f4299">
                <a:pos x="f5814" y="f6217"/>
              </a:cxn>
              <a:cxn ang="f4299">
                <a:pos x="f5814" y="f6216"/>
              </a:cxn>
              <a:cxn ang="f4299">
                <a:pos x="f5815" y="f6215"/>
              </a:cxn>
              <a:cxn ang="f4299">
                <a:pos x="f5816" y="f6215"/>
              </a:cxn>
              <a:cxn ang="f4299">
                <a:pos x="f5817" y="f6216"/>
              </a:cxn>
              <a:cxn ang="f4299">
                <a:pos x="f5817" y="f6217"/>
              </a:cxn>
              <a:cxn ang="f4299">
                <a:pos x="f5816" y="f6218"/>
              </a:cxn>
              <a:cxn ang="f4299">
                <a:pos x="f5815" y="f6218"/>
              </a:cxn>
              <a:cxn ang="f4299">
                <a:pos x="f5818" y="f6217"/>
              </a:cxn>
              <a:cxn ang="f4299">
                <a:pos x="f5818" y="f6216"/>
              </a:cxn>
              <a:cxn ang="f4299">
                <a:pos x="f5819" y="f6215"/>
              </a:cxn>
              <a:cxn ang="f4299">
                <a:pos x="f5820" y="f6215"/>
              </a:cxn>
              <a:cxn ang="f4299">
                <a:pos x="f5821" y="f6216"/>
              </a:cxn>
              <a:cxn ang="f4299">
                <a:pos x="f5821" y="f6217"/>
              </a:cxn>
              <a:cxn ang="f4299">
                <a:pos x="f5820" y="f6218"/>
              </a:cxn>
              <a:cxn ang="f4299">
                <a:pos x="f5819" y="f6218"/>
              </a:cxn>
              <a:cxn ang="f4299">
                <a:pos x="f5822" y="f6217"/>
              </a:cxn>
              <a:cxn ang="f4299">
                <a:pos x="f5822" y="f6216"/>
              </a:cxn>
              <a:cxn ang="f4299">
                <a:pos x="f5823" y="f6215"/>
              </a:cxn>
              <a:cxn ang="f4299">
                <a:pos x="f5824" y="f6215"/>
              </a:cxn>
              <a:cxn ang="f4299">
                <a:pos x="f5825" y="f6216"/>
              </a:cxn>
              <a:cxn ang="f4299">
                <a:pos x="f5825" y="f6217"/>
              </a:cxn>
              <a:cxn ang="f4299">
                <a:pos x="f5824" y="f6218"/>
              </a:cxn>
              <a:cxn ang="f4299">
                <a:pos x="f5823" y="f6218"/>
              </a:cxn>
              <a:cxn ang="f4299">
                <a:pos x="f5826" y="f6217"/>
              </a:cxn>
              <a:cxn ang="f4299">
                <a:pos x="f5826" y="f6216"/>
              </a:cxn>
              <a:cxn ang="f4299">
                <a:pos x="f5827" y="f6215"/>
              </a:cxn>
              <a:cxn ang="f4299">
                <a:pos x="f5828" y="f6215"/>
              </a:cxn>
              <a:cxn ang="f4299">
                <a:pos x="f5829" y="f6216"/>
              </a:cxn>
              <a:cxn ang="f4299">
                <a:pos x="f5829" y="f6217"/>
              </a:cxn>
              <a:cxn ang="f4299">
                <a:pos x="f5828" y="f6218"/>
              </a:cxn>
              <a:cxn ang="f4299">
                <a:pos x="f5827" y="f6218"/>
              </a:cxn>
              <a:cxn ang="f4299">
                <a:pos x="f5830" y="f6217"/>
              </a:cxn>
              <a:cxn ang="f4299">
                <a:pos x="f5830" y="f6216"/>
              </a:cxn>
              <a:cxn ang="f4299">
                <a:pos x="f5831" y="f6215"/>
              </a:cxn>
              <a:cxn ang="f4299">
                <a:pos x="f5832" y="f6215"/>
              </a:cxn>
              <a:cxn ang="f4299">
                <a:pos x="f5833" y="f6216"/>
              </a:cxn>
              <a:cxn ang="f4299">
                <a:pos x="f5833" y="f6217"/>
              </a:cxn>
              <a:cxn ang="f4299">
                <a:pos x="f5832" y="f6218"/>
              </a:cxn>
              <a:cxn ang="f4299">
                <a:pos x="f5831" y="f6218"/>
              </a:cxn>
              <a:cxn ang="f4299">
                <a:pos x="f5834" y="f6217"/>
              </a:cxn>
              <a:cxn ang="f4299">
                <a:pos x="f5834" y="f6216"/>
              </a:cxn>
              <a:cxn ang="f4299">
                <a:pos x="f5835" y="f6215"/>
              </a:cxn>
              <a:cxn ang="f4299">
                <a:pos x="f5836" y="f6215"/>
              </a:cxn>
              <a:cxn ang="f4299">
                <a:pos x="f5837" y="f6216"/>
              </a:cxn>
              <a:cxn ang="f4299">
                <a:pos x="f5837" y="f6217"/>
              </a:cxn>
              <a:cxn ang="f4299">
                <a:pos x="f5836" y="f6218"/>
              </a:cxn>
              <a:cxn ang="f4299">
                <a:pos x="f5835" y="f6218"/>
              </a:cxn>
              <a:cxn ang="f4299">
                <a:pos x="f5838" y="f6217"/>
              </a:cxn>
              <a:cxn ang="f4299">
                <a:pos x="f5838" y="f6216"/>
              </a:cxn>
              <a:cxn ang="f4299">
                <a:pos x="f5839" y="f6215"/>
              </a:cxn>
              <a:cxn ang="f4299">
                <a:pos x="f5840" y="f6215"/>
              </a:cxn>
              <a:cxn ang="f4299">
                <a:pos x="f5841" y="f6216"/>
              </a:cxn>
              <a:cxn ang="f4299">
                <a:pos x="f5841" y="f6217"/>
              </a:cxn>
              <a:cxn ang="f4299">
                <a:pos x="f5840" y="f6218"/>
              </a:cxn>
              <a:cxn ang="f4299">
                <a:pos x="f5839" y="f6218"/>
              </a:cxn>
              <a:cxn ang="f4299">
                <a:pos x="f5842" y="f6217"/>
              </a:cxn>
              <a:cxn ang="f4299">
                <a:pos x="f5842" y="f6216"/>
              </a:cxn>
              <a:cxn ang="f4299">
                <a:pos x="f5843" y="f6215"/>
              </a:cxn>
              <a:cxn ang="f4299">
                <a:pos x="f5844" y="f6215"/>
              </a:cxn>
              <a:cxn ang="f4299">
                <a:pos x="f5845" y="f6216"/>
              </a:cxn>
              <a:cxn ang="f4299">
                <a:pos x="f5845" y="f6217"/>
              </a:cxn>
              <a:cxn ang="f4299">
                <a:pos x="f5844" y="f6218"/>
              </a:cxn>
              <a:cxn ang="f4299">
                <a:pos x="f5843" y="f6218"/>
              </a:cxn>
              <a:cxn ang="f4299">
                <a:pos x="f5846" y="f6217"/>
              </a:cxn>
              <a:cxn ang="f4299">
                <a:pos x="f5846" y="f6216"/>
              </a:cxn>
              <a:cxn ang="f4299">
                <a:pos x="f5847" y="f6215"/>
              </a:cxn>
              <a:cxn ang="f4299">
                <a:pos x="f5848" y="f6215"/>
              </a:cxn>
              <a:cxn ang="f4299">
                <a:pos x="f5849" y="f6216"/>
              </a:cxn>
              <a:cxn ang="f4299">
                <a:pos x="f5849" y="f6217"/>
              </a:cxn>
              <a:cxn ang="f4299">
                <a:pos x="f5848" y="f6218"/>
              </a:cxn>
              <a:cxn ang="f4299">
                <a:pos x="f5847" y="f6218"/>
              </a:cxn>
              <a:cxn ang="f4299">
                <a:pos x="f5850" y="f6217"/>
              </a:cxn>
              <a:cxn ang="f4299">
                <a:pos x="f5850" y="f6216"/>
              </a:cxn>
              <a:cxn ang="f4299">
                <a:pos x="f5851" y="f6215"/>
              </a:cxn>
              <a:cxn ang="f4299">
                <a:pos x="f5852" y="f6215"/>
              </a:cxn>
              <a:cxn ang="f4299">
                <a:pos x="f5853" y="f6216"/>
              </a:cxn>
              <a:cxn ang="f4299">
                <a:pos x="f5853" y="f6217"/>
              </a:cxn>
              <a:cxn ang="f4299">
                <a:pos x="f5852" y="f6218"/>
              </a:cxn>
              <a:cxn ang="f4299">
                <a:pos x="f5851" y="f6218"/>
              </a:cxn>
              <a:cxn ang="f4299">
                <a:pos x="f5854" y="f6217"/>
              </a:cxn>
              <a:cxn ang="f4299">
                <a:pos x="f5854" y="f6216"/>
              </a:cxn>
              <a:cxn ang="f4299">
                <a:pos x="f5855" y="f6215"/>
              </a:cxn>
              <a:cxn ang="f4299">
                <a:pos x="f5856" y="f6215"/>
              </a:cxn>
              <a:cxn ang="f4299">
                <a:pos x="f5857" y="f6216"/>
              </a:cxn>
              <a:cxn ang="f4299">
                <a:pos x="f5857" y="f6217"/>
              </a:cxn>
              <a:cxn ang="f4299">
                <a:pos x="f5856" y="f6218"/>
              </a:cxn>
              <a:cxn ang="f4299">
                <a:pos x="f5855" y="f6218"/>
              </a:cxn>
              <a:cxn ang="f4299">
                <a:pos x="f5858" y="f6217"/>
              </a:cxn>
              <a:cxn ang="f4299">
                <a:pos x="f5858" y="f6216"/>
              </a:cxn>
              <a:cxn ang="f4299">
                <a:pos x="f5859" y="f6215"/>
              </a:cxn>
              <a:cxn ang="f4299">
                <a:pos x="f5860" y="f6215"/>
              </a:cxn>
              <a:cxn ang="f4299">
                <a:pos x="f5861" y="f6216"/>
              </a:cxn>
              <a:cxn ang="f4299">
                <a:pos x="f5861" y="f6217"/>
              </a:cxn>
              <a:cxn ang="f4299">
                <a:pos x="f5860" y="f6218"/>
              </a:cxn>
              <a:cxn ang="f4299">
                <a:pos x="f5859" y="f6218"/>
              </a:cxn>
              <a:cxn ang="f4299">
                <a:pos x="f5862" y="f6217"/>
              </a:cxn>
              <a:cxn ang="f4299">
                <a:pos x="f5862" y="f6216"/>
              </a:cxn>
              <a:cxn ang="f4299">
                <a:pos x="f5863" y="f6215"/>
              </a:cxn>
              <a:cxn ang="f4299">
                <a:pos x="f5864" y="f6215"/>
              </a:cxn>
              <a:cxn ang="f4299">
                <a:pos x="f5865" y="f6216"/>
              </a:cxn>
              <a:cxn ang="f4299">
                <a:pos x="f5865" y="f6217"/>
              </a:cxn>
              <a:cxn ang="f4299">
                <a:pos x="f5864" y="f6218"/>
              </a:cxn>
              <a:cxn ang="f4299">
                <a:pos x="f5863" y="f6218"/>
              </a:cxn>
              <a:cxn ang="f4299">
                <a:pos x="f5866" y="f6217"/>
              </a:cxn>
              <a:cxn ang="f4299">
                <a:pos x="f5866" y="f6216"/>
              </a:cxn>
              <a:cxn ang="f4299">
                <a:pos x="f5867" y="f6215"/>
              </a:cxn>
              <a:cxn ang="f4299">
                <a:pos x="f5868" y="f6215"/>
              </a:cxn>
              <a:cxn ang="f4299">
                <a:pos x="f5869" y="f6216"/>
              </a:cxn>
              <a:cxn ang="f4299">
                <a:pos x="f5869" y="f6217"/>
              </a:cxn>
              <a:cxn ang="f4299">
                <a:pos x="f5868" y="f6218"/>
              </a:cxn>
              <a:cxn ang="f4299">
                <a:pos x="f5867" y="f6218"/>
              </a:cxn>
              <a:cxn ang="f4299">
                <a:pos x="f5870" y="f6217"/>
              </a:cxn>
              <a:cxn ang="f4299">
                <a:pos x="f5870" y="f6216"/>
              </a:cxn>
              <a:cxn ang="f4299">
                <a:pos x="f5871" y="f6215"/>
              </a:cxn>
              <a:cxn ang="f4299">
                <a:pos x="f5872" y="f6215"/>
              </a:cxn>
              <a:cxn ang="f4299">
                <a:pos x="f5873" y="f6216"/>
              </a:cxn>
              <a:cxn ang="f4299">
                <a:pos x="f5873" y="f6217"/>
              </a:cxn>
              <a:cxn ang="f4299">
                <a:pos x="f5872" y="f6218"/>
              </a:cxn>
              <a:cxn ang="f4299">
                <a:pos x="f5871" y="f6218"/>
              </a:cxn>
              <a:cxn ang="f4299">
                <a:pos x="f5874" y="f6217"/>
              </a:cxn>
              <a:cxn ang="f4299">
                <a:pos x="f5874" y="f6216"/>
              </a:cxn>
              <a:cxn ang="f4299">
                <a:pos x="f5875" y="f6215"/>
              </a:cxn>
              <a:cxn ang="f4299">
                <a:pos x="f5876" y="f6215"/>
              </a:cxn>
              <a:cxn ang="f4299">
                <a:pos x="f5877" y="f6216"/>
              </a:cxn>
              <a:cxn ang="f4299">
                <a:pos x="f5877" y="f6217"/>
              </a:cxn>
              <a:cxn ang="f4299">
                <a:pos x="f5876" y="f6218"/>
              </a:cxn>
              <a:cxn ang="f4299">
                <a:pos x="f5875" y="f6218"/>
              </a:cxn>
              <a:cxn ang="f4299">
                <a:pos x="f5878" y="f6217"/>
              </a:cxn>
              <a:cxn ang="f4299">
                <a:pos x="f5878" y="f6216"/>
              </a:cxn>
              <a:cxn ang="f4299">
                <a:pos x="f5879" y="f6215"/>
              </a:cxn>
              <a:cxn ang="f4299">
                <a:pos x="f5880" y="f6215"/>
              </a:cxn>
              <a:cxn ang="f4299">
                <a:pos x="f5881" y="f6216"/>
              </a:cxn>
              <a:cxn ang="f4299">
                <a:pos x="f5881" y="f6217"/>
              </a:cxn>
              <a:cxn ang="f4299">
                <a:pos x="f5880" y="f6218"/>
              </a:cxn>
              <a:cxn ang="f4299">
                <a:pos x="f5879" y="f6218"/>
              </a:cxn>
              <a:cxn ang="f4299">
                <a:pos x="f5882" y="f6217"/>
              </a:cxn>
              <a:cxn ang="f4299">
                <a:pos x="f5882" y="f6216"/>
              </a:cxn>
              <a:cxn ang="f4299">
                <a:pos x="f5883" y="f6215"/>
              </a:cxn>
              <a:cxn ang="f4299">
                <a:pos x="f5884" y="f6215"/>
              </a:cxn>
              <a:cxn ang="f4299">
                <a:pos x="f5885" y="f6216"/>
              </a:cxn>
              <a:cxn ang="f4299">
                <a:pos x="f5885" y="f6217"/>
              </a:cxn>
              <a:cxn ang="f4299">
                <a:pos x="f5884" y="f6218"/>
              </a:cxn>
              <a:cxn ang="f4299">
                <a:pos x="f5883" y="f6218"/>
              </a:cxn>
              <a:cxn ang="f4299">
                <a:pos x="f5886" y="f6217"/>
              </a:cxn>
              <a:cxn ang="f4299">
                <a:pos x="f5886" y="f6216"/>
              </a:cxn>
              <a:cxn ang="f4299">
                <a:pos x="f5887" y="f6215"/>
              </a:cxn>
              <a:cxn ang="f4299">
                <a:pos x="f5888" y="f6215"/>
              </a:cxn>
              <a:cxn ang="f4299">
                <a:pos x="f5889" y="f6216"/>
              </a:cxn>
              <a:cxn ang="f4299">
                <a:pos x="f5889" y="f6217"/>
              </a:cxn>
              <a:cxn ang="f4299">
                <a:pos x="f5888" y="f6218"/>
              </a:cxn>
              <a:cxn ang="f4299">
                <a:pos x="f5887" y="f6218"/>
              </a:cxn>
              <a:cxn ang="f4299">
                <a:pos x="f5890" y="f6217"/>
              </a:cxn>
              <a:cxn ang="f4299">
                <a:pos x="f5890" y="f6216"/>
              </a:cxn>
              <a:cxn ang="f4299">
                <a:pos x="f5891" y="f6215"/>
              </a:cxn>
              <a:cxn ang="f4299">
                <a:pos x="f5892" y="f6215"/>
              </a:cxn>
              <a:cxn ang="f4299">
                <a:pos x="f5893" y="f6216"/>
              </a:cxn>
              <a:cxn ang="f4299">
                <a:pos x="f5893" y="f6217"/>
              </a:cxn>
              <a:cxn ang="f4299">
                <a:pos x="f5892" y="f6218"/>
              </a:cxn>
              <a:cxn ang="f4299">
                <a:pos x="f5891" y="f6218"/>
              </a:cxn>
              <a:cxn ang="f4299">
                <a:pos x="f5894" y="f6217"/>
              </a:cxn>
              <a:cxn ang="f4299">
                <a:pos x="f5894" y="f6216"/>
              </a:cxn>
              <a:cxn ang="f4299">
                <a:pos x="f6219" y="f6215"/>
              </a:cxn>
              <a:cxn ang="f4299">
                <a:pos x="f6187" y="f6215"/>
              </a:cxn>
              <a:cxn ang="f4299">
                <a:pos x="f6220" y="f6216"/>
              </a:cxn>
              <a:cxn ang="f4299">
                <a:pos x="f6220" y="f6217"/>
              </a:cxn>
              <a:cxn ang="f4299">
                <a:pos x="f6187" y="f6218"/>
              </a:cxn>
              <a:cxn ang="f4299">
                <a:pos x="f6219" y="f6218"/>
              </a:cxn>
              <a:cxn ang="f4299">
                <a:pos x="f6221" y="f6217"/>
              </a:cxn>
              <a:cxn ang="f4299">
                <a:pos x="f6221" y="f6216"/>
              </a:cxn>
              <a:cxn ang="f4299">
                <a:pos x="f6222" y="f6215"/>
              </a:cxn>
              <a:cxn ang="f4299">
                <a:pos x="f6223" y="f6215"/>
              </a:cxn>
              <a:cxn ang="f4299">
                <a:pos x="f6192" y="f6216"/>
              </a:cxn>
              <a:cxn ang="f4299">
                <a:pos x="f6192" y="f6217"/>
              </a:cxn>
              <a:cxn ang="f4299">
                <a:pos x="f6223" y="f6218"/>
              </a:cxn>
              <a:cxn ang="f4299">
                <a:pos x="f6222" y="f6218"/>
              </a:cxn>
              <a:cxn ang="f4299">
                <a:pos x="f6224" y="f6217"/>
              </a:cxn>
              <a:cxn ang="f4299">
                <a:pos x="f6224" y="f6216"/>
              </a:cxn>
              <a:cxn ang="f4299">
                <a:pos x="f6225" y="f6215"/>
              </a:cxn>
              <a:cxn ang="f4299">
                <a:pos x="f6194" y="f6215"/>
              </a:cxn>
              <a:cxn ang="f4299">
                <a:pos x="f6195" y="f6216"/>
              </a:cxn>
              <a:cxn ang="f4299">
                <a:pos x="f6195" y="f6217"/>
              </a:cxn>
              <a:cxn ang="f4299">
                <a:pos x="f6194" y="f6218"/>
              </a:cxn>
              <a:cxn ang="f4299">
                <a:pos x="f6225" y="f6218"/>
              </a:cxn>
              <a:cxn ang="f4299">
                <a:pos x="f6226" y="f6217"/>
              </a:cxn>
              <a:cxn ang="f4299">
                <a:pos x="f6226" y="f6216"/>
              </a:cxn>
              <a:cxn ang="f4299">
                <a:pos x="f6227" y="f6215"/>
              </a:cxn>
              <a:cxn ang="f4299">
                <a:pos x="f6228" y="f6215"/>
              </a:cxn>
              <a:cxn ang="f4299">
                <a:pos x="f6197" y="f6216"/>
              </a:cxn>
              <a:cxn ang="f4299">
                <a:pos x="f6197" y="f6217"/>
              </a:cxn>
              <a:cxn ang="f4299">
                <a:pos x="f6228" y="f6218"/>
              </a:cxn>
              <a:cxn ang="f4299">
                <a:pos x="f6227" y="f6218"/>
              </a:cxn>
              <a:cxn ang="f4299">
                <a:pos x="f6229" y="f6217"/>
              </a:cxn>
              <a:cxn ang="f4299">
                <a:pos x="f6229" y="f6216"/>
              </a:cxn>
              <a:cxn ang="f4299">
                <a:pos x="f6198" y="f6230"/>
              </a:cxn>
              <a:cxn ang="f4299">
                <a:pos x="f6200" y="f6230"/>
              </a:cxn>
              <a:cxn ang="f4299">
                <a:pos x="f6144" y="f6231"/>
              </a:cxn>
              <a:cxn ang="f4299">
                <a:pos x="f6144" y="f6232"/>
              </a:cxn>
              <a:cxn ang="f4299">
                <a:pos x="f6200" y="f6233"/>
              </a:cxn>
              <a:cxn ang="f4299">
                <a:pos x="f6198" y="f6233"/>
              </a:cxn>
              <a:cxn ang="f4299">
                <a:pos x="f6115" y="f6232"/>
              </a:cxn>
              <a:cxn ang="f4299">
                <a:pos x="f6115" y="f6231"/>
              </a:cxn>
              <a:cxn ang="f4299">
                <a:pos x="f6148" y="f6230"/>
              </a:cxn>
              <a:cxn ang="f4299">
                <a:pos x="f6116" y="f6230"/>
              </a:cxn>
              <a:cxn ang="f4299">
                <a:pos x="f6234" y="f6231"/>
              </a:cxn>
              <a:cxn ang="f4299">
                <a:pos x="f6234" y="f6232"/>
              </a:cxn>
              <a:cxn ang="f4299">
                <a:pos x="f6116" y="f6233"/>
              </a:cxn>
              <a:cxn ang="f4299">
                <a:pos x="f6148" y="f6233"/>
              </a:cxn>
              <a:cxn ang="f4299">
                <a:pos x="f6204" y="f6232"/>
              </a:cxn>
              <a:cxn ang="f4299">
                <a:pos x="f6204" y="f6231"/>
              </a:cxn>
              <a:cxn ang="f4299">
                <a:pos x="f6205" y="f6230"/>
              </a:cxn>
              <a:cxn ang="f4299">
                <a:pos x="f6206" y="f6230"/>
              </a:cxn>
              <a:cxn ang="f4299">
                <a:pos x="f6235" y="f6231"/>
              </a:cxn>
              <a:cxn ang="f4299">
                <a:pos x="f6235" y="f6232"/>
              </a:cxn>
              <a:cxn ang="f4299">
                <a:pos x="f6206" y="f6233"/>
              </a:cxn>
              <a:cxn ang="f4299">
                <a:pos x="f6205" y="f6233"/>
              </a:cxn>
              <a:cxn ang="f4299">
                <a:pos x="f6236" y="f6232"/>
              </a:cxn>
              <a:cxn ang="f4299">
                <a:pos x="f6236" y="f6231"/>
              </a:cxn>
              <a:cxn ang="f4299">
                <a:pos x="f6207" y="f6230"/>
              </a:cxn>
              <a:cxn ang="f4299">
                <a:pos x="f6237" y="f6230"/>
              </a:cxn>
              <a:cxn ang="f4299">
                <a:pos x="f6238" y="f6231"/>
              </a:cxn>
              <a:cxn ang="f4299">
                <a:pos x="f6238" y="f6232"/>
              </a:cxn>
              <a:cxn ang="f4299">
                <a:pos x="f6237" y="f6233"/>
              </a:cxn>
              <a:cxn ang="f4299">
                <a:pos x="f6207" y="f6233"/>
              </a:cxn>
              <a:cxn ang="f4299">
                <a:pos x="f6208" y="f6232"/>
              </a:cxn>
              <a:cxn ang="f4299">
                <a:pos x="f6208" y="f6231"/>
              </a:cxn>
              <a:cxn ang="f4299">
                <a:pos x="f6209" y="f6230"/>
              </a:cxn>
              <a:cxn ang="f4299">
                <a:pos x="f6239" y="f6230"/>
              </a:cxn>
              <a:cxn ang="f4299">
                <a:pos x="f6211" y="f6231"/>
              </a:cxn>
              <a:cxn ang="f4299">
                <a:pos x="f6211" y="f6232"/>
              </a:cxn>
              <a:cxn ang="f4299">
                <a:pos x="f6239" y="f6233"/>
              </a:cxn>
              <a:cxn ang="f4299">
                <a:pos x="f6209" y="f6233"/>
              </a:cxn>
              <a:cxn ang="f4299">
                <a:pos x="f6240" y="f6232"/>
              </a:cxn>
              <a:cxn ang="f4299">
                <a:pos x="f6240" y="f6231"/>
              </a:cxn>
              <a:cxn ang="f4299">
                <a:pos x="f6241" y="f6230"/>
              </a:cxn>
              <a:cxn ang="f4299">
                <a:pos x="f6242" y="f6230"/>
              </a:cxn>
              <a:cxn ang="f4299">
                <a:pos x="f6213" y="f6231"/>
              </a:cxn>
              <a:cxn ang="f4299">
                <a:pos x="f6213" y="f6232"/>
              </a:cxn>
              <a:cxn ang="f4299">
                <a:pos x="f6242" y="f6233"/>
              </a:cxn>
              <a:cxn ang="f4299">
                <a:pos x="f6241" y="f6233"/>
              </a:cxn>
              <a:cxn ang="f4299">
                <a:pos x="f6243" y="f6232"/>
              </a:cxn>
              <a:cxn ang="f4299">
                <a:pos x="f6243" y="f6231"/>
              </a:cxn>
              <a:cxn ang="f4299">
                <a:pos x="f5767" y="f6244"/>
              </a:cxn>
              <a:cxn ang="f4299">
                <a:pos x="f5769" y="f6244"/>
              </a:cxn>
              <a:cxn ang="f4299">
                <a:pos x="f5770" y="f6245"/>
              </a:cxn>
              <a:cxn ang="f4299">
                <a:pos x="f5770" y="f6246"/>
              </a:cxn>
              <a:cxn ang="f4299">
                <a:pos x="f5769" y="f6247"/>
              </a:cxn>
              <a:cxn ang="f4299">
                <a:pos x="f5767" y="f6247"/>
              </a:cxn>
              <a:cxn ang="f4299">
                <a:pos x="f5774" y="f6246"/>
              </a:cxn>
              <a:cxn ang="f4299">
                <a:pos x="f5774" y="f6245"/>
              </a:cxn>
              <a:cxn ang="f4299">
                <a:pos x="f5775" y="f6244"/>
              </a:cxn>
              <a:cxn ang="f4299">
                <a:pos x="f5776" y="f6244"/>
              </a:cxn>
              <a:cxn ang="f4299">
                <a:pos x="f5777" y="f6245"/>
              </a:cxn>
              <a:cxn ang="f4299">
                <a:pos x="f5777" y="f6246"/>
              </a:cxn>
              <a:cxn ang="f4299">
                <a:pos x="f5776" y="f6247"/>
              </a:cxn>
              <a:cxn ang="f4299">
                <a:pos x="f5775" y="f6247"/>
              </a:cxn>
              <a:cxn ang="f4299">
                <a:pos x="f5778" y="f6246"/>
              </a:cxn>
              <a:cxn ang="f4299">
                <a:pos x="f5778" y="f6245"/>
              </a:cxn>
              <a:cxn ang="f4299">
                <a:pos x="f5779" y="f6244"/>
              </a:cxn>
              <a:cxn ang="f4299">
                <a:pos x="f5780" y="f6244"/>
              </a:cxn>
              <a:cxn ang="f4299">
                <a:pos x="f5781" y="f6245"/>
              </a:cxn>
              <a:cxn ang="f4299">
                <a:pos x="f5781" y="f6246"/>
              </a:cxn>
              <a:cxn ang="f4299">
                <a:pos x="f5780" y="f6247"/>
              </a:cxn>
              <a:cxn ang="f4299">
                <a:pos x="f5779" y="f6247"/>
              </a:cxn>
              <a:cxn ang="f4299">
                <a:pos x="f5782" y="f6246"/>
              </a:cxn>
              <a:cxn ang="f4299">
                <a:pos x="f5782" y="f6245"/>
              </a:cxn>
              <a:cxn ang="f4299">
                <a:pos x="f5783" y="f6244"/>
              </a:cxn>
              <a:cxn ang="f4299">
                <a:pos x="f5784" y="f6244"/>
              </a:cxn>
              <a:cxn ang="f4299">
                <a:pos x="f5785" y="f6245"/>
              </a:cxn>
              <a:cxn ang="f4299">
                <a:pos x="f5785" y="f6246"/>
              </a:cxn>
              <a:cxn ang="f4299">
                <a:pos x="f5784" y="f6247"/>
              </a:cxn>
              <a:cxn ang="f4299">
                <a:pos x="f5783" y="f6247"/>
              </a:cxn>
              <a:cxn ang="f4299">
                <a:pos x="f5786" y="f6246"/>
              </a:cxn>
              <a:cxn ang="f4299">
                <a:pos x="f5786" y="f6245"/>
              </a:cxn>
              <a:cxn ang="f4299">
                <a:pos x="f5787" y="f6244"/>
              </a:cxn>
              <a:cxn ang="f4299">
                <a:pos x="f5788" y="f6244"/>
              </a:cxn>
              <a:cxn ang="f4299">
                <a:pos x="f5789" y="f6245"/>
              </a:cxn>
              <a:cxn ang="f4299">
                <a:pos x="f5789" y="f6246"/>
              </a:cxn>
              <a:cxn ang="f4299">
                <a:pos x="f5788" y="f6247"/>
              </a:cxn>
              <a:cxn ang="f4299">
                <a:pos x="f5787" y="f6247"/>
              </a:cxn>
              <a:cxn ang="f4299">
                <a:pos x="f5790" y="f6246"/>
              </a:cxn>
              <a:cxn ang="f4299">
                <a:pos x="f5790" y="f6245"/>
              </a:cxn>
              <a:cxn ang="f4299">
                <a:pos x="f5791" y="f6244"/>
              </a:cxn>
              <a:cxn ang="f4299">
                <a:pos x="f5792" y="f6244"/>
              </a:cxn>
              <a:cxn ang="f4299">
                <a:pos x="f5793" y="f6245"/>
              </a:cxn>
              <a:cxn ang="f4299">
                <a:pos x="f5793" y="f6246"/>
              </a:cxn>
              <a:cxn ang="f4299">
                <a:pos x="f5792" y="f6247"/>
              </a:cxn>
              <a:cxn ang="f4299">
                <a:pos x="f5791" y="f6247"/>
              </a:cxn>
              <a:cxn ang="f4299">
                <a:pos x="f5794" y="f6246"/>
              </a:cxn>
              <a:cxn ang="f4299">
                <a:pos x="f5794" y="f6245"/>
              </a:cxn>
              <a:cxn ang="f4299">
                <a:pos x="f5795" y="f6244"/>
              </a:cxn>
              <a:cxn ang="f4299">
                <a:pos x="f5796" y="f6244"/>
              </a:cxn>
              <a:cxn ang="f4299">
                <a:pos x="f5797" y="f6245"/>
              </a:cxn>
              <a:cxn ang="f4299">
                <a:pos x="f5797" y="f6246"/>
              </a:cxn>
              <a:cxn ang="f4299">
                <a:pos x="f5796" y="f6247"/>
              </a:cxn>
              <a:cxn ang="f4299">
                <a:pos x="f5795" y="f6247"/>
              </a:cxn>
              <a:cxn ang="f4299">
                <a:pos x="f5798" y="f6246"/>
              </a:cxn>
              <a:cxn ang="f4299">
                <a:pos x="f5798" y="f6245"/>
              </a:cxn>
              <a:cxn ang="f4299">
                <a:pos x="f5799" y="f6244"/>
              </a:cxn>
              <a:cxn ang="f4299">
                <a:pos x="f5800" y="f6244"/>
              </a:cxn>
              <a:cxn ang="f4299">
                <a:pos x="f5801" y="f6245"/>
              </a:cxn>
              <a:cxn ang="f4299">
                <a:pos x="f5801" y="f6246"/>
              </a:cxn>
              <a:cxn ang="f4299">
                <a:pos x="f5800" y="f6247"/>
              </a:cxn>
              <a:cxn ang="f4299">
                <a:pos x="f5799" y="f6247"/>
              </a:cxn>
              <a:cxn ang="f4299">
                <a:pos x="f5802" y="f6246"/>
              </a:cxn>
              <a:cxn ang="f4299">
                <a:pos x="f5802" y="f6245"/>
              </a:cxn>
              <a:cxn ang="f4299">
                <a:pos x="f5803" y="f6244"/>
              </a:cxn>
              <a:cxn ang="f4299">
                <a:pos x="f5804" y="f6244"/>
              </a:cxn>
              <a:cxn ang="f4299">
                <a:pos x="f5805" y="f6245"/>
              </a:cxn>
              <a:cxn ang="f4299">
                <a:pos x="f5805" y="f6246"/>
              </a:cxn>
              <a:cxn ang="f4299">
                <a:pos x="f5804" y="f6247"/>
              </a:cxn>
              <a:cxn ang="f4299">
                <a:pos x="f5803" y="f6247"/>
              </a:cxn>
              <a:cxn ang="f4299">
                <a:pos x="f5806" y="f6246"/>
              </a:cxn>
              <a:cxn ang="f4299">
                <a:pos x="f5806" y="f6245"/>
              </a:cxn>
              <a:cxn ang="f4299">
                <a:pos x="f5807" y="f6244"/>
              </a:cxn>
              <a:cxn ang="f4299">
                <a:pos x="f5808" y="f6244"/>
              </a:cxn>
              <a:cxn ang="f4299">
                <a:pos x="f5809" y="f6245"/>
              </a:cxn>
              <a:cxn ang="f4299">
                <a:pos x="f5809" y="f6246"/>
              </a:cxn>
              <a:cxn ang="f4299">
                <a:pos x="f5808" y="f6247"/>
              </a:cxn>
              <a:cxn ang="f4299">
                <a:pos x="f5807" y="f6247"/>
              </a:cxn>
              <a:cxn ang="f4299">
                <a:pos x="f5810" y="f6246"/>
              </a:cxn>
              <a:cxn ang="f4299">
                <a:pos x="f5810" y="f6245"/>
              </a:cxn>
              <a:cxn ang="f4299">
                <a:pos x="f5811" y="f6244"/>
              </a:cxn>
              <a:cxn ang="f4299">
                <a:pos x="f5812" y="f6244"/>
              </a:cxn>
              <a:cxn ang="f4299">
                <a:pos x="f5813" y="f6245"/>
              </a:cxn>
              <a:cxn ang="f4299">
                <a:pos x="f5813" y="f6246"/>
              </a:cxn>
              <a:cxn ang="f4299">
                <a:pos x="f5812" y="f6247"/>
              </a:cxn>
              <a:cxn ang="f4299">
                <a:pos x="f5811" y="f6247"/>
              </a:cxn>
              <a:cxn ang="f4299">
                <a:pos x="f5814" y="f6246"/>
              </a:cxn>
              <a:cxn ang="f4299">
                <a:pos x="f5814" y="f6245"/>
              </a:cxn>
              <a:cxn ang="f4299">
                <a:pos x="f5815" y="f6244"/>
              </a:cxn>
              <a:cxn ang="f4299">
                <a:pos x="f5816" y="f6244"/>
              </a:cxn>
              <a:cxn ang="f4299">
                <a:pos x="f5817" y="f6245"/>
              </a:cxn>
              <a:cxn ang="f4299">
                <a:pos x="f5817" y="f6246"/>
              </a:cxn>
              <a:cxn ang="f4299">
                <a:pos x="f5816" y="f6247"/>
              </a:cxn>
              <a:cxn ang="f4299">
                <a:pos x="f5815" y="f6247"/>
              </a:cxn>
              <a:cxn ang="f4299">
                <a:pos x="f5818" y="f6246"/>
              </a:cxn>
              <a:cxn ang="f4299">
                <a:pos x="f5818" y="f6245"/>
              </a:cxn>
              <a:cxn ang="f4299">
                <a:pos x="f5819" y="f6244"/>
              </a:cxn>
              <a:cxn ang="f4299">
                <a:pos x="f5820" y="f6244"/>
              </a:cxn>
              <a:cxn ang="f4299">
                <a:pos x="f5821" y="f6245"/>
              </a:cxn>
              <a:cxn ang="f4299">
                <a:pos x="f5821" y="f6246"/>
              </a:cxn>
              <a:cxn ang="f4299">
                <a:pos x="f5820" y="f6247"/>
              </a:cxn>
              <a:cxn ang="f4299">
                <a:pos x="f5819" y="f6247"/>
              </a:cxn>
              <a:cxn ang="f4299">
                <a:pos x="f5822" y="f6246"/>
              </a:cxn>
              <a:cxn ang="f4299">
                <a:pos x="f5822" y="f6245"/>
              </a:cxn>
              <a:cxn ang="f4299">
                <a:pos x="f5823" y="f6244"/>
              </a:cxn>
              <a:cxn ang="f4299">
                <a:pos x="f5824" y="f6244"/>
              </a:cxn>
              <a:cxn ang="f4299">
                <a:pos x="f5825" y="f6245"/>
              </a:cxn>
              <a:cxn ang="f4299">
                <a:pos x="f5825" y="f6246"/>
              </a:cxn>
              <a:cxn ang="f4299">
                <a:pos x="f5824" y="f6247"/>
              </a:cxn>
              <a:cxn ang="f4299">
                <a:pos x="f5823" y="f6247"/>
              </a:cxn>
              <a:cxn ang="f4299">
                <a:pos x="f5826" y="f6246"/>
              </a:cxn>
              <a:cxn ang="f4299">
                <a:pos x="f5826" y="f6245"/>
              </a:cxn>
              <a:cxn ang="f4299">
                <a:pos x="f5827" y="f6244"/>
              </a:cxn>
              <a:cxn ang="f4299">
                <a:pos x="f5828" y="f6244"/>
              </a:cxn>
              <a:cxn ang="f4299">
                <a:pos x="f5829" y="f6245"/>
              </a:cxn>
              <a:cxn ang="f4299">
                <a:pos x="f5829" y="f6246"/>
              </a:cxn>
              <a:cxn ang="f4299">
                <a:pos x="f5828" y="f6247"/>
              </a:cxn>
              <a:cxn ang="f4299">
                <a:pos x="f5827" y="f6247"/>
              </a:cxn>
              <a:cxn ang="f4299">
                <a:pos x="f5830" y="f6246"/>
              </a:cxn>
              <a:cxn ang="f4299">
                <a:pos x="f5830" y="f6245"/>
              </a:cxn>
              <a:cxn ang="f4299">
                <a:pos x="f5831" y="f6244"/>
              </a:cxn>
              <a:cxn ang="f4299">
                <a:pos x="f5832" y="f6244"/>
              </a:cxn>
              <a:cxn ang="f4299">
                <a:pos x="f5833" y="f6245"/>
              </a:cxn>
              <a:cxn ang="f4299">
                <a:pos x="f5833" y="f6246"/>
              </a:cxn>
              <a:cxn ang="f4299">
                <a:pos x="f5832" y="f6247"/>
              </a:cxn>
              <a:cxn ang="f4299">
                <a:pos x="f5831" y="f6247"/>
              </a:cxn>
              <a:cxn ang="f4299">
                <a:pos x="f5834" y="f6246"/>
              </a:cxn>
              <a:cxn ang="f4299">
                <a:pos x="f5834" y="f6245"/>
              </a:cxn>
              <a:cxn ang="f4299">
                <a:pos x="f5835" y="f6244"/>
              </a:cxn>
              <a:cxn ang="f4299">
                <a:pos x="f5836" y="f6244"/>
              </a:cxn>
              <a:cxn ang="f4299">
                <a:pos x="f5837" y="f6245"/>
              </a:cxn>
              <a:cxn ang="f4299">
                <a:pos x="f5837" y="f6246"/>
              </a:cxn>
              <a:cxn ang="f4299">
                <a:pos x="f5836" y="f6247"/>
              </a:cxn>
              <a:cxn ang="f4299">
                <a:pos x="f5835" y="f6247"/>
              </a:cxn>
              <a:cxn ang="f4299">
                <a:pos x="f5838" y="f6246"/>
              </a:cxn>
              <a:cxn ang="f4299">
                <a:pos x="f5838" y="f6245"/>
              </a:cxn>
              <a:cxn ang="f4299">
                <a:pos x="f5839" y="f6244"/>
              </a:cxn>
              <a:cxn ang="f4299">
                <a:pos x="f5840" y="f6244"/>
              </a:cxn>
              <a:cxn ang="f4299">
                <a:pos x="f5841" y="f6245"/>
              </a:cxn>
              <a:cxn ang="f4299">
                <a:pos x="f5841" y="f6246"/>
              </a:cxn>
              <a:cxn ang="f4299">
                <a:pos x="f5840" y="f6247"/>
              </a:cxn>
              <a:cxn ang="f4299">
                <a:pos x="f5839" y="f6247"/>
              </a:cxn>
              <a:cxn ang="f4299">
                <a:pos x="f5842" y="f6246"/>
              </a:cxn>
              <a:cxn ang="f4299">
                <a:pos x="f5842" y="f6245"/>
              </a:cxn>
              <a:cxn ang="f4299">
                <a:pos x="f5843" y="f6244"/>
              </a:cxn>
              <a:cxn ang="f4299">
                <a:pos x="f5844" y="f6244"/>
              </a:cxn>
              <a:cxn ang="f4299">
                <a:pos x="f5845" y="f6245"/>
              </a:cxn>
              <a:cxn ang="f4299">
                <a:pos x="f5845" y="f6246"/>
              </a:cxn>
              <a:cxn ang="f4299">
                <a:pos x="f5844" y="f6247"/>
              </a:cxn>
              <a:cxn ang="f4299">
                <a:pos x="f5843" y="f6247"/>
              </a:cxn>
              <a:cxn ang="f4299">
                <a:pos x="f5846" y="f6246"/>
              </a:cxn>
              <a:cxn ang="f4299">
                <a:pos x="f5846" y="f6245"/>
              </a:cxn>
              <a:cxn ang="f4299">
                <a:pos x="f5847" y="f6244"/>
              </a:cxn>
              <a:cxn ang="f4299">
                <a:pos x="f5848" y="f6244"/>
              </a:cxn>
              <a:cxn ang="f4299">
                <a:pos x="f5849" y="f6245"/>
              </a:cxn>
              <a:cxn ang="f4299">
                <a:pos x="f5849" y="f6246"/>
              </a:cxn>
              <a:cxn ang="f4299">
                <a:pos x="f5848" y="f6247"/>
              </a:cxn>
              <a:cxn ang="f4299">
                <a:pos x="f5847" y="f6247"/>
              </a:cxn>
              <a:cxn ang="f4299">
                <a:pos x="f5850" y="f6246"/>
              </a:cxn>
              <a:cxn ang="f4299">
                <a:pos x="f5850" y="f6245"/>
              </a:cxn>
              <a:cxn ang="f4299">
                <a:pos x="f5851" y="f6244"/>
              </a:cxn>
              <a:cxn ang="f4299">
                <a:pos x="f5852" y="f6244"/>
              </a:cxn>
              <a:cxn ang="f4299">
                <a:pos x="f5853" y="f6245"/>
              </a:cxn>
              <a:cxn ang="f4299">
                <a:pos x="f5853" y="f6246"/>
              </a:cxn>
              <a:cxn ang="f4299">
                <a:pos x="f5852" y="f6247"/>
              </a:cxn>
              <a:cxn ang="f4299">
                <a:pos x="f5851" y="f6247"/>
              </a:cxn>
              <a:cxn ang="f4299">
                <a:pos x="f5854" y="f6246"/>
              </a:cxn>
              <a:cxn ang="f4299">
                <a:pos x="f5854" y="f6245"/>
              </a:cxn>
              <a:cxn ang="f4299">
                <a:pos x="f5855" y="f6244"/>
              </a:cxn>
              <a:cxn ang="f4299">
                <a:pos x="f5856" y="f6244"/>
              </a:cxn>
              <a:cxn ang="f4299">
                <a:pos x="f5857" y="f6245"/>
              </a:cxn>
              <a:cxn ang="f4299">
                <a:pos x="f5857" y="f6246"/>
              </a:cxn>
              <a:cxn ang="f4299">
                <a:pos x="f5856" y="f6247"/>
              </a:cxn>
              <a:cxn ang="f4299">
                <a:pos x="f5855" y="f6247"/>
              </a:cxn>
              <a:cxn ang="f4299">
                <a:pos x="f5858" y="f6246"/>
              </a:cxn>
              <a:cxn ang="f4299">
                <a:pos x="f5858" y="f6245"/>
              </a:cxn>
              <a:cxn ang="f4299">
                <a:pos x="f5859" y="f6244"/>
              </a:cxn>
              <a:cxn ang="f4299">
                <a:pos x="f5860" y="f6244"/>
              </a:cxn>
              <a:cxn ang="f4299">
                <a:pos x="f5861" y="f6245"/>
              </a:cxn>
              <a:cxn ang="f4299">
                <a:pos x="f5861" y="f6246"/>
              </a:cxn>
              <a:cxn ang="f4299">
                <a:pos x="f5860" y="f6247"/>
              </a:cxn>
              <a:cxn ang="f4299">
                <a:pos x="f5859" y="f6247"/>
              </a:cxn>
              <a:cxn ang="f4299">
                <a:pos x="f5862" y="f6246"/>
              </a:cxn>
              <a:cxn ang="f4299">
                <a:pos x="f5862" y="f6245"/>
              </a:cxn>
              <a:cxn ang="f4299">
                <a:pos x="f5863" y="f6244"/>
              </a:cxn>
              <a:cxn ang="f4299">
                <a:pos x="f5864" y="f6244"/>
              </a:cxn>
              <a:cxn ang="f4299">
                <a:pos x="f5865" y="f6245"/>
              </a:cxn>
              <a:cxn ang="f4299">
                <a:pos x="f5865" y="f6246"/>
              </a:cxn>
              <a:cxn ang="f4299">
                <a:pos x="f5864" y="f6247"/>
              </a:cxn>
              <a:cxn ang="f4299">
                <a:pos x="f5863" y="f6247"/>
              </a:cxn>
              <a:cxn ang="f4299">
                <a:pos x="f5866" y="f6246"/>
              </a:cxn>
              <a:cxn ang="f4299">
                <a:pos x="f5866" y="f6245"/>
              </a:cxn>
              <a:cxn ang="f4299">
                <a:pos x="f5867" y="f6244"/>
              </a:cxn>
              <a:cxn ang="f4299">
                <a:pos x="f5868" y="f6244"/>
              </a:cxn>
              <a:cxn ang="f4299">
                <a:pos x="f5869" y="f6245"/>
              </a:cxn>
              <a:cxn ang="f4299">
                <a:pos x="f5869" y="f6246"/>
              </a:cxn>
              <a:cxn ang="f4299">
                <a:pos x="f5868" y="f6247"/>
              </a:cxn>
              <a:cxn ang="f4299">
                <a:pos x="f5867" y="f6247"/>
              </a:cxn>
              <a:cxn ang="f4299">
                <a:pos x="f5870" y="f6246"/>
              </a:cxn>
              <a:cxn ang="f4299">
                <a:pos x="f5870" y="f6245"/>
              </a:cxn>
              <a:cxn ang="f4299">
                <a:pos x="f5871" y="f6244"/>
              </a:cxn>
              <a:cxn ang="f4299">
                <a:pos x="f5872" y="f6244"/>
              </a:cxn>
              <a:cxn ang="f4299">
                <a:pos x="f5873" y="f6245"/>
              </a:cxn>
              <a:cxn ang="f4299">
                <a:pos x="f5873" y="f6246"/>
              </a:cxn>
              <a:cxn ang="f4299">
                <a:pos x="f5872" y="f6247"/>
              </a:cxn>
              <a:cxn ang="f4299">
                <a:pos x="f5871" y="f6247"/>
              </a:cxn>
              <a:cxn ang="f4299">
                <a:pos x="f5874" y="f6246"/>
              </a:cxn>
              <a:cxn ang="f4299">
                <a:pos x="f5874" y="f6245"/>
              </a:cxn>
              <a:cxn ang="f4299">
                <a:pos x="f5875" y="f6244"/>
              </a:cxn>
              <a:cxn ang="f4299">
                <a:pos x="f5876" y="f6244"/>
              </a:cxn>
              <a:cxn ang="f4299">
                <a:pos x="f5877" y="f6245"/>
              </a:cxn>
              <a:cxn ang="f4299">
                <a:pos x="f5877" y="f6246"/>
              </a:cxn>
              <a:cxn ang="f4299">
                <a:pos x="f5876" y="f6247"/>
              </a:cxn>
              <a:cxn ang="f4299">
                <a:pos x="f5875" y="f6247"/>
              </a:cxn>
              <a:cxn ang="f4299">
                <a:pos x="f5878" y="f6246"/>
              </a:cxn>
              <a:cxn ang="f4299">
                <a:pos x="f5878" y="f6245"/>
              </a:cxn>
              <a:cxn ang="f4299">
                <a:pos x="f5879" y="f6244"/>
              </a:cxn>
              <a:cxn ang="f4299">
                <a:pos x="f5880" y="f6244"/>
              </a:cxn>
              <a:cxn ang="f4299">
                <a:pos x="f5881" y="f6245"/>
              </a:cxn>
              <a:cxn ang="f4299">
                <a:pos x="f5881" y="f6246"/>
              </a:cxn>
              <a:cxn ang="f4299">
                <a:pos x="f5880" y="f6247"/>
              </a:cxn>
              <a:cxn ang="f4299">
                <a:pos x="f5879" y="f6247"/>
              </a:cxn>
              <a:cxn ang="f4299">
                <a:pos x="f5882" y="f6246"/>
              </a:cxn>
              <a:cxn ang="f4299">
                <a:pos x="f5882" y="f6245"/>
              </a:cxn>
              <a:cxn ang="f4299">
                <a:pos x="f5883" y="f6244"/>
              </a:cxn>
              <a:cxn ang="f4299">
                <a:pos x="f5884" y="f6244"/>
              </a:cxn>
              <a:cxn ang="f4299">
                <a:pos x="f5885" y="f6245"/>
              </a:cxn>
              <a:cxn ang="f4299">
                <a:pos x="f5885" y="f6246"/>
              </a:cxn>
              <a:cxn ang="f4299">
                <a:pos x="f5884" y="f6247"/>
              </a:cxn>
              <a:cxn ang="f4299">
                <a:pos x="f5883" y="f6247"/>
              </a:cxn>
              <a:cxn ang="f4299">
                <a:pos x="f5886" y="f6246"/>
              </a:cxn>
              <a:cxn ang="f4299">
                <a:pos x="f5886" y="f6245"/>
              </a:cxn>
              <a:cxn ang="f4299">
                <a:pos x="f5887" y="f6244"/>
              </a:cxn>
              <a:cxn ang="f4299">
                <a:pos x="f5888" y="f6244"/>
              </a:cxn>
              <a:cxn ang="f4299">
                <a:pos x="f5889" y="f6245"/>
              </a:cxn>
              <a:cxn ang="f4299">
                <a:pos x="f5889" y="f6246"/>
              </a:cxn>
              <a:cxn ang="f4299">
                <a:pos x="f5888" y="f6247"/>
              </a:cxn>
              <a:cxn ang="f4299">
                <a:pos x="f5887" y="f6247"/>
              </a:cxn>
              <a:cxn ang="f4299">
                <a:pos x="f5890" y="f6246"/>
              </a:cxn>
              <a:cxn ang="f4299">
                <a:pos x="f5890" y="f6245"/>
              </a:cxn>
              <a:cxn ang="f4299">
                <a:pos x="f5891" y="f6244"/>
              </a:cxn>
              <a:cxn ang="f4299">
                <a:pos x="f5892" y="f6244"/>
              </a:cxn>
              <a:cxn ang="f4299">
                <a:pos x="f5893" y="f6245"/>
              </a:cxn>
              <a:cxn ang="f4299">
                <a:pos x="f5893" y="f6246"/>
              </a:cxn>
              <a:cxn ang="f4299">
                <a:pos x="f5892" y="f6247"/>
              </a:cxn>
              <a:cxn ang="f4299">
                <a:pos x="f5891" y="f6247"/>
              </a:cxn>
              <a:cxn ang="f4299">
                <a:pos x="f5894" y="f6246"/>
              </a:cxn>
              <a:cxn ang="f4299">
                <a:pos x="f5894" y="f6245"/>
              </a:cxn>
              <a:cxn ang="f4299">
                <a:pos x="f6219" y="f6244"/>
              </a:cxn>
              <a:cxn ang="f4299">
                <a:pos x="f6248" y="f6244"/>
              </a:cxn>
              <a:cxn ang="f4299">
                <a:pos x="f6249" y="f6245"/>
              </a:cxn>
              <a:cxn ang="f4299">
                <a:pos x="f6249" y="f6246"/>
              </a:cxn>
              <a:cxn ang="f4299">
                <a:pos x="f6248" y="f6247"/>
              </a:cxn>
              <a:cxn ang="f4299">
                <a:pos x="f6219" y="f6247"/>
              </a:cxn>
              <a:cxn ang="f4299">
                <a:pos x="f6250" y="f6246"/>
              </a:cxn>
              <a:cxn ang="f4299">
                <a:pos x="f6250" y="f6245"/>
              </a:cxn>
              <a:cxn ang="f4299">
                <a:pos x="f6222" y="f6244"/>
              </a:cxn>
              <a:cxn ang="f4299">
                <a:pos x="f6251" y="f6244"/>
              </a:cxn>
              <a:cxn ang="f4299">
                <a:pos x="f6252" y="f6245"/>
              </a:cxn>
              <a:cxn ang="f4299">
                <a:pos x="f6252" y="f6246"/>
              </a:cxn>
              <a:cxn ang="f4299">
                <a:pos x="f6251" y="f6247"/>
              </a:cxn>
              <a:cxn ang="f4299">
                <a:pos x="f6222" y="f6247"/>
              </a:cxn>
              <a:cxn ang="f4299">
                <a:pos x="f6224" y="f6246"/>
              </a:cxn>
              <a:cxn ang="f4299">
                <a:pos x="f6224" y="f6245"/>
              </a:cxn>
              <a:cxn ang="f4299">
                <a:pos x="f6253" y="f6244"/>
              </a:cxn>
              <a:cxn ang="f4299">
                <a:pos x="f6254" y="f6244"/>
              </a:cxn>
              <a:cxn ang="f4299">
                <a:pos x="f6255" y="f6245"/>
              </a:cxn>
              <a:cxn ang="f4299">
                <a:pos x="f6255" y="f6246"/>
              </a:cxn>
              <a:cxn ang="f4299">
                <a:pos x="f6254" y="f6247"/>
              </a:cxn>
              <a:cxn ang="f4299">
                <a:pos x="f6253" y="f6247"/>
              </a:cxn>
              <a:cxn ang="f4299">
                <a:pos x="f6226" y="f6246"/>
              </a:cxn>
              <a:cxn ang="f4299">
                <a:pos x="f6226" y="f6245"/>
              </a:cxn>
              <a:cxn ang="f4299">
                <a:pos x="f6227" y="f6244"/>
              </a:cxn>
              <a:cxn ang="f4299">
                <a:pos x="f6256" y="f6244"/>
              </a:cxn>
              <a:cxn ang="f4299">
                <a:pos x="f6257" y="f6245"/>
              </a:cxn>
              <a:cxn ang="f4299">
                <a:pos x="f6257" y="f6246"/>
              </a:cxn>
              <a:cxn ang="f4299">
                <a:pos x="f6256" y="f6247"/>
              </a:cxn>
              <a:cxn ang="f4299">
                <a:pos x="f6227" y="f6247"/>
              </a:cxn>
              <a:cxn ang="f4299">
                <a:pos x="f6229" y="f6246"/>
              </a:cxn>
              <a:cxn ang="f4299">
                <a:pos x="f6229" y="f6245"/>
              </a:cxn>
              <a:cxn ang="f4299">
                <a:pos x="f5767" y="f6258"/>
              </a:cxn>
              <a:cxn ang="f4299">
                <a:pos x="f5769" y="f6258"/>
              </a:cxn>
              <a:cxn ang="f4299">
                <a:pos x="f5770" y="f6259"/>
              </a:cxn>
              <a:cxn ang="f4299">
                <a:pos x="f5770" y="f6260"/>
              </a:cxn>
              <a:cxn ang="f4299">
                <a:pos x="f5769" y="f6261"/>
              </a:cxn>
              <a:cxn ang="f4299">
                <a:pos x="f5767" y="f6261"/>
              </a:cxn>
              <a:cxn ang="f4299">
                <a:pos x="f5774" y="f6260"/>
              </a:cxn>
              <a:cxn ang="f4299">
                <a:pos x="f5774" y="f6259"/>
              </a:cxn>
              <a:cxn ang="f4299">
                <a:pos x="f5775" y="f6258"/>
              </a:cxn>
              <a:cxn ang="f4299">
                <a:pos x="f5776" y="f6258"/>
              </a:cxn>
              <a:cxn ang="f4299">
                <a:pos x="f5777" y="f6259"/>
              </a:cxn>
              <a:cxn ang="f4299">
                <a:pos x="f5777" y="f6260"/>
              </a:cxn>
              <a:cxn ang="f4299">
                <a:pos x="f5776" y="f6261"/>
              </a:cxn>
              <a:cxn ang="f4299">
                <a:pos x="f5775" y="f6261"/>
              </a:cxn>
              <a:cxn ang="f4299">
                <a:pos x="f5778" y="f6260"/>
              </a:cxn>
              <a:cxn ang="f4299">
                <a:pos x="f5778" y="f6259"/>
              </a:cxn>
              <a:cxn ang="f4299">
                <a:pos x="f5779" y="f6258"/>
              </a:cxn>
              <a:cxn ang="f4299">
                <a:pos x="f5780" y="f6258"/>
              </a:cxn>
              <a:cxn ang="f4299">
                <a:pos x="f5781" y="f6259"/>
              </a:cxn>
              <a:cxn ang="f4299">
                <a:pos x="f5781" y="f6260"/>
              </a:cxn>
              <a:cxn ang="f4299">
                <a:pos x="f5780" y="f6261"/>
              </a:cxn>
              <a:cxn ang="f4299">
                <a:pos x="f5779" y="f6261"/>
              </a:cxn>
              <a:cxn ang="f4299">
                <a:pos x="f5782" y="f6260"/>
              </a:cxn>
              <a:cxn ang="f4299">
                <a:pos x="f5782" y="f6259"/>
              </a:cxn>
              <a:cxn ang="f4299">
                <a:pos x="f5783" y="f6258"/>
              </a:cxn>
              <a:cxn ang="f4299">
                <a:pos x="f5784" y="f6258"/>
              </a:cxn>
              <a:cxn ang="f4299">
                <a:pos x="f5785" y="f6259"/>
              </a:cxn>
              <a:cxn ang="f4299">
                <a:pos x="f5785" y="f6260"/>
              </a:cxn>
              <a:cxn ang="f4299">
                <a:pos x="f5784" y="f6261"/>
              </a:cxn>
              <a:cxn ang="f4299">
                <a:pos x="f5783" y="f6261"/>
              </a:cxn>
              <a:cxn ang="f4299">
                <a:pos x="f5786" y="f6260"/>
              </a:cxn>
              <a:cxn ang="f4299">
                <a:pos x="f5786" y="f6259"/>
              </a:cxn>
              <a:cxn ang="f4299">
                <a:pos x="f5787" y="f6258"/>
              </a:cxn>
              <a:cxn ang="f4299">
                <a:pos x="f5788" y="f6258"/>
              </a:cxn>
              <a:cxn ang="f4299">
                <a:pos x="f5789" y="f6259"/>
              </a:cxn>
              <a:cxn ang="f4299">
                <a:pos x="f5789" y="f6260"/>
              </a:cxn>
              <a:cxn ang="f4299">
                <a:pos x="f5788" y="f6261"/>
              </a:cxn>
              <a:cxn ang="f4299">
                <a:pos x="f5787" y="f6261"/>
              </a:cxn>
              <a:cxn ang="f4299">
                <a:pos x="f5790" y="f6260"/>
              </a:cxn>
              <a:cxn ang="f4299">
                <a:pos x="f5790" y="f6259"/>
              </a:cxn>
              <a:cxn ang="f4299">
                <a:pos x="f5791" y="f6258"/>
              </a:cxn>
              <a:cxn ang="f4299">
                <a:pos x="f5792" y="f6258"/>
              </a:cxn>
              <a:cxn ang="f4299">
                <a:pos x="f5793" y="f6259"/>
              </a:cxn>
              <a:cxn ang="f4299">
                <a:pos x="f5793" y="f6260"/>
              </a:cxn>
              <a:cxn ang="f4299">
                <a:pos x="f5792" y="f6261"/>
              </a:cxn>
              <a:cxn ang="f4299">
                <a:pos x="f5791" y="f6261"/>
              </a:cxn>
              <a:cxn ang="f4299">
                <a:pos x="f5794" y="f6260"/>
              </a:cxn>
              <a:cxn ang="f4299">
                <a:pos x="f5794" y="f6259"/>
              </a:cxn>
              <a:cxn ang="f4299">
                <a:pos x="f5795" y="f6258"/>
              </a:cxn>
              <a:cxn ang="f4299">
                <a:pos x="f5796" y="f6258"/>
              </a:cxn>
              <a:cxn ang="f4299">
                <a:pos x="f5797" y="f6259"/>
              </a:cxn>
              <a:cxn ang="f4299">
                <a:pos x="f5797" y="f6260"/>
              </a:cxn>
              <a:cxn ang="f4299">
                <a:pos x="f5796" y="f6261"/>
              </a:cxn>
              <a:cxn ang="f4299">
                <a:pos x="f5795" y="f6261"/>
              </a:cxn>
              <a:cxn ang="f4299">
                <a:pos x="f5798" y="f6260"/>
              </a:cxn>
              <a:cxn ang="f4299">
                <a:pos x="f5798" y="f6259"/>
              </a:cxn>
              <a:cxn ang="f4299">
                <a:pos x="f5799" y="f6258"/>
              </a:cxn>
              <a:cxn ang="f4299">
                <a:pos x="f5800" y="f6258"/>
              </a:cxn>
              <a:cxn ang="f4299">
                <a:pos x="f5801" y="f6259"/>
              </a:cxn>
              <a:cxn ang="f4299">
                <a:pos x="f5801" y="f6260"/>
              </a:cxn>
              <a:cxn ang="f4299">
                <a:pos x="f5800" y="f6261"/>
              </a:cxn>
              <a:cxn ang="f4299">
                <a:pos x="f5799" y="f6261"/>
              </a:cxn>
              <a:cxn ang="f4299">
                <a:pos x="f5802" y="f6260"/>
              </a:cxn>
              <a:cxn ang="f4299">
                <a:pos x="f5802" y="f6259"/>
              </a:cxn>
              <a:cxn ang="f4299">
                <a:pos x="f5803" y="f6258"/>
              </a:cxn>
              <a:cxn ang="f4299">
                <a:pos x="f5804" y="f6258"/>
              </a:cxn>
              <a:cxn ang="f4299">
                <a:pos x="f5805" y="f6259"/>
              </a:cxn>
              <a:cxn ang="f4299">
                <a:pos x="f5805" y="f6260"/>
              </a:cxn>
              <a:cxn ang="f4299">
                <a:pos x="f5804" y="f6261"/>
              </a:cxn>
              <a:cxn ang="f4299">
                <a:pos x="f5803" y="f6261"/>
              </a:cxn>
              <a:cxn ang="f4299">
                <a:pos x="f5806" y="f6260"/>
              </a:cxn>
              <a:cxn ang="f4299">
                <a:pos x="f5806" y="f6259"/>
              </a:cxn>
              <a:cxn ang="f4299">
                <a:pos x="f5807" y="f6258"/>
              </a:cxn>
              <a:cxn ang="f4299">
                <a:pos x="f5808" y="f6258"/>
              </a:cxn>
              <a:cxn ang="f4299">
                <a:pos x="f5809" y="f6259"/>
              </a:cxn>
              <a:cxn ang="f4299">
                <a:pos x="f5809" y="f6260"/>
              </a:cxn>
              <a:cxn ang="f4299">
                <a:pos x="f5808" y="f6261"/>
              </a:cxn>
              <a:cxn ang="f4299">
                <a:pos x="f5807" y="f6261"/>
              </a:cxn>
              <a:cxn ang="f4299">
                <a:pos x="f5810" y="f6260"/>
              </a:cxn>
              <a:cxn ang="f4299">
                <a:pos x="f5810" y="f6259"/>
              </a:cxn>
              <a:cxn ang="f4299">
                <a:pos x="f5811" y="f6258"/>
              </a:cxn>
              <a:cxn ang="f4299">
                <a:pos x="f5812" y="f6258"/>
              </a:cxn>
              <a:cxn ang="f4299">
                <a:pos x="f5813" y="f6259"/>
              </a:cxn>
              <a:cxn ang="f4299">
                <a:pos x="f5813" y="f6260"/>
              </a:cxn>
              <a:cxn ang="f4299">
                <a:pos x="f5812" y="f6261"/>
              </a:cxn>
              <a:cxn ang="f4299">
                <a:pos x="f5811" y="f6261"/>
              </a:cxn>
              <a:cxn ang="f4299">
                <a:pos x="f5814" y="f6260"/>
              </a:cxn>
              <a:cxn ang="f4299">
                <a:pos x="f5814" y="f6259"/>
              </a:cxn>
              <a:cxn ang="f4299">
                <a:pos x="f5815" y="f6258"/>
              </a:cxn>
              <a:cxn ang="f4299">
                <a:pos x="f5816" y="f6258"/>
              </a:cxn>
              <a:cxn ang="f4299">
                <a:pos x="f5817" y="f6259"/>
              </a:cxn>
              <a:cxn ang="f4299">
                <a:pos x="f5817" y="f6260"/>
              </a:cxn>
              <a:cxn ang="f4299">
                <a:pos x="f5816" y="f6261"/>
              </a:cxn>
              <a:cxn ang="f4299">
                <a:pos x="f5815" y="f6261"/>
              </a:cxn>
              <a:cxn ang="f4299">
                <a:pos x="f5818" y="f6260"/>
              </a:cxn>
              <a:cxn ang="f4299">
                <a:pos x="f5818" y="f6259"/>
              </a:cxn>
              <a:cxn ang="f4299">
                <a:pos x="f5819" y="f6258"/>
              </a:cxn>
              <a:cxn ang="f4299">
                <a:pos x="f5820" y="f6258"/>
              </a:cxn>
              <a:cxn ang="f4299">
                <a:pos x="f5821" y="f6259"/>
              </a:cxn>
              <a:cxn ang="f4299">
                <a:pos x="f5821" y="f6260"/>
              </a:cxn>
              <a:cxn ang="f4299">
                <a:pos x="f5820" y="f6261"/>
              </a:cxn>
              <a:cxn ang="f4299">
                <a:pos x="f5819" y="f6261"/>
              </a:cxn>
              <a:cxn ang="f4299">
                <a:pos x="f5822" y="f6260"/>
              </a:cxn>
              <a:cxn ang="f4299">
                <a:pos x="f5822" y="f6259"/>
              </a:cxn>
              <a:cxn ang="f4299">
                <a:pos x="f5823" y="f6258"/>
              </a:cxn>
              <a:cxn ang="f4299">
                <a:pos x="f5824" y="f6258"/>
              </a:cxn>
              <a:cxn ang="f4299">
                <a:pos x="f5825" y="f6259"/>
              </a:cxn>
              <a:cxn ang="f4299">
                <a:pos x="f5825" y="f6260"/>
              </a:cxn>
              <a:cxn ang="f4299">
                <a:pos x="f5824" y="f6261"/>
              </a:cxn>
              <a:cxn ang="f4299">
                <a:pos x="f5823" y="f6261"/>
              </a:cxn>
              <a:cxn ang="f4299">
                <a:pos x="f5826" y="f6260"/>
              </a:cxn>
              <a:cxn ang="f4299">
                <a:pos x="f5826" y="f6259"/>
              </a:cxn>
              <a:cxn ang="f4299">
                <a:pos x="f5827" y="f6258"/>
              </a:cxn>
              <a:cxn ang="f4299">
                <a:pos x="f5828" y="f6258"/>
              </a:cxn>
              <a:cxn ang="f4299">
                <a:pos x="f5829" y="f6259"/>
              </a:cxn>
              <a:cxn ang="f4299">
                <a:pos x="f5829" y="f6260"/>
              </a:cxn>
              <a:cxn ang="f4299">
                <a:pos x="f5828" y="f6261"/>
              </a:cxn>
              <a:cxn ang="f4299">
                <a:pos x="f5827" y="f6261"/>
              </a:cxn>
              <a:cxn ang="f4299">
                <a:pos x="f5830" y="f6260"/>
              </a:cxn>
              <a:cxn ang="f4299">
                <a:pos x="f5830" y="f6259"/>
              </a:cxn>
              <a:cxn ang="f4299">
                <a:pos x="f5831" y="f6258"/>
              </a:cxn>
              <a:cxn ang="f4299">
                <a:pos x="f5832" y="f6258"/>
              </a:cxn>
              <a:cxn ang="f4299">
                <a:pos x="f5833" y="f6259"/>
              </a:cxn>
              <a:cxn ang="f4299">
                <a:pos x="f5833" y="f6260"/>
              </a:cxn>
              <a:cxn ang="f4299">
                <a:pos x="f5832" y="f6261"/>
              </a:cxn>
              <a:cxn ang="f4299">
                <a:pos x="f5831" y="f6261"/>
              </a:cxn>
              <a:cxn ang="f4299">
                <a:pos x="f5834" y="f6260"/>
              </a:cxn>
              <a:cxn ang="f4299">
                <a:pos x="f5834" y="f6259"/>
              </a:cxn>
              <a:cxn ang="f4299">
                <a:pos x="f5835" y="f6258"/>
              </a:cxn>
              <a:cxn ang="f4299">
                <a:pos x="f5836" y="f6258"/>
              </a:cxn>
              <a:cxn ang="f4299">
                <a:pos x="f5837" y="f6259"/>
              </a:cxn>
              <a:cxn ang="f4299">
                <a:pos x="f5837" y="f6260"/>
              </a:cxn>
              <a:cxn ang="f4299">
                <a:pos x="f5836" y="f6261"/>
              </a:cxn>
              <a:cxn ang="f4299">
                <a:pos x="f5835" y="f6261"/>
              </a:cxn>
              <a:cxn ang="f4299">
                <a:pos x="f5838" y="f6260"/>
              </a:cxn>
              <a:cxn ang="f4299">
                <a:pos x="f5838" y="f6259"/>
              </a:cxn>
              <a:cxn ang="f4299">
                <a:pos x="f5839" y="f6258"/>
              </a:cxn>
              <a:cxn ang="f4299">
                <a:pos x="f5840" y="f6258"/>
              </a:cxn>
              <a:cxn ang="f4299">
                <a:pos x="f5841" y="f6259"/>
              </a:cxn>
              <a:cxn ang="f4299">
                <a:pos x="f5841" y="f6260"/>
              </a:cxn>
              <a:cxn ang="f4299">
                <a:pos x="f5840" y="f6261"/>
              </a:cxn>
              <a:cxn ang="f4299">
                <a:pos x="f5839" y="f6261"/>
              </a:cxn>
              <a:cxn ang="f4299">
                <a:pos x="f5842" y="f6260"/>
              </a:cxn>
              <a:cxn ang="f4299">
                <a:pos x="f5842" y="f6259"/>
              </a:cxn>
              <a:cxn ang="f4299">
                <a:pos x="f5843" y="f6258"/>
              </a:cxn>
              <a:cxn ang="f4299">
                <a:pos x="f5844" y="f6258"/>
              </a:cxn>
              <a:cxn ang="f4299">
                <a:pos x="f5845" y="f6259"/>
              </a:cxn>
              <a:cxn ang="f4299">
                <a:pos x="f5845" y="f6260"/>
              </a:cxn>
              <a:cxn ang="f4299">
                <a:pos x="f5844" y="f6261"/>
              </a:cxn>
              <a:cxn ang="f4299">
                <a:pos x="f5843" y="f6261"/>
              </a:cxn>
              <a:cxn ang="f4299">
                <a:pos x="f5846" y="f6260"/>
              </a:cxn>
              <a:cxn ang="f4299">
                <a:pos x="f5846" y="f6259"/>
              </a:cxn>
              <a:cxn ang="f4299">
                <a:pos x="f5847" y="f6258"/>
              </a:cxn>
              <a:cxn ang="f4299">
                <a:pos x="f5848" y="f6258"/>
              </a:cxn>
              <a:cxn ang="f4299">
                <a:pos x="f5849" y="f6259"/>
              </a:cxn>
              <a:cxn ang="f4299">
                <a:pos x="f5849" y="f6260"/>
              </a:cxn>
              <a:cxn ang="f4299">
                <a:pos x="f5848" y="f6261"/>
              </a:cxn>
              <a:cxn ang="f4299">
                <a:pos x="f5847" y="f6261"/>
              </a:cxn>
              <a:cxn ang="f4299">
                <a:pos x="f5850" y="f6260"/>
              </a:cxn>
              <a:cxn ang="f4299">
                <a:pos x="f5850" y="f6259"/>
              </a:cxn>
              <a:cxn ang="f4299">
                <a:pos x="f5851" y="f6258"/>
              </a:cxn>
              <a:cxn ang="f4299">
                <a:pos x="f5852" y="f6258"/>
              </a:cxn>
              <a:cxn ang="f4299">
                <a:pos x="f5853" y="f6259"/>
              </a:cxn>
              <a:cxn ang="f4299">
                <a:pos x="f5853" y="f6260"/>
              </a:cxn>
              <a:cxn ang="f4299">
                <a:pos x="f5852" y="f6261"/>
              </a:cxn>
              <a:cxn ang="f4299">
                <a:pos x="f5851" y="f6261"/>
              </a:cxn>
              <a:cxn ang="f4299">
                <a:pos x="f5854" y="f6260"/>
              </a:cxn>
              <a:cxn ang="f4299">
                <a:pos x="f5854" y="f6259"/>
              </a:cxn>
              <a:cxn ang="f4299">
                <a:pos x="f5855" y="f6258"/>
              </a:cxn>
              <a:cxn ang="f4299">
                <a:pos x="f5856" y="f6258"/>
              </a:cxn>
              <a:cxn ang="f4299">
                <a:pos x="f5857" y="f6259"/>
              </a:cxn>
              <a:cxn ang="f4299">
                <a:pos x="f5857" y="f6260"/>
              </a:cxn>
              <a:cxn ang="f4299">
                <a:pos x="f5856" y="f6261"/>
              </a:cxn>
              <a:cxn ang="f4299">
                <a:pos x="f5855" y="f6261"/>
              </a:cxn>
              <a:cxn ang="f4299">
                <a:pos x="f5858" y="f6260"/>
              </a:cxn>
              <a:cxn ang="f4299">
                <a:pos x="f5858" y="f6259"/>
              </a:cxn>
              <a:cxn ang="f4299">
                <a:pos x="f5859" y="f6258"/>
              </a:cxn>
              <a:cxn ang="f4299">
                <a:pos x="f5860" y="f6258"/>
              </a:cxn>
              <a:cxn ang="f4299">
                <a:pos x="f5861" y="f6259"/>
              </a:cxn>
              <a:cxn ang="f4299">
                <a:pos x="f5861" y="f6260"/>
              </a:cxn>
              <a:cxn ang="f4299">
                <a:pos x="f5860" y="f6261"/>
              </a:cxn>
              <a:cxn ang="f4299">
                <a:pos x="f5859" y="f6261"/>
              </a:cxn>
              <a:cxn ang="f4299">
                <a:pos x="f5862" y="f6260"/>
              </a:cxn>
              <a:cxn ang="f4299">
                <a:pos x="f5862" y="f6259"/>
              </a:cxn>
              <a:cxn ang="f4299">
                <a:pos x="f5863" y="f6258"/>
              </a:cxn>
              <a:cxn ang="f4299">
                <a:pos x="f5864" y="f6258"/>
              </a:cxn>
              <a:cxn ang="f4299">
                <a:pos x="f5865" y="f6259"/>
              </a:cxn>
              <a:cxn ang="f4299">
                <a:pos x="f5865" y="f6260"/>
              </a:cxn>
              <a:cxn ang="f4299">
                <a:pos x="f5864" y="f6261"/>
              </a:cxn>
              <a:cxn ang="f4299">
                <a:pos x="f5863" y="f6261"/>
              </a:cxn>
              <a:cxn ang="f4299">
                <a:pos x="f5866" y="f6260"/>
              </a:cxn>
              <a:cxn ang="f4299">
                <a:pos x="f5866" y="f6259"/>
              </a:cxn>
              <a:cxn ang="f4299">
                <a:pos x="f5867" y="f6258"/>
              </a:cxn>
              <a:cxn ang="f4299">
                <a:pos x="f5868" y="f6258"/>
              </a:cxn>
              <a:cxn ang="f4299">
                <a:pos x="f5869" y="f6259"/>
              </a:cxn>
              <a:cxn ang="f4299">
                <a:pos x="f5869" y="f6260"/>
              </a:cxn>
              <a:cxn ang="f4299">
                <a:pos x="f5868" y="f6261"/>
              </a:cxn>
              <a:cxn ang="f4299">
                <a:pos x="f5867" y="f6261"/>
              </a:cxn>
              <a:cxn ang="f4299">
                <a:pos x="f5870" y="f6260"/>
              </a:cxn>
              <a:cxn ang="f4299">
                <a:pos x="f5870" y="f6259"/>
              </a:cxn>
              <a:cxn ang="f4299">
                <a:pos x="f5871" y="f6258"/>
              </a:cxn>
              <a:cxn ang="f4299">
                <a:pos x="f5872" y="f6258"/>
              </a:cxn>
              <a:cxn ang="f4299">
                <a:pos x="f5873" y="f6259"/>
              </a:cxn>
              <a:cxn ang="f4299">
                <a:pos x="f5873" y="f6260"/>
              </a:cxn>
              <a:cxn ang="f4299">
                <a:pos x="f5872" y="f6261"/>
              </a:cxn>
              <a:cxn ang="f4299">
                <a:pos x="f5871" y="f6261"/>
              </a:cxn>
              <a:cxn ang="f4299">
                <a:pos x="f5874" y="f6260"/>
              </a:cxn>
              <a:cxn ang="f4299">
                <a:pos x="f5874" y="f6259"/>
              </a:cxn>
              <a:cxn ang="f4299">
                <a:pos x="f5875" y="f6258"/>
              </a:cxn>
              <a:cxn ang="f4299">
                <a:pos x="f5876" y="f6258"/>
              </a:cxn>
              <a:cxn ang="f4299">
                <a:pos x="f5877" y="f6259"/>
              </a:cxn>
              <a:cxn ang="f4299">
                <a:pos x="f5877" y="f6260"/>
              </a:cxn>
              <a:cxn ang="f4299">
                <a:pos x="f5876" y="f6261"/>
              </a:cxn>
              <a:cxn ang="f4299">
                <a:pos x="f5875" y="f6261"/>
              </a:cxn>
              <a:cxn ang="f4299">
                <a:pos x="f5878" y="f6260"/>
              </a:cxn>
              <a:cxn ang="f4299">
                <a:pos x="f5878" y="f6259"/>
              </a:cxn>
              <a:cxn ang="f4299">
                <a:pos x="f5879" y="f6258"/>
              </a:cxn>
              <a:cxn ang="f4299">
                <a:pos x="f5880" y="f6258"/>
              </a:cxn>
              <a:cxn ang="f4299">
                <a:pos x="f5881" y="f6259"/>
              </a:cxn>
              <a:cxn ang="f4299">
                <a:pos x="f5881" y="f6260"/>
              </a:cxn>
              <a:cxn ang="f4299">
                <a:pos x="f5880" y="f6261"/>
              </a:cxn>
              <a:cxn ang="f4299">
                <a:pos x="f5879" y="f6261"/>
              </a:cxn>
              <a:cxn ang="f4299">
                <a:pos x="f5882" y="f6260"/>
              </a:cxn>
              <a:cxn ang="f4299">
                <a:pos x="f5882" y="f6259"/>
              </a:cxn>
              <a:cxn ang="f4299">
                <a:pos x="f5883" y="f6258"/>
              </a:cxn>
              <a:cxn ang="f4299">
                <a:pos x="f5884" y="f6258"/>
              </a:cxn>
              <a:cxn ang="f4299">
                <a:pos x="f5885" y="f6259"/>
              </a:cxn>
              <a:cxn ang="f4299">
                <a:pos x="f5885" y="f6260"/>
              </a:cxn>
              <a:cxn ang="f4299">
                <a:pos x="f5884" y="f6261"/>
              </a:cxn>
              <a:cxn ang="f4299">
                <a:pos x="f5883" y="f6261"/>
              </a:cxn>
              <a:cxn ang="f4299">
                <a:pos x="f5886" y="f6260"/>
              </a:cxn>
              <a:cxn ang="f4299">
                <a:pos x="f5886" y="f6259"/>
              </a:cxn>
              <a:cxn ang="f4299">
                <a:pos x="f5887" y="f6258"/>
              </a:cxn>
              <a:cxn ang="f4299">
                <a:pos x="f5888" y="f6258"/>
              </a:cxn>
              <a:cxn ang="f4299">
                <a:pos x="f5889" y="f6259"/>
              </a:cxn>
              <a:cxn ang="f4299">
                <a:pos x="f5889" y="f6260"/>
              </a:cxn>
              <a:cxn ang="f4299">
                <a:pos x="f5888" y="f6261"/>
              </a:cxn>
              <a:cxn ang="f4299">
                <a:pos x="f5887" y="f6261"/>
              </a:cxn>
              <a:cxn ang="f4299">
                <a:pos x="f5890" y="f6260"/>
              </a:cxn>
              <a:cxn ang="f4299">
                <a:pos x="f5890" y="f6259"/>
              </a:cxn>
              <a:cxn ang="f4299">
                <a:pos x="f5891" y="f6258"/>
              </a:cxn>
              <a:cxn ang="f4299">
                <a:pos x="f5892" y="f6258"/>
              </a:cxn>
              <a:cxn ang="f4299">
                <a:pos x="f5893" y="f6259"/>
              </a:cxn>
              <a:cxn ang="f4299">
                <a:pos x="f5893" y="f6260"/>
              </a:cxn>
              <a:cxn ang="f4299">
                <a:pos x="f5892" y="f6261"/>
              </a:cxn>
              <a:cxn ang="f4299">
                <a:pos x="f5891" y="f6261"/>
              </a:cxn>
              <a:cxn ang="f4299">
                <a:pos x="f5894" y="f6260"/>
              </a:cxn>
              <a:cxn ang="f4299">
                <a:pos x="f5894" y="f6259"/>
              </a:cxn>
              <a:cxn ang="f4299">
                <a:pos x="f6198" y="f6258"/>
              </a:cxn>
              <a:cxn ang="f4299">
                <a:pos x="f6200" y="f6258"/>
              </a:cxn>
              <a:cxn ang="f4299">
                <a:pos x="f6144" y="f6259"/>
              </a:cxn>
              <a:cxn ang="f4299">
                <a:pos x="f6144" y="f6260"/>
              </a:cxn>
              <a:cxn ang="f4299">
                <a:pos x="f6200" y="f6261"/>
              </a:cxn>
              <a:cxn ang="f4299">
                <a:pos x="f6198" y="f6261"/>
              </a:cxn>
              <a:cxn ang="f4299">
                <a:pos x="f6262" y="f6260"/>
              </a:cxn>
              <a:cxn ang="f4299">
                <a:pos x="f6262" y="f6259"/>
              </a:cxn>
              <a:cxn ang="f4299">
                <a:pos x="f6148" y="f6258"/>
              </a:cxn>
              <a:cxn ang="f4299">
                <a:pos x="f6263" y="f6258"/>
              </a:cxn>
              <a:cxn ang="f4299">
                <a:pos x="f6234" y="f6259"/>
              </a:cxn>
              <a:cxn ang="f4299">
                <a:pos x="f6234" y="f6260"/>
              </a:cxn>
              <a:cxn ang="f4299">
                <a:pos x="f6263" y="f6261"/>
              </a:cxn>
              <a:cxn ang="f4299">
                <a:pos x="f6148" y="f6261"/>
              </a:cxn>
              <a:cxn ang="f4299">
                <a:pos x="f6204" y="f6260"/>
              </a:cxn>
              <a:cxn ang="f4299">
                <a:pos x="f6204" y="f6259"/>
              </a:cxn>
              <a:cxn ang="f4299">
                <a:pos x="f6264" y="f6258"/>
              </a:cxn>
              <a:cxn ang="f4299">
                <a:pos x="f6265" y="f6258"/>
              </a:cxn>
              <a:cxn ang="f4299">
                <a:pos x="f6235" y="f6259"/>
              </a:cxn>
              <a:cxn ang="f4299">
                <a:pos x="f6235" y="f6260"/>
              </a:cxn>
              <a:cxn ang="f4299">
                <a:pos x="f6265" y="f6261"/>
              </a:cxn>
              <a:cxn ang="f4299">
                <a:pos x="f6264" y="f6261"/>
              </a:cxn>
              <a:cxn ang="f4299">
                <a:pos x="f6266" y="f6260"/>
              </a:cxn>
              <a:cxn ang="f4299">
                <a:pos x="f6266" y="f6259"/>
              </a:cxn>
              <a:cxn ang="f4299">
                <a:pos x="f6267" y="f6258"/>
              </a:cxn>
              <a:cxn ang="f4299">
                <a:pos x="f6237" y="f6258"/>
              </a:cxn>
              <a:cxn ang="f4299">
                <a:pos x="f6268" y="f6259"/>
              </a:cxn>
              <a:cxn ang="f4299">
                <a:pos x="f6268" y="f6260"/>
              </a:cxn>
              <a:cxn ang="f4299">
                <a:pos x="f6237" y="f6261"/>
              </a:cxn>
              <a:cxn ang="f4299">
                <a:pos x="f6267" y="f6261"/>
              </a:cxn>
              <a:cxn ang="f4299">
                <a:pos x="f6269" y="f6260"/>
              </a:cxn>
              <a:cxn ang="f4299">
                <a:pos x="f6269" y="f6259"/>
              </a:cxn>
              <a:cxn ang="f4299">
                <a:pos x="f6270" y="f6258"/>
              </a:cxn>
              <a:cxn ang="f4299">
                <a:pos x="f6239" y="f6258"/>
              </a:cxn>
              <a:cxn ang="f4299">
                <a:pos x="f6271" y="f6259"/>
              </a:cxn>
              <a:cxn ang="f4299">
                <a:pos x="f6271" y="f6260"/>
              </a:cxn>
              <a:cxn ang="f4299">
                <a:pos x="f6239" y="f6261"/>
              </a:cxn>
              <a:cxn ang="f4299">
                <a:pos x="f6270" y="f6261"/>
              </a:cxn>
              <a:cxn ang="f4299">
                <a:pos x="f6240" y="f6260"/>
              </a:cxn>
              <a:cxn ang="f4299">
                <a:pos x="f6240" y="f6259"/>
              </a:cxn>
              <a:cxn ang="f4299">
                <a:pos x="f6241" y="f6258"/>
              </a:cxn>
              <a:cxn ang="f4299">
                <a:pos x="f6272" y="f6258"/>
              </a:cxn>
              <a:cxn ang="f4299">
                <a:pos x="f6273" y="f6259"/>
              </a:cxn>
              <a:cxn ang="f4299">
                <a:pos x="f6273" y="f6260"/>
              </a:cxn>
              <a:cxn ang="f4299">
                <a:pos x="f6272" y="f6261"/>
              </a:cxn>
              <a:cxn ang="f4299">
                <a:pos x="f6241" y="f6261"/>
              </a:cxn>
              <a:cxn ang="f4299">
                <a:pos x="f6243" y="f6260"/>
              </a:cxn>
              <a:cxn ang="f4299">
                <a:pos x="f6243" y="f6259"/>
              </a:cxn>
              <a:cxn ang="f4299">
                <a:pos x="f6274" y="f6258"/>
              </a:cxn>
              <a:cxn ang="f4299">
                <a:pos x="f6248" y="f6258"/>
              </a:cxn>
              <a:cxn ang="f4299">
                <a:pos x="f6249" y="f6259"/>
              </a:cxn>
              <a:cxn ang="f4299">
                <a:pos x="f6249" y="f6260"/>
              </a:cxn>
              <a:cxn ang="f4299">
                <a:pos x="f6248" y="f6261"/>
              </a:cxn>
              <a:cxn ang="f4299">
                <a:pos x="f6274" y="f6261"/>
              </a:cxn>
              <a:cxn ang="f4299">
                <a:pos x="f6275" y="f6260"/>
              </a:cxn>
              <a:cxn ang="f4299">
                <a:pos x="f6275" y="f6259"/>
              </a:cxn>
              <a:cxn ang="f4299">
                <a:pos x="f6276" y="f6258"/>
              </a:cxn>
              <a:cxn ang="f4299">
                <a:pos x="f6251" y="f6258"/>
              </a:cxn>
              <a:cxn ang="f4299">
                <a:pos x="f6252" y="f6259"/>
              </a:cxn>
              <a:cxn ang="f4299">
                <a:pos x="f6252" y="f6260"/>
              </a:cxn>
              <a:cxn ang="f4299">
                <a:pos x="f6251" y="f6261"/>
              </a:cxn>
              <a:cxn ang="f4299">
                <a:pos x="f6276" y="f6261"/>
              </a:cxn>
              <a:cxn ang="f4299">
                <a:pos x="f6277" y="f6260"/>
              </a:cxn>
              <a:cxn ang="f4299">
                <a:pos x="f6277" y="f6259"/>
              </a:cxn>
              <a:cxn ang="f4299">
                <a:pos x="f6253" y="f6258"/>
              </a:cxn>
              <a:cxn ang="f4299">
                <a:pos x="f6278" y="f6258"/>
              </a:cxn>
              <a:cxn ang="f4299">
                <a:pos x="f6279" y="f6259"/>
              </a:cxn>
              <a:cxn ang="f4299">
                <a:pos x="f6279" y="f6260"/>
              </a:cxn>
              <a:cxn ang="f4299">
                <a:pos x="f6278" y="f6261"/>
              </a:cxn>
              <a:cxn ang="f4299">
                <a:pos x="f6253" y="f6261"/>
              </a:cxn>
              <a:cxn ang="f4299">
                <a:pos x="f6280" y="f6260"/>
              </a:cxn>
              <a:cxn ang="f4299">
                <a:pos x="f6280" y="f6259"/>
              </a:cxn>
              <a:cxn ang="f4299">
                <a:pos x="f6281" y="f6258"/>
              </a:cxn>
              <a:cxn ang="f4299">
                <a:pos x="f6256" y="f6258"/>
              </a:cxn>
              <a:cxn ang="f4299">
                <a:pos x="f6257" y="f6259"/>
              </a:cxn>
              <a:cxn ang="f4299">
                <a:pos x="f6257" y="f6260"/>
              </a:cxn>
              <a:cxn ang="f4299">
                <a:pos x="f6256" y="f6261"/>
              </a:cxn>
              <a:cxn ang="f4299">
                <a:pos x="f6281" y="f6261"/>
              </a:cxn>
              <a:cxn ang="f4299">
                <a:pos x="f6282" y="f6260"/>
              </a:cxn>
              <a:cxn ang="f4299">
                <a:pos x="f6282" y="f6259"/>
              </a:cxn>
              <a:cxn ang="f4299">
                <a:pos x="f6198" y="f6283"/>
              </a:cxn>
              <a:cxn ang="f4299">
                <a:pos x="f6200" y="f6283"/>
              </a:cxn>
              <a:cxn ang="f4299">
                <a:pos x="f6284" y="f6285"/>
              </a:cxn>
              <a:cxn ang="f4299">
                <a:pos x="f6284" y="f6286"/>
              </a:cxn>
              <a:cxn ang="f4299">
                <a:pos x="f6200" y="f6287"/>
              </a:cxn>
              <a:cxn ang="f4299">
                <a:pos x="f6198" y="f6287"/>
              </a:cxn>
              <a:cxn ang="f4299">
                <a:pos x="f6262" y="f6286"/>
              </a:cxn>
              <a:cxn ang="f4299">
                <a:pos x="f6262" y="f6285"/>
              </a:cxn>
              <a:cxn ang="f4299">
                <a:pos x="f6288" y="f6283"/>
              </a:cxn>
              <a:cxn ang="f4299">
                <a:pos x="f6263" y="f6283"/>
              </a:cxn>
              <a:cxn ang="f4299">
                <a:pos x="f6234" y="f6285"/>
              </a:cxn>
              <a:cxn ang="f4299">
                <a:pos x="f6234" y="f6286"/>
              </a:cxn>
              <a:cxn ang="f4299">
                <a:pos x="f6263" y="f6287"/>
              </a:cxn>
              <a:cxn ang="f4299">
                <a:pos x="f6288" y="f6287"/>
              </a:cxn>
              <a:cxn ang="f4299">
                <a:pos x="f6204" y="f6286"/>
              </a:cxn>
              <a:cxn ang="f4299">
                <a:pos x="f6204" y="f6285"/>
              </a:cxn>
              <a:cxn ang="f4299">
                <a:pos x="f6289" y="f6283"/>
              </a:cxn>
              <a:cxn ang="f4299">
                <a:pos x="f6290" y="f6283"/>
              </a:cxn>
              <a:cxn ang="f4299">
                <a:pos x="f6291" y="f6285"/>
              </a:cxn>
              <a:cxn ang="f4299">
                <a:pos x="f6291" y="f6286"/>
              </a:cxn>
              <a:cxn ang="f4299">
                <a:pos x="f6290" y="f6287"/>
              </a:cxn>
              <a:cxn ang="f4299">
                <a:pos x="f6289" y="f6287"/>
              </a:cxn>
              <a:cxn ang="f4299">
                <a:pos x="f6266" y="f6286"/>
              </a:cxn>
              <a:cxn ang="f4299">
                <a:pos x="f6266" y="f6285"/>
              </a:cxn>
              <a:cxn ang="f4299">
                <a:pos x="f6292" y="f6283"/>
              </a:cxn>
              <a:cxn ang="f4299">
                <a:pos x="f6293" y="f6283"/>
              </a:cxn>
              <a:cxn ang="f4299">
                <a:pos x="f6268" y="f6285"/>
              </a:cxn>
              <a:cxn ang="f4299">
                <a:pos x="f6268" y="f6286"/>
              </a:cxn>
              <a:cxn ang="f4299">
                <a:pos x="f6293" y="f6287"/>
              </a:cxn>
              <a:cxn ang="f4299">
                <a:pos x="f6292" y="f6287"/>
              </a:cxn>
              <a:cxn ang="f4299">
                <a:pos x="f6269" y="f6286"/>
              </a:cxn>
              <a:cxn ang="f4299">
                <a:pos x="f6269" y="f6285"/>
              </a:cxn>
              <a:cxn ang="f4299">
                <a:pos x="f6270" y="f6283"/>
              </a:cxn>
              <a:cxn ang="f4299">
                <a:pos x="f6294" y="f6283"/>
              </a:cxn>
              <a:cxn ang="f4299">
                <a:pos x="f6271" y="f6285"/>
              </a:cxn>
              <a:cxn ang="f4299">
                <a:pos x="f6271" y="f6286"/>
              </a:cxn>
              <a:cxn ang="f4299">
                <a:pos x="f6294" y="f6287"/>
              </a:cxn>
              <a:cxn ang="f4299">
                <a:pos x="f6270" y="f6287"/>
              </a:cxn>
              <a:cxn ang="f4299">
                <a:pos x="f6295" y="f6286"/>
              </a:cxn>
              <a:cxn ang="f4299">
                <a:pos x="f6295" y="f6285"/>
              </a:cxn>
              <a:cxn ang="f4299">
                <a:pos x="f6296" y="f6283"/>
              </a:cxn>
              <a:cxn ang="f4299">
                <a:pos x="f6272" y="f6283"/>
              </a:cxn>
              <a:cxn ang="f4299">
                <a:pos x="f6297" y="f6285"/>
              </a:cxn>
              <a:cxn ang="f4299">
                <a:pos x="f6297" y="f6286"/>
              </a:cxn>
              <a:cxn ang="f4299">
                <a:pos x="f6272" y="f6287"/>
              </a:cxn>
              <a:cxn ang="f4299">
                <a:pos x="f6296" y="f6287"/>
              </a:cxn>
              <a:cxn ang="f4299">
                <a:pos x="f6298" y="f6286"/>
              </a:cxn>
              <a:cxn ang="f4299">
                <a:pos x="f6298" y="f6285"/>
              </a:cxn>
              <a:cxn ang="f4299">
                <a:pos x="f5767" y="f6299"/>
              </a:cxn>
              <a:cxn ang="f4299">
                <a:pos x="f5769" y="f6299"/>
              </a:cxn>
              <a:cxn ang="f4299">
                <a:pos x="f5770" y="f6300"/>
              </a:cxn>
              <a:cxn ang="f4299">
                <a:pos x="f5770" y="f6301"/>
              </a:cxn>
              <a:cxn ang="f4299">
                <a:pos x="f5769" y="f6302"/>
              </a:cxn>
              <a:cxn ang="f4299">
                <a:pos x="f5767" y="f6302"/>
              </a:cxn>
              <a:cxn ang="f4299">
                <a:pos x="f5774" y="f6301"/>
              </a:cxn>
              <a:cxn ang="f4299">
                <a:pos x="f5774" y="f6300"/>
              </a:cxn>
              <a:cxn ang="f4299">
                <a:pos x="f5775" y="f6299"/>
              </a:cxn>
              <a:cxn ang="f4299">
                <a:pos x="f5776" y="f6299"/>
              </a:cxn>
              <a:cxn ang="f4299">
                <a:pos x="f5777" y="f6300"/>
              </a:cxn>
              <a:cxn ang="f4299">
                <a:pos x="f5777" y="f6301"/>
              </a:cxn>
              <a:cxn ang="f4299">
                <a:pos x="f5776" y="f6302"/>
              </a:cxn>
              <a:cxn ang="f4299">
                <a:pos x="f5775" y="f6302"/>
              </a:cxn>
              <a:cxn ang="f4299">
                <a:pos x="f5778" y="f6301"/>
              </a:cxn>
              <a:cxn ang="f4299">
                <a:pos x="f5778" y="f6300"/>
              </a:cxn>
              <a:cxn ang="f4299">
                <a:pos x="f5779" y="f6299"/>
              </a:cxn>
              <a:cxn ang="f4299">
                <a:pos x="f5780" y="f6299"/>
              </a:cxn>
              <a:cxn ang="f4299">
                <a:pos x="f5781" y="f6300"/>
              </a:cxn>
              <a:cxn ang="f4299">
                <a:pos x="f5781" y="f6301"/>
              </a:cxn>
              <a:cxn ang="f4299">
                <a:pos x="f5780" y="f6302"/>
              </a:cxn>
              <a:cxn ang="f4299">
                <a:pos x="f5779" y="f6302"/>
              </a:cxn>
              <a:cxn ang="f4299">
                <a:pos x="f5782" y="f6301"/>
              </a:cxn>
              <a:cxn ang="f4299">
                <a:pos x="f5782" y="f6300"/>
              </a:cxn>
              <a:cxn ang="f4299">
                <a:pos x="f5783" y="f6299"/>
              </a:cxn>
              <a:cxn ang="f4299">
                <a:pos x="f5784" y="f6299"/>
              </a:cxn>
              <a:cxn ang="f4299">
                <a:pos x="f5785" y="f6300"/>
              </a:cxn>
              <a:cxn ang="f4299">
                <a:pos x="f5785" y="f6301"/>
              </a:cxn>
              <a:cxn ang="f4299">
                <a:pos x="f5784" y="f6302"/>
              </a:cxn>
              <a:cxn ang="f4299">
                <a:pos x="f5783" y="f6302"/>
              </a:cxn>
              <a:cxn ang="f4299">
                <a:pos x="f5786" y="f6301"/>
              </a:cxn>
              <a:cxn ang="f4299">
                <a:pos x="f5786" y="f6300"/>
              </a:cxn>
              <a:cxn ang="f4299">
                <a:pos x="f5787" y="f6299"/>
              </a:cxn>
              <a:cxn ang="f4299">
                <a:pos x="f5788" y="f6299"/>
              </a:cxn>
              <a:cxn ang="f4299">
                <a:pos x="f5789" y="f6300"/>
              </a:cxn>
              <a:cxn ang="f4299">
                <a:pos x="f5789" y="f6301"/>
              </a:cxn>
              <a:cxn ang="f4299">
                <a:pos x="f5788" y="f6302"/>
              </a:cxn>
              <a:cxn ang="f4299">
                <a:pos x="f5787" y="f6302"/>
              </a:cxn>
              <a:cxn ang="f4299">
                <a:pos x="f5790" y="f6301"/>
              </a:cxn>
              <a:cxn ang="f4299">
                <a:pos x="f5790" y="f6300"/>
              </a:cxn>
              <a:cxn ang="f4299">
                <a:pos x="f5791" y="f6299"/>
              </a:cxn>
              <a:cxn ang="f4299">
                <a:pos x="f5792" y="f6299"/>
              </a:cxn>
              <a:cxn ang="f4299">
                <a:pos x="f5793" y="f6300"/>
              </a:cxn>
              <a:cxn ang="f4299">
                <a:pos x="f5793" y="f6301"/>
              </a:cxn>
              <a:cxn ang="f4299">
                <a:pos x="f5792" y="f6302"/>
              </a:cxn>
              <a:cxn ang="f4299">
                <a:pos x="f5791" y="f6302"/>
              </a:cxn>
              <a:cxn ang="f4299">
                <a:pos x="f5794" y="f6301"/>
              </a:cxn>
              <a:cxn ang="f4299">
                <a:pos x="f5794" y="f6300"/>
              </a:cxn>
              <a:cxn ang="f4299">
                <a:pos x="f5795" y="f6299"/>
              </a:cxn>
              <a:cxn ang="f4299">
                <a:pos x="f5796" y="f6299"/>
              </a:cxn>
              <a:cxn ang="f4299">
                <a:pos x="f5797" y="f6300"/>
              </a:cxn>
              <a:cxn ang="f4299">
                <a:pos x="f5797" y="f6301"/>
              </a:cxn>
              <a:cxn ang="f4299">
                <a:pos x="f5796" y="f6302"/>
              </a:cxn>
              <a:cxn ang="f4299">
                <a:pos x="f5795" y="f6302"/>
              </a:cxn>
              <a:cxn ang="f4299">
                <a:pos x="f5798" y="f6301"/>
              </a:cxn>
              <a:cxn ang="f4299">
                <a:pos x="f5798" y="f6300"/>
              </a:cxn>
              <a:cxn ang="f4299">
                <a:pos x="f5799" y="f6299"/>
              </a:cxn>
              <a:cxn ang="f4299">
                <a:pos x="f5800" y="f6299"/>
              </a:cxn>
              <a:cxn ang="f4299">
                <a:pos x="f5801" y="f6300"/>
              </a:cxn>
              <a:cxn ang="f4299">
                <a:pos x="f5801" y="f6301"/>
              </a:cxn>
              <a:cxn ang="f4299">
                <a:pos x="f5800" y="f6302"/>
              </a:cxn>
              <a:cxn ang="f4299">
                <a:pos x="f5799" y="f6302"/>
              </a:cxn>
              <a:cxn ang="f4299">
                <a:pos x="f5802" y="f6301"/>
              </a:cxn>
              <a:cxn ang="f4299">
                <a:pos x="f5802" y="f6300"/>
              </a:cxn>
              <a:cxn ang="f4299">
                <a:pos x="f5803" y="f6299"/>
              </a:cxn>
              <a:cxn ang="f4299">
                <a:pos x="f5804" y="f6299"/>
              </a:cxn>
              <a:cxn ang="f4299">
                <a:pos x="f5805" y="f6300"/>
              </a:cxn>
              <a:cxn ang="f4299">
                <a:pos x="f5805" y="f6301"/>
              </a:cxn>
              <a:cxn ang="f4299">
                <a:pos x="f5804" y="f6302"/>
              </a:cxn>
              <a:cxn ang="f4299">
                <a:pos x="f5803" y="f6302"/>
              </a:cxn>
              <a:cxn ang="f4299">
                <a:pos x="f5806" y="f6301"/>
              </a:cxn>
              <a:cxn ang="f4299">
                <a:pos x="f5806" y="f6300"/>
              </a:cxn>
              <a:cxn ang="f4299">
                <a:pos x="f5807" y="f6299"/>
              </a:cxn>
              <a:cxn ang="f4299">
                <a:pos x="f5808" y="f6299"/>
              </a:cxn>
              <a:cxn ang="f4299">
                <a:pos x="f5809" y="f6300"/>
              </a:cxn>
              <a:cxn ang="f4299">
                <a:pos x="f5809" y="f6301"/>
              </a:cxn>
              <a:cxn ang="f4299">
                <a:pos x="f5808" y="f6302"/>
              </a:cxn>
              <a:cxn ang="f4299">
                <a:pos x="f5807" y="f6302"/>
              </a:cxn>
              <a:cxn ang="f4299">
                <a:pos x="f5810" y="f6301"/>
              </a:cxn>
              <a:cxn ang="f4299">
                <a:pos x="f5810" y="f6300"/>
              </a:cxn>
              <a:cxn ang="f4299">
                <a:pos x="f5811" y="f6299"/>
              </a:cxn>
              <a:cxn ang="f4299">
                <a:pos x="f5812" y="f6299"/>
              </a:cxn>
              <a:cxn ang="f4299">
                <a:pos x="f5813" y="f6300"/>
              </a:cxn>
              <a:cxn ang="f4299">
                <a:pos x="f5813" y="f6301"/>
              </a:cxn>
              <a:cxn ang="f4299">
                <a:pos x="f5812" y="f6302"/>
              </a:cxn>
              <a:cxn ang="f4299">
                <a:pos x="f5811" y="f6302"/>
              </a:cxn>
              <a:cxn ang="f4299">
                <a:pos x="f5814" y="f6301"/>
              </a:cxn>
              <a:cxn ang="f4299">
                <a:pos x="f5814" y="f6300"/>
              </a:cxn>
              <a:cxn ang="f4299">
                <a:pos x="f5815" y="f6299"/>
              </a:cxn>
              <a:cxn ang="f4299">
                <a:pos x="f5816" y="f6299"/>
              </a:cxn>
              <a:cxn ang="f4299">
                <a:pos x="f5817" y="f6300"/>
              </a:cxn>
              <a:cxn ang="f4299">
                <a:pos x="f5817" y="f6301"/>
              </a:cxn>
              <a:cxn ang="f4299">
                <a:pos x="f5816" y="f6302"/>
              </a:cxn>
              <a:cxn ang="f4299">
                <a:pos x="f5815" y="f6302"/>
              </a:cxn>
              <a:cxn ang="f4299">
                <a:pos x="f5818" y="f6301"/>
              </a:cxn>
              <a:cxn ang="f4299">
                <a:pos x="f5818" y="f6300"/>
              </a:cxn>
              <a:cxn ang="f4299">
                <a:pos x="f5819" y="f6299"/>
              </a:cxn>
              <a:cxn ang="f4299">
                <a:pos x="f5820" y="f6299"/>
              </a:cxn>
              <a:cxn ang="f4299">
                <a:pos x="f5821" y="f6300"/>
              </a:cxn>
              <a:cxn ang="f4299">
                <a:pos x="f5821" y="f6301"/>
              </a:cxn>
              <a:cxn ang="f4299">
                <a:pos x="f5820" y="f6302"/>
              </a:cxn>
              <a:cxn ang="f4299">
                <a:pos x="f5819" y="f6302"/>
              </a:cxn>
              <a:cxn ang="f4299">
                <a:pos x="f5822" y="f6301"/>
              </a:cxn>
              <a:cxn ang="f4299">
                <a:pos x="f5822" y="f6300"/>
              </a:cxn>
              <a:cxn ang="f4299">
                <a:pos x="f5823" y="f6299"/>
              </a:cxn>
              <a:cxn ang="f4299">
                <a:pos x="f5824" y="f6299"/>
              </a:cxn>
              <a:cxn ang="f4299">
                <a:pos x="f5825" y="f6300"/>
              </a:cxn>
              <a:cxn ang="f4299">
                <a:pos x="f5825" y="f6301"/>
              </a:cxn>
              <a:cxn ang="f4299">
                <a:pos x="f5824" y="f6302"/>
              </a:cxn>
              <a:cxn ang="f4299">
                <a:pos x="f5823" y="f6302"/>
              </a:cxn>
              <a:cxn ang="f4299">
                <a:pos x="f5826" y="f6301"/>
              </a:cxn>
              <a:cxn ang="f4299">
                <a:pos x="f5826" y="f6300"/>
              </a:cxn>
              <a:cxn ang="f4299">
                <a:pos x="f5827" y="f6299"/>
              </a:cxn>
              <a:cxn ang="f4299">
                <a:pos x="f5828" y="f6299"/>
              </a:cxn>
              <a:cxn ang="f4299">
                <a:pos x="f5829" y="f6300"/>
              </a:cxn>
              <a:cxn ang="f4299">
                <a:pos x="f5829" y="f6301"/>
              </a:cxn>
              <a:cxn ang="f4299">
                <a:pos x="f5828" y="f6302"/>
              </a:cxn>
              <a:cxn ang="f4299">
                <a:pos x="f5827" y="f6302"/>
              </a:cxn>
              <a:cxn ang="f4299">
                <a:pos x="f5830" y="f6301"/>
              </a:cxn>
              <a:cxn ang="f4299">
                <a:pos x="f5830" y="f6300"/>
              </a:cxn>
              <a:cxn ang="f4299">
                <a:pos x="f5831" y="f6299"/>
              </a:cxn>
              <a:cxn ang="f4299">
                <a:pos x="f5832" y="f6299"/>
              </a:cxn>
              <a:cxn ang="f4299">
                <a:pos x="f5833" y="f6300"/>
              </a:cxn>
              <a:cxn ang="f4299">
                <a:pos x="f5833" y="f6301"/>
              </a:cxn>
              <a:cxn ang="f4299">
                <a:pos x="f5832" y="f6302"/>
              </a:cxn>
              <a:cxn ang="f4299">
                <a:pos x="f5831" y="f6302"/>
              </a:cxn>
              <a:cxn ang="f4299">
                <a:pos x="f5834" y="f6301"/>
              </a:cxn>
              <a:cxn ang="f4299">
                <a:pos x="f5834" y="f6300"/>
              </a:cxn>
              <a:cxn ang="f4299">
                <a:pos x="f5835" y="f6299"/>
              </a:cxn>
              <a:cxn ang="f4299">
                <a:pos x="f5836" y="f6299"/>
              </a:cxn>
              <a:cxn ang="f4299">
                <a:pos x="f5837" y="f6300"/>
              </a:cxn>
              <a:cxn ang="f4299">
                <a:pos x="f5837" y="f6301"/>
              </a:cxn>
              <a:cxn ang="f4299">
                <a:pos x="f5836" y="f6302"/>
              </a:cxn>
              <a:cxn ang="f4299">
                <a:pos x="f5835" y="f6302"/>
              </a:cxn>
              <a:cxn ang="f4299">
                <a:pos x="f5838" y="f6301"/>
              </a:cxn>
              <a:cxn ang="f4299">
                <a:pos x="f5838" y="f6300"/>
              </a:cxn>
              <a:cxn ang="f4299">
                <a:pos x="f5839" y="f6299"/>
              </a:cxn>
              <a:cxn ang="f4299">
                <a:pos x="f5840" y="f6299"/>
              </a:cxn>
              <a:cxn ang="f4299">
                <a:pos x="f5841" y="f6300"/>
              </a:cxn>
              <a:cxn ang="f4299">
                <a:pos x="f5841" y="f6301"/>
              </a:cxn>
              <a:cxn ang="f4299">
                <a:pos x="f5840" y="f6302"/>
              </a:cxn>
              <a:cxn ang="f4299">
                <a:pos x="f5839" y="f6302"/>
              </a:cxn>
              <a:cxn ang="f4299">
                <a:pos x="f5842" y="f6301"/>
              </a:cxn>
              <a:cxn ang="f4299">
                <a:pos x="f5842" y="f6300"/>
              </a:cxn>
              <a:cxn ang="f4299">
                <a:pos x="f5843" y="f6299"/>
              </a:cxn>
              <a:cxn ang="f4299">
                <a:pos x="f5844" y="f6299"/>
              </a:cxn>
              <a:cxn ang="f4299">
                <a:pos x="f5845" y="f6300"/>
              </a:cxn>
              <a:cxn ang="f4299">
                <a:pos x="f5845" y="f6301"/>
              </a:cxn>
              <a:cxn ang="f4299">
                <a:pos x="f5844" y="f6302"/>
              </a:cxn>
              <a:cxn ang="f4299">
                <a:pos x="f5843" y="f6302"/>
              </a:cxn>
              <a:cxn ang="f4299">
                <a:pos x="f5846" y="f6301"/>
              </a:cxn>
              <a:cxn ang="f4299">
                <a:pos x="f5846" y="f6300"/>
              </a:cxn>
              <a:cxn ang="f4299">
                <a:pos x="f5847" y="f6299"/>
              </a:cxn>
              <a:cxn ang="f4299">
                <a:pos x="f5848" y="f6299"/>
              </a:cxn>
              <a:cxn ang="f4299">
                <a:pos x="f5849" y="f6300"/>
              </a:cxn>
              <a:cxn ang="f4299">
                <a:pos x="f5849" y="f6301"/>
              </a:cxn>
              <a:cxn ang="f4299">
                <a:pos x="f5848" y="f6302"/>
              </a:cxn>
              <a:cxn ang="f4299">
                <a:pos x="f5847" y="f6302"/>
              </a:cxn>
              <a:cxn ang="f4299">
                <a:pos x="f5850" y="f6301"/>
              </a:cxn>
              <a:cxn ang="f4299">
                <a:pos x="f5850" y="f6300"/>
              </a:cxn>
              <a:cxn ang="f4299">
                <a:pos x="f5851" y="f6299"/>
              </a:cxn>
              <a:cxn ang="f4299">
                <a:pos x="f5852" y="f6299"/>
              </a:cxn>
              <a:cxn ang="f4299">
                <a:pos x="f5853" y="f6300"/>
              </a:cxn>
              <a:cxn ang="f4299">
                <a:pos x="f5853" y="f6301"/>
              </a:cxn>
              <a:cxn ang="f4299">
                <a:pos x="f5852" y="f6302"/>
              </a:cxn>
              <a:cxn ang="f4299">
                <a:pos x="f5851" y="f6302"/>
              </a:cxn>
              <a:cxn ang="f4299">
                <a:pos x="f5854" y="f6301"/>
              </a:cxn>
              <a:cxn ang="f4299">
                <a:pos x="f5854" y="f6300"/>
              </a:cxn>
              <a:cxn ang="f4299">
                <a:pos x="f5855" y="f6299"/>
              </a:cxn>
              <a:cxn ang="f4299">
                <a:pos x="f5856" y="f6299"/>
              </a:cxn>
              <a:cxn ang="f4299">
                <a:pos x="f5857" y="f6300"/>
              </a:cxn>
              <a:cxn ang="f4299">
                <a:pos x="f5857" y="f6301"/>
              </a:cxn>
              <a:cxn ang="f4299">
                <a:pos x="f5856" y="f6302"/>
              </a:cxn>
              <a:cxn ang="f4299">
                <a:pos x="f5855" y="f6302"/>
              </a:cxn>
              <a:cxn ang="f4299">
                <a:pos x="f5858" y="f6301"/>
              </a:cxn>
              <a:cxn ang="f4299">
                <a:pos x="f5858" y="f6300"/>
              </a:cxn>
              <a:cxn ang="f4299">
                <a:pos x="f5859" y="f6299"/>
              </a:cxn>
              <a:cxn ang="f4299">
                <a:pos x="f5860" y="f6299"/>
              </a:cxn>
              <a:cxn ang="f4299">
                <a:pos x="f5861" y="f6300"/>
              </a:cxn>
              <a:cxn ang="f4299">
                <a:pos x="f5861" y="f6301"/>
              </a:cxn>
              <a:cxn ang="f4299">
                <a:pos x="f5860" y="f6302"/>
              </a:cxn>
              <a:cxn ang="f4299">
                <a:pos x="f5859" y="f6302"/>
              </a:cxn>
              <a:cxn ang="f4299">
                <a:pos x="f5862" y="f6301"/>
              </a:cxn>
              <a:cxn ang="f4299">
                <a:pos x="f5862" y="f6300"/>
              </a:cxn>
              <a:cxn ang="f4299">
                <a:pos x="f5863" y="f6299"/>
              </a:cxn>
              <a:cxn ang="f4299">
                <a:pos x="f5864" y="f6299"/>
              </a:cxn>
              <a:cxn ang="f4299">
                <a:pos x="f5865" y="f6300"/>
              </a:cxn>
              <a:cxn ang="f4299">
                <a:pos x="f5865" y="f6301"/>
              </a:cxn>
              <a:cxn ang="f4299">
                <a:pos x="f5864" y="f6302"/>
              </a:cxn>
              <a:cxn ang="f4299">
                <a:pos x="f5863" y="f6302"/>
              </a:cxn>
              <a:cxn ang="f4299">
                <a:pos x="f5866" y="f6301"/>
              </a:cxn>
              <a:cxn ang="f4299">
                <a:pos x="f5866" y="f6300"/>
              </a:cxn>
              <a:cxn ang="f4299">
                <a:pos x="f5867" y="f6299"/>
              </a:cxn>
              <a:cxn ang="f4299">
                <a:pos x="f5868" y="f6299"/>
              </a:cxn>
              <a:cxn ang="f4299">
                <a:pos x="f5869" y="f6300"/>
              </a:cxn>
              <a:cxn ang="f4299">
                <a:pos x="f5869" y="f6301"/>
              </a:cxn>
              <a:cxn ang="f4299">
                <a:pos x="f5868" y="f6302"/>
              </a:cxn>
              <a:cxn ang="f4299">
                <a:pos x="f5867" y="f6302"/>
              </a:cxn>
              <a:cxn ang="f4299">
                <a:pos x="f5870" y="f6301"/>
              </a:cxn>
              <a:cxn ang="f4299">
                <a:pos x="f5870" y="f6300"/>
              </a:cxn>
              <a:cxn ang="f4299">
                <a:pos x="f5871" y="f6299"/>
              </a:cxn>
              <a:cxn ang="f4299">
                <a:pos x="f5872" y="f6299"/>
              </a:cxn>
              <a:cxn ang="f4299">
                <a:pos x="f5873" y="f6300"/>
              </a:cxn>
              <a:cxn ang="f4299">
                <a:pos x="f5873" y="f6301"/>
              </a:cxn>
              <a:cxn ang="f4299">
                <a:pos x="f5872" y="f6302"/>
              </a:cxn>
              <a:cxn ang="f4299">
                <a:pos x="f5871" y="f6302"/>
              </a:cxn>
              <a:cxn ang="f4299">
                <a:pos x="f5874" y="f6301"/>
              </a:cxn>
              <a:cxn ang="f4299">
                <a:pos x="f5874" y="f6300"/>
              </a:cxn>
              <a:cxn ang="f4299">
                <a:pos x="f5875" y="f6299"/>
              </a:cxn>
              <a:cxn ang="f4299">
                <a:pos x="f5876" y="f6299"/>
              </a:cxn>
              <a:cxn ang="f4299">
                <a:pos x="f5877" y="f6300"/>
              </a:cxn>
              <a:cxn ang="f4299">
                <a:pos x="f5877" y="f6301"/>
              </a:cxn>
              <a:cxn ang="f4299">
                <a:pos x="f5876" y="f6302"/>
              </a:cxn>
              <a:cxn ang="f4299">
                <a:pos x="f5875" y="f6302"/>
              </a:cxn>
              <a:cxn ang="f4299">
                <a:pos x="f5878" y="f6301"/>
              </a:cxn>
              <a:cxn ang="f4299">
                <a:pos x="f5878" y="f6300"/>
              </a:cxn>
              <a:cxn ang="f4299">
                <a:pos x="f5879" y="f6299"/>
              </a:cxn>
              <a:cxn ang="f4299">
                <a:pos x="f5880" y="f6299"/>
              </a:cxn>
              <a:cxn ang="f4299">
                <a:pos x="f5881" y="f6300"/>
              </a:cxn>
              <a:cxn ang="f4299">
                <a:pos x="f5881" y="f6301"/>
              </a:cxn>
              <a:cxn ang="f4299">
                <a:pos x="f5880" y="f6302"/>
              </a:cxn>
              <a:cxn ang="f4299">
                <a:pos x="f5879" y="f6302"/>
              </a:cxn>
              <a:cxn ang="f4299">
                <a:pos x="f5882" y="f6301"/>
              </a:cxn>
              <a:cxn ang="f4299">
                <a:pos x="f5882" y="f6300"/>
              </a:cxn>
              <a:cxn ang="f4299">
                <a:pos x="f5883" y="f6299"/>
              </a:cxn>
              <a:cxn ang="f4299">
                <a:pos x="f5884" y="f6299"/>
              </a:cxn>
              <a:cxn ang="f4299">
                <a:pos x="f5885" y="f6300"/>
              </a:cxn>
              <a:cxn ang="f4299">
                <a:pos x="f5885" y="f6301"/>
              </a:cxn>
              <a:cxn ang="f4299">
                <a:pos x="f5884" y="f6302"/>
              </a:cxn>
              <a:cxn ang="f4299">
                <a:pos x="f5883" y="f6302"/>
              </a:cxn>
              <a:cxn ang="f4299">
                <a:pos x="f5886" y="f6301"/>
              </a:cxn>
              <a:cxn ang="f4299">
                <a:pos x="f5886" y="f6300"/>
              </a:cxn>
              <a:cxn ang="f4299">
                <a:pos x="f5887" y="f6299"/>
              </a:cxn>
              <a:cxn ang="f4299">
                <a:pos x="f5888" y="f6299"/>
              </a:cxn>
              <a:cxn ang="f4299">
                <a:pos x="f5889" y="f6300"/>
              </a:cxn>
              <a:cxn ang="f4299">
                <a:pos x="f5889" y="f6301"/>
              </a:cxn>
              <a:cxn ang="f4299">
                <a:pos x="f5888" y="f6302"/>
              </a:cxn>
              <a:cxn ang="f4299">
                <a:pos x="f5887" y="f6302"/>
              </a:cxn>
              <a:cxn ang="f4299">
                <a:pos x="f5890" y="f6301"/>
              </a:cxn>
              <a:cxn ang="f4299">
                <a:pos x="f5890" y="f6300"/>
              </a:cxn>
              <a:cxn ang="f4299">
                <a:pos x="f5891" y="f6299"/>
              </a:cxn>
              <a:cxn ang="f4299">
                <a:pos x="f5892" y="f6299"/>
              </a:cxn>
              <a:cxn ang="f4299">
                <a:pos x="f5893" y="f6300"/>
              </a:cxn>
              <a:cxn ang="f4299">
                <a:pos x="f5893" y="f6301"/>
              </a:cxn>
              <a:cxn ang="f4299">
                <a:pos x="f5892" y="f6302"/>
              </a:cxn>
              <a:cxn ang="f4299">
                <a:pos x="f5891" y="f6302"/>
              </a:cxn>
              <a:cxn ang="f4299">
                <a:pos x="f5894" y="f6301"/>
              </a:cxn>
              <a:cxn ang="f4299">
                <a:pos x="f5894" y="f6300"/>
              </a:cxn>
              <a:cxn ang="f4299">
                <a:pos x="f6303" y="f6299"/>
              </a:cxn>
              <a:cxn ang="f4299">
                <a:pos x="f6304" y="f6299"/>
              </a:cxn>
              <a:cxn ang="f4299">
                <a:pos x="f6305" y="f6300"/>
              </a:cxn>
              <a:cxn ang="f4299">
                <a:pos x="f6305" y="f6301"/>
              </a:cxn>
              <a:cxn ang="f4299">
                <a:pos x="f6304" y="f6302"/>
              </a:cxn>
              <a:cxn ang="f4299">
                <a:pos x="f6303" y="f6302"/>
              </a:cxn>
              <a:cxn ang="f4299">
                <a:pos x="f6275" y="f6301"/>
              </a:cxn>
              <a:cxn ang="f4299">
                <a:pos x="f6275" y="f6300"/>
              </a:cxn>
              <a:cxn ang="f4299">
                <a:pos x="f6306" y="f6299"/>
              </a:cxn>
              <a:cxn ang="f4299">
                <a:pos x="f6307" y="f6299"/>
              </a:cxn>
              <a:cxn ang="f4299">
                <a:pos x="f6308" y="f6300"/>
              </a:cxn>
              <a:cxn ang="f4299">
                <a:pos x="f6308" y="f6301"/>
              </a:cxn>
              <a:cxn ang="f4299">
                <a:pos x="f6307" y="f6302"/>
              </a:cxn>
              <a:cxn ang="f4299">
                <a:pos x="f6306" y="f6302"/>
              </a:cxn>
              <a:cxn ang="f4299">
                <a:pos x="f6309" y="f6301"/>
              </a:cxn>
              <a:cxn ang="f4299">
                <a:pos x="f6309" y="f6300"/>
              </a:cxn>
              <a:cxn ang="f4299">
                <a:pos x="f6310" y="f6299"/>
              </a:cxn>
              <a:cxn ang="f4299">
                <a:pos x="f6278" y="f6299"/>
              </a:cxn>
              <a:cxn ang="f4299">
                <a:pos x="f6279" y="f6300"/>
              </a:cxn>
              <a:cxn ang="f4299">
                <a:pos x="f6279" y="f6301"/>
              </a:cxn>
              <a:cxn ang="f4299">
                <a:pos x="f6278" y="f6302"/>
              </a:cxn>
              <a:cxn ang="f4299">
                <a:pos x="f6310" y="f6302"/>
              </a:cxn>
              <a:cxn ang="f4299">
                <a:pos x="f6311" y="f6301"/>
              </a:cxn>
              <a:cxn ang="f4299">
                <a:pos x="f6311" y="f6300"/>
              </a:cxn>
              <a:cxn ang="f4299">
                <a:pos x="f6281" y="f6299"/>
              </a:cxn>
              <a:cxn ang="f4299">
                <a:pos x="f6312" y="f6299"/>
              </a:cxn>
              <a:cxn ang="f4299">
                <a:pos x="f6313" y="f6300"/>
              </a:cxn>
              <a:cxn ang="f4299">
                <a:pos x="f6313" y="f6301"/>
              </a:cxn>
              <a:cxn ang="f4299">
                <a:pos x="f6312" y="f6302"/>
              </a:cxn>
              <a:cxn ang="f4299">
                <a:pos x="f6281" y="f6302"/>
              </a:cxn>
              <a:cxn ang="f4299">
                <a:pos x="f6314" y="f6301"/>
              </a:cxn>
              <a:cxn ang="f4299">
                <a:pos x="f6314" y="f6300"/>
              </a:cxn>
              <a:cxn ang="f4299">
                <a:pos x="f6198" y="f6315"/>
              </a:cxn>
              <a:cxn ang="f4299">
                <a:pos x="f6316" y="f6315"/>
              </a:cxn>
              <a:cxn ang="f4299">
                <a:pos x="f6284" y="f6317"/>
              </a:cxn>
              <a:cxn ang="f4299">
                <a:pos x="f6284" y="f6318"/>
              </a:cxn>
              <a:cxn ang="f4299">
                <a:pos x="f6316" y="f6319"/>
              </a:cxn>
              <a:cxn ang="f4299">
                <a:pos x="f6198" y="f6319"/>
              </a:cxn>
              <a:cxn ang="f4299">
                <a:pos x="f6262" y="f6318"/>
              </a:cxn>
              <a:cxn ang="f4299">
                <a:pos x="f6262" y="f6317"/>
              </a:cxn>
              <a:cxn ang="f4299">
                <a:pos x="f6288" y="f6315"/>
              </a:cxn>
              <a:cxn ang="f4299">
                <a:pos x="f6263" y="f6315"/>
              </a:cxn>
              <a:cxn ang="f4299">
                <a:pos x="f6234" y="f6317"/>
              </a:cxn>
              <a:cxn ang="f4299">
                <a:pos x="f6234" y="f6318"/>
              </a:cxn>
              <a:cxn ang="f4299">
                <a:pos x="f6263" y="f6319"/>
              </a:cxn>
              <a:cxn ang="f4299">
                <a:pos x="f6288" y="f6319"/>
              </a:cxn>
              <a:cxn ang="f4299">
                <a:pos x="f6204" y="f6318"/>
              </a:cxn>
              <a:cxn ang="f4299">
                <a:pos x="f6204" y="f6317"/>
              </a:cxn>
              <a:cxn ang="f4299">
                <a:pos x="f6289" y="f6315"/>
              </a:cxn>
              <a:cxn ang="f4299">
                <a:pos x="f6290" y="f6315"/>
              </a:cxn>
              <a:cxn ang="f4299">
                <a:pos x="f6320" y="f6317"/>
              </a:cxn>
              <a:cxn ang="f4299">
                <a:pos x="f6320" y="f6318"/>
              </a:cxn>
              <a:cxn ang="f4299">
                <a:pos x="f6290" y="f6319"/>
              </a:cxn>
              <a:cxn ang="f4299">
                <a:pos x="f6289" y="f6319"/>
              </a:cxn>
              <a:cxn ang="f4299">
                <a:pos x="f6321" y="f6318"/>
              </a:cxn>
              <a:cxn ang="f4299">
                <a:pos x="f6321" y="f6317"/>
              </a:cxn>
              <a:cxn ang="f4299">
                <a:pos x="f6292" y="f6315"/>
              </a:cxn>
              <a:cxn ang="f4299">
                <a:pos x="f6293" y="f6315"/>
              </a:cxn>
              <a:cxn ang="f4299">
                <a:pos x="f6322" y="f6317"/>
              </a:cxn>
              <a:cxn ang="f4299">
                <a:pos x="f6322" y="f6318"/>
              </a:cxn>
              <a:cxn ang="f4299">
                <a:pos x="f6293" y="f6319"/>
              </a:cxn>
              <a:cxn ang="f4299">
                <a:pos x="f6292" y="f6319"/>
              </a:cxn>
              <a:cxn ang="f4299">
                <a:pos x="f6323" y="f6318"/>
              </a:cxn>
              <a:cxn ang="f4299">
                <a:pos x="f6323" y="f6317"/>
              </a:cxn>
              <a:cxn ang="f4299">
                <a:pos x="f6324" y="f6315"/>
              </a:cxn>
              <a:cxn ang="f4299">
                <a:pos x="f6294" y="f6315"/>
              </a:cxn>
              <a:cxn ang="f4299">
                <a:pos x="f6325" y="f6317"/>
              </a:cxn>
              <a:cxn ang="f4299">
                <a:pos x="f6325" y="f6318"/>
              </a:cxn>
              <a:cxn ang="f4299">
                <a:pos x="f6294" y="f6319"/>
              </a:cxn>
              <a:cxn ang="f4299">
                <a:pos x="f6324" y="f6319"/>
              </a:cxn>
              <a:cxn ang="f4299">
                <a:pos x="f6295" y="f6318"/>
              </a:cxn>
              <a:cxn ang="f4299">
                <a:pos x="f6295" y="f6317"/>
              </a:cxn>
              <a:cxn ang="f4299">
                <a:pos x="f6326" y="f6315"/>
              </a:cxn>
              <a:cxn ang="f4299">
                <a:pos x="f6327" y="f6315"/>
              </a:cxn>
              <a:cxn ang="f4299">
                <a:pos x="f6297" y="f6317"/>
              </a:cxn>
              <a:cxn ang="f4299">
                <a:pos x="f6297" y="f6318"/>
              </a:cxn>
              <a:cxn ang="f4299">
                <a:pos x="f6327" y="f6319"/>
              </a:cxn>
              <a:cxn ang="f4299">
                <a:pos x="f6326" y="f6319"/>
              </a:cxn>
              <a:cxn ang="f4299">
                <a:pos x="f6298" y="f6318"/>
              </a:cxn>
              <a:cxn ang="f4299">
                <a:pos x="f6298" y="f6317"/>
              </a:cxn>
              <a:cxn ang="f4299">
                <a:pos x="f5767" y="f6328"/>
              </a:cxn>
              <a:cxn ang="f4299">
                <a:pos x="f5769" y="f6328"/>
              </a:cxn>
              <a:cxn ang="f4299">
                <a:pos x="f5770" y="f6329"/>
              </a:cxn>
              <a:cxn ang="f4299">
                <a:pos x="f5770" y="f6330"/>
              </a:cxn>
              <a:cxn ang="f4299">
                <a:pos x="f5769" y="f6331"/>
              </a:cxn>
              <a:cxn ang="f4299">
                <a:pos x="f5767" y="f6331"/>
              </a:cxn>
              <a:cxn ang="f4299">
                <a:pos x="f5774" y="f6330"/>
              </a:cxn>
              <a:cxn ang="f4299">
                <a:pos x="f5774" y="f6329"/>
              </a:cxn>
              <a:cxn ang="f4299">
                <a:pos x="f5775" y="f6328"/>
              </a:cxn>
              <a:cxn ang="f4299">
                <a:pos x="f5776" y="f6328"/>
              </a:cxn>
              <a:cxn ang="f4299">
                <a:pos x="f5777" y="f6329"/>
              </a:cxn>
              <a:cxn ang="f4299">
                <a:pos x="f5777" y="f6330"/>
              </a:cxn>
              <a:cxn ang="f4299">
                <a:pos x="f5776" y="f6331"/>
              </a:cxn>
              <a:cxn ang="f4299">
                <a:pos x="f5775" y="f6331"/>
              </a:cxn>
              <a:cxn ang="f4299">
                <a:pos x="f5778" y="f6330"/>
              </a:cxn>
              <a:cxn ang="f4299">
                <a:pos x="f5778" y="f6329"/>
              </a:cxn>
              <a:cxn ang="f4299">
                <a:pos x="f5779" y="f6328"/>
              </a:cxn>
              <a:cxn ang="f4299">
                <a:pos x="f5780" y="f6328"/>
              </a:cxn>
              <a:cxn ang="f4299">
                <a:pos x="f5781" y="f6329"/>
              </a:cxn>
              <a:cxn ang="f4299">
                <a:pos x="f5781" y="f6330"/>
              </a:cxn>
              <a:cxn ang="f4299">
                <a:pos x="f5780" y="f6331"/>
              </a:cxn>
              <a:cxn ang="f4299">
                <a:pos x="f5779" y="f6331"/>
              </a:cxn>
              <a:cxn ang="f4299">
                <a:pos x="f5782" y="f6330"/>
              </a:cxn>
              <a:cxn ang="f4299">
                <a:pos x="f5782" y="f6329"/>
              </a:cxn>
              <a:cxn ang="f4299">
                <a:pos x="f5783" y="f6328"/>
              </a:cxn>
              <a:cxn ang="f4299">
                <a:pos x="f5784" y="f6328"/>
              </a:cxn>
              <a:cxn ang="f4299">
                <a:pos x="f5785" y="f6329"/>
              </a:cxn>
              <a:cxn ang="f4299">
                <a:pos x="f5785" y="f6330"/>
              </a:cxn>
              <a:cxn ang="f4299">
                <a:pos x="f5784" y="f6331"/>
              </a:cxn>
              <a:cxn ang="f4299">
                <a:pos x="f5783" y="f6331"/>
              </a:cxn>
              <a:cxn ang="f4299">
                <a:pos x="f5786" y="f6330"/>
              </a:cxn>
              <a:cxn ang="f4299">
                <a:pos x="f5786" y="f6329"/>
              </a:cxn>
              <a:cxn ang="f4299">
                <a:pos x="f5787" y="f6328"/>
              </a:cxn>
              <a:cxn ang="f4299">
                <a:pos x="f5788" y="f6328"/>
              </a:cxn>
              <a:cxn ang="f4299">
                <a:pos x="f5789" y="f6329"/>
              </a:cxn>
              <a:cxn ang="f4299">
                <a:pos x="f5789" y="f6330"/>
              </a:cxn>
              <a:cxn ang="f4299">
                <a:pos x="f5788" y="f6331"/>
              </a:cxn>
              <a:cxn ang="f4299">
                <a:pos x="f5787" y="f6331"/>
              </a:cxn>
              <a:cxn ang="f4299">
                <a:pos x="f5790" y="f6330"/>
              </a:cxn>
              <a:cxn ang="f4299">
                <a:pos x="f5790" y="f6329"/>
              </a:cxn>
              <a:cxn ang="f4299">
                <a:pos x="f5791" y="f6328"/>
              </a:cxn>
              <a:cxn ang="f4299">
                <a:pos x="f5792" y="f6328"/>
              </a:cxn>
              <a:cxn ang="f4299">
                <a:pos x="f5793" y="f6329"/>
              </a:cxn>
              <a:cxn ang="f4299">
                <a:pos x="f5793" y="f6330"/>
              </a:cxn>
              <a:cxn ang="f4299">
                <a:pos x="f5792" y="f6331"/>
              </a:cxn>
              <a:cxn ang="f4299">
                <a:pos x="f5791" y="f6331"/>
              </a:cxn>
              <a:cxn ang="f4299">
                <a:pos x="f5794" y="f6330"/>
              </a:cxn>
              <a:cxn ang="f4299">
                <a:pos x="f5794" y="f6329"/>
              </a:cxn>
              <a:cxn ang="f4299">
                <a:pos x="f5795" y="f6328"/>
              </a:cxn>
              <a:cxn ang="f4299">
                <a:pos x="f5796" y="f6328"/>
              </a:cxn>
              <a:cxn ang="f4299">
                <a:pos x="f5797" y="f6329"/>
              </a:cxn>
              <a:cxn ang="f4299">
                <a:pos x="f5797" y="f6330"/>
              </a:cxn>
              <a:cxn ang="f4299">
                <a:pos x="f5796" y="f6331"/>
              </a:cxn>
              <a:cxn ang="f4299">
                <a:pos x="f5795" y="f6331"/>
              </a:cxn>
              <a:cxn ang="f4299">
                <a:pos x="f5798" y="f6330"/>
              </a:cxn>
              <a:cxn ang="f4299">
                <a:pos x="f5798" y="f6329"/>
              </a:cxn>
              <a:cxn ang="f4299">
                <a:pos x="f5799" y="f6328"/>
              </a:cxn>
              <a:cxn ang="f4299">
                <a:pos x="f5800" y="f6328"/>
              </a:cxn>
              <a:cxn ang="f4299">
                <a:pos x="f5801" y="f6329"/>
              </a:cxn>
              <a:cxn ang="f4299">
                <a:pos x="f5801" y="f6330"/>
              </a:cxn>
              <a:cxn ang="f4299">
                <a:pos x="f5800" y="f6331"/>
              </a:cxn>
              <a:cxn ang="f4299">
                <a:pos x="f5799" y="f6331"/>
              </a:cxn>
              <a:cxn ang="f4299">
                <a:pos x="f5802" y="f6330"/>
              </a:cxn>
              <a:cxn ang="f4299">
                <a:pos x="f5802" y="f6329"/>
              </a:cxn>
              <a:cxn ang="f4299">
                <a:pos x="f5803" y="f6328"/>
              </a:cxn>
              <a:cxn ang="f4299">
                <a:pos x="f5804" y="f6328"/>
              </a:cxn>
              <a:cxn ang="f4299">
                <a:pos x="f5805" y="f6329"/>
              </a:cxn>
              <a:cxn ang="f4299">
                <a:pos x="f5805" y="f6330"/>
              </a:cxn>
              <a:cxn ang="f4299">
                <a:pos x="f5804" y="f6331"/>
              </a:cxn>
              <a:cxn ang="f4299">
                <a:pos x="f5803" y="f6331"/>
              </a:cxn>
              <a:cxn ang="f4299">
                <a:pos x="f5806" y="f6330"/>
              </a:cxn>
              <a:cxn ang="f4299">
                <a:pos x="f5806" y="f6329"/>
              </a:cxn>
              <a:cxn ang="f4299">
                <a:pos x="f5807" y="f6328"/>
              </a:cxn>
              <a:cxn ang="f4299">
                <a:pos x="f5808" y="f6328"/>
              </a:cxn>
              <a:cxn ang="f4299">
                <a:pos x="f5809" y="f6329"/>
              </a:cxn>
              <a:cxn ang="f4299">
                <a:pos x="f5809" y="f6330"/>
              </a:cxn>
              <a:cxn ang="f4299">
                <a:pos x="f5808" y="f6331"/>
              </a:cxn>
              <a:cxn ang="f4299">
                <a:pos x="f5807" y="f6331"/>
              </a:cxn>
              <a:cxn ang="f4299">
                <a:pos x="f5810" y="f6330"/>
              </a:cxn>
              <a:cxn ang="f4299">
                <a:pos x="f5810" y="f6329"/>
              </a:cxn>
              <a:cxn ang="f4299">
                <a:pos x="f5811" y="f6328"/>
              </a:cxn>
              <a:cxn ang="f4299">
                <a:pos x="f5812" y="f6328"/>
              </a:cxn>
              <a:cxn ang="f4299">
                <a:pos x="f5813" y="f6329"/>
              </a:cxn>
              <a:cxn ang="f4299">
                <a:pos x="f5813" y="f6330"/>
              </a:cxn>
              <a:cxn ang="f4299">
                <a:pos x="f5812" y="f6331"/>
              </a:cxn>
              <a:cxn ang="f4299">
                <a:pos x="f5811" y="f6331"/>
              </a:cxn>
              <a:cxn ang="f4299">
                <a:pos x="f5814" y="f6330"/>
              </a:cxn>
              <a:cxn ang="f4299">
                <a:pos x="f5814" y="f6329"/>
              </a:cxn>
              <a:cxn ang="f4299">
                <a:pos x="f5815" y="f6328"/>
              </a:cxn>
              <a:cxn ang="f4299">
                <a:pos x="f5816" y="f6328"/>
              </a:cxn>
              <a:cxn ang="f4299">
                <a:pos x="f5817" y="f6329"/>
              </a:cxn>
              <a:cxn ang="f4299">
                <a:pos x="f5817" y="f6330"/>
              </a:cxn>
              <a:cxn ang="f4299">
                <a:pos x="f5816" y="f6331"/>
              </a:cxn>
              <a:cxn ang="f4299">
                <a:pos x="f5815" y="f6331"/>
              </a:cxn>
              <a:cxn ang="f4299">
                <a:pos x="f5818" y="f6330"/>
              </a:cxn>
              <a:cxn ang="f4299">
                <a:pos x="f5818" y="f6329"/>
              </a:cxn>
              <a:cxn ang="f4299">
                <a:pos x="f5819" y="f6328"/>
              </a:cxn>
              <a:cxn ang="f4299">
                <a:pos x="f5820" y="f6328"/>
              </a:cxn>
              <a:cxn ang="f4299">
                <a:pos x="f5821" y="f6329"/>
              </a:cxn>
              <a:cxn ang="f4299">
                <a:pos x="f5821" y="f6330"/>
              </a:cxn>
              <a:cxn ang="f4299">
                <a:pos x="f5820" y="f6331"/>
              </a:cxn>
              <a:cxn ang="f4299">
                <a:pos x="f5819" y="f6331"/>
              </a:cxn>
              <a:cxn ang="f4299">
                <a:pos x="f5822" y="f6330"/>
              </a:cxn>
              <a:cxn ang="f4299">
                <a:pos x="f5822" y="f6329"/>
              </a:cxn>
              <a:cxn ang="f4299">
                <a:pos x="f5823" y="f6328"/>
              </a:cxn>
              <a:cxn ang="f4299">
                <a:pos x="f5824" y="f6328"/>
              </a:cxn>
              <a:cxn ang="f4299">
                <a:pos x="f5825" y="f6329"/>
              </a:cxn>
              <a:cxn ang="f4299">
                <a:pos x="f5825" y="f6330"/>
              </a:cxn>
              <a:cxn ang="f4299">
                <a:pos x="f5824" y="f6331"/>
              </a:cxn>
              <a:cxn ang="f4299">
                <a:pos x="f5823" y="f6331"/>
              </a:cxn>
              <a:cxn ang="f4299">
                <a:pos x="f5826" y="f6330"/>
              </a:cxn>
              <a:cxn ang="f4299">
                <a:pos x="f5826" y="f6329"/>
              </a:cxn>
              <a:cxn ang="f4299">
                <a:pos x="f5827" y="f6328"/>
              </a:cxn>
              <a:cxn ang="f4299">
                <a:pos x="f5828" y="f6328"/>
              </a:cxn>
              <a:cxn ang="f4299">
                <a:pos x="f5829" y="f6329"/>
              </a:cxn>
              <a:cxn ang="f4299">
                <a:pos x="f5829" y="f6330"/>
              </a:cxn>
              <a:cxn ang="f4299">
                <a:pos x="f5828" y="f6331"/>
              </a:cxn>
              <a:cxn ang="f4299">
                <a:pos x="f5827" y="f6331"/>
              </a:cxn>
              <a:cxn ang="f4299">
                <a:pos x="f5830" y="f6330"/>
              </a:cxn>
              <a:cxn ang="f4299">
                <a:pos x="f5830" y="f6329"/>
              </a:cxn>
              <a:cxn ang="f4299">
                <a:pos x="f5831" y="f6328"/>
              </a:cxn>
              <a:cxn ang="f4299">
                <a:pos x="f5832" y="f6328"/>
              </a:cxn>
              <a:cxn ang="f4299">
                <a:pos x="f5833" y="f6329"/>
              </a:cxn>
              <a:cxn ang="f4299">
                <a:pos x="f5833" y="f6330"/>
              </a:cxn>
              <a:cxn ang="f4299">
                <a:pos x="f5832" y="f6331"/>
              </a:cxn>
              <a:cxn ang="f4299">
                <a:pos x="f5831" y="f6331"/>
              </a:cxn>
              <a:cxn ang="f4299">
                <a:pos x="f5834" y="f6330"/>
              </a:cxn>
              <a:cxn ang="f4299">
                <a:pos x="f5834" y="f6329"/>
              </a:cxn>
              <a:cxn ang="f4299">
                <a:pos x="f5835" y="f6328"/>
              </a:cxn>
              <a:cxn ang="f4299">
                <a:pos x="f5836" y="f6328"/>
              </a:cxn>
              <a:cxn ang="f4299">
                <a:pos x="f5837" y="f6329"/>
              </a:cxn>
              <a:cxn ang="f4299">
                <a:pos x="f5837" y="f6330"/>
              </a:cxn>
              <a:cxn ang="f4299">
                <a:pos x="f5836" y="f6331"/>
              </a:cxn>
              <a:cxn ang="f4299">
                <a:pos x="f5835" y="f6331"/>
              </a:cxn>
              <a:cxn ang="f4299">
                <a:pos x="f5838" y="f6330"/>
              </a:cxn>
              <a:cxn ang="f4299">
                <a:pos x="f5838" y="f6329"/>
              </a:cxn>
              <a:cxn ang="f4299">
                <a:pos x="f5839" y="f6328"/>
              </a:cxn>
              <a:cxn ang="f4299">
                <a:pos x="f5840" y="f6328"/>
              </a:cxn>
              <a:cxn ang="f4299">
                <a:pos x="f5841" y="f6329"/>
              </a:cxn>
              <a:cxn ang="f4299">
                <a:pos x="f5841" y="f6330"/>
              </a:cxn>
              <a:cxn ang="f4299">
                <a:pos x="f5840" y="f6331"/>
              </a:cxn>
              <a:cxn ang="f4299">
                <a:pos x="f5839" y="f6331"/>
              </a:cxn>
              <a:cxn ang="f4299">
                <a:pos x="f5842" y="f6330"/>
              </a:cxn>
              <a:cxn ang="f4299">
                <a:pos x="f5842" y="f6329"/>
              </a:cxn>
              <a:cxn ang="f4299">
                <a:pos x="f5843" y="f6328"/>
              </a:cxn>
              <a:cxn ang="f4299">
                <a:pos x="f5844" y="f6328"/>
              </a:cxn>
              <a:cxn ang="f4299">
                <a:pos x="f5845" y="f6329"/>
              </a:cxn>
              <a:cxn ang="f4299">
                <a:pos x="f5845" y="f6330"/>
              </a:cxn>
              <a:cxn ang="f4299">
                <a:pos x="f5844" y="f6331"/>
              </a:cxn>
              <a:cxn ang="f4299">
                <a:pos x="f5843" y="f6331"/>
              </a:cxn>
              <a:cxn ang="f4299">
                <a:pos x="f5846" y="f6330"/>
              </a:cxn>
              <a:cxn ang="f4299">
                <a:pos x="f5846" y="f6329"/>
              </a:cxn>
              <a:cxn ang="f4299">
                <a:pos x="f5847" y="f6328"/>
              </a:cxn>
              <a:cxn ang="f4299">
                <a:pos x="f5848" y="f6328"/>
              </a:cxn>
              <a:cxn ang="f4299">
                <a:pos x="f5849" y="f6329"/>
              </a:cxn>
              <a:cxn ang="f4299">
                <a:pos x="f5849" y="f6330"/>
              </a:cxn>
              <a:cxn ang="f4299">
                <a:pos x="f5848" y="f6331"/>
              </a:cxn>
              <a:cxn ang="f4299">
                <a:pos x="f5847" y="f6331"/>
              </a:cxn>
              <a:cxn ang="f4299">
                <a:pos x="f5850" y="f6330"/>
              </a:cxn>
              <a:cxn ang="f4299">
                <a:pos x="f5850" y="f6329"/>
              </a:cxn>
              <a:cxn ang="f4299">
                <a:pos x="f5851" y="f6328"/>
              </a:cxn>
              <a:cxn ang="f4299">
                <a:pos x="f5852" y="f6328"/>
              </a:cxn>
              <a:cxn ang="f4299">
                <a:pos x="f5853" y="f6329"/>
              </a:cxn>
              <a:cxn ang="f4299">
                <a:pos x="f5853" y="f6330"/>
              </a:cxn>
              <a:cxn ang="f4299">
                <a:pos x="f5852" y="f6331"/>
              </a:cxn>
              <a:cxn ang="f4299">
                <a:pos x="f5851" y="f6331"/>
              </a:cxn>
              <a:cxn ang="f4299">
                <a:pos x="f5854" y="f6330"/>
              </a:cxn>
              <a:cxn ang="f4299">
                <a:pos x="f5854" y="f6329"/>
              </a:cxn>
              <a:cxn ang="f4299">
                <a:pos x="f5855" y="f6328"/>
              </a:cxn>
              <a:cxn ang="f4299">
                <a:pos x="f5856" y="f6328"/>
              </a:cxn>
              <a:cxn ang="f4299">
                <a:pos x="f5857" y="f6329"/>
              </a:cxn>
              <a:cxn ang="f4299">
                <a:pos x="f5857" y="f6330"/>
              </a:cxn>
              <a:cxn ang="f4299">
                <a:pos x="f5856" y="f6331"/>
              </a:cxn>
              <a:cxn ang="f4299">
                <a:pos x="f5855" y="f6331"/>
              </a:cxn>
              <a:cxn ang="f4299">
                <a:pos x="f5858" y="f6330"/>
              </a:cxn>
              <a:cxn ang="f4299">
                <a:pos x="f5858" y="f6329"/>
              </a:cxn>
              <a:cxn ang="f4299">
                <a:pos x="f5859" y="f6328"/>
              </a:cxn>
              <a:cxn ang="f4299">
                <a:pos x="f5860" y="f6328"/>
              </a:cxn>
              <a:cxn ang="f4299">
                <a:pos x="f5861" y="f6329"/>
              </a:cxn>
              <a:cxn ang="f4299">
                <a:pos x="f5861" y="f6330"/>
              </a:cxn>
              <a:cxn ang="f4299">
                <a:pos x="f5860" y="f6331"/>
              </a:cxn>
              <a:cxn ang="f4299">
                <a:pos x="f5859" y="f6331"/>
              </a:cxn>
              <a:cxn ang="f4299">
                <a:pos x="f5862" y="f6330"/>
              </a:cxn>
              <a:cxn ang="f4299">
                <a:pos x="f5862" y="f6329"/>
              </a:cxn>
              <a:cxn ang="f4299">
                <a:pos x="f5863" y="f6328"/>
              </a:cxn>
              <a:cxn ang="f4299">
                <a:pos x="f5864" y="f6328"/>
              </a:cxn>
              <a:cxn ang="f4299">
                <a:pos x="f5865" y="f6329"/>
              </a:cxn>
              <a:cxn ang="f4299">
                <a:pos x="f5865" y="f6330"/>
              </a:cxn>
              <a:cxn ang="f4299">
                <a:pos x="f5864" y="f6331"/>
              </a:cxn>
              <a:cxn ang="f4299">
                <a:pos x="f5863" y="f6331"/>
              </a:cxn>
              <a:cxn ang="f4299">
                <a:pos x="f5866" y="f6330"/>
              </a:cxn>
              <a:cxn ang="f4299">
                <a:pos x="f5866" y="f6329"/>
              </a:cxn>
              <a:cxn ang="f4299">
                <a:pos x="f5867" y="f6328"/>
              </a:cxn>
              <a:cxn ang="f4299">
                <a:pos x="f5868" y="f6328"/>
              </a:cxn>
              <a:cxn ang="f4299">
                <a:pos x="f5869" y="f6329"/>
              </a:cxn>
              <a:cxn ang="f4299">
                <a:pos x="f5869" y="f6330"/>
              </a:cxn>
              <a:cxn ang="f4299">
                <a:pos x="f5868" y="f6331"/>
              </a:cxn>
              <a:cxn ang="f4299">
                <a:pos x="f5867" y="f6331"/>
              </a:cxn>
              <a:cxn ang="f4299">
                <a:pos x="f5870" y="f6330"/>
              </a:cxn>
              <a:cxn ang="f4299">
                <a:pos x="f5870" y="f6329"/>
              </a:cxn>
              <a:cxn ang="f4299">
                <a:pos x="f5871" y="f6328"/>
              </a:cxn>
              <a:cxn ang="f4299">
                <a:pos x="f5872" y="f6328"/>
              </a:cxn>
              <a:cxn ang="f4299">
                <a:pos x="f5873" y="f6329"/>
              </a:cxn>
              <a:cxn ang="f4299">
                <a:pos x="f5873" y="f6330"/>
              </a:cxn>
              <a:cxn ang="f4299">
                <a:pos x="f5872" y="f6331"/>
              </a:cxn>
              <a:cxn ang="f4299">
                <a:pos x="f5871" y="f6331"/>
              </a:cxn>
              <a:cxn ang="f4299">
                <a:pos x="f5874" y="f6330"/>
              </a:cxn>
              <a:cxn ang="f4299">
                <a:pos x="f5874" y="f6329"/>
              </a:cxn>
              <a:cxn ang="f4299">
                <a:pos x="f5875" y="f6328"/>
              </a:cxn>
              <a:cxn ang="f4299">
                <a:pos x="f5876" y="f6328"/>
              </a:cxn>
              <a:cxn ang="f4299">
                <a:pos x="f5877" y="f6329"/>
              </a:cxn>
              <a:cxn ang="f4299">
                <a:pos x="f5877" y="f6330"/>
              </a:cxn>
              <a:cxn ang="f4299">
                <a:pos x="f5876" y="f6331"/>
              </a:cxn>
              <a:cxn ang="f4299">
                <a:pos x="f5875" y="f6331"/>
              </a:cxn>
              <a:cxn ang="f4299">
                <a:pos x="f5878" y="f6330"/>
              </a:cxn>
              <a:cxn ang="f4299">
                <a:pos x="f5878" y="f6329"/>
              </a:cxn>
              <a:cxn ang="f4299">
                <a:pos x="f5879" y="f6328"/>
              </a:cxn>
              <a:cxn ang="f4299">
                <a:pos x="f5880" y="f6328"/>
              </a:cxn>
              <a:cxn ang="f4299">
                <a:pos x="f5881" y="f6329"/>
              </a:cxn>
              <a:cxn ang="f4299">
                <a:pos x="f5881" y="f6330"/>
              </a:cxn>
              <a:cxn ang="f4299">
                <a:pos x="f5880" y="f6331"/>
              </a:cxn>
              <a:cxn ang="f4299">
                <a:pos x="f5879" y="f6331"/>
              </a:cxn>
              <a:cxn ang="f4299">
                <a:pos x="f5882" y="f6330"/>
              </a:cxn>
              <a:cxn ang="f4299">
                <a:pos x="f5882" y="f6329"/>
              </a:cxn>
              <a:cxn ang="f4299">
                <a:pos x="f5883" y="f6328"/>
              </a:cxn>
              <a:cxn ang="f4299">
                <a:pos x="f5884" y="f6328"/>
              </a:cxn>
              <a:cxn ang="f4299">
                <a:pos x="f5885" y="f6329"/>
              </a:cxn>
              <a:cxn ang="f4299">
                <a:pos x="f5885" y="f6330"/>
              </a:cxn>
              <a:cxn ang="f4299">
                <a:pos x="f5884" y="f6331"/>
              </a:cxn>
              <a:cxn ang="f4299">
                <a:pos x="f5883" y="f6331"/>
              </a:cxn>
              <a:cxn ang="f4299">
                <a:pos x="f5886" y="f6330"/>
              </a:cxn>
              <a:cxn ang="f4299">
                <a:pos x="f5886" y="f6329"/>
              </a:cxn>
              <a:cxn ang="f4299">
                <a:pos x="f5887" y="f6328"/>
              </a:cxn>
              <a:cxn ang="f4299">
                <a:pos x="f5888" y="f6328"/>
              </a:cxn>
              <a:cxn ang="f4299">
                <a:pos x="f5889" y="f6329"/>
              </a:cxn>
              <a:cxn ang="f4299">
                <a:pos x="f5889" y="f6330"/>
              </a:cxn>
              <a:cxn ang="f4299">
                <a:pos x="f5888" y="f6331"/>
              </a:cxn>
              <a:cxn ang="f4299">
                <a:pos x="f5887" y="f6331"/>
              </a:cxn>
              <a:cxn ang="f4299">
                <a:pos x="f5890" y="f6330"/>
              </a:cxn>
              <a:cxn ang="f4299">
                <a:pos x="f5890" y="f6329"/>
              </a:cxn>
              <a:cxn ang="f4299">
                <a:pos x="f5891" y="f6328"/>
              </a:cxn>
              <a:cxn ang="f4299">
                <a:pos x="f5892" y="f6328"/>
              </a:cxn>
              <a:cxn ang="f4299">
                <a:pos x="f5893" y="f6329"/>
              </a:cxn>
              <a:cxn ang="f4299">
                <a:pos x="f5893" y="f6330"/>
              </a:cxn>
              <a:cxn ang="f4299">
                <a:pos x="f5892" y="f6331"/>
              </a:cxn>
              <a:cxn ang="f4299">
                <a:pos x="f5891" y="f6331"/>
              </a:cxn>
              <a:cxn ang="f4299">
                <a:pos x="f5894" y="f6330"/>
              </a:cxn>
              <a:cxn ang="f4299">
                <a:pos x="f5894" y="f6329"/>
              </a:cxn>
              <a:cxn ang="f4299">
                <a:pos x="f6332" y="f6328"/>
              </a:cxn>
              <a:cxn ang="f4299">
                <a:pos x="f6333" y="f6328"/>
              </a:cxn>
              <a:cxn ang="f4299">
                <a:pos x="f6334" y="f6329"/>
              </a:cxn>
              <a:cxn ang="f4299">
                <a:pos x="f6334" y="f6330"/>
              </a:cxn>
              <a:cxn ang="f4299">
                <a:pos x="f6333" y="f6331"/>
              </a:cxn>
              <a:cxn ang="f4299">
                <a:pos x="f6332" y="f6331"/>
              </a:cxn>
              <a:cxn ang="f4299">
                <a:pos x="f6335" y="f6330"/>
              </a:cxn>
              <a:cxn ang="f4299">
                <a:pos x="f6335" y="f6329"/>
              </a:cxn>
              <a:cxn ang="f4299">
                <a:pos x="f6306" y="f6328"/>
              </a:cxn>
              <a:cxn ang="f4299">
                <a:pos x="f6336" y="f6328"/>
              </a:cxn>
              <a:cxn ang="f4299">
                <a:pos x="f6337" y="f6329"/>
              </a:cxn>
              <a:cxn ang="f4299">
                <a:pos x="f6337" y="f6330"/>
              </a:cxn>
              <a:cxn ang="f4299">
                <a:pos x="f6336" y="f6331"/>
              </a:cxn>
              <a:cxn ang="f4299">
                <a:pos x="f6306" y="f6331"/>
              </a:cxn>
              <a:cxn ang="f4299">
                <a:pos x="f6309" y="f6330"/>
              </a:cxn>
              <a:cxn ang="f4299">
                <a:pos x="f6309" y="f6329"/>
              </a:cxn>
              <a:cxn ang="f4299">
                <a:pos x="f6338" y="f6328"/>
              </a:cxn>
              <a:cxn ang="f4299">
                <a:pos x="f6339" y="f6328"/>
              </a:cxn>
              <a:cxn ang="f4299">
                <a:pos x="f6340" y="f6329"/>
              </a:cxn>
              <a:cxn ang="f4299">
                <a:pos x="f6340" y="f6330"/>
              </a:cxn>
              <a:cxn ang="f4299">
                <a:pos x="f6339" y="f6331"/>
              </a:cxn>
              <a:cxn ang="f4299">
                <a:pos x="f6338" y="f6331"/>
              </a:cxn>
              <a:cxn ang="f4299">
                <a:pos x="f6341" y="f6330"/>
              </a:cxn>
              <a:cxn ang="f4299">
                <a:pos x="f6341" y="f6329"/>
              </a:cxn>
              <a:cxn ang="f4299">
                <a:pos x="f6342" y="f6328"/>
              </a:cxn>
              <a:cxn ang="f4299">
                <a:pos x="f6343" y="f6328"/>
              </a:cxn>
              <a:cxn ang="f4299">
                <a:pos x="f6313" y="f6329"/>
              </a:cxn>
              <a:cxn ang="f4299">
                <a:pos x="f6313" y="f6330"/>
              </a:cxn>
              <a:cxn ang="f4299">
                <a:pos x="f6343" y="f6331"/>
              </a:cxn>
              <a:cxn ang="f4299">
                <a:pos x="f6342" y="f6331"/>
              </a:cxn>
              <a:cxn ang="f4299">
                <a:pos x="f6344" y="f6330"/>
              </a:cxn>
              <a:cxn ang="f4299">
                <a:pos x="f6344" y="f6329"/>
              </a:cxn>
              <a:cxn ang="f4299">
                <a:pos x="f5767" y="f6345"/>
              </a:cxn>
              <a:cxn ang="f4299">
                <a:pos x="f5769" y="f6345"/>
              </a:cxn>
              <a:cxn ang="f4299">
                <a:pos x="f5770" y="f6346"/>
              </a:cxn>
              <a:cxn ang="f4299">
                <a:pos x="f5770" y="f6347"/>
              </a:cxn>
              <a:cxn ang="f4299">
                <a:pos x="f5769" y="f6348"/>
              </a:cxn>
              <a:cxn ang="f4299">
                <a:pos x="f5767" y="f6348"/>
              </a:cxn>
              <a:cxn ang="f4299">
                <a:pos x="f5774" y="f6347"/>
              </a:cxn>
              <a:cxn ang="f4299">
                <a:pos x="f5774" y="f6346"/>
              </a:cxn>
              <a:cxn ang="f4299">
                <a:pos x="f5775" y="f6345"/>
              </a:cxn>
              <a:cxn ang="f4299">
                <a:pos x="f5776" y="f6345"/>
              </a:cxn>
              <a:cxn ang="f4299">
                <a:pos x="f5777" y="f6346"/>
              </a:cxn>
              <a:cxn ang="f4299">
                <a:pos x="f5777" y="f6347"/>
              </a:cxn>
              <a:cxn ang="f4299">
                <a:pos x="f5776" y="f6348"/>
              </a:cxn>
              <a:cxn ang="f4299">
                <a:pos x="f5775" y="f6348"/>
              </a:cxn>
              <a:cxn ang="f4299">
                <a:pos x="f5778" y="f6347"/>
              </a:cxn>
              <a:cxn ang="f4299">
                <a:pos x="f5778" y="f6346"/>
              </a:cxn>
              <a:cxn ang="f4299">
                <a:pos x="f5779" y="f6345"/>
              </a:cxn>
              <a:cxn ang="f4299">
                <a:pos x="f5780" y="f6345"/>
              </a:cxn>
              <a:cxn ang="f4299">
                <a:pos x="f5781" y="f6346"/>
              </a:cxn>
              <a:cxn ang="f4299">
                <a:pos x="f5781" y="f6347"/>
              </a:cxn>
              <a:cxn ang="f4299">
                <a:pos x="f5780" y="f6348"/>
              </a:cxn>
              <a:cxn ang="f4299">
                <a:pos x="f5779" y="f6348"/>
              </a:cxn>
              <a:cxn ang="f4299">
                <a:pos x="f5782" y="f6347"/>
              </a:cxn>
              <a:cxn ang="f4299">
                <a:pos x="f5782" y="f6346"/>
              </a:cxn>
              <a:cxn ang="f4299">
                <a:pos x="f5783" y="f6345"/>
              </a:cxn>
              <a:cxn ang="f4299">
                <a:pos x="f5784" y="f6345"/>
              </a:cxn>
              <a:cxn ang="f4299">
                <a:pos x="f5785" y="f6346"/>
              </a:cxn>
              <a:cxn ang="f4299">
                <a:pos x="f5785" y="f6347"/>
              </a:cxn>
              <a:cxn ang="f4299">
                <a:pos x="f5784" y="f6348"/>
              </a:cxn>
              <a:cxn ang="f4299">
                <a:pos x="f5783" y="f6348"/>
              </a:cxn>
              <a:cxn ang="f4299">
                <a:pos x="f5786" y="f6347"/>
              </a:cxn>
              <a:cxn ang="f4299">
                <a:pos x="f5786" y="f6346"/>
              </a:cxn>
              <a:cxn ang="f4299">
                <a:pos x="f5787" y="f6345"/>
              </a:cxn>
              <a:cxn ang="f4299">
                <a:pos x="f5788" y="f6345"/>
              </a:cxn>
              <a:cxn ang="f4299">
                <a:pos x="f5789" y="f6346"/>
              </a:cxn>
              <a:cxn ang="f4299">
                <a:pos x="f5789" y="f6347"/>
              </a:cxn>
              <a:cxn ang="f4299">
                <a:pos x="f5788" y="f6348"/>
              </a:cxn>
              <a:cxn ang="f4299">
                <a:pos x="f5787" y="f6348"/>
              </a:cxn>
              <a:cxn ang="f4299">
                <a:pos x="f5790" y="f6347"/>
              </a:cxn>
              <a:cxn ang="f4299">
                <a:pos x="f5790" y="f6346"/>
              </a:cxn>
              <a:cxn ang="f4299">
                <a:pos x="f5791" y="f6345"/>
              </a:cxn>
              <a:cxn ang="f4299">
                <a:pos x="f5792" y="f6345"/>
              </a:cxn>
              <a:cxn ang="f4299">
                <a:pos x="f5793" y="f6346"/>
              </a:cxn>
              <a:cxn ang="f4299">
                <a:pos x="f5793" y="f6347"/>
              </a:cxn>
              <a:cxn ang="f4299">
                <a:pos x="f5792" y="f6348"/>
              </a:cxn>
              <a:cxn ang="f4299">
                <a:pos x="f5791" y="f6348"/>
              </a:cxn>
              <a:cxn ang="f4299">
                <a:pos x="f5794" y="f6347"/>
              </a:cxn>
              <a:cxn ang="f4299">
                <a:pos x="f5794" y="f6346"/>
              </a:cxn>
              <a:cxn ang="f4299">
                <a:pos x="f5795" y="f6345"/>
              </a:cxn>
              <a:cxn ang="f4299">
                <a:pos x="f5796" y="f6345"/>
              </a:cxn>
              <a:cxn ang="f4299">
                <a:pos x="f5797" y="f6346"/>
              </a:cxn>
              <a:cxn ang="f4299">
                <a:pos x="f5797" y="f6347"/>
              </a:cxn>
              <a:cxn ang="f4299">
                <a:pos x="f5796" y="f6348"/>
              </a:cxn>
              <a:cxn ang="f4299">
                <a:pos x="f5795" y="f6348"/>
              </a:cxn>
              <a:cxn ang="f4299">
                <a:pos x="f5798" y="f6347"/>
              </a:cxn>
              <a:cxn ang="f4299">
                <a:pos x="f5798" y="f6346"/>
              </a:cxn>
              <a:cxn ang="f4299">
                <a:pos x="f5799" y="f6345"/>
              </a:cxn>
              <a:cxn ang="f4299">
                <a:pos x="f5800" y="f6345"/>
              </a:cxn>
              <a:cxn ang="f4299">
                <a:pos x="f5801" y="f6346"/>
              </a:cxn>
              <a:cxn ang="f4299">
                <a:pos x="f5801" y="f6347"/>
              </a:cxn>
              <a:cxn ang="f4299">
                <a:pos x="f5800" y="f6348"/>
              </a:cxn>
              <a:cxn ang="f4299">
                <a:pos x="f5799" y="f6348"/>
              </a:cxn>
              <a:cxn ang="f4299">
                <a:pos x="f5802" y="f6347"/>
              </a:cxn>
              <a:cxn ang="f4299">
                <a:pos x="f5802" y="f6346"/>
              </a:cxn>
              <a:cxn ang="f4299">
                <a:pos x="f5803" y="f6345"/>
              </a:cxn>
              <a:cxn ang="f4299">
                <a:pos x="f5804" y="f6345"/>
              </a:cxn>
              <a:cxn ang="f4299">
                <a:pos x="f5805" y="f6346"/>
              </a:cxn>
              <a:cxn ang="f4299">
                <a:pos x="f5805" y="f6347"/>
              </a:cxn>
              <a:cxn ang="f4299">
                <a:pos x="f5804" y="f6348"/>
              </a:cxn>
              <a:cxn ang="f4299">
                <a:pos x="f5803" y="f6348"/>
              </a:cxn>
              <a:cxn ang="f4299">
                <a:pos x="f5806" y="f6347"/>
              </a:cxn>
              <a:cxn ang="f4299">
                <a:pos x="f5806" y="f6346"/>
              </a:cxn>
              <a:cxn ang="f4299">
                <a:pos x="f5807" y="f6345"/>
              </a:cxn>
              <a:cxn ang="f4299">
                <a:pos x="f5808" y="f6345"/>
              </a:cxn>
              <a:cxn ang="f4299">
                <a:pos x="f5809" y="f6346"/>
              </a:cxn>
              <a:cxn ang="f4299">
                <a:pos x="f5809" y="f6347"/>
              </a:cxn>
              <a:cxn ang="f4299">
                <a:pos x="f5808" y="f6348"/>
              </a:cxn>
              <a:cxn ang="f4299">
                <a:pos x="f5807" y="f6348"/>
              </a:cxn>
              <a:cxn ang="f4299">
                <a:pos x="f5810" y="f6347"/>
              </a:cxn>
              <a:cxn ang="f4299">
                <a:pos x="f5810" y="f6346"/>
              </a:cxn>
              <a:cxn ang="f4299">
                <a:pos x="f5811" y="f6345"/>
              </a:cxn>
              <a:cxn ang="f4299">
                <a:pos x="f5812" y="f6345"/>
              </a:cxn>
              <a:cxn ang="f4299">
                <a:pos x="f5813" y="f6346"/>
              </a:cxn>
              <a:cxn ang="f4299">
                <a:pos x="f5813" y="f6347"/>
              </a:cxn>
              <a:cxn ang="f4299">
                <a:pos x="f5812" y="f6348"/>
              </a:cxn>
              <a:cxn ang="f4299">
                <a:pos x="f5811" y="f6348"/>
              </a:cxn>
              <a:cxn ang="f4299">
                <a:pos x="f5814" y="f6347"/>
              </a:cxn>
              <a:cxn ang="f4299">
                <a:pos x="f5814" y="f6346"/>
              </a:cxn>
              <a:cxn ang="f4299">
                <a:pos x="f5815" y="f6345"/>
              </a:cxn>
              <a:cxn ang="f4299">
                <a:pos x="f5816" y="f6345"/>
              </a:cxn>
              <a:cxn ang="f4299">
                <a:pos x="f5817" y="f6346"/>
              </a:cxn>
              <a:cxn ang="f4299">
                <a:pos x="f5817" y="f6347"/>
              </a:cxn>
              <a:cxn ang="f4299">
                <a:pos x="f5816" y="f6348"/>
              </a:cxn>
              <a:cxn ang="f4299">
                <a:pos x="f5815" y="f6348"/>
              </a:cxn>
              <a:cxn ang="f4299">
                <a:pos x="f5818" y="f6347"/>
              </a:cxn>
              <a:cxn ang="f4299">
                <a:pos x="f5818" y="f6346"/>
              </a:cxn>
              <a:cxn ang="f4299">
                <a:pos x="f5819" y="f6345"/>
              </a:cxn>
              <a:cxn ang="f4299">
                <a:pos x="f5820" y="f6345"/>
              </a:cxn>
              <a:cxn ang="f4299">
                <a:pos x="f5821" y="f6346"/>
              </a:cxn>
              <a:cxn ang="f4299">
                <a:pos x="f5821" y="f6347"/>
              </a:cxn>
              <a:cxn ang="f4299">
                <a:pos x="f5820" y="f6348"/>
              </a:cxn>
              <a:cxn ang="f4299">
                <a:pos x="f5819" y="f6348"/>
              </a:cxn>
              <a:cxn ang="f4299">
                <a:pos x="f5822" y="f6347"/>
              </a:cxn>
              <a:cxn ang="f4299">
                <a:pos x="f5822" y="f6346"/>
              </a:cxn>
              <a:cxn ang="f4299">
                <a:pos x="f5823" y="f6345"/>
              </a:cxn>
              <a:cxn ang="f4299">
                <a:pos x="f5824" y="f6345"/>
              </a:cxn>
              <a:cxn ang="f4299">
                <a:pos x="f5825" y="f6346"/>
              </a:cxn>
              <a:cxn ang="f4299">
                <a:pos x="f5825" y="f6347"/>
              </a:cxn>
              <a:cxn ang="f4299">
                <a:pos x="f5824" y="f6348"/>
              </a:cxn>
              <a:cxn ang="f4299">
                <a:pos x="f5823" y="f6348"/>
              </a:cxn>
              <a:cxn ang="f4299">
                <a:pos x="f5826" y="f6347"/>
              </a:cxn>
              <a:cxn ang="f4299">
                <a:pos x="f5826" y="f6346"/>
              </a:cxn>
              <a:cxn ang="f4299">
                <a:pos x="f5827" y="f6345"/>
              </a:cxn>
              <a:cxn ang="f4299">
                <a:pos x="f5828" y="f6345"/>
              </a:cxn>
              <a:cxn ang="f4299">
                <a:pos x="f5829" y="f6346"/>
              </a:cxn>
              <a:cxn ang="f4299">
                <a:pos x="f5829" y="f6347"/>
              </a:cxn>
              <a:cxn ang="f4299">
                <a:pos x="f5828" y="f6348"/>
              </a:cxn>
              <a:cxn ang="f4299">
                <a:pos x="f5827" y="f6348"/>
              </a:cxn>
              <a:cxn ang="f4299">
                <a:pos x="f5830" y="f6347"/>
              </a:cxn>
              <a:cxn ang="f4299">
                <a:pos x="f5830" y="f6346"/>
              </a:cxn>
              <a:cxn ang="f4299">
                <a:pos x="f5831" y="f6345"/>
              </a:cxn>
              <a:cxn ang="f4299">
                <a:pos x="f5832" y="f6345"/>
              </a:cxn>
              <a:cxn ang="f4299">
                <a:pos x="f5833" y="f6346"/>
              </a:cxn>
              <a:cxn ang="f4299">
                <a:pos x="f5833" y="f6347"/>
              </a:cxn>
              <a:cxn ang="f4299">
                <a:pos x="f5832" y="f6348"/>
              </a:cxn>
              <a:cxn ang="f4299">
                <a:pos x="f5831" y="f6348"/>
              </a:cxn>
              <a:cxn ang="f4299">
                <a:pos x="f5834" y="f6347"/>
              </a:cxn>
              <a:cxn ang="f4299">
                <a:pos x="f5834" y="f6346"/>
              </a:cxn>
              <a:cxn ang="f4299">
                <a:pos x="f5835" y="f6345"/>
              </a:cxn>
              <a:cxn ang="f4299">
                <a:pos x="f5836" y="f6345"/>
              </a:cxn>
              <a:cxn ang="f4299">
                <a:pos x="f5837" y="f6346"/>
              </a:cxn>
              <a:cxn ang="f4299">
                <a:pos x="f5837" y="f6347"/>
              </a:cxn>
              <a:cxn ang="f4299">
                <a:pos x="f5836" y="f6348"/>
              </a:cxn>
              <a:cxn ang="f4299">
                <a:pos x="f5835" y="f6348"/>
              </a:cxn>
              <a:cxn ang="f4299">
                <a:pos x="f5838" y="f6347"/>
              </a:cxn>
              <a:cxn ang="f4299">
                <a:pos x="f5838" y="f6346"/>
              </a:cxn>
              <a:cxn ang="f4299">
                <a:pos x="f5839" y="f6345"/>
              </a:cxn>
              <a:cxn ang="f4299">
                <a:pos x="f5840" y="f6345"/>
              </a:cxn>
              <a:cxn ang="f4299">
                <a:pos x="f5841" y="f6346"/>
              </a:cxn>
              <a:cxn ang="f4299">
                <a:pos x="f5841" y="f6347"/>
              </a:cxn>
              <a:cxn ang="f4299">
                <a:pos x="f5840" y="f6348"/>
              </a:cxn>
              <a:cxn ang="f4299">
                <a:pos x="f5839" y="f6348"/>
              </a:cxn>
              <a:cxn ang="f4299">
                <a:pos x="f5842" y="f6347"/>
              </a:cxn>
              <a:cxn ang="f4299">
                <a:pos x="f5842" y="f6346"/>
              </a:cxn>
              <a:cxn ang="f4299">
                <a:pos x="f5843" y="f6345"/>
              </a:cxn>
              <a:cxn ang="f4299">
                <a:pos x="f5844" y="f6345"/>
              </a:cxn>
              <a:cxn ang="f4299">
                <a:pos x="f5845" y="f6346"/>
              </a:cxn>
              <a:cxn ang="f4299">
                <a:pos x="f5845" y="f6347"/>
              </a:cxn>
              <a:cxn ang="f4299">
                <a:pos x="f5844" y="f6348"/>
              </a:cxn>
              <a:cxn ang="f4299">
                <a:pos x="f5843" y="f6348"/>
              </a:cxn>
              <a:cxn ang="f4299">
                <a:pos x="f5846" y="f6347"/>
              </a:cxn>
              <a:cxn ang="f4299">
                <a:pos x="f5846" y="f6346"/>
              </a:cxn>
              <a:cxn ang="f4299">
                <a:pos x="f5847" y="f6345"/>
              </a:cxn>
              <a:cxn ang="f4299">
                <a:pos x="f5848" y="f6345"/>
              </a:cxn>
              <a:cxn ang="f4299">
                <a:pos x="f5849" y="f6346"/>
              </a:cxn>
              <a:cxn ang="f4299">
                <a:pos x="f5849" y="f6347"/>
              </a:cxn>
              <a:cxn ang="f4299">
                <a:pos x="f5848" y="f6348"/>
              </a:cxn>
              <a:cxn ang="f4299">
                <a:pos x="f5847" y="f6348"/>
              </a:cxn>
              <a:cxn ang="f4299">
                <a:pos x="f5850" y="f6347"/>
              </a:cxn>
              <a:cxn ang="f4299">
                <a:pos x="f5850" y="f6346"/>
              </a:cxn>
              <a:cxn ang="f4299">
                <a:pos x="f5851" y="f6345"/>
              </a:cxn>
              <a:cxn ang="f4299">
                <a:pos x="f5852" y="f6345"/>
              </a:cxn>
              <a:cxn ang="f4299">
                <a:pos x="f5853" y="f6346"/>
              </a:cxn>
              <a:cxn ang="f4299">
                <a:pos x="f5853" y="f6347"/>
              </a:cxn>
              <a:cxn ang="f4299">
                <a:pos x="f5852" y="f6348"/>
              </a:cxn>
              <a:cxn ang="f4299">
                <a:pos x="f5851" y="f6348"/>
              </a:cxn>
              <a:cxn ang="f4299">
                <a:pos x="f5854" y="f6347"/>
              </a:cxn>
              <a:cxn ang="f4299">
                <a:pos x="f5854" y="f6346"/>
              </a:cxn>
              <a:cxn ang="f4299">
                <a:pos x="f5855" y="f6345"/>
              </a:cxn>
              <a:cxn ang="f4299">
                <a:pos x="f5856" y="f6345"/>
              </a:cxn>
              <a:cxn ang="f4299">
                <a:pos x="f5857" y="f6346"/>
              </a:cxn>
              <a:cxn ang="f4299">
                <a:pos x="f5857" y="f6347"/>
              </a:cxn>
              <a:cxn ang="f4299">
                <a:pos x="f5856" y="f6348"/>
              </a:cxn>
              <a:cxn ang="f4299">
                <a:pos x="f5855" y="f6348"/>
              </a:cxn>
              <a:cxn ang="f4299">
                <a:pos x="f5858" y="f6347"/>
              </a:cxn>
              <a:cxn ang="f4299">
                <a:pos x="f5858" y="f6346"/>
              </a:cxn>
              <a:cxn ang="f4299">
                <a:pos x="f5859" y="f6345"/>
              </a:cxn>
              <a:cxn ang="f4299">
                <a:pos x="f5860" y="f6345"/>
              </a:cxn>
              <a:cxn ang="f4299">
                <a:pos x="f5861" y="f6346"/>
              </a:cxn>
              <a:cxn ang="f4299">
                <a:pos x="f5861" y="f6347"/>
              </a:cxn>
              <a:cxn ang="f4299">
                <a:pos x="f5860" y="f6348"/>
              </a:cxn>
              <a:cxn ang="f4299">
                <a:pos x="f5859" y="f6348"/>
              </a:cxn>
              <a:cxn ang="f4299">
                <a:pos x="f5862" y="f6347"/>
              </a:cxn>
              <a:cxn ang="f4299">
                <a:pos x="f5862" y="f6346"/>
              </a:cxn>
              <a:cxn ang="f4299">
                <a:pos x="f5863" y="f6345"/>
              </a:cxn>
              <a:cxn ang="f4299">
                <a:pos x="f5864" y="f6345"/>
              </a:cxn>
              <a:cxn ang="f4299">
                <a:pos x="f5865" y="f6346"/>
              </a:cxn>
              <a:cxn ang="f4299">
                <a:pos x="f5865" y="f6347"/>
              </a:cxn>
              <a:cxn ang="f4299">
                <a:pos x="f5864" y="f6348"/>
              </a:cxn>
              <a:cxn ang="f4299">
                <a:pos x="f5863" y="f6348"/>
              </a:cxn>
              <a:cxn ang="f4299">
                <a:pos x="f5866" y="f6347"/>
              </a:cxn>
              <a:cxn ang="f4299">
                <a:pos x="f5866" y="f6346"/>
              </a:cxn>
              <a:cxn ang="f4299">
                <a:pos x="f5867" y="f6345"/>
              </a:cxn>
              <a:cxn ang="f4299">
                <a:pos x="f5868" y="f6345"/>
              </a:cxn>
              <a:cxn ang="f4299">
                <a:pos x="f5869" y="f6346"/>
              </a:cxn>
              <a:cxn ang="f4299">
                <a:pos x="f5869" y="f6347"/>
              </a:cxn>
              <a:cxn ang="f4299">
                <a:pos x="f5868" y="f6348"/>
              </a:cxn>
              <a:cxn ang="f4299">
                <a:pos x="f5867" y="f6348"/>
              </a:cxn>
              <a:cxn ang="f4299">
                <a:pos x="f5870" y="f6347"/>
              </a:cxn>
              <a:cxn ang="f4299">
                <a:pos x="f5870" y="f6346"/>
              </a:cxn>
              <a:cxn ang="f4299">
                <a:pos x="f5871" y="f6345"/>
              </a:cxn>
              <a:cxn ang="f4299">
                <a:pos x="f5872" y="f6345"/>
              </a:cxn>
              <a:cxn ang="f4299">
                <a:pos x="f5873" y="f6346"/>
              </a:cxn>
              <a:cxn ang="f4299">
                <a:pos x="f5873" y="f6347"/>
              </a:cxn>
              <a:cxn ang="f4299">
                <a:pos x="f5872" y="f6348"/>
              </a:cxn>
              <a:cxn ang="f4299">
                <a:pos x="f5871" y="f6348"/>
              </a:cxn>
              <a:cxn ang="f4299">
                <a:pos x="f5874" y="f6347"/>
              </a:cxn>
              <a:cxn ang="f4299">
                <a:pos x="f5874" y="f6346"/>
              </a:cxn>
              <a:cxn ang="f4299">
                <a:pos x="f5875" y="f6345"/>
              </a:cxn>
              <a:cxn ang="f4299">
                <a:pos x="f5876" y="f6345"/>
              </a:cxn>
              <a:cxn ang="f4299">
                <a:pos x="f5877" y="f6346"/>
              </a:cxn>
              <a:cxn ang="f4299">
                <a:pos x="f5877" y="f6347"/>
              </a:cxn>
              <a:cxn ang="f4299">
                <a:pos x="f5876" y="f6348"/>
              </a:cxn>
              <a:cxn ang="f4299">
                <a:pos x="f5875" y="f6348"/>
              </a:cxn>
              <a:cxn ang="f4299">
                <a:pos x="f5878" y="f6347"/>
              </a:cxn>
              <a:cxn ang="f4299">
                <a:pos x="f5878" y="f6346"/>
              </a:cxn>
              <a:cxn ang="f4299">
                <a:pos x="f5879" y="f6345"/>
              </a:cxn>
              <a:cxn ang="f4299">
                <a:pos x="f5880" y="f6345"/>
              </a:cxn>
              <a:cxn ang="f4299">
                <a:pos x="f5881" y="f6346"/>
              </a:cxn>
              <a:cxn ang="f4299">
                <a:pos x="f5881" y="f6347"/>
              </a:cxn>
              <a:cxn ang="f4299">
                <a:pos x="f5880" y="f6348"/>
              </a:cxn>
              <a:cxn ang="f4299">
                <a:pos x="f5879" y="f6348"/>
              </a:cxn>
              <a:cxn ang="f4299">
                <a:pos x="f5882" y="f6347"/>
              </a:cxn>
              <a:cxn ang="f4299">
                <a:pos x="f5882" y="f6346"/>
              </a:cxn>
              <a:cxn ang="f4299">
                <a:pos x="f5883" y="f6345"/>
              </a:cxn>
              <a:cxn ang="f4299">
                <a:pos x="f5884" y="f6345"/>
              </a:cxn>
              <a:cxn ang="f4299">
                <a:pos x="f5885" y="f6346"/>
              </a:cxn>
              <a:cxn ang="f4299">
                <a:pos x="f5885" y="f6347"/>
              </a:cxn>
              <a:cxn ang="f4299">
                <a:pos x="f5884" y="f6348"/>
              </a:cxn>
              <a:cxn ang="f4299">
                <a:pos x="f5883" y="f6348"/>
              </a:cxn>
              <a:cxn ang="f4299">
                <a:pos x="f5886" y="f6347"/>
              </a:cxn>
              <a:cxn ang="f4299">
                <a:pos x="f5886" y="f6346"/>
              </a:cxn>
              <a:cxn ang="f4299">
                <a:pos x="f5887" y="f6345"/>
              </a:cxn>
              <a:cxn ang="f4299">
                <a:pos x="f5888" y="f6345"/>
              </a:cxn>
              <a:cxn ang="f4299">
                <a:pos x="f5889" y="f6346"/>
              </a:cxn>
              <a:cxn ang="f4299">
                <a:pos x="f5889" y="f6347"/>
              </a:cxn>
              <a:cxn ang="f4299">
                <a:pos x="f5888" y="f6348"/>
              </a:cxn>
              <a:cxn ang="f4299">
                <a:pos x="f5887" y="f6348"/>
              </a:cxn>
              <a:cxn ang="f4299">
                <a:pos x="f5890" y="f6347"/>
              </a:cxn>
              <a:cxn ang="f4299">
                <a:pos x="f5890" y="f6346"/>
              </a:cxn>
              <a:cxn ang="f4299">
                <a:pos x="f5891" y="f6345"/>
              </a:cxn>
              <a:cxn ang="f4299">
                <a:pos x="f5892" y="f6345"/>
              </a:cxn>
              <a:cxn ang="f4299">
                <a:pos x="f5893" y="f6346"/>
              </a:cxn>
              <a:cxn ang="f4299">
                <a:pos x="f5893" y="f6347"/>
              </a:cxn>
              <a:cxn ang="f4299">
                <a:pos x="f5892" y="f6348"/>
              </a:cxn>
              <a:cxn ang="f4299">
                <a:pos x="f5891" y="f6348"/>
              </a:cxn>
              <a:cxn ang="f4299">
                <a:pos x="f5894" y="f6347"/>
              </a:cxn>
              <a:cxn ang="f4299">
                <a:pos x="f5894" y="f6346"/>
              </a:cxn>
              <a:cxn ang="f4299">
                <a:pos x="f6349" y="f6345"/>
              </a:cxn>
              <a:cxn ang="f4299">
                <a:pos x="f6316" y="f6345"/>
              </a:cxn>
              <a:cxn ang="f4299">
                <a:pos x="f6284" y="f6346"/>
              </a:cxn>
              <a:cxn ang="f4299">
                <a:pos x="f6284" y="f6347"/>
              </a:cxn>
              <a:cxn ang="f4299">
                <a:pos x="f6316" y="f6348"/>
              </a:cxn>
              <a:cxn ang="f4299">
                <a:pos x="f6349" y="f6348"/>
              </a:cxn>
              <a:cxn ang="f4299">
                <a:pos x="f6262" y="f6347"/>
              </a:cxn>
              <a:cxn ang="f4299">
                <a:pos x="f6262" y="f6346"/>
              </a:cxn>
              <a:cxn ang="f4299">
                <a:pos x="f6288" y="f6345"/>
              </a:cxn>
              <a:cxn ang="f4299">
                <a:pos x="f6263" y="f6345"/>
              </a:cxn>
              <a:cxn ang="f4299">
                <a:pos x="f6234" y="f6346"/>
              </a:cxn>
              <a:cxn ang="f4299">
                <a:pos x="f6234" y="f6347"/>
              </a:cxn>
              <a:cxn ang="f4299">
                <a:pos x="f6263" y="f6348"/>
              </a:cxn>
              <a:cxn ang="f4299">
                <a:pos x="f6288" y="f6348"/>
              </a:cxn>
              <a:cxn ang="f4299">
                <a:pos x="f6350" y="f6347"/>
              </a:cxn>
              <a:cxn ang="f4299">
                <a:pos x="f6350" y="f6346"/>
              </a:cxn>
              <a:cxn ang="f4299">
                <a:pos x="f6351" y="f6345"/>
              </a:cxn>
              <a:cxn ang="f4299">
                <a:pos x="f6352" y="f6345"/>
              </a:cxn>
              <a:cxn ang="f4299">
                <a:pos x="f6320" y="f6346"/>
              </a:cxn>
              <a:cxn ang="f4299">
                <a:pos x="f6320" y="f6347"/>
              </a:cxn>
              <a:cxn ang="f4299">
                <a:pos x="f6352" y="f6348"/>
              </a:cxn>
              <a:cxn ang="f4299">
                <a:pos x="f6351" y="f6348"/>
              </a:cxn>
              <a:cxn ang="f4299">
                <a:pos x="f6321" y="f6347"/>
              </a:cxn>
              <a:cxn ang="f4299">
                <a:pos x="f6321" y="f6346"/>
              </a:cxn>
              <a:cxn ang="f4299">
                <a:pos x="f6353" y="f6345"/>
              </a:cxn>
              <a:cxn ang="f4299">
                <a:pos x="f6354" y="f6345"/>
              </a:cxn>
              <a:cxn ang="f4299">
                <a:pos x="f6322" y="f6346"/>
              </a:cxn>
              <a:cxn ang="f4299">
                <a:pos x="f6322" y="f6347"/>
              </a:cxn>
              <a:cxn ang="f4299">
                <a:pos x="f6354" y="f6348"/>
              </a:cxn>
              <a:cxn ang="f4299">
                <a:pos x="f6353" y="f6348"/>
              </a:cxn>
              <a:cxn ang="f4299">
                <a:pos x="f6323" y="f6347"/>
              </a:cxn>
              <a:cxn ang="f4299">
                <a:pos x="f6323" y="f6346"/>
              </a:cxn>
              <a:cxn ang="f4299">
                <a:pos x="f6355" y="f6345"/>
              </a:cxn>
              <a:cxn ang="f4299">
                <a:pos x="f6356" y="f6345"/>
              </a:cxn>
              <a:cxn ang="f4299">
                <a:pos x="f6325" y="f6346"/>
              </a:cxn>
              <a:cxn ang="f4299">
                <a:pos x="f6325" y="f6347"/>
              </a:cxn>
              <a:cxn ang="f4299">
                <a:pos x="f6356" y="f6348"/>
              </a:cxn>
              <a:cxn ang="f4299">
                <a:pos x="f6355" y="f6348"/>
              </a:cxn>
              <a:cxn ang="f4299">
                <a:pos x="f6357" y="f6347"/>
              </a:cxn>
              <a:cxn ang="f4299">
                <a:pos x="f6357" y="f6346"/>
              </a:cxn>
              <a:cxn ang="f4299">
                <a:pos x="f6326" y="f6345"/>
              </a:cxn>
              <a:cxn ang="f4299">
                <a:pos x="f6358" y="f6345"/>
              </a:cxn>
              <a:cxn ang="f4299">
                <a:pos x="f6359" y="f6346"/>
              </a:cxn>
              <a:cxn ang="f4299">
                <a:pos x="f6359" y="f6347"/>
              </a:cxn>
              <a:cxn ang="f4299">
                <a:pos x="f6358" y="f6348"/>
              </a:cxn>
              <a:cxn ang="f4299">
                <a:pos x="f6326" y="f6348"/>
              </a:cxn>
              <a:cxn ang="f4299">
                <a:pos x="f6360" y="f6347"/>
              </a:cxn>
              <a:cxn ang="f4299">
                <a:pos x="f6360" y="f6346"/>
              </a:cxn>
              <a:cxn ang="f4299">
                <a:pos x="f6361" y="f6345"/>
              </a:cxn>
              <a:cxn ang="f4299">
                <a:pos x="f6333" y="f6345"/>
              </a:cxn>
              <a:cxn ang="f4299">
                <a:pos x="f6334" y="f6346"/>
              </a:cxn>
              <a:cxn ang="f4299">
                <a:pos x="f6334" y="f6347"/>
              </a:cxn>
              <a:cxn ang="f4299">
                <a:pos x="f6333" y="f6348"/>
              </a:cxn>
              <a:cxn ang="f4299">
                <a:pos x="f6361" y="f6348"/>
              </a:cxn>
              <a:cxn ang="f4299">
                <a:pos x="f6362" y="f6347"/>
              </a:cxn>
              <a:cxn ang="f4299">
                <a:pos x="f6362" y="f6346"/>
              </a:cxn>
              <a:cxn ang="f4299">
                <a:pos x="f6363" y="f6345"/>
              </a:cxn>
              <a:cxn ang="f4299">
                <a:pos x="f6336" y="f6345"/>
              </a:cxn>
              <a:cxn ang="f4299">
                <a:pos x="f6337" y="f6346"/>
              </a:cxn>
              <a:cxn ang="f4299">
                <a:pos x="f6337" y="f6347"/>
              </a:cxn>
              <a:cxn ang="f4299">
                <a:pos x="f6336" y="f6348"/>
              </a:cxn>
              <a:cxn ang="f4299">
                <a:pos x="f6363" y="f6348"/>
              </a:cxn>
              <a:cxn ang="f4299">
                <a:pos x="f6364" y="f6347"/>
              </a:cxn>
              <a:cxn ang="f4299">
                <a:pos x="f6364" y="f6346"/>
              </a:cxn>
              <a:cxn ang="f4299">
                <a:pos x="f6365" y="f6345"/>
              </a:cxn>
              <a:cxn ang="f4299">
                <a:pos x="f6366" y="f6345"/>
              </a:cxn>
              <a:cxn ang="f4299">
                <a:pos x="f6367" y="f6346"/>
              </a:cxn>
              <a:cxn ang="f4299">
                <a:pos x="f6367" y="f6347"/>
              </a:cxn>
              <a:cxn ang="f4299">
                <a:pos x="f6366" y="f6348"/>
              </a:cxn>
              <a:cxn ang="f4299">
                <a:pos x="f6365" y="f6348"/>
              </a:cxn>
              <a:cxn ang="f4299">
                <a:pos x="f6368" y="f6347"/>
              </a:cxn>
              <a:cxn ang="f4299">
                <a:pos x="f6368" y="f6346"/>
              </a:cxn>
              <a:cxn ang="f4299">
                <a:pos x="f6342" y="f6345"/>
              </a:cxn>
              <a:cxn ang="f4299">
                <a:pos x="f6369" y="f6345"/>
              </a:cxn>
              <a:cxn ang="f4299">
                <a:pos x="f6370" y="f6346"/>
              </a:cxn>
              <a:cxn ang="f4299">
                <a:pos x="f6370" y="f6347"/>
              </a:cxn>
              <a:cxn ang="f4299">
                <a:pos x="f6369" y="f6348"/>
              </a:cxn>
              <a:cxn ang="f4299">
                <a:pos x="f6342" y="f6348"/>
              </a:cxn>
              <a:cxn ang="f4299">
                <a:pos x="f6344" y="f6347"/>
              </a:cxn>
              <a:cxn ang="f4299">
                <a:pos x="f6344" y="f6346"/>
              </a:cxn>
              <a:cxn ang="f4299">
                <a:pos x="f6349" y="f6371"/>
              </a:cxn>
              <a:cxn ang="f4299">
                <a:pos x="f6316" y="f6371"/>
              </a:cxn>
              <a:cxn ang="f4299">
                <a:pos x="f6284" y="f6372"/>
              </a:cxn>
              <a:cxn ang="f4299">
                <a:pos x="f6284" y="f6373"/>
              </a:cxn>
              <a:cxn ang="f4299">
                <a:pos x="f6316" y="f6374"/>
              </a:cxn>
              <a:cxn ang="f4299">
                <a:pos x="f6349" y="f6374"/>
              </a:cxn>
              <a:cxn ang="f4299">
                <a:pos x="f6262" y="f6373"/>
              </a:cxn>
              <a:cxn ang="f4299">
                <a:pos x="f6262" y="f6372"/>
              </a:cxn>
              <a:cxn ang="f4299">
                <a:pos x="f6288" y="f6371"/>
              </a:cxn>
              <a:cxn ang="f4299">
                <a:pos x="f6263" y="f6371"/>
              </a:cxn>
              <a:cxn ang="f4299">
                <a:pos x="f6375" y="f6372"/>
              </a:cxn>
              <a:cxn ang="f4299">
                <a:pos x="f6375" y="f6373"/>
              </a:cxn>
              <a:cxn ang="f4299">
                <a:pos x="f6263" y="f6374"/>
              </a:cxn>
              <a:cxn ang="f4299">
                <a:pos x="f6288" y="f6374"/>
              </a:cxn>
              <a:cxn ang="f4299">
                <a:pos x="f6350" y="f6373"/>
              </a:cxn>
              <a:cxn ang="f4299">
                <a:pos x="f6350" y="f6372"/>
              </a:cxn>
              <a:cxn ang="f4299">
                <a:pos x="f6351" y="f6371"/>
              </a:cxn>
              <a:cxn ang="f4299">
                <a:pos x="f6376" y="f6371"/>
              </a:cxn>
              <a:cxn ang="f4299">
                <a:pos x="f6377" y="f6372"/>
              </a:cxn>
              <a:cxn ang="f4299">
                <a:pos x="f6377" y="f6373"/>
              </a:cxn>
              <a:cxn ang="f4299">
                <a:pos x="f6376" y="f6374"/>
              </a:cxn>
              <a:cxn ang="f4299">
                <a:pos x="f6351" y="f6374"/>
              </a:cxn>
              <a:cxn ang="f4299">
                <a:pos x="f6378" y="f6373"/>
              </a:cxn>
              <a:cxn ang="f4299">
                <a:pos x="f6378" y="f6372"/>
              </a:cxn>
              <a:cxn ang="f4299">
                <a:pos x="f6353" y="f6371"/>
              </a:cxn>
              <a:cxn ang="f4299">
                <a:pos x="f6354" y="f6371"/>
              </a:cxn>
              <a:cxn ang="f4299">
                <a:pos x="f6379" y="f6372"/>
              </a:cxn>
              <a:cxn ang="f4299">
                <a:pos x="f6379" y="f6373"/>
              </a:cxn>
              <a:cxn ang="f4299">
                <a:pos x="f6354" y="f6374"/>
              </a:cxn>
              <a:cxn ang="f4299">
                <a:pos x="f6353" y="f6374"/>
              </a:cxn>
              <a:cxn ang="f4299">
                <a:pos x="f6380" y="f6373"/>
              </a:cxn>
              <a:cxn ang="f4299">
                <a:pos x="f6380" y="f6372"/>
              </a:cxn>
              <a:cxn ang="f4299">
                <a:pos x="f6355" y="f6371"/>
              </a:cxn>
              <a:cxn ang="f4299">
                <a:pos x="f6381" y="f6371"/>
              </a:cxn>
              <a:cxn ang="f4299">
                <a:pos x="f6382" y="f6372"/>
              </a:cxn>
              <a:cxn ang="f4299">
                <a:pos x="f6382" y="f6373"/>
              </a:cxn>
              <a:cxn ang="f4299">
                <a:pos x="f6381" y="f6374"/>
              </a:cxn>
              <a:cxn ang="f4299">
                <a:pos x="f6355" y="f6374"/>
              </a:cxn>
              <a:cxn ang="f4299">
                <a:pos x="f6383" y="f6373"/>
              </a:cxn>
              <a:cxn ang="f4299">
                <a:pos x="f6383" y="f6372"/>
              </a:cxn>
              <a:cxn ang="f4299">
                <a:pos x="f6384" y="f6371"/>
              </a:cxn>
              <a:cxn ang="f4299">
                <a:pos x="f6358" y="f6371"/>
              </a:cxn>
              <a:cxn ang="f4299">
                <a:pos x="f6359" y="f6372"/>
              </a:cxn>
              <a:cxn ang="f4299">
                <a:pos x="f6359" y="f6373"/>
              </a:cxn>
              <a:cxn ang="f4299">
                <a:pos x="f6358" y="f6374"/>
              </a:cxn>
              <a:cxn ang="f4299">
                <a:pos x="f6384" y="f6374"/>
              </a:cxn>
              <a:cxn ang="f4299">
                <a:pos x="f6360" y="f6373"/>
              </a:cxn>
              <a:cxn ang="f4299">
                <a:pos x="f6360" y="f6372"/>
              </a:cxn>
              <a:cxn ang="f4299">
                <a:pos x="f5767" y="f6385"/>
              </a:cxn>
              <a:cxn ang="f4299">
                <a:pos x="f5769" y="f6385"/>
              </a:cxn>
              <a:cxn ang="f4299">
                <a:pos x="f5770" y="f6386"/>
              </a:cxn>
              <a:cxn ang="f4299">
                <a:pos x="f5770" y="f6387"/>
              </a:cxn>
              <a:cxn ang="f4299">
                <a:pos x="f5769" y="f6388"/>
              </a:cxn>
              <a:cxn ang="f4299">
                <a:pos x="f5767" y="f6388"/>
              </a:cxn>
              <a:cxn ang="f4299">
                <a:pos x="f5774" y="f6387"/>
              </a:cxn>
              <a:cxn ang="f4299">
                <a:pos x="f5774" y="f6386"/>
              </a:cxn>
              <a:cxn ang="f4299">
                <a:pos x="f5775" y="f6385"/>
              </a:cxn>
              <a:cxn ang="f4299">
                <a:pos x="f5776" y="f6385"/>
              </a:cxn>
              <a:cxn ang="f4299">
                <a:pos x="f5777" y="f6386"/>
              </a:cxn>
              <a:cxn ang="f4299">
                <a:pos x="f5777" y="f6387"/>
              </a:cxn>
              <a:cxn ang="f4299">
                <a:pos x="f5776" y="f6388"/>
              </a:cxn>
              <a:cxn ang="f4299">
                <a:pos x="f5775" y="f6388"/>
              </a:cxn>
              <a:cxn ang="f4299">
                <a:pos x="f5778" y="f6387"/>
              </a:cxn>
              <a:cxn ang="f4299">
                <a:pos x="f5778" y="f6386"/>
              </a:cxn>
              <a:cxn ang="f4299">
                <a:pos x="f5779" y="f6385"/>
              </a:cxn>
              <a:cxn ang="f4299">
                <a:pos x="f5780" y="f6385"/>
              </a:cxn>
              <a:cxn ang="f4299">
                <a:pos x="f5781" y="f6386"/>
              </a:cxn>
              <a:cxn ang="f4299">
                <a:pos x="f5781" y="f6387"/>
              </a:cxn>
              <a:cxn ang="f4299">
                <a:pos x="f5780" y="f6388"/>
              </a:cxn>
              <a:cxn ang="f4299">
                <a:pos x="f5779" y="f6388"/>
              </a:cxn>
              <a:cxn ang="f4299">
                <a:pos x="f5782" y="f6387"/>
              </a:cxn>
              <a:cxn ang="f4299">
                <a:pos x="f5782" y="f6386"/>
              </a:cxn>
              <a:cxn ang="f4299">
                <a:pos x="f5783" y="f6385"/>
              </a:cxn>
              <a:cxn ang="f4299">
                <a:pos x="f5784" y="f6385"/>
              </a:cxn>
              <a:cxn ang="f4299">
                <a:pos x="f5785" y="f6386"/>
              </a:cxn>
              <a:cxn ang="f4299">
                <a:pos x="f5785" y="f6387"/>
              </a:cxn>
              <a:cxn ang="f4299">
                <a:pos x="f5784" y="f6388"/>
              </a:cxn>
              <a:cxn ang="f4299">
                <a:pos x="f5783" y="f6388"/>
              </a:cxn>
              <a:cxn ang="f4299">
                <a:pos x="f5786" y="f6387"/>
              </a:cxn>
              <a:cxn ang="f4299">
                <a:pos x="f5786" y="f6386"/>
              </a:cxn>
              <a:cxn ang="f4299">
                <a:pos x="f5787" y="f6385"/>
              </a:cxn>
              <a:cxn ang="f4299">
                <a:pos x="f5788" y="f6385"/>
              </a:cxn>
              <a:cxn ang="f4299">
                <a:pos x="f5789" y="f6386"/>
              </a:cxn>
              <a:cxn ang="f4299">
                <a:pos x="f5789" y="f6387"/>
              </a:cxn>
              <a:cxn ang="f4299">
                <a:pos x="f5788" y="f6388"/>
              </a:cxn>
              <a:cxn ang="f4299">
                <a:pos x="f5787" y="f6388"/>
              </a:cxn>
              <a:cxn ang="f4299">
                <a:pos x="f5790" y="f6387"/>
              </a:cxn>
              <a:cxn ang="f4299">
                <a:pos x="f5790" y="f6386"/>
              </a:cxn>
              <a:cxn ang="f4299">
                <a:pos x="f5791" y="f6385"/>
              </a:cxn>
              <a:cxn ang="f4299">
                <a:pos x="f5792" y="f6385"/>
              </a:cxn>
              <a:cxn ang="f4299">
                <a:pos x="f5793" y="f6386"/>
              </a:cxn>
              <a:cxn ang="f4299">
                <a:pos x="f5793" y="f6387"/>
              </a:cxn>
              <a:cxn ang="f4299">
                <a:pos x="f5792" y="f6388"/>
              </a:cxn>
              <a:cxn ang="f4299">
                <a:pos x="f5791" y="f6388"/>
              </a:cxn>
              <a:cxn ang="f4299">
                <a:pos x="f5794" y="f6387"/>
              </a:cxn>
              <a:cxn ang="f4299">
                <a:pos x="f5794" y="f6386"/>
              </a:cxn>
              <a:cxn ang="f4299">
                <a:pos x="f5795" y="f6385"/>
              </a:cxn>
              <a:cxn ang="f4299">
                <a:pos x="f5796" y="f6385"/>
              </a:cxn>
              <a:cxn ang="f4299">
                <a:pos x="f5797" y="f6386"/>
              </a:cxn>
              <a:cxn ang="f4299">
                <a:pos x="f5797" y="f6387"/>
              </a:cxn>
              <a:cxn ang="f4299">
                <a:pos x="f5796" y="f6388"/>
              </a:cxn>
              <a:cxn ang="f4299">
                <a:pos x="f5795" y="f6388"/>
              </a:cxn>
              <a:cxn ang="f4299">
                <a:pos x="f5798" y="f6387"/>
              </a:cxn>
              <a:cxn ang="f4299">
                <a:pos x="f5798" y="f6386"/>
              </a:cxn>
              <a:cxn ang="f4299">
                <a:pos x="f5799" y="f6385"/>
              </a:cxn>
              <a:cxn ang="f4299">
                <a:pos x="f5800" y="f6385"/>
              </a:cxn>
              <a:cxn ang="f4299">
                <a:pos x="f5801" y="f6386"/>
              </a:cxn>
              <a:cxn ang="f4299">
                <a:pos x="f5801" y="f6387"/>
              </a:cxn>
              <a:cxn ang="f4299">
                <a:pos x="f5800" y="f6388"/>
              </a:cxn>
              <a:cxn ang="f4299">
                <a:pos x="f5799" y="f6388"/>
              </a:cxn>
              <a:cxn ang="f4299">
                <a:pos x="f5802" y="f6387"/>
              </a:cxn>
              <a:cxn ang="f4299">
                <a:pos x="f5802" y="f6386"/>
              </a:cxn>
              <a:cxn ang="f4299">
                <a:pos x="f5803" y="f6385"/>
              </a:cxn>
              <a:cxn ang="f4299">
                <a:pos x="f5804" y="f6385"/>
              </a:cxn>
              <a:cxn ang="f4299">
                <a:pos x="f5805" y="f6386"/>
              </a:cxn>
              <a:cxn ang="f4299">
                <a:pos x="f5805" y="f6387"/>
              </a:cxn>
              <a:cxn ang="f4299">
                <a:pos x="f5804" y="f6388"/>
              </a:cxn>
              <a:cxn ang="f4299">
                <a:pos x="f5803" y="f6388"/>
              </a:cxn>
              <a:cxn ang="f4299">
                <a:pos x="f5806" y="f6387"/>
              </a:cxn>
              <a:cxn ang="f4299">
                <a:pos x="f5806" y="f6386"/>
              </a:cxn>
              <a:cxn ang="f4299">
                <a:pos x="f5807" y="f6385"/>
              </a:cxn>
              <a:cxn ang="f4299">
                <a:pos x="f5808" y="f6385"/>
              </a:cxn>
              <a:cxn ang="f4299">
                <a:pos x="f5809" y="f6386"/>
              </a:cxn>
              <a:cxn ang="f4299">
                <a:pos x="f5809" y="f6387"/>
              </a:cxn>
              <a:cxn ang="f4299">
                <a:pos x="f5808" y="f6388"/>
              </a:cxn>
              <a:cxn ang="f4299">
                <a:pos x="f5807" y="f6388"/>
              </a:cxn>
              <a:cxn ang="f4299">
                <a:pos x="f5810" y="f6387"/>
              </a:cxn>
              <a:cxn ang="f4299">
                <a:pos x="f5810" y="f6386"/>
              </a:cxn>
              <a:cxn ang="f4299">
                <a:pos x="f5811" y="f6385"/>
              </a:cxn>
              <a:cxn ang="f4299">
                <a:pos x="f5812" y="f6385"/>
              </a:cxn>
              <a:cxn ang="f4299">
                <a:pos x="f5813" y="f6386"/>
              </a:cxn>
              <a:cxn ang="f4299">
                <a:pos x="f5813" y="f6387"/>
              </a:cxn>
              <a:cxn ang="f4299">
                <a:pos x="f5812" y="f6388"/>
              </a:cxn>
              <a:cxn ang="f4299">
                <a:pos x="f5811" y="f6388"/>
              </a:cxn>
              <a:cxn ang="f4299">
                <a:pos x="f5814" y="f6387"/>
              </a:cxn>
              <a:cxn ang="f4299">
                <a:pos x="f5814" y="f6386"/>
              </a:cxn>
              <a:cxn ang="f4299">
                <a:pos x="f5815" y="f6385"/>
              </a:cxn>
              <a:cxn ang="f4299">
                <a:pos x="f5816" y="f6385"/>
              </a:cxn>
              <a:cxn ang="f4299">
                <a:pos x="f5817" y="f6386"/>
              </a:cxn>
              <a:cxn ang="f4299">
                <a:pos x="f5817" y="f6387"/>
              </a:cxn>
              <a:cxn ang="f4299">
                <a:pos x="f5816" y="f6388"/>
              </a:cxn>
              <a:cxn ang="f4299">
                <a:pos x="f5815" y="f6388"/>
              </a:cxn>
              <a:cxn ang="f4299">
                <a:pos x="f5818" y="f6387"/>
              </a:cxn>
              <a:cxn ang="f4299">
                <a:pos x="f5818" y="f6386"/>
              </a:cxn>
              <a:cxn ang="f4299">
                <a:pos x="f5819" y="f6385"/>
              </a:cxn>
              <a:cxn ang="f4299">
                <a:pos x="f5820" y="f6385"/>
              </a:cxn>
              <a:cxn ang="f4299">
                <a:pos x="f5821" y="f6386"/>
              </a:cxn>
              <a:cxn ang="f4299">
                <a:pos x="f5821" y="f6387"/>
              </a:cxn>
              <a:cxn ang="f4299">
                <a:pos x="f5820" y="f6388"/>
              </a:cxn>
              <a:cxn ang="f4299">
                <a:pos x="f5819" y="f6388"/>
              </a:cxn>
              <a:cxn ang="f4299">
                <a:pos x="f5822" y="f6387"/>
              </a:cxn>
              <a:cxn ang="f4299">
                <a:pos x="f5822" y="f6386"/>
              </a:cxn>
              <a:cxn ang="f4299">
                <a:pos x="f5823" y="f6385"/>
              </a:cxn>
              <a:cxn ang="f4299">
                <a:pos x="f5824" y="f6385"/>
              </a:cxn>
              <a:cxn ang="f4299">
                <a:pos x="f5825" y="f6386"/>
              </a:cxn>
              <a:cxn ang="f4299">
                <a:pos x="f5825" y="f6387"/>
              </a:cxn>
              <a:cxn ang="f4299">
                <a:pos x="f5824" y="f6388"/>
              </a:cxn>
              <a:cxn ang="f4299">
                <a:pos x="f5823" y="f6388"/>
              </a:cxn>
              <a:cxn ang="f4299">
                <a:pos x="f5826" y="f6387"/>
              </a:cxn>
              <a:cxn ang="f4299">
                <a:pos x="f5826" y="f6386"/>
              </a:cxn>
              <a:cxn ang="f4299">
                <a:pos x="f5827" y="f6385"/>
              </a:cxn>
              <a:cxn ang="f4299">
                <a:pos x="f5828" y="f6385"/>
              </a:cxn>
              <a:cxn ang="f4299">
                <a:pos x="f5829" y="f6386"/>
              </a:cxn>
              <a:cxn ang="f4299">
                <a:pos x="f5829" y="f6387"/>
              </a:cxn>
              <a:cxn ang="f4299">
                <a:pos x="f5828" y="f6388"/>
              </a:cxn>
              <a:cxn ang="f4299">
                <a:pos x="f5827" y="f6388"/>
              </a:cxn>
              <a:cxn ang="f4299">
                <a:pos x="f5830" y="f6387"/>
              </a:cxn>
              <a:cxn ang="f4299">
                <a:pos x="f5830" y="f6386"/>
              </a:cxn>
              <a:cxn ang="f4299">
                <a:pos x="f5831" y="f6385"/>
              </a:cxn>
              <a:cxn ang="f4299">
                <a:pos x="f5832" y="f6385"/>
              </a:cxn>
              <a:cxn ang="f4299">
                <a:pos x="f5833" y="f6386"/>
              </a:cxn>
              <a:cxn ang="f4299">
                <a:pos x="f5833" y="f6387"/>
              </a:cxn>
              <a:cxn ang="f4299">
                <a:pos x="f5832" y="f6388"/>
              </a:cxn>
              <a:cxn ang="f4299">
                <a:pos x="f5831" y="f6388"/>
              </a:cxn>
              <a:cxn ang="f4299">
                <a:pos x="f5834" y="f6387"/>
              </a:cxn>
              <a:cxn ang="f4299">
                <a:pos x="f5834" y="f6386"/>
              </a:cxn>
              <a:cxn ang="f4299">
                <a:pos x="f5835" y="f6385"/>
              </a:cxn>
              <a:cxn ang="f4299">
                <a:pos x="f5836" y="f6385"/>
              </a:cxn>
              <a:cxn ang="f4299">
                <a:pos x="f5837" y="f6386"/>
              </a:cxn>
              <a:cxn ang="f4299">
                <a:pos x="f5837" y="f6387"/>
              </a:cxn>
              <a:cxn ang="f4299">
                <a:pos x="f5836" y="f6388"/>
              </a:cxn>
              <a:cxn ang="f4299">
                <a:pos x="f5835" y="f6388"/>
              </a:cxn>
              <a:cxn ang="f4299">
                <a:pos x="f5838" y="f6387"/>
              </a:cxn>
              <a:cxn ang="f4299">
                <a:pos x="f5838" y="f6386"/>
              </a:cxn>
              <a:cxn ang="f4299">
                <a:pos x="f5839" y="f6385"/>
              </a:cxn>
              <a:cxn ang="f4299">
                <a:pos x="f5840" y="f6385"/>
              </a:cxn>
              <a:cxn ang="f4299">
                <a:pos x="f5841" y="f6386"/>
              </a:cxn>
              <a:cxn ang="f4299">
                <a:pos x="f5841" y="f6387"/>
              </a:cxn>
              <a:cxn ang="f4299">
                <a:pos x="f5840" y="f6388"/>
              </a:cxn>
              <a:cxn ang="f4299">
                <a:pos x="f5839" y="f6388"/>
              </a:cxn>
              <a:cxn ang="f4299">
                <a:pos x="f5842" y="f6387"/>
              </a:cxn>
              <a:cxn ang="f4299">
                <a:pos x="f5842" y="f6386"/>
              </a:cxn>
              <a:cxn ang="f4299">
                <a:pos x="f5843" y="f6385"/>
              </a:cxn>
              <a:cxn ang="f4299">
                <a:pos x="f5844" y="f6385"/>
              </a:cxn>
              <a:cxn ang="f4299">
                <a:pos x="f5845" y="f6386"/>
              </a:cxn>
              <a:cxn ang="f4299">
                <a:pos x="f5845" y="f6387"/>
              </a:cxn>
              <a:cxn ang="f4299">
                <a:pos x="f5844" y="f6388"/>
              </a:cxn>
              <a:cxn ang="f4299">
                <a:pos x="f5843" y="f6388"/>
              </a:cxn>
              <a:cxn ang="f4299">
                <a:pos x="f5846" y="f6387"/>
              </a:cxn>
              <a:cxn ang="f4299">
                <a:pos x="f5846" y="f6386"/>
              </a:cxn>
              <a:cxn ang="f4299">
                <a:pos x="f5847" y="f6385"/>
              </a:cxn>
              <a:cxn ang="f4299">
                <a:pos x="f5848" y="f6385"/>
              </a:cxn>
              <a:cxn ang="f4299">
                <a:pos x="f5849" y="f6386"/>
              </a:cxn>
              <a:cxn ang="f4299">
                <a:pos x="f5849" y="f6387"/>
              </a:cxn>
              <a:cxn ang="f4299">
                <a:pos x="f5848" y="f6388"/>
              </a:cxn>
              <a:cxn ang="f4299">
                <a:pos x="f5847" y="f6388"/>
              </a:cxn>
              <a:cxn ang="f4299">
                <a:pos x="f5850" y="f6387"/>
              </a:cxn>
              <a:cxn ang="f4299">
                <a:pos x="f5850" y="f6386"/>
              </a:cxn>
              <a:cxn ang="f4299">
                <a:pos x="f5851" y="f6385"/>
              </a:cxn>
              <a:cxn ang="f4299">
                <a:pos x="f5852" y="f6385"/>
              </a:cxn>
              <a:cxn ang="f4299">
                <a:pos x="f5853" y="f6386"/>
              </a:cxn>
              <a:cxn ang="f4299">
                <a:pos x="f5853" y="f6387"/>
              </a:cxn>
              <a:cxn ang="f4299">
                <a:pos x="f5852" y="f6388"/>
              </a:cxn>
              <a:cxn ang="f4299">
                <a:pos x="f5851" y="f6388"/>
              </a:cxn>
              <a:cxn ang="f4299">
                <a:pos x="f5854" y="f6387"/>
              </a:cxn>
              <a:cxn ang="f4299">
                <a:pos x="f5854" y="f6386"/>
              </a:cxn>
              <a:cxn ang="f4299">
                <a:pos x="f5855" y="f6385"/>
              </a:cxn>
              <a:cxn ang="f4299">
                <a:pos x="f5856" y="f6385"/>
              </a:cxn>
              <a:cxn ang="f4299">
                <a:pos x="f5857" y="f6386"/>
              </a:cxn>
              <a:cxn ang="f4299">
                <a:pos x="f5857" y="f6387"/>
              </a:cxn>
              <a:cxn ang="f4299">
                <a:pos x="f5856" y="f6388"/>
              </a:cxn>
              <a:cxn ang="f4299">
                <a:pos x="f5855" y="f6388"/>
              </a:cxn>
              <a:cxn ang="f4299">
                <a:pos x="f5858" y="f6387"/>
              </a:cxn>
              <a:cxn ang="f4299">
                <a:pos x="f5858" y="f6386"/>
              </a:cxn>
              <a:cxn ang="f4299">
                <a:pos x="f5859" y="f6385"/>
              </a:cxn>
              <a:cxn ang="f4299">
                <a:pos x="f5860" y="f6385"/>
              </a:cxn>
              <a:cxn ang="f4299">
                <a:pos x="f5861" y="f6386"/>
              </a:cxn>
              <a:cxn ang="f4299">
                <a:pos x="f5861" y="f6387"/>
              </a:cxn>
              <a:cxn ang="f4299">
                <a:pos x="f5860" y="f6388"/>
              </a:cxn>
              <a:cxn ang="f4299">
                <a:pos x="f5859" y="f6388"/>
              </a:cxn>
              <a:cxn ang="f4299">
                <a:pos x="f5862" y="f6387"/>
              </a:cxn>
              <a:cxn ang="f4299">
                <a:pos x="f5862" y="f6386"/>
              </a:cxn>
              <a:cxn ang="f4299">
                <a:pos x="f5863" y="f6385"/>
              </a:cxn>
              <a:cxn ang="f4299">
                <a:pos x="f5864" y="f6385"/>
              </a:cxn>
              <a:cxn ang="f4299">
                <a:pos x="f5865" y="f6386"/>
              </a:cxn>
              <a:cxn ang="f4299">
                <a:pos x="f5865" y="f6387"/>
              </a:cxn>
              <a:cxn ang="f4299">
                <a:pos x="f5864" y="f6388"/>
              </a:cxn>
              <a:cxn ang="f4299">
                <a:pos x="f5863" y="f6388"/>
              </a:cxn>
              <a:cxn ang="f4299">
                <a:pos x="f5866" y="f6387"/>
              </a:cxn>
              <a:cxn ang="f4299">
                <a:pos x="f5866" y="f6386"/>
              </a:cxn>
              <a:cxn ang="f4299">
                <a:pos x="f5867" y="f6385"/>
              </a:cxn>
              <a:cxn ang="f4299">
                <a:pos x="f5868" y="f6385"/>
              </a:cxn>
              <a:cxn ang="f4299">
                <a:pos x="f5869" y="f6386"/>
              </a:cxn>
              <a:cxn ang="f4299">
                <a:pos x="f5869" y="f6387"/>
              </a:cxn>
              <a:cxn ang="f4299">
                <a:pos x="f5868" y="f6388"/>
              </a:cxn>
              <a:cxn ang="f4299">
                <a:pos x="f5867" y="f6388"/>
              </a:cxn>
              <a:cxn ang="f4299">
                <a:pos x="f5870" y="f6387"/>
              </a:cxn>
              <a:cxn ang="f4299">
                <a:pos x="f5870" y="f6386"/>
              </a:cxn>
              <a:cxn ang="f4299">
                <a:pos x="f5871" y="f6385"/>
              </a:cxn>
              <a:cxn ang="f4299">
                <a:pos x="f5872" y="f6385"/>
              </a:cxn>
              <a:cxn ang="f4299">
                <a:pos x="f5873" y="f6386"/>
              </a:cxn>
              <a:cxn ang="f4299">
                <a:pos x="f5873" y="f6387"/>
              </a:cxn>
              <a:cxn ang="f4299">
                <a:pos x="f5872" y="f6388"/>
              </a:cxn>
              <a:cxn ang="f4299">
                <a:pos x="f5871" y="f6388"/>
              </a:cxn>
              <a:cxn ang="f4299">
                <a:pos x="f5874" y="f6387"/>
              </a:cxn>
              <a:cxn ang="f4299">
                <a:pos x="f5874" y="f6386"/>
              </a:cxn>
              <a:cxn ang="f4299">
                <a:pos x="f5875" y="f6385"/>
              </a:cxn>
              <a:cxn ang="f4299">
                <a:pos x="f5876" y="f6385"/>
              </a:cxn>
              <a:cxn ang="f4299">
                <a:pos x="f5877" y="f6386"/>
              </a:cxn>
              <a:cxn ang="f4299">
                <a:pos x="f5877" y="f6387"/>
              </a:cxn>
              <a:cxn ang="f4299">
                <a:pos x="f5876" y="f6388"/>
              </a:cxn>
              <a:cxn ang="f4299">
                <a:pos x="f5875" y="f6388"/>
              </a:cxn>
              <a:cxn ang="f4299">
                <a:pos x="f5878" y="f6387"/>
              </a:cxn>
              <a:cxn ang="f4299">
                <a:pos x="f5878" y="f6386"/>
              </a:cxn>
              <a:cxn ang="f4299">
                <a:pos x="f5879" y="f6385"/>
              </a:cxn>
              <a:cxn ang="f4299">
                <a:pos x="f5880" y="f6385"/>
              </a:cxn>
              <a:cxn ang="f4299">
                <a:pos x="f5881" y="f6386"/>
              </a:cxn>
              <a:cxn ang="f4299">
                <a:pos x="f5881" y="f6387"/>
              </a:cxn>
              <a:cxn ang="f4299">
                <a:pos x="f5880" y="f6388"/>
              </a:cxn>
              <a:cxn ang="f4299">
                <a:pos x="f5879" y="f6388"/>
              </a:cxn>
              <a:cxn ang="f4299">
                <a:pos x="f5882" y="f6387"/>
              </a:cxn>
              <a:cxn ang="f4299">
                <a:pos x="f5882" y="f6386"/>
              </a:cxn>
              <a:cxn ang="f4299">
                <a:pos x="f5883" y="f6385"/>
              </a:cxn>
              <a:cxn ang="f4299">
                <a:pos x="f5884" y="f6385"/>
              </a:cxn>
              <a:cxn ang="f4299">
                <a:pos x="f5885" y="f6386"/>
              </a:cxn>
              <a:cxn ang="f4299">
                <a:pos x="f5885" y="f6387"/>
              </a:cxn>
              <a:cxn ang="f4299">
                <a:pos x="f5884" y="f6388"/>
              </a:cxn>
              <a:cxn ang="f4299">
                <a:pos x="f5883" y="f6388"/>
              </a:cxn>
              <a:cxn ang="f4299">
                <a:pos x="f5886" y="f6387"/>
              </a:cxn>
              <a:cxn ang="f4299">
                <a:pos x="f5886" y="f6386"/>
              </a:cxn>
              <a:cxn ang="f4299">
                <a:pos x="f5887" y="f6385"/>
              </a:cxn>
              <a:cxn ang="f4299">
                <a:pos x="f5888" y="f6385"/>
              </a:cxn>
              <a:cxn ang="f4299">
                <a:pos x="f5889" y="f6386"/>
              </a:cxn>
              <a:cxn ang="f4299">
                <a:pos x="f5889" y="f6387"/>
              </a:cxn>
              <a:cxn ang="f4299">
                <a:pos x="f5888" y="f6388"/>
              </a:cxn>
              <a:cxn ang="f4299">
                <a:pos x="f5887" y="f6388"/>
              </a:cxn>
              <a:cxn ang="f4299">
                <a:pos x="f5890" y="f6387"/>
              </a:cxn>
              <a:cxn ang="f4299">
                <a:pos x="f5890" y="f6386"/>
              </a:cxn>
              <a:cxn ang="f4299">
                <a:pos x="f5891" y="f6385"/>
              </a:cxn>
              <a:cxn ang="f4299">
                <a:pos x="f5892" y="f6385"/>
              </a:cxn>
              <a:cxn ang="f4299">
                <a:pos x="f5893" y="f6386"/>
              </a:cxn>
              <a:cxn ang="f4299">
                <a:pos x="f5893" y="f6387"/>
              </a:cxn>
              <a:cxn ang="f4299">
                <a:pos x="f5892" y="f6388"/>
              </a:cxn>
              <a:cxn ang="f4299">
                <a:pos x="f5891" y="f6388"/>
              </a:cxn>
              <a:cxn ang="f4299">
                <a:pos x="f5894" y="f6387"/>
              </a:cxn>
              <a:cxn ang="f4299">
                <a:pos x="f5894" y="f6386"/>
              </a:cxn>
              <a:cxn ang="f4299">
                <a:pos x="f6361" y="f6385"/>
              </a:cxn>
              <a:cxn ang="f4299">
                <a:pos x="f6389" y="f6385"/>
              </a:cxn>
              <a:cxn ang="f4299">
                <a:pos x="f6390" y="f6386"/>
              </a:cxn>
              <a:cxn ang="f4299">
                <a:pos x="f6390" y="f6387"/>
              </a:cxn>
              <a:cxn ang="f4299">
                <a:pos x="f6389" y="f6388"/>
              </a:cxn>
              <a:cxn ang="f4299">
                <a:pos x="f6361" y="f6388"/>
              </a:cxn>
              <a:cxn ang="f4299">
                <a:pos x="f6362" y="f6387"/>
              </a:cxn>
              <a:cxn ang="f4299">
                <a:pos x="f6362" y="f6386"/>
              </a:cxn>
              <a:cxn ang="f4299">
                <a:pos x="f6391" y="f6385"/>
              </a:cxn>
              <a:cxn ang="f4299">
                <a:pos x="f6392" y="f6385"/>
              </a:cxn>
              <a:cxn ang="f4299">
                <a:pos x="f6393" y="f6386"/>
              </a:cxn>
              <a:cxn ang="f4299">
                <a:pos x="f6393" y="f6387"/>
              </a:cxn>
              <a:cxn ang="f4299">
                <a:pos x="f6392" y="f6388"/>
              </a:cxn>
              <a:cxn ang="f4299">
                <a:pos x="f6391" y="f6388"/>
              </a:cxn>
              <a:cxn ang="f4299">
                <a:pos x="f6394" y="f6387"/>
              </a:cxn>
              <a:cxn ang="f4299">
                <a:pos x="f6394" y="f6386"/>
              </a:cxn>
              <a:cxn ang="f4299">
                <a:pos x="f6365" y="f6385"/>
              </a:cxn>
              <a:cxn ang="f4299">
                <a:pos x="f6395" y="f6385"/>
              </a:cxn>
              <a:cxn ang="f4299">
                <a:pos x="f6396" y="f6386"/>
              </a:cxn>
              <a:cxn ang="f4299">
                <a:pos x="f6396" y="f6387"/>
              </a:cxn>
              <a:cxn ang="f4299">
                <a:pos x="f6395" y="f6388"/>
              </a:cxn>
              <a:cxn ang="f4299">
                <a:pos x="f6365" y="f6388"/>
              </a:cxn>
              <a:cxn ang="f4299">
                <a:pos x="f6368" y="f6387"/>
              </a:cxn>
              <a:cxn ang="f4299">
                <a:pos x="f6368" y="f6386"/>
              </a:cxn>
              <a:cxn ang="f4299">
                <a:pos x="f6397" y="f6385"/>
              </a:cxn>
              <a:cxn ang="f4299">
                <a:pos x="f6369" y="f6385"/>
              </a:cxn>
              <a:cxn ang="f4299">
                <a:pos x="f6398" y="f6386"/>
              </a:cxn>
              <a:cxn ang="f4299">
                <a:pos x="f6398" y="f6387"/>
              </a:cxn>
              <a:cxn ang="f4299">
                <a:pos x="f6369" y="f6388"/>
              </a:cxn>
              <a:cxn ang="f4299">
                <a:pos x="f6397" y="f6388"/>
              </a:cxn>
              <a:cxn ang="f4299">
                <a:pos x="f6399" y="f6387"/>
              </a:cxn>
              <a:cxn ang="f4299">
                <a:pos x="f6399" y="f6386"/>
              </a:cxn>
              <a:cxn ang="f4299">
                <a:pos x="f5879" y="f6400"/>
              </a:cxn>
              <a:cxn ang="f4299">
                <a:pos x="f5880" y="f6400"/>
              </a:cxn>
              <a:cxn ang="f4299">
                <a:pos x="f5881" y="f6401"/>
              </a:cxn>
              <a:cxn ang="f4299">
                <a:pos x="f5881" y="f6402"/>
              </a:cxn>
              <a:cxn ang="f4299">
                <a:pos x="f5880" y="f6403"/>
              </a:cxn>
              <a:cxn ang="f4299">
                <a:pos x="f5879" y="f6403"/>
              </a:cxn>
              <a:cxn ang="f4299">
                <a:pos x="f5882" y="f6402"/>
              </a:cxn>
              <a:cxn ang="f4299">
                <a:pos x="f5882" y="f6401"/>
              </a:cxn>
              <a:cxn ang="f4299">
                <a:pos x="f5883" y="f6400"/>
              </a:cxn>
              <a:cxn ang="f4299">
                <a:pos x="f5884" y="f6400"/>
              </a:cxn>
              <a:cxn ang="f4299">
                <a:pos x="f5885" y="f6401"/>
              </a:cxn>
              <a:cxn ang="f4299">
                <a:pos x="f5885" y="f6402"/>
              </a:cxn>
              <a:cxn ang="f4299">
                <a:pos x="f5884" y="f6403"/>
              </a:cxn>
              <a:cxn ang="f4299">
                <a:pos x="f5883" y="f6403"/>
              </a:cxn>
              <a:cxn ang="f4299">
                <a:pos x="f5886" y="f6402"/>
              </a:cxn>
              <a:cxn ang="f4299">
                <a:pos x="f5886" y="f6401"/>
              </a:cxn>
              <a:cxn ang="f4299">
                <a:pos x="f5887" y="f6400"/>
              </a:cxn>
              <a:cxn ang="f4299">
                <a:pos x="f5888" y="f6400"/>
              </a:cxn>
              <a:cxn ang="f4299">
                <a:pos x="f5889" y="f6401"/>
              </a:cxn>
              <a:cxn ang="f4299">
                <a:pos x="f5889" y="f6402"/>
              </a:cxn>
              <a:cxn ang="f4299">
                <a:pos x="f5888" y="f6404"/>
              </a:cxn>
              <a:cxn ang="f4299">
                <a:pos x="f5887" y="f6404"/>
              </a:cxn>
              <a:cxn ang="f4299">
                <a:pos x="f5890" y="f6402"/>
              </a:cxn>
              <a:cxn ang="f4299">
                <a:pos x="f5890" y="f6401"/>
              </a:cxn>
              <a:cxn ang="f4299">
                <a:pos x="f5891" y="f6400"/>
              </a:cxn>
              <a:cxn ang="f4299">
                <a:pos x="f5892" y="f6400"/>
              </a:cxn>
              <a:cxn ang="f4299">
                <a:pos x="f5893" y="f6401"/>
              </a:cxn>
              <a:cxn ang="f4299">
                <a:pos x="f5893" y="f6402"/>
              </a:cxn>
              <a:cxn ang="f4299">
                <a:pos x="f5892" y="f6404"/>
              </a:cxn>
              <a:cxn ang="f4299">
                <a:pos x="f5891" y="f6404"/>
              </a:cxn>
              <a:cxn ang="f4299">
                <a:pos x="f5894" y="f6402"/>
              </a:cxn>
              <a:cxn ang="f4299">
                <a:pos x="f5894" y="f6401"/>
              </a:cxn>
              <a:cxn ang="f4299">
                <a:pos x="f5875" y="f6405"/>
              </a:cxn>
              <a:cxn ang="f4299">
                <a:pos x="f5876" y="f6405"/>
              </a:cxn>
              <a:cxn ang="f4299">
                <a:pos x="f5877" y="f6401"/>
              </a:cxn>
              <a:cxn ang="f4299">
                <a:pos x="f5877" y="f6402"/>
              </a:cxn>
              <a:cxn ang="f4299">
                <a:pos x="f5876" y="f6403"/>
              </a:cxn>
              <a:cxn ang="f4299">
                <a:pos x="f5875" y="f6403"/>
              </a:cxn>
              <a:cxn ang="f4299">
                <a:pos x="f5878" y="f6402"/>
              </a:cxn>
              <a:cxn ang="f4299">
                <a:pos x="f5878" y="f6401"/>
              </a:cxn>
              <a:cxn ang="f4299">
                <a:pos x="f5855" y="f6406"/>
              </a:cxn>
              <a:cxn ang="f4299">
                <a:pos x="f5856" y="f6406"/>
              </a:cxn>
              <a:cxn ang="f4299">
                <a:pos x="f5857" y="f6407"/>
              </a:cxn>
              <a:cxn ang="f4299">
                <a:pos x="f5857" y="f6408"/>
              </a:cxn>
              <a:cxn ang="f4299">
                <a:pos x="f5856" y="f6409"/>
              </a:cxn>
              <a:cxn ang="f4299">
                <a:pos x="f5855" y="f6409"/>
              </a:cxn>
              <a:cxn ang="f4299">
                <a:pos x="f5858" y="f6408"/>
              </a:cxn>
              <a:cxn ang="f4299">
                <a:pos x="f5858" y="f6407"/>
              </a:cxn>
              <a:cxn ang="f4299">
                <a:pos x="f5859" y="f6406"/>
              </a:cxn>
              <a:cxn ang="f4299">
                <a:pos x="f5860" y="f6406"/>
              </a:cxn>
              <a:cxn ang="f4299">
                <a:pos x="f5861" y="f6407"/>
              </a:cxn>
              <a:cxn ang="f4299">
                <a:pos x="f5861" y="f6410"/>
              </a:cxn>
              <a:cxn ang="f4299">
                <a:pos x="f5860" y="f6409"/>
              </a:cxn>
              <a:cxn ang="f4299">
                <a:pos x="f5859" y="f6409"/>
              </a:cxn>
              <a:cxn ang="f4299">
                <a:pos x="f5862" y="f6410"/>
              </a:cxn>
              <a:cxn ang="f4299">
                <a:pos x="f5862" y="f6407"/>
              </a:cxn>
              <a:cxn ang="f4299">
                <a:pos x="f5863" y="f6406"/>
              </a:cxn>
              <a:cxn ang="f4299">
                <a:pos x="f5864" y="f6406"/>
              </a:cxn>
              <a:cxn ang="f4299">
                <a:pos x="f5865" y="f6407"/>
              </a:cxn>
              <a:cxn ang="f4299">
                <a:pos x="f5865" y="f6410"/>
              </a:cxn>
              <a:cxn ang="f4299">
                <a:pos x="f5864" y="f6409"/>
              </a:cxn>
              <a:cxn ang="f4299">
                <a:pos x="f5863" y="f6409"/>
              </a:cxn>
              <a:cxn ang="f4299">
                <a:pos x="f5866" y="f6410"/>
              </a:cxn>
              <a:cxn ang="f4299">
                <a:pos x="f5866" y="f6407"/>
              </a:cxn>
              <a:cxn ang="f4299">
                <a:pos x="f5867" y="f6406"/>
              </a:cxn>
              <a:cxn ang="f4299">
                <a:pos x="f5868" y="f6406"/>
              </a:cxn>
              <a:cxn ang="f4299">
                <a:pos x="f5869" y="f6407"/>
              </a:cxn>
              <a:cxn ang="f4299">
                <a:pos x="f5869" y="f6410"/>
              </a:cxn>
              <a:cxn ang="f4299">
                <a:pos x="f5868" y="f6409"/>
              </a:cxn>
              <a:cxn ang="f4299">
                <a:pos x="f5867" y="f6409"/>
              </a:cxn>
              <a:cxn ang="f4299">
                <a:pos x="f5870" y="f6410"/>
              </a:cxn>
              <a:cxn ang="f4299">
                <a:pos x="f5870" y="f6407"/>
              </a:cxn>
              <a:cxn ang="f4299">
                <a:pos x="f5871" y="f6406"/>
              </a:cxn>
              <a:cxn ang="f4299">
                <a:pos x="f5872" y="f6406"/>
              </a:cxn>
              <a:cxn ang="f4299">
                <a:pos x="f5873" y="f6407"/>
              </a:cxn>
              <a:cxn ang="f4299">
                <a:pos x="f5873" y="f6410"/>
              </a:cxn>
              <a:cxn ang="f4299">
                <a:pos x="f5872" y="f6409"/>
              </a:cxn>
              <a:cxn ang="f4299">
                <a:pos x="f5871" y="f6409"/>
              </a:cxn>
              <a:cxn ang="f4299">
                <a:pos x="f5874" y="f6410"/>
              </a:cxn>
              <a:cxn ang="f4299">
                <a:pos x="f5874" y="f6407"/>
              </a:cxn>
              <a:cxn ang="f4299">
                <a:pos x="f5839" y="f6411"/>
              </a:cxn>
              <a:cxn ang="f4299">
                <a:pos x="f5840" y="f6411"/>
              </a:cxn>
              <a:cxn ang="f4299">
                <a:pos x="f5841" y="f6412"/>
              </a:cxn>
              <a:cxn ang="f4299">
                <a:pos x="f5841" y="f6413"/>
              </a:cxn>
              <a:cxn ang="f4299">
                <a:pos x="f5840" y="f6414"/>
              </a:cxn>
              <a:cxn ang="f4299">
                <a:pos x="f5839" y="f6414"/>
              </a:cxn>
              <a:cxn ang="f4299">
                <a:pos x="f5842" y="f6413"/>
              </a:cxn>
              <a:cxn ang="f4299">
                <a:pos x="f5842" y="f6412"/>
              </a:cxn>
              <a:cxn ang="f4299">
                <a:pos x="f5843" y="f6411"/>
              </a:cxn>
              <a:cxn ang="f4299">
                <a:pos x="f5844" y="f6411"/>
              </a:cxn>
              <a:cxn ang="f4299">
                <a:pos x="f5845" y="f6412"/>
              </a:cxn>
              <a:cxn ang="f4299">
                <a:pos x="f5845" y="f6413"/>
              </a:cxn>
              <a:cxn ang="f4299">
                <a:pos x="f5844" y="f6414"/>
              </a:cxn>
              <a:cxn ang="f4299">
                <a:pos x="f5843" y="f6414"/>
              </a:cxn>
              <a:cxn ang="f4299">
                <a:pos x="f5846" y="f6413"/>
              </a:cxn>
              <a:cxn ang="f4299">
                <a:pos x="f5846" y="f6412"/>
              </a:cxn>
              <a:cxn ang="f4299">
                <a:pos x="f5847" y="f6411"/>
              </a:cxn>
              <a:cxn ang="f4299">
                <a:pos x="f5848" y="f6411"/>
              </a:cxn>
              <a:cxn ang="f4299">
                <a:pos x="f5849" y="f6412"/>
              </a:cxn>
              <a:cxn ang="f4299">
                <a:pos x="f5849" y="f6413"/>
              </a:cxn>
              <a:cxn ang="f4299">
                <a:pos x="f5848" y="f6415"/>
              </a:cxn>
              <a:cxn ang="f4299">
                <a:pos x="f5847" y="f6415"/>
              </a:cxn>
              <a:cxn ang="f4299">
                <a:pos x="f5850" y="f6413"/>
              </a:cxn>
              <a:cxn ang="f4299">
                <a:pos x="f5850" y="f6412"/>
              </a:cxn>
              <a:cxn ang="f4299">
                <a:pos x="f5851" y="f6411"/>
              </a:cxn>
              <a:cxn ang="f4299">
                <a:pos x="f5852" y="f6411"/>
              </a:cxn>
              <a:cxn ang="f4299">
                <a:pos x="f5853" y="f6412"/>
              </a:cxn>
              <a:cxn ang="f4299">
                <a:pos x="f5853" y="f6413"/>
              </a:cxn>
              <a:cxn ang="f4299">
                <a:pos x="f5852" y="f6415"/>
              </a:cxn>
              <a:cxn ang="f4299">
                <a:pos x="f5851" y="f6415"/>
              </a:cxn>
              <a:cxn ang="f4299">
                <a:pos x="f5854" y="f6413"/>
              </a:cxn>
              <a:cxn ang="f4299">
                <a:pos x="f5854" y="f6412"/>
              </a:cxn>
              <a:cxn ang="f4299">
                <a:pos x="f5835" y="f6416"/>
              </a:cxn>
              <a:cxn ang="f4299">
                <a:pos x="f5836" y="f6416"/>
              </a:cxn>
              <a:cxn ang="f4299">
                <a:pos x="f5837" y="f6412"/>
              </a:cxn>
              <a:cxn ang="f4299">
                <a:pos x="f5837" y="f6417"/>
              </a:cxn>
              <a:cxn ang="f4299">
                <a:pos x="f5836" y="f6414"/>
              </a:cxn>
              <a:cxn ang="f4299">
                <a:pos x="f5835" y="f6414"/>
              </a:cxn>
              <a:cxn ang="f4299">
                <a:pos x="f5838" y="f6417"/>
              </a:cxn>
              <a:cxn ang="f4299">
                <a:pos x="f5838" y="f6412"/>
              </a:cxn>
              <a:cxn ang="f4299">
                <a:pos x="f5827" y="f6418"/>
              </a:cxn>
              <a:cxn ang="f4299">
                <a:pos x="f5828" y="f6418"/>
              </a:cxn>
              <a:cxn ang="f4299">
                <a:pos x="f5829" y="f6419"/>
              </a:cxn>
              <a:cxn ang="f4299">
                <a:pos x="f5829" y="f6420"/>
              </a:cxn>
              <a:cxn ang="f4299">
                <a:pos x="f5828" y="f6421"/>
              </a:cxn>
              <a:cxn ang="f4299">
                <a:pos x="f5827" y="f6421"/>
              </a:cxn>
              <a:cxn ang="f4299">
                <a:pos x="f5830" y="f6420"/>
              </a:cxn>
              <a:cxn ang="f4299">
                <a:pos x="f5830" y="f6419"/>
              </a:cxn>
              <a:cxn ang="f4299">
                <a:pos x="f5831" y="f6418"/>
              </a:cxn>
              <a:cxn ang="f4299">
                <a:pos x="f5832" y="f6418"/>
              </a:cxn>
              <a:cxn ang="f4299">
                <a:pos x="f5833" y="f6419"/>
              </a:cxn>
              <a:cxn ang="f4299">
                <a:pos x="f5833" y="f6420"/>
              </a:cxn>
              <a:cxn ang="f4299">
                <a:pos x="f5832" y="f6421"/>
              </a:cxn>
              <a:cxn ang="f4299">
                <a:pos x="f5831" y="f6421"/>
              </a:cxn>
              <a:cxn ang="f4299">
                <a:pos x="f5834" y="f6420"/>
              </a:cxn>
              <a:cxn ang="f4299">
                <a:pos x="f5834" y="f6419"/>
              </a:cxn>
              <a:cxn ang="f4299">
                <a:pos x="f5815" y="f6422"/>
              </a:cxn>
              <a:cxn ang="f4299">
                <a:pos x="f5816" y="f6422"/>
              </a:cxn>
              <a:cxn ang="f4299">
                <a:pos x="f5817" y="f6419"/>
              </a:cxn>
              <a:cxn ang="f4299">
                <a:pos x="f5817" y="f6423"/>
              </a:cxn>
              <a:cxn ang="f4299">
                <a:pos x="f5816" y="f6421"/>
              </a:cxn>
              <a:cxn ang="f4299">
                <a:pos x="f5815" y="f6421"/>
              </a:cxn>
              <a:cxn ang="f4299">
                <a:pos x="f5818" y="f6423"/>
              </a:cxn>
              <a:cxn ang="f4299">
                <a:pos x="f5818" y="f6419"/>
              </a:cxn>
              <a:cxn ang="f4299">
                <a:pos x="f5819" y="f6422"/>
              </a:cxn>
              <a:cxn ang="f4299">
                <a:pos x="f5820" y="f6422"/>
              </a:cxn>
              <a:cxn ang="f4299">
                <a:pos x="f5821" y="f6419"/>
              </a:cxn>
              <a:cxn ang="f4299">
                <a:pos x="f5821" y="f6420"/>
              </a:cxn>
              <a:cxn ang="f4299">
                <a:pos x="f5820" y="f6421"/>
              </a:cxn>
              <a:cxn ang="f4299">
                <a:pos x="f5819" y="f6421"/>
              </a:cxn>
              <a:cxn ang="f4299">
                <a:pos x="f5822" y="f6420"/>
              </a:cxn>
              <a:cxn ang="f4299">
                <a:pos x="f5822" y="f6419"/>
              </a:cxn>
              <a:cxn ang="f4299">
                <a:pos x="f5823" y="f6422"/>
              </a:cxn>
              <a:cxn ang="f4299">
                <a:pos x="f5824" y="f6422"/>
              </a:cxn>
              <a:cxn ang="f4299">
                <a:pos x="f5825" y="f6419"/>
              </a:cxn>
              <a:cxn ang="f4299">
                <a:pos x="f5825" y="f6420"/>
              </a:cxn>
              <a:cxn ang="f4299">
                <a:pos x="f5824" y="f6421"/>
              </a:cxn>
              <a:cxn ang="f4299">
                <a:pos x="f5823" y="f6421"/>
              </a:cxn>
              <a:cxn ang="f4299">
                <a:pos x="f5826" y="f6420"/>
              </a:cxn>
              <a:cxn ang="f4299">
                <a:pos x="f5826" y="f6419"/>
              </a:cxn>
              <a:cxn ang="f4299">
                <a:pos x="f5807" y="f6424"/>
              </a:cxn>
              <a:cxn ang="f4299">
                <a:pos x="f5808" y="f6424"/>
              </a:cxn>
              <a:cxn ang="f4299">
                <a:pos x="f5809" y="f6425"/>
              </a:cxn>
              <a:cxn ang="f4299">
                <a:pos x="f5809" y="f6426"/>
              </a:cxn>
              <a:cxn ang="f4299">
                <a:pos x="f5808" y="f6427"/>
              </a:cxn>
              <a:cxn ang="f4299">
                <a:pos x="f5807" y="f6427"/>
              </a:cxn>
              <a:cxn ang="f4299">
                <a:pos x="f5810" y="f6426"/>
              </a:cxn>
              <a:cxn ang="f4299">
                <a:pos x="f5810" y="f6425"/>
              </a:cxn>
              <a:cxn ang="f4299">
                <a:pos x="f5811" y="f6424"/>
              </a:cxn>
              <a:cxn ang="f4299">
                <a:pos x="f5812" y="f6424"/>
              </a:cxn>
              <a:cxn ang="f4299">
                <a:pos x="f5813" y="f6425"/>
              </a:cxn>
              <a:cxn ang="f4299">
                <a:pos x="f5813" y="f6426"/>
              </a:cxn>
              <a:cxn ang="f4299">
                <a:pos x="f5812" y="f6427"/>
              </a:cxn>
              <a:cxn ang="f4299">
                <a:pos x="f5811" y="f6427"/>
              </a:cxn>
              <a:cxn ang="f4299">
                <a:pos x="f5814" y="f6426"/>
              </a:cxn>
              <a:cxn ang="f4299">
                <a:pos x="f5814" y="f6425"/>
              </a:cxn>
              <a:cxn ang="f4299">
                <a:pos x="f5795" y="f6428"/>
              </a:cxn>
              <a:cxn ang="f4299">
                <a:pos x="f5796" y="f6428"/>
              </a:cxn>
              <a:cxn ang="f4299">
                <a:pos x="f5797" y="f6425"/>
              </a:cxn>
              <a:cxn ang="f4299">
                <a:pos x="f5797" y="f6429"/>
              </a:cxn>
              <a:cxn ang="f4299">
                <a:pos x="f5796" y="f6430"/>
              </a:cxn>
              <a:cxn ang="f4299">
                <a:pos x="f5795" y="f6430"/>
              </a:cxn>
              <a:cxn ang="f4299">
                <a:pos x="f5798" y="f6429"/>
              </a:cxn>
              <a:cxn ang="f4299">
                <a:pos x="f5798" y="f6425"/>
              </a:cxn>
              <a:cxn ang="f4299">
                <a:pos x="f5799" y="f6428"/>
              </a:cxn>
              <a:cxn ang="f4299">
                <a:pos x="f5800" y="f6428"/>
              </a:cxn>
              <a:cxn ang="f4299">
                <a:pos x="f5801" y="f6425"/>
              </a:cxn>
              <a:cxn ang="f4299">
                <a:pos x="f5801" y="f6426"/>
              </a:cxn>
              <a:cxn ang="f4299">
                <a:pos x="f5800" y="f6430"/>
              </a:cxn>
              <a:cxn ang="f4299">
                <a:pos x="f5799" y="f6430"/>
              </a:cxn>
              <a:cxn ang="f4299">
                <a:pos x="f5802" y="f6426"/>
              </a:cxn>
              <a:cxn ang="f4299">
                <a:pos x="f5802" y="f6425"/>
              </a:cxn>
              <a:cxn ang="f4299">
                <a:pos x="f5803" y="f6428"/>
              </a:cxn>
              <a:cxn ang="f4299">
                <a:pos x="f5804" y="f6428"/>
              </a:cxn>
              <a:cxn ang="f4299">
                <a:pos x="f5805" y="f6425"/>
              </a:cxn>
              <a:cxn ang="f4299">
                <a:pos x="f5805" y="f6426"/>
              </a:cxn>
              <a:cxn ang="f4299">
                <a:pos x="f5804" y="f6430"/>
              </a:cxn>
              <a:cxn ang="f4299">
                <a:pos x="f5803" y="f6430"/>
              </a:cxn>
              <a:cxn ang="f4299">
                <a:pos x="f5806" y="f6426"/>
              </a:cxn>
              <a:cxn ang="f4299">
                <a:pos x="f5806" y="f6425"/>
              </a:cxn>
              <a:cxn ang="f4299">
                <a:pos x="f5787" y="f6431"/>
              </a:cxn>
              <a:cxn ang="f4299">
                <a:pos x="f5788" y="f6431"/>
              </a:cxn>
              <a:cxn ang="f4299">
                <a:pos x="f5789" y="f6432"/>
              </a:cxn>
              <a:cxn ang="f4299">
                <a:pos x="f5789" y="f6433"/>
              </a:cxn>
              <a:cxn ang="f4299">
                <a:pos x="f5788" y="f6434"/>
              </a:cxn>
              <a:cxn ang="f4299">
                <a:pos x="f5787" y="f6434"/>
              </a:cxn>
              <a:cxn ang="f4299">
                <a:pos x="f5790" y="f6433"/>
              </a:cxn>
              <a:cxn ang="f4299">
                <a:pos x="f5790" y="f6432"/>
              </a:cxn>
              <a:cxn ang="f4299">
                <a:pos x="f5791" y="f6431"/>
              </a:cxn>
              <a:cxn ang="f4299">
                <a:pos x="f5792" y="f6431"/>
              </a:cxn>
              <a:cxn ang="f4299">
                <a:pos x="f5793" y="f6432"/>
              </a:cxn>
              <a:cxn ang="f4299">
                <a:pos x="f5793" y="f6433"/>
              </a:cxn>
              <a:cxn ang="f4299">
                <a:pos x="f5792" y="f6434"/>
              </a:cxn>
              <a:cxn ang="f4299">
                <a:pos x="f5791" y="f6434"/>
              </a:cxn>
              <a:cxn ang="f4299">
                <a:pos x="f5794" y="f6433"/>
              </a:cxn>
              <a:cxn ang="f4299">
                <a:pos x="f5794" y="f6432"/>
              </a:cxn>
              <a:cxn ang="f4299">
                <a:pos x="f5775" y="f6435"/>
              </a:cxn>
              <a:cxn ang="f4299">
                <a:pos x="f5776" y="f6435"/>
              </a:cxn>
              <a:cxn ang="f4299">
                <a:pos x="f5777" y="f6436"/>
              </a:cxn>
              <a:cxn ang="f4299">
                <a:pos x="f5777" y="f6433"/>
              </a:cxn>
              <a:cxn ang="f4299">
                <a:pos x="f5776" y="f6434"/>
              </a:cxn>
              <a:cxn ang="f4299">
                <a:pos x="f5775" y="f6434"/>
              </a:cxn>
              <a:cxn ang="f4299">
                <a:pos x="f5778" y="f6433"/>
              </a:cxn>
              <a:cxn ang="f4299">
                <a:pos x="f5778" y="f6436"/>
              </a:cxn>
              <a:cxn ang="f4299">
                <a:pos x="f5779" y="f6435"/>
              </a:cxn>
              <a:cxn ang="f4299">
                <a:pos x="f5780" y="f6435"/>
              </a:cxn>
              <a:cxn ang="f4299">
                <a:pos x="f5781" y="f6432"/>
              </a:cxn>
              <a:cxn ang="f4299">
                <a:pos x="f5781" y="f6433"/>
              </a:cxn>
              <a:cxn ang="f4299">
                <a:pos x="f5780" y="f6434"/>
              </a:cxn>
              <a:cxn ang="f4299">
                <a:pos x="f5779" y="f6434"/>
              </a:cxn>
              <a:cxn ang="f4299">
                <a:pos x="f5782" y="f6433"/>
              </a:cxn>
              <a:cxn ang="f4299">
                <a:pos x="f5782" y="f6432"/>
              </a:cxn>
              <a:cxn ang="f4299">
                <a:pos x="f5783" y="f6435"/>
              </a:cxn>
              <a:cxn ang="f4299">
                <a:pos x="f5784" y="f6435"/>
              </a:cxn>
              <a:cxn ang="f4299">
                <a:pos x="f5785" y="f6432"/>
              </a:cxn>
              <a:cxn ang="f4299">
                <a:pos x="f5785" y="f6433"/>
              </a:cxn>
              <a:cxn ang="f4299">
                <a:pos x="f5784" y="f6434"/>
              </a:cxn>
              <a:cxn ang="f4299">
                <a:pos x="f5783" y="f6434"/>
              </a:cxn>
              <a:cxn ang="f4299">
                <a:pos x="f5786" y="f6433"/>
              </a:cxn>
              <a:cxn ang="f4299">
                <a:pos x="f5786" y="f6432"/>
              </a:cxn>
              <a:cxn ang="f4299">
                <a:pos x="f5767" y="f6437"/>
              </a:cxn>
              <a:cxn ang="f4299">
                <a:pos x="f5769" y="f6437"/>
              </a:cxn>
              <a:cxn ang="f4299">
                <a:pos x="f5770" y="f6438"/>
              </a:cxn>
              <a:cxn ang="f4299">
                <a:pos x="f5770" y="f6439"/>
              </a:cxn>
              <a:cxn ang="f4299">
                <a:pos x="f5769" y="f6440"/>
              </a:cxn>
              <a:cxn ang="f4299">
                <a:pos x="f5767" y="f6440"/>
              </a:cxn>
              <a:cxn ang="f4299">
                <a:pos x="f5774" y="f6439"/>
              </a:cxn>
              <a:cxn ang="f4299">
                <a:pos x="f5774" y="f6438"/>
              </a:cxn>
              <a:cxn ang="f4299">
                <a:pos x="f6441" y="f6442"/>
              </a:cxn>
              <a:cxn ang="f4299">
                <a:pos x="f6381" y="f6442"/>
              </a:cxn>
              <a:cxn ang="f4299">
                <a:pos x="f6382" y="f6443"/>
              </a:cxn>
              <a:cxn ang="f4299">
                <a:pos x="f6382" y="f6444"/>
              </a:cxn>
              <a:cxn ang="f4299">
                <a:pos x="f6381" y="f6445"/>
              </a:cxn>
              <a:cxn ang="f4299">
                <a:pos x="f6441" y="f6445"/>
              </a:cxn>
              <a:cxn ang="f4299">
                <a:pos x="f6383" y="f6444"/>
              </a:cxn>
              <a:cxn ang="f4299">
                <a:pos x="f6383" y="f6443"/>
              </a:cxn>
              <a:cxn ang="f4299">
                <a:pos x="f6384" y="f6442"/>
              </a:cxn>
              <a:cxn ang="f4299">
                <a:pos x="f6446" y="f6442"/>
              </a:cxn>
              <a:cxn ang="f4299">
                <a:pos x="f6447" y="f6443"/>
              </a:cxn>
              <a:cxn ang="f4299">
                <a:pos x="f6447" y="f6444"/>
              </a:cxn>
              <a:cxn ang="f4299">
                <a:pos x="f6446" y="f6445"/>
              </a:cxn>
              <a:cxn ang="f4299">
                <a:pos x="f6384" y="f6445"/>
              </a:cxn>
              <a:cxn ang="f4299">
                <a:pos x="f6448" y="f6444"/>
              </a:cxn>
              <a:cxn ang="f4299">
                <a:pos x="f6448" y="f6443"/>
              </a:cxn>
              <a:cxn ang="f4299">
                <a:pos x="f6449" y="f6442"/>
              </a:cxn>
              <a:cxn ang="f4299">
                <a:pos x="f6376" y="f6442"/>
              </a:cxn>
              <a:cxn ang="f4299">
                <a:pos x="f6450" y="f6451"/>
              </a:cxn>
              <a:cxn ang="f4299">
                <a:pos x="f6450" y="f6452"/>
              </a:cxn>
              <a:cxn ang="f4299">
                <a:pos x="f6376" y="f6453"/>
              </a:cxn>
              <a:cxn ang="f4299">
                <a:pos x="f6449" y="f6453"/>
              </a:cxn>
              <a:cxn ang="f4299">
                <a:pos x="f6454" y="f6452"/>
              </a:cxn>
              <a:cxn ang="f4299">
                <a:pos x="f6454" y="f6451"/>
              </a:cxn>
              <a:cxn ang="f4299">
                <a:pos x="f6455" y="f6442"/>
              </a:cxn>
              <a:cxn ang="f4299">
                <a:pos x="f6456" y="f6442"/>
              </a:cxn>
              <a:cxn ang="f4299">
                <a:pos x="f6379" y="f6451"/>
              </a:cxn>
              <a:cxn ang="f4299">
                <a:pos x="f6379" y="f6444"/>
              </a:cxn>
              <a:cxn ang="f4299">
                <a:pos x="f6456" y="f6453"/>
              </a:cxn>
              <a:cxn ang="f4299">
                <a:pos x="f6455" y="f6453"/>
              </a:cxn>
              <a:cxn ang="f4299">
                <a:pos x="f6380" y="f6444"/>
              </a:cxn>
              <a:cxn ang="f4299">
                <a:pos x="f6380" y="f6451"/>
              </a:cxn>
              <a:cxn ang="f4299">
                <a:pos x="f6288" y="f6457"/>
              </a:cxn>
              <a:cxn ang="f4299">
                <a:pos x="f6263" y="f6457"/>
              </a:cxn>
              <a:cxn ang="f4299">
                <a:pos x="f6375" y="f6458"/>
              </a:cxn>
              <a:cxn ang="f4299">
                <a:pos x="f6375" y="f6459"/>
              </a:cxn>
              <a:cxn ang="f4299">
                <a:pos x="f6263" y="f6460"/>
              </a:cxn>
              <a:cxn ang="f4299">
                <a:pos x="f6288" y="f6460"/>
              </a:cxn>
              <a:cxn ang="f4299">
                <a:pos x="f6350" y="f6459"/>
              </a:cxn>
              <a:cxn ang="f4299">
                <a:pos x="f6350" y="f6458"/>
              </a:cxn>
              <a:cxn ang="f4299">
                <a:pos x="f6349" y="f6461"/>
              </a:cxn>
              <a:cxn ang="f4299">
                <a:pos x="f6316" y="f6461"/>
              </a:cxn>
              <a:cxn ang="f4299">
                <a:pos x="f6284" y="f6462"/>
              </a:cxn>
              <a:cxn ang="f4299">
                <a:pos x="f6284" y="f6463"/>
              </a:cxn>
              <a:cxn ang="f4299">
                <a:pos x="f6316" y="f6464"/>
              </a:cxn>
              <a:cxn ang="f4299">
                <a:pos x="f6349" y="f6464"/>
              </a:cxn>
              <a:cxn ang="f4299">
                <a:pos x="f6465" y="f6463"/>
              </a:cxn>
              <a:cxn ang="f4299">
                <a:pos x="f6465" y="f6462"/>
              </a:cxn>
              <a:cxn ang="f4299">
                <a:pos x="f6466" y="f6467"/>
              </a:cxn>
              <a:cxn ang="f4299">
                <a:pos x="f6468" y="f6467"/>
              </a:cxn>
              <a:cxn ang="f4299">
                <a:pos x="f6398" y="f6469"/>
              </a:cxn>
              <a:cxn ang="f4299">
                <a:pos x="f6398" y="f6470"/>
              </a:cxn>
              <a:cxn ang="f4299">
                <a:pos x="f6468" y="f6471"/>
              </a:cxn>
              <a:cxn ang="f4299">
                <a:pos x="f6466" y="f6471"/>
              </a:cxn>
              <a:cxn ang="f4299">
                <a:pos x="f6472" y="f6470"/>
              </a:cxn>
              <a:cxn ang="f4299">
                <a:pos x="f6472" y="f6469"/>
              </a:cxn>
              <a:cxn ang="f4299">
                <a:pos x="f6473" y="f6467"/>
              </a:cxn>
              <a:cxn ang="f4299">
                <a:pos x="f6389" y="f6467"/>
              </a:cxn>
              <a:cxn ang="f4299">
                <a:pos x="f6474" y="f6469"/>
              </a:cxn>
              <a:cxn ang="f4299">
                <a:pos x="f6474" y="f6475"/>
              </a:cxn>
              <a:cxn ang="f4299">
                <a:pos x="f6389" y="f6471"/>
              </a:cxn>
              <a:cxn ang="f4299">
                <a:pos x="f6473" y="f6471"/>
              </a:cxn>
              <a:cxn ang="f4299">
                <a:pos x="f6476" y="f6475"/>
              </a:cxn>
              <a:cxn ang="f4299">
                <a:pos x="f6476" y="f6469"/>
              </a:cxn>
              <a:cxn ang="f4299">
                <a:pos x="f6477" y="f6467"/>
              </a:cxn>
              <a:cxn ang="f4299">
                <a:pos x="f6478" y="f6467"/>
              </a:cxn>
              <a:cxn ang="f4299">
                <a:pos x="f6393" y="f6469"/>
              </a:cxn>
              <a:cxn ang="f4299">
                <a:pos x="f6393" y="f6470"/>
              </a:cxn>
              <a:cxn ang="f4299">
                <a:pos x="f6478" y="f6471"/>
              </a:cxn>
              <a:cxn ang="f4299">
                <a:pos x="f6477" y="f6471"/>
              </a:cxn>
              <a:cxn ang="f4299">
                <a:pos x="f6479" y="f6470"/>
              </a:cxn>
              <a:cxn ang="f4299">
                <a:pos x="f6479" y="f6469"/>
              </a:cxn>
              <a:cxn ang="f4299">
                <a:pos x="f6480" y="f6467"/>
              </a:cxn>
              <a:cxn ang="f4299">
                <a:pos x="f6395" y="f6467"/>
              </a:cxn>
              <a:cxn ang="f4299">
                <a:pos x="f6396" y="f6469"/>
              </a:cxn>
              <a:cxn ang="f4299">
                <a:pos x="f6396" y="f6470"/>
              </a:cxn>
              <a:cxn ang="f4299">
                <a:pos x="f6395" y="f6471"/>
              </a:cxn>
              <a:cxn ang="f4299">
                <a:pos x="f6480" y="f6471"/>
              </a:cxn>
              <a:cxn ang="f4299">
                <a:pos x="f6481" y="f6470"/>
              </a:cxn>
              <a:cxn ang="f4299">
                <a:pos x="f6481" y="f6469"/>
              </a:cxn>
              <a:cxn ang="f4299">
                <a:pos x="f5891" y="f6482"/>
              </a:cxn>
              <a:cxn ang="f4299">
                <a:pos x="f5892" y="f6482"/>
              </a:cxn>
              <a:cxn ang="f4299">
                <a:pos x="f5893" y="f6483"/>
              </a:cxn>
              <a:cxn ang="f4299">
                <a:pos x="f5893" y="f6484"/>
              </a:cxn>
              <a:cxn ang="f4299">
                <a:pos x="f5892" y="f6485"/>
              </a:cxn>
              <a:cxn ang="f4299">
                <a:pos x="f5891" y="f6485"/>
              </a:cxn>
              <a:cxn ang="f4299">
                <a:pos x="f5894" y="f6484"/>
              </a:cxn>
              <a:cxn ang="f4299">
                <a:pos x="f5894" y="f6483"/>
              </a:cxn>
              <a:cxn ang="f4299">
                <a:pos x="f5875" y="f6486"/>
              </a:cxn>
              <a:cxn ang="f4299">
                <a:pos x="f5876" y="f6486"/>
              </a:cxn>
              <a:cxn ang="f4299">
                <a:pos x="f5877" y="f6487"/>
              </a:cxn>
              <a:cxn ang="f4299">
                <a:pos x="f5877" y="f6484"/>
              </a:cxn>
              <a:cxn ang="f4299">
                <a:pos x="f5876" y="f6485"/>
              </a:cxn>
              <a:cxn ang="f4299">
                <a:pos x="f5875" y="f6485"/>
              </a:cxn>
              <a:cxn ang="f4299">
                <a:pos x="f5878" y="f6484"/>
              </a:cxn>
              <a:cxn ang="f4299">
                <a:pos x="f5878" y="f6487"/>
              </a:cxn>
              <a:cxn ang="f4299">
                <a:pos x="f5879" y="f6486"/>
              </a:cxn>
              <a:cxn ang="f4299">
                <a:pos x="f5880" y="f6486"/>
              </a:cxn>
              <a:cxn ang="f4299">
                <a:pos x="f5881" y="f6483"/>
              </a:cxn>
              <a:cxn ang="f4299">
                <a:pos x="f5881" y="f6484"/>
              </a:cxn>
              <a:cxn ang="f4299">
                <a:pos x="f5880" y="f6485"/>
              </a:cxn>
              <a:cxn ang="f4299">
                <a:pos x="f5879" y="f6485"/>
              </a:cxn>
              <a:cxn ang="f4299">
                <a:pos x="f5882" y="f6484"/>
              </a:cxn>
              <a:cxn ang="f4299">
                <a:pos x="f5882" y="f6483"/>
              </a:cxn>
              <a:cxn ang="f4299">
                <a:pos x="f5883" y="f6486"/>
              </a:cxn>
              <a:cxn ang="f4299">
                <a:pos x="f5884" y="f6486"/>
              </a:cxn>
              <a:cxn ang="f4299">
                <a:pos x="f5885" y="f6483"/>
              </a:cxn>
              <a:cxn ang="f4299">
                <a:pos x="f5885" y="f6484"/>
              </a:cxn>
              <a:cxn ang="f4299">
                <a:pos x="f5884" y="f6485"/>
              </a:cxn>
              <a:cxn ang="f4299">
                <a:pos x="f5883" y="f6485"/>
              </a:cxn>
              <a:cxn ang="f4299">
                <a:pos x="f5886" y="f6484"/>
              </a:cxn>
              <a:cxn ang="f4299">
                <a:pos x="f5886" y="f6483"/>
              </a:cxn>
              <a:cxn ang="f4299">
                <a:pos x="f5887" y="f6486"/>
              </a:cxn>
              <a:cxn ang="f4299">
                <a:pos x="f5888" y="f6486"/>
              </a:cxn>
              <a:cxn ang="f4299">
                <a:pos x="f5889" y="f6483"/>
              </a:cxn>
              <a:cxn ang="f4299">
                <a:pos x="f5889" y="f6484"/>
              </a:cxn>
              <a:cxn ang="f4299">
                <a:pos x="f5888" y="f6485"/>
              </a:cxn>
              <a:cxn ang="f4299">
                <a:pos x="f5887" y="f6485"/>
              </a:cxn>
              <a:cxn ang="f4299">
                <a:pos x="f5890" y="f6484"/>
              </a:cxn>
              <a:cxn ang="f4299">
                <a:pos x="f5890" y="f6483"/>
              </a:cxn>
              <a:cxn ang="f4299">
                <a:pos x="f5871" y="f6488"/>
              </a:cxn>
              <a:cxn ang="f4299">
                <a:pos x="f5872" y="f6488"/>
              </a:cxn>
              <a:cxn ang="f4299">
                <a:pos x="f5873" y="f6489"/>
              </a:cxn>
              <a:cxn ang="f4299">
                <a:pos x="f5873" y="f6490"/>
              </a:cxn>
              <a:cxn ang="f4299">
                <a:pos x="f5872" y="f6491"/>
              </a:cxn>
              <a:cxn ang="f4299">
                <a:pos x="f5871" y="f6491"/>
              </a:cxn>
              <a:cxn ang="f4299">
                <a:pos x="f5874" y="f6490"/>
              </a:cxn>
              <a:cxn ang="f4299">
                <a:pos x="f5874" y="f6489"/>
              </a:cxn>
              <a:cxn ang="f4299">
                <a:pos x="f5855" y="f6492"/>
              </a:cxn>
              <a:cxn ang="f4299">
                <a:pos x="f5856" y="f6492"/>
              </a:cxn>
              <a:cxn ang="f4299">
                <a:pos x="f5857" y="f6493"/>
              </a:cxn>
              <a:cxn ang="f4299">
                <a:pos x="f5857" y="f6490"/>
              </a:cxn>
              <a:cxn ang="f4299">
                <a:pos x="f5856" y="f6491"/>
              </a:cxn>
              <a:cxn ang="f4299">
                <a:pos x="f5855" y="f6491"/>
              </a:cxn>
              <a:cxn ang="f4299">
                <a:pos x="f5858" y="f6490"/>
              </a:cxn>
              <a:cxn ang="f4299">
                <a:pos x="f5858" y="f6493"/>
              </a:cxn>
              <a:cxn ang="f4299">
                <a:pos x="f5859" y="f6492"/>
              </a:cxn>
              <a:cxn ang="f4299">
                <a:pos x="f5860" y="f6492"/>
              </a:cxn>
              <a:cxn ang="f4299">
                <a:pos x="f5861" y="f6494"/>
              </a:cxn>
              <a:cxn ang="f4299">
                <a:pos x="f5861" y="f6490"/>
              </a:cxn>
              <a:cxn ang="f4299">
                <a:pos x="f5860" y="f6491"/>
              </a:cxn>
              <a:cxn ang="f4299">
                <a:pos x="f5859" y="f6491"/>
              </a:cxn>
              <a:cxn ang="f4299">
                <a:pos x="f5862" y="f6490"/>
              </a:cxn>
              <a:cxn ang="f4299">
                <a:pos x="f5862" y="f6494"/>
              </a:cxn>
              <a:cxn ang="f4299">
                <a:pos x="f5863" y="f6492"/>
              </a:cxn>
              <a:cxn ang="f4299">
                <a:pos x="f5864" y="f6492"/>
              </a:cxn>
              <a:cxn ang="f4299">
                <a:pos x="f5865" y="f6494"/>
              </a:cxn>
              <a:cxn ang="f4299">
                <a:pos x="f5865" y="f6490"/>
              </a:cxn>
              <a:cxn ang="f4299">
                <a:pos x="f5864" y="f6491"/>
              </a:cxn>
              <a:cxn ang="f4299">
                <a:pos x="f5863" y="f6491"/>
              </a:cxn>
              <a:cxn ang="f4299">
                <a:pos x="f5866" y="f6490"/>
              </a:cxn>
              <a:cxn ang="f4299">
                <a:pos x="f5866" y="f6494"/>
              </a:cxn>
              <a:cxn ang="f4299">
                <a:pos x="f5867" y="f6492"/>
              </a:cxn>
              <a:cxn ang="f4299">
                <a:pos x="f5868" y="f6492"/>
              </a:cxn>
              <a:cxn ang="f4299">
                <a:pos x="f5869" y="f6494"/>
              </a:cxn>
              <a:cxn ang="f4299">
                <a:pos x="f5869" y="f6490"/>
              </a:cxn>
              <a:cxn ang="f4299">
                <a:pos x="f5868" y="f6491"/>
              </a:cxn>
              <a:cxn ang="f4299">
                <a:pos x="f5867" y="f6491"/>
              </a:cxn>
              <a:cxn ang="f4299">
                <a:pos x="f5870" y="f6490"/>
              </a:cxn>
              <a:cxn ang="f4299">
                <a:pos x="f5870" y="f6494"/>
              </a:cxn>
              <a:cxn ang="f4299">
                <a:pos x="f5851" y="f6495"/>
              </a:cxn>
              <a:cxn ang="f4299">
                <a:pos x="f5852" y="f6495"/>
              </a:cxn>
              <a:cxn ang="f4299">
                <a:pos x="f5853" y="f6496"/>
              </a:cxn>
              <a:cxn ang="f4299">
                <a:pos x="f5853" y="f6497"/>
              </a:cxn>
              <a:cxn ang="f4299">
                <a:pos x="f5852" y="f6498"/>
              </a:cxn>
              <a:cxn ang="f4299">
                <a:pos x="f5851" y="f6498"/>
              </a:cxn>
              <a:cxn ang="f4299">
                <a:pos x="f5854" y="f6497"/>
              </a:cxn>
              <a:cxn ang="f4299">
                <a:pos x="f5854" y="f6496"/>
              </a:cxn>
              <a:cxn ang="f4299">
                <a:pos x="f5839" y="f6499"/>
              </a:cxn>
              <a:cxn ang="f4299">
                <a:pos x="f5840" y="f6499"/>
              </a:cxn>
              <a:cxn ang="f4299">
                <a:pos x="f5841" y="f6496"/>
              </a:cxn>
              <a:cxn ang="f4299">
                <a:pos x="f5841" y="f6500"/>
              </a:cxn>
              <a:cxn ang="f4299">
                <a:pos x="f5840" y="f6498"/>
              </a:cxn>
              <a:cxn ang="f4299">
                <a:pos x="f5839" y="f6498"/>
              </a:cxn>
              <a:cxn ang="f4299">
                <a:pos x="f5842" y="f6500"/>
              </a:cxn>
              <a:cxn ang="f4299">
                <a:pos x="f5842" y="f6496"/>
              </a:cxn>
              <a:cxn ang="f4299">
                <a:pos x="f5843" y="f6499"/>
              </a:cxn>
              <a:cxn ang="f4299">
                <a:pos x="f5844" y="f6499"/>
              </a:cxn>
              <a:cxn ang="f4299">
                <a:pos x="f5845" y="f6496"/>
              </a:cxn>
              <a:cxn ang="f4299">
                <a:pos x="f5845" y="f6497"/>
              </a:cxn>
              <a:cxn ang="f4299">
                <a:pos x="f5844" y="f6498"/>
              </a:cxn>
              <a:cxn ang="f4299">
                <a:pos x="f5843" y="f6498"/>
              </a:cxn>
              <a:cxn ang="f4299">
                <a:pos x="f5846" y="f6497"/>
              </a:cxn>
              <a:cxn ang="f4299">
                <a:pos x="f5846" y="f6496"/>
              </a:cxn>
              <a:cxn ang="f4299">
                <a:pos x="f5847" y="f6499"/>
              </a:cxn>
              <a:cxn ang="f4299">
                <a:pos x="f5848" y="f6499"/>
              </a:cxn>
              <a:cxn ang="f4299">
                <a:pos x="f5849" y="f6496"/>
              </a:cxn>
              <a:cxn ang="f4299">
                <a:pos x="f5849" y="f6497"/>
              </a:cxn>
              <a:cxn ang="f4299">
                <a:pos x="f5848" y="f6498"/>
              </a:cxn>
              <a:cxn ang="f4299">
                <a:pos x="f5847" y="f6498"/>
              </a:cxn>
              <a:cxn ang="f4299">
                <a:pos x="f5850" y="f6497"/>
              </a:cxn>
              <a:cxn ang="f4299">
                <a:pos x="f5850" y="f6496"/>
              </a:cxn>
              <a:cxn ang="f4299">
                <a:pos x="f5835" y="f6501"/>
              </a:cxn>
              <a:cxn ang="f4299">
                <a:pos x="f5836" y="f6501"/>
              </a:cxn>
              <a:cxn ang="f4299">
                <a:pos x="f5837" y="f6502"/>
              </a:cxn>
              <a:cxn ang="f4299">
                <a:pos x="f5837" y="f6500"/>
              </a:cxn>
              <a:cxn ang="f4299">
                <a:pos x="f5836" y="f6498"/>
              </a:cxn>
              <a:cxn ang="f4299">
                <a:pos x="f5835" y="f6498"/>
              </a:cxn>
              <a:cxn ang="f4299">
                <a:pos x="f5838" y="f6500"/>
              </a:cxn>
              <a:cxn ang="f4299">
                <a:pos x="f5838" y="f6502"/>
              </a:cxn>
              <a:cxn ang="f4299">
                <a:pos x="f5831" y="f6503"/>
              </a:cxn>
              <a:cxn ang="f4299">
                <a:pos x="f5832" y="f6503"/>
              </a:cxn>
              <a:cxn ang="f4299">
                <a:pos x="f5833" y="f6504"/>
              </a:cxn>
              <a:cxn ang="f4299">
                <a:pos x="f5833" y="f6505"/>
              </a:cxn>
              <a:cxn ang="f4299">
                <a:pos x="f5832" y="f6506"/>
              </a:cxn>
              <a:cxn ang="f4299">
                <a:pos x="f5831" y="f6506"/>
              </a:cxn>
              <a:cxn ang="f4299">
                <a:pos x="f5834" y="f6505"/>
              </a:cxn>
              <a:cxn ang="f4299">
                <a:pos x="f5834" y="f6504"/>
              </a:cxn>
              <a:cxn ang="f4299">
                <a:pos x="f5815" y="f6503"/>
              </a:cxn>
              <a:cxn ang="f4299">
                <a:pos x="f5816" y="f6503"/>
              </a:cxn>
              <a:cxn ang="f4299">
                <a:pos x="f5817" y="f6507"/>
              </a:cxn>
              <a:cxn ang="f4299">
                <a:pos x="f5817" y="f6508"/>
              </a:cxn>
              <a:cxn ang="f4299">
                <a:pos x="f5816" y="f6506"/>
              </a:cxn>
              <a:cxn ang="f4299">
                <a:pos x="f5815" y="f6506"/>
              </a:cxn>
              <a:cxn ang="f4299">
                <a:pos x="f5818" y="f6508"/>
              </a:cxn>
              <a:cxn ang="f4299">
                <a:pos x="f5818" y="f6507"/>
              </a:cxn>
              <a:cxn ang="f4299">
                <a:pos x="f5819" y="f6503"/>
              </a:cxn>
              <a:cxn ang="f4299">
                <a:pos x="f5820" y="f6503"/>
              </a:cxn>
              <a:cxn ang="f4299">
                <a:pos x="f5821" y="f6509"/>
              </a:cxn>
              <a:cxn ang="f4299">
                <a:pos x="f5821" y="f6508"/>
              </a:cxn>
              <a:cxn ang="f4299">
                <a:pos x="f5820" y="f6506"/>
              </a:cxn>
              <a:cxn ang="f4299">
                <a:pos x="f5819" y="f6506"/>
              </a:cxn>
              <a:cxn ang="f4299">
                <a:pos x="f5822" y="f6508"/>
              </a:cxn>
              <a:cxn ang="f4299">
                <a:pos x="f5822" y="f6509"/>
              </a:cxn>
              <a:cxn ang="f4299">
                <a:pos x="f5823" y="f6503"/>
              </a:cxn>
              <a:cxn ang="f4299">
                <a:pos x="f5824" y="f6503"/>
              </a:cxn>
              <a:cxn ang="f4299">
                <a:pos x="f5825" y="f6509"/>
              </a:cxn>
              <a:cxn ang="f4299">
                <a:pos x="f5825" y="f6505"/>
              </a:cxn>
              <a:cxn ang="f4299">
                <a:pos x="f5824" y="f6506"/>
              </a:cxn>
              <a:cxn ang="f4299">
                <a:pos x="f5823" y="f6506"/>
              </a:cxn>
              <a:cxn ang="f4299">
                <a:pos x="f5826" y="f6505"/>
              </a:cxn>
              <a:cxn ang="f4299">
                <a:pos x="f5826" y="f6509"/>
              </a:cxn>
              <a:cxn ang="f4299">
                <a:pos x="f5827" y="f6503"/>
              </a:cxn>
              <a:cxn ang="f4299">
                <a:pos x="f5828" y="f6503"/>
              </a:cxn>
              <a:cxn ang="f4299">
                <a:pos x="f5829" y="f6509"/>
              </a:cxn>
              <a:cxn ang="f4299">
                <a:pos x="f5829" y="f6505"/>
              </a:cxn>
              <a:cxn ang="f4299">
                <a:pos x="f5828" y="f6506"/>
              </a:cxn>
              <a:cxn ang="f4299">
                <a:pos x="f5827" y="f6506"/>
              </a:cxn>
              <a:cxn ang="f4299">
                <a:pos x="f5830" y="f6505"/>
              </a:cxn>
              <a:cxn ang="f4299">
                <a:pos x="f5830" y="f6509"/>
              </a:cxn>
              <a:cxn ang="f4299">
                <a:pos x="f5811" y="f6510"/>
              </a:cxn>
              <a:cxn ang="f4299">
                <a:pos x="f5812" y="f6510"/>
              </a:cxn>
              <a:cxn ang="f4299">
                <a:pos x="f5813" y="f6511"/>
              </a:cxn>
              <a:cxn ang="f4299">
                <a:pos x="f5813" y="f6512"/>
              </a:cxn>
              <a:cxn ang="f4299">
                <a:pos x="f5812" y="f6513"/>
              </a:cxn>
              <a:cxn ang="f4299">
                <a:pos x="f5811" y="f6513"/>
              </a:cxn>
              <a:cxn ang="f4299">
                <a:pos x="f5814" y="f6512"/>
              </a:cxn>
              <a:cxn ang="f4299">
                <a:pos x="f5814" y="f6511"/>
              </a:cxn>
              <a:cxn ang="f4299">
                <a:pos x="f5799" y="f6510"/>
              </a:cxn>
              <a:cxn ang="f4299">
                <a:pos x="f5800" y="f6510"/>
              </a:cxn>
              <a:cxn ang="f4299">
                <a:pos x="f5801" y="f6514"/>
              </a:cxn>
              <a:cxn ang="f4299">
                <a:pos x="f5801" y="f6515"/>
              </a:cxn>
              <a:cxn ang="f4299">
                <a:pos x="f5800" y="f6513"/>
              </a:cxn>
              <a:cxn ang="f4299">
                <a:pos x="f5799" y="f6513"/>
              </a:cxn>
              <a:cxn ang="f4299">
                <a:pos x="f5802" y="f6515"/>
              </a:cxn>
              <a:cxn ang="f4299">
                <a:pos x="f5802" y="f6514"/>
              </a:cxn>
              <a:cxn ang="f4299">
                <a:pos x="f5803" y="f6510"/>
              </a:cxn>
              <a:cxn ang="f4299">
                <a:pos x="f5804" y="f6510"/>
              </a:cxn>
              <a:cxn ang="f4299">
                <a:pos x="f5805" y="f6514"/>
              </a:cxn>
              <a:cxn ang="f4299">
                <a:pos x="f5805" y="f6512"/>
              </a:cxn>
              <a:cxn ang="f4299">
                <a:pos x="f5804" y="f6513"/>
              </a:cxn>
              <a:cxn ang="f4299">
                <a:pos x="f5803" y="f6513"/>
              </a:cxn>
              <a:cxn ang="f4299">
                <a:pos x="f5806" y="f6512"/>
              </a:cxn>
              <a:cxn ang="f4299">
                <a:pos x="f5806" y="f6514"/>
              </a:cxn>
              <a:cxn ang="f4299">
                <a:pos x="f5807" y="f6510"/>
              </a:cxn>
              <a:cxn ang="f4299">
                <a:pos x="f5808" y="f6510"/>
              </a:cxn>
              <a:cxn ang="f4299">
                <a:pos x="f5809" y="f6514"/>
              </a:cxn>
              <a:cxn ang="f4299">
                <a:pos x="f5809" y="f6512"/>
              </a:cxn>
              <a:cxn ang="f4299">
                <a:pos x="f5808" y="f6513"/>
              </a:cxn>
              <a:cxn ang="f4299">
                <a:pos x="f5807" y="f6513"/>
              </a:cxn>
              <a:cxn ang="f4299">
                <a:pos x="f5810" y="f6512"/>
              </a:cxn>
              <a:cxn ang="f4299">
                <a:pos x="f5810" y="f6514"/>
              </a:cxn>
              <a:cxn ang="f4299">
                <a:pos x="f5795" y="f6516"/>
              </a:cxn>
              <a:cxn ang="f4299">
                <a:pos x="f5796" y="f6516"/>
              </a:cxn>
              <a:cxn ang="f4299">
                <a:pos x="f5797" y="f6514"/>
              </a:cxn>
              <a:cxn ang="f4299">
                <a:pos x="f5797" y="f6515"/>
              </a:cxn>
              <a:cxn ang="f4299">
                <a:pos x="f5796" y="f6513"/>
              </a:cxn>
              <a:cxn ang="f4299">
                <a:pos x="f5795" y="f6513"/>
              </a:cxn>
              <a:cxn ang="f4299">
                <a:pos x="f5798" y="f6515"/>
              </a:cxn>
              <a:cxn ang="f4299">
                <a:pos x="f5798" y="f6514"/>
              </a:cxn>
              <a:cxn ang="f4299">
                <a:pos x="f5791" y="f6517"/>
              </a:cxn>
              <a:cxn ang="f4299">
                <a:pos x="f5792" y="f6517"/>
              </a:cxn>
              <a:cxn ang="f4299">
                <a:pos x="f5793" y="f6518"/>
              </a:cxn>
              <a:cxn ang="f4299">
                <a:pos x="f5793" y="f6519"/>
              </a:cxn>
              <a:cxn ang="f4299">
                <a:pos x="f5792" y="f6520"/>
              </a:cxn>
              <a:cxn ang="f4299">
                <a:pos x="f5791" y="f6520"/>
              </a:cxn>
              <a:cxn ang="f4299">
                <a:pos x="f5794" y="f6519"/>
              </a:cxn>
              <a:cxn ang="f4299">
                <a:pos x="f5794" y="f6518"/>
              </a:cxn>
              <a:cxn ang="f4299">
                <a:pos x="f5775" y="f6517"/>
              </a:cxn>
              <a:cxn ang="f4299">
                <a:pos x="f5776" y="f6517"/>
              </a:cxn>
              <a:cxn ang="f4299">
                <a:pos x="f5777" y="f6521"/>
              </a:cxn>
              <a:cxn ang="f4299">
                <a:pos x="f5777" y="f6522"/>
              </a:cxn>
              <a:cxn ang="f4299">
                <a:pos x="f5776" y="f6520"/>
              </a:cxn>
              <a:cxn ang="f4299">
                <a:pos x="f5775" y="f6520"/>
              </a:cxn>
              <a:cxn ang="f4299">
                <a:pos x="f5778" y="f6522"/>
              </a:cxn>
              <a:cxn ang="f4299">
                <a:pos x="f5778" y="f6521"/>
              </a:cxn>
              <a:cxn ang="f4299">
                <a:pos x="f5779" y="f6517"/>
              </a:cxn>
              <a:cxn ang="f4299">
                <a:pos x="f5780" y="f6517"/>
              </a:cxn>
              <a:cxn ang="f4299">
                <a:pos x="f5781" y="f6521"/>
              </a:cxn>
              <a:cxn ang="f4299">
                <a:pos x="f5781" y="f6522"/>
              </a:cxn>
              <a:cxn ang="f4299">
                <a:pos x="f5780" y="f6520"/>
              </a:cxn>
              <a:cxn ang="f4299">
                <a:pos x="f5779" y="f6520"/>
              </a:cxn>
              <a:cxn ang="f4299">
                <a:pos x="f5782" y="f6522"/>
              </a:cxn>
              <a:cxn ang="f4299">
                <a:pos x="f5782" y="f6521"/>
              </a:cxn>
              <a:cxn ang="f4299">
                <a:pos x="f5783" y="f6517"/>
              </a:cxn>
              <a:cxn ang="f4299">
                <a:pos x="f5784" y="f6517"/>
              </a:cxn>
              <a:cxn ang="f4299">
                <a:pos x="f5785" y="f6521"/>
              </a:cxn>
              <a:cxn ang="f4299">
                <a:pos x="f5785" y="f6519"/>
              </a:cxn>
              <a:cxn ang="f4299">
                <a:pos x="f5784" y="f6520"/>
              </a:cxn>
              <a:cxn ang="f4299">
                <a:pos x="f5783" y="f6520"/>
              </a:cxn>
              <a:cxn ang="f4299">
                <a:pos x="f5786" y="f6519"/>
              </a:cxn>
              <a:cxn ang="f4299">
                <a:pos x="f5786" y="f6521"/>
              </a:cxn>
              <a:cxn ang="f4299">
                <a:pos x="f5787" y="f6517"/>
              </a:cxn>
              <a:cxn ang="f4299">
                <a:pos x="f5788" y="f6517"/>
              </a:cxn>
              <a:cxn ang="f4299">
                <a:pos x="f5789" y="f6521"/>
              </a:cxn>
              <a:cxn ang="f4299">
                <a:pos x="f5789" y="f6519"/>
              </a:cxn>
              <a:cxn ang="f4299">
                <a:pos x="f5788" y="f6520"/>
              </a:cxn>
              <a:cxn ang="f4299">
                <a:pos x="f5787" y="f6520"/>
              </a:cxn>
              <a:cxn ang="f4299">
                <a:pos x="f5790" y="f6519"/>
              </a:cxn>
              <a:cxn ang="f4299">
                <a:pos x="f5790" y="f6521"/>
              </a:cxn>
              <a:cxn ang="f4299">
                <a:pos x="f5767" y="f6523"/>
              </a:cxn>
              <a:cxn ang="f4299">
                <a:pos x="f5769" y="f6523"/>
              </a:cxn>
              <a:cxn ang="f4299">
                <a:pos x="f5770" y="f6524"/>
              </a:cxn>
              <a:cxn ang="f4299">
                <a:pos x="f5770" y="f6525"/>
              </a:cxn>
              <a:cxn ang="f4299">
                <a:pos x="f5769" y="f6526"/>
              </a:cxn>
              <a:cxn ang="f4299">
                <a:pos x="f5767" y="f6526"/>
              </a:cxn>
              <a:cxn ang="f4299">
                <a:pos x="f5774" y="f6525"/>
              </a:cxn>
              <a:cxn ang="f4299">
                <a:pos x="f5774" y="f6524"/>
              </a:cxn>
              <a:cxn ang="f4299">
                <a:pos x="f6527" y="f6528"/>
              </a:cxn>
              <a:cxn ang="f4299">
                <a:pos x="f6529" y="f6528"/>
              </a:cxn>
              <a:cxn ang="f4299">
                <a:pos x="f6530" y="f6531"/>
              </a:cxn>
              <a:cxn ang="f4299">
                <a:pos x="f6530" y="f6532"/>
              </a:cxn>
              <a:cxn ang="f4299">
                <a:pos x="f6529" y="f6533"/>
              </a:cxn>
              <a:cxn ang="f4299">
                <a:pos x="f6527" y="f6533"/>
              </a:cxn>
              <a:cxn ang="f4299">
                <a:pos x="f6534" y="f6532"/>
              </a:cxn>
              <a:cxn ang="f4299">
                <a:pos x="f6534" y="f6531"/>
              </a:cxn>
              <a:cxn ang="f4299">
                <a:pos x="f6466" y="f6528"/>
              </a:cxn>
              <a:cxn ang="f4299">
                <a:pos x="f6535" y="f6528"/>
              </a:cxn>
              <a:cxn ang="f4299">
                <a:pos x="f6536" y="f6531"/>
              </a:cxn>
              <a:cxn ang="f4299">
                <a:pos x="f6536" y="f6532"/>
              </a:cxn>
              <a:cxn ang="f4299">
                <a:pos x="f6535" y="f6533"/>
              </a:cxn>
              <a:cxn ang="f4299">
                <a:pos x="f6466" y="f6533"/>
              </a:cxn>
              <a:cxn ang="f4299">
                <a:pos x="f6472" y="f6532"/>
              </a:cxn>
              <a:cxn ang="f4299">
                <a:pos x="f6472" y="f6531"/>
              </a:cxn>
              <a:cxn ang="f4299">
                <a:pos x="f6473" y="f6528"/>
              </a:cxn>
              <a:cxn ang="f4299">
                <a:pos x="f6537" y="f6528"/>
              </a:cxn>
              <a:cxn ang="f4299">
                <a:pos x="f6538" y="f6539"/>
              </a:cxn>
              <a:cxn ang="f4299">
                <a:pos x="f6538" y="f6532"/>
              </a:cxn>
              <a:cxn ang="f4299">
                <a:pos x="f6537" y="f6540"/>
              </a:cxn>
              <a:cxn ang="f4299">
                <a:pos x="f6473" y="f6540"/>
              </a:cxn>
              <a:cxn ang="f4299">
                <a:pos x="f6541" y="f6532"/>
              </a:cxn>
              <a:cxn ang="f4299">
                <a:pos x="f6541" y="f6539"/>
              </a:cxn>
              <a:cxn ang="f4299">
                <a:pos x="f6542" y="f6528"/>
              </a:cxn>
              <a:cxn ang="f4299">
                <a:pos x="f6543" y="f6528"/>
              </a:cxn>
              <a:cxn ang="f4299">
                <a:pos x="f6544" y="f6539"/>
              </a:cxn>
              <a:cxn ang="f4299">
                <a:pos x="f6544" y="f6532"/>
              </a:cxn>
              <a:cxn ang="f4299">
                <a:pos x="f6543" y="f6540"/>
              </a:cxn>
              <a:cxn ang="f4299">
                <a:pos x="f6542" y="f6540"/>
              </a:cxn>
              <a:cxn ang="f4299">
                <a:pos x="f6479" y="f6532"/>
              </a:cxn>
              <a:cxn ang="f4299">
                <a:pos x="f6479" y="f6539"/>
              </a:cxn>
              <a:cxn ang="f4299">
                <a:pos x="f6545" y="f6546"/>
              </a:cxn>
              <a:cxn ang="f4299">
                <a:pos x="f6547" y="f6546"/>
              </a:cxn>
              <a:cxn ang="f4299">
                <a:pos x="f6450" y="f6548"/>
              </a:cxn>
              <a:cxn ang="f4299">
                <a:pos x="f6450" y="f6549"/>
              </a:cxn>
              <a:cxn ang="f4299">
                <a:pos x="f6547" y="f6550"/>
              </a:cxn>
              <a:cxn ang="f4299">
                <a:pos x="f6545" y="f6550"/>
              </a:cxn>
              <a:cxn ang="f4299">
                <a:pos x="f6454" y="f6549"/>
              </a:cxn>
              <a:cxn ang="f4299">
                <a:pos x="f6454" y="f6548"/>
              </a:cxn>
              <a:cxn ang="f4299">
                <a:pos x="f6455" y="f6546"/>
              </a:cxn>
              <a:cxn ang="f4299">
                <a:pos x="f6551" y="f6546"/>
              </a:cxn>
              <a:cxn ang="f4299">
                <a:pos x="f6552" y="f6548"/>
              </a:cxn>
              <a:cxn ang="f4299">
                <a:pos x="f6552" y="f6549"/>
              </a:cxn>
              <a:cxn ang="f4299">
                <a:pos x="f6551" y="f6553"/>
              </a:cxn>
              <a:cxn ang="f4299">
                <a:pos x="f6455" y="f6553"/>
              </a:cxn>
              <a:cxn ang="f4299">
                <a:pos x="f6554" y="f6549"/>
              </a:cxn>
              <a:cxn ang="f4299">
                <a:pos x="f6554" y="f6548"/>
              </a:cxn>
              <a:cxn ang="f4299">
                <a:pos x="f6441" y="f6546"/>
              </a:cxn>
              <a:cxn ang="f4299">
                <a:pos x="f6555" y="f6546"/>
              </a:cxn>
              <a:cxn ang="f4299">
                <a:pos x="f6556" y="f6548"/>
              </a:cxn>
              <a:cxn ang="f4299">
                <a:pos x="f6556" y="f6549"/>
              </a:cxn>
              <a:cxn ang="f4299">
                <a:pos x="f6555" y="f6553"/>
              </a:cxn>
              <a:cxn ang="f4299">
                <a:pos x="f6441" y="f6553"/>
              </a:cxn>
              <a:cxn ang="f4299">
                <a:pos x="f6557" y="f6549"/>
              </a:cxn>
              <a:cxn ang="f4299">
                <a:pos x="f6557" y="f6548"/>
              </a:cxn>
              <a:cxn ang="f4299">
                <a:pos x="f6558" y="f6546"/>
              </a:cxn>
              <a:cxn ang="f4299">
                <a:pos x="f6446" y="f6546"/>
              </a:cxn>
              <a:cxn ang="f4299">
                <a:pos x="f6447" y="f6548"/>
              </a:cxn>
              <a:cxn ang="f4299">
                <a:pos x="f6447" y="f6549"/>
              </a:cxn>
              <a:cxn ang="f4299">
                <a:pos x="f6446" y="f6553"/>
              </a:cxn>
              <a:cxn ang="f4299">
                <a:pos x="f6558" y="f6553"/>
              </a:cxn>
              <a:cxn ang="f4299">
                <a:pos x="f6448" y="f6549"/>
              </a:cxn>
              <a:cxn ang="f4299">
                <a:pos x="f6448" y="f6548"/>
              </a:cxn>
              <a:cxn ang="f4299">
                <a:pos x="f6288" y="f6559"/>
              </a:cxn>
              <a:cxn ang="f4299">
                <a:pos x="f6560" y="f6559"/>
              </a:cxn>
              <a:cxn ang="f4299">
                <a:pos x="f6375" y="f6561"/>
              </a:cxn>
              <a:cxn ang="f4299">
                <a:pos x="f6375" y="f6562"/>
              </a:cxn>
              <a:cxn ang="f4299">
                <a:pos x="f6560" y="f6563"/>
              </a:cxn>
              <a:cxn ang="f4299">
                <a:pos x="f6288" y="f6563"/>
              </a:cxn>
              <a:cxn ang="f4299">
                <a:pos x="f6350" y="f6562"/>
              </a:cxn>
              <a:cxn ang="f4299">
                <a:pos x="f6350" y="f6561"/>
              </a:cxn>
              <a:cxn ang="f4299">
                <a:pos x="f6349" y="f6564"/>
              </a:cxn>
              <a:cxn ang="f4299">
                <a:pos x="f6316" y="f6564"/>
              </a:cxn>
              <a:cxn ang="f4299">
                <a:pos x="f6565" y="f6566"/>
              </a:cxn>
              <a:cxn ang="f4299">
                <a:pos x="f6565" y="f6567"/>
              </a:cxn>
              <a:cxn ang="f4299">
                <a:pos x="f6316" y="f6568"/>
              </a:cxn>
              <a:cxn ang="f4299">
                <a:pos x="f6349" y="f6568"/>
              </a:cxn>
              <a:cxn ang="f4299">
                <a:pos x="f6465" y="f6567"/>
              </a:cxn>
              <a:cxn ang="f4299">
                <a:pos x="f6465" y="f6566"/>
              </a:cxn>
              <a:cxn ang="f4299">
                <a:pos x="f5883" y="f6569"/>
              </a:cxn>
              <a:cxn ang="f4299">
                <a:pos x="f5884" y="f6569"/>
              </a:cxn>
              <a:cxn ang="f4299">
                <a:pos x="f5885" y="f6570"/>
              </a:cxn>
              <a:cxn ang="f4299">
                <a:pos x="f5885" y="f6571"/>
              </a:cxn>
              <a:cxn ang="f4299">
                <a:pos x="f5884" y="f6572"/>
              </a:cxn>
              <a:cxn ang="f4299">
                <a:pos x="f5883" y="f6572"/>
              </a:cxn>
              <a:cxn ang="f4299">
                <a:pos x="f5886" y="f6571"/>
              </a:cxn>
              <a:cxn ang="f4299">
                <a:pos x="f5886" y="f6570"/>
              </a:cxn>
              <a:cxn ang="f4299">
                <a:pos x="f5887" y="f6569"/>
              </a:cxn>
              <a:cxn ang="f4299">
                <a:pos x="f5888" y="f6569"/>
              </a:cxn>
              <a:cxn ang="f4299">
                <a:pos x="f5889" y="f6570"/>
              </a:cxn>
              <a:cxn ang="f4299">
                <a:pos x="f5889" y="f6571"/>
              </a:cxn>
              <a:cxn ang="f4299">
                <a:pos x="f5888" y="f6572"/>
              </a:cxn>
              <a:cxn ang="f4299">
                <a:pos x="f5887" y="f6572"/>
              </a:cxn>
              <a:cxn ang="f4299">
                <a:pos x="f5890" y="f6571"/>
              </a:cxn>
              <a:cxn ang="f4299">
                <a:pos x="f5890" y="f6570"/>
              </a:cxn>
              <a:cxn ang="f4299">
                <a:pos x="f5891" y="f6569"/>
              </a:cxn>
              <a:cxn ang="f4299">
                <a:pos x="f5892" y="f6569"/>
              </a:cxn>
              <a:cxn ang="f4299">
                <a:pos x="f5893" y="f6570"/>
              </a:cxn>
              <a:cxn ang="f4299">
                <a:pos x="f5893" y="f6571"/>
              </a:cxn>
              <a:cxn ang="f4299">
                <a:pos x="f5892" y="f6572"/>
              </a:cxn>
              <a:cxn ang="f4299">
                <a:pos x="f5891" y="f6572"/>
              </a:cxn>
              <a:cxn ang="f4299">
                <a:pos x="f5894" y="f6571"/>
              </a:cxn>
              <a:cxn ang="f4299">
                <a:pos x="f5894" y="f6570"/>
              </a:cxn>
              <a:cxn ang="f4299">
                <a:pos x="f5875" y="f6573"/>
              </a:cxn>
              <a:cxn ang="f4299">
                <a:pos x="f5876" y="f6573"/>
              </a:cxn>
              <a:cxn ang="f4299">
                <a:pos x="f5877" y="f6574"/>
              </a:cxn>
              <a:cxn ang="f4299">
                <a:pos x="f5877" y="f6571"/>
              </a:cxn>
              <a:cxn ang="f4299">
                <a:pos x="f5876" y="f6575"/>
              </a:cxn>
              <a:cxn ang="f4299">
                <a:pos x="f5875" y="f6575"/>
              </a:cxn>
              <a:cxn ang="f4299">
                <a:pos x="f5878" y="f6571"/>
              </a:cxn>
              <a:cxn ang="f4299">
                <a:pos x="f5878" y="f6574"/>
              </a:cxn>
              <a:cxn ang="f4299">
                <a:pos x="f5879" y="f6573"/>
              </a:cxn>
              <a:cxn ang="f4299">
                <a:pos x="f5880" y="f6573"/>
              </a:cxn>
              <a:cxn ang="f4299">
                <a:pos x="f5881" y="f6574"/>
              </a:cxn>
              <a:cxn ang="f4299">
                <a:pos x="f5881" y="f6571"/>
              </a:cxn>
              <a:cxn ang="f4299">
                <a:pos x="f5880" y="f6572"/>
              </a:cxn>
              <a:cxn ang="f4299">
                <a:pos x="f5879" y="f6572"/>
              </a:cxn>
              <a:cxn ang="f4299">
                <a:pos x="f5882" y="f6571"/>
              </a:cxn>
              <a:cxn ang="f4299">
                <a:pos x="f5882" y="f6574"/>
              </a:cxn>
              <a:cxn ang="f4299">
                <a:pos x="f5863" y="f6576"/>
              </a:cxn>
              <a:cxn ang="f4299">
                <a:pos x="f5864" y="f6576"/>
              </a:cxn>
              <a:cxn ang="f4299">
                <a:pos x="f5865" y="f6577"/>
              </a:cxn>
              <a:cxn ang="f4299">
                <a:pos x="f5865" y="f6578"/>
              </a:cxn>
              <a:cxn ang="f4299">
                <a:pos x="f5864" y="f6579"/>
              </a:cxn>
              <a:cxn ang="f4299">
                <a:pos x="f5863" y="f6579"/>
              </a:cxn>
              <a:cxn ang="f4299">
                <a:pos x="f5866" y="f6578"/>
              </a:cxn>
              <a:cxn ang="f4299">
                <a:pos x="f5866" y="f6577"/>
              </a:cxn>
              <a:cxn ang="f4299">
                <a:pos x="f5867" y="f6576"/>
              </a:cxn>
              <a:cxn ang="f4299">
                <a:pos x="f5868" y="f6576"/>
              </a:cxn>
              <a:cxn ang="f4299">
                <a:pos x="f5869" y="f6577"/>
              </a:cxn>
              <a:cxn ang="f4299">
                <a:pos x="f5869" y="f6578"/>
              </a:cxn>
              <a:cxn ang="f4299">
                <a:pos x="f5868" y="f6579"/>
              </a:cxn>
              <a:cxn ang="f4299">
                <a:pos x="f5867" y="f6579"/>
              </a:cxn>
              <a:cxn ang="f4299">
                <a:pos x="f5870" y="f6578"/>
              </a:cxn>
              <a:cxn ang="f4299">
                <a:pos x="f5870" y="f6577"/>
              </a:cxn>
              <a:cxn ang="f4299">
                <a:pos x="f5871" y="f6576"/>
              </a:cxn>
              <a:cxn ang="f4299">
                <a:pos x="f5872" y="f6576"/>
              </a:cxn>
              <a:cxn ang="f4299">
                <a:pos x="f5873" y="f6577"/>
              </a:cxn>
              <a:cxn ang="f4299">
                <a:pos x="f5873" y="f6578"/>
              </a:cxn>
              <a:cxn ang="f4299">
                <a:pos x="f5872" y="f6579"/>
              </a:cxn>
              <a:cxn ang="f4299">
                <a:pos x="f5871" y="f6579"/>
              </a:cxn>
              <a:cxn ang="f4299">
                <a:pos x="f5874" y="f6578"/>
              </a:cxn>
              <a:cxn ang="f4299">
                <a:pos x="f5874" y="f6577"/>
              </a:cxn>
              <a:cxn ang="f4299">
                <a:pos x="f5855" y="f6580"/>
              </a:cxn>
              <a:cxn ang="f4299">
                <a:pos x="f5856" y="f6580"/>
              </a:cxn>
              <a:cxn ang="f4299">
                <a:pos x="f5857" y="f6581"/>
              </a:cxn>
              <a:cxn ang="f4299">
                <a:pos x="f5857" y="f6578"/>
              </a:cxn>
              <a:cxn ang="f4299">
                <a:pos x="f5856" y="f6582"/>
              </a:cxn>
              <a:cxn ang="f4299">
                <a:pos x="f5855" y="f6582"/>
              </a:cxn>
              <a:cxn ang="f4299">
                <a:pos x="f5858" y="f6578"/>
              </a:cxn>
              <a:cxn ang="f4299">
                <a:pos x="f5858" y="f6581"/>
              </a:cxn>
              <a:cxn ang="f4299">
                <a:pos x="f5859" y="f6580"/>
              </a:cxn>
              <a:cxn ang="f4299">
                <a:pos x="f5860" y="f6580"/>
              </a:cxn>
              <a:cxn ang="f4299">
                <a:pos x="f5861" y="f6581"/>
              </a:cxn>
              <a:cxn ang="f4299">
                <a:pos x="f5861" y="f6578"/>
              </a:cxn>
              <a:cxn ang="f4299">
                <a:pos x="f5860" y="f6579"/>
              </a:cxn>
              <a:cxn ang="f4299">
                <a:pos x="f5859" y="f6579"/>
              </a:cxn>
              <a:cxn ang="f4299">
                <a:pos x="f5862" y="f6578"/>
              </a:cxn>
              <a:cxn ang="f4299">
                <a:pos x="f5862" y="f6581"/>
              </a:cxn>
              <a:cxn ang="f4299">
                <a:pos x="f5843" y="f6583"/>
              </a:cxn>
              <a:cxn ang="f4299">
                <a:pos x="f5844" y="f6583"/>
              </a:cxn>
              <a:cxn ang="f4299">
                <a:pos x="f5845" y="f6584"/>
              </a:cxn>
              <a:cxn ang="f4299">
                <a:pos x="f5845" y="f6585"/>
              </a:cxn>
              <a:cxn ang="f4299">
                <a:pos x="f5844" y="f6586"/>
              </a:cxn>
              <a:cxn ang="f4299">
                <a:pos x="f5843" y="f6586"/>
              </a:cxn>
              <a:cxn ang="f4299">
                <a:pos x="f5846" y="f6585"/>
              </a:cxn>
              <a:cxn ang="f4299">
                <a:pos x="f5846" y="f6584"/>
              </a:cxn>
              <a:cxn ang="f4299">
                <a:pos x="f5847" y="f6583"/>
              </a:cxn>
              <a:cxn ang="f4299">
                <a:pos x="f5848" y="f6583"/>
              </a:cxn>
              <a:cxn ang="f4299">
                <a:pos x="f5849" y="f6584"/>
              </a:cxn>
              <a:cxn ang="f4299">
                <a:pos x="f5849" y="f6585"/>
              </a:cxn>
              <a:cxn ang="f4299">
                <a:pos x="f5848" y="f6586"/>
              </a:cxn>
              <a:cxn ang="f4299">
                <a:pos x="f5847" y="f6586"/>
              </a:cxn>
              <a:cxn ang="f4299">
                <a:pos x="f5850" y="f6585"/>
              </a:cxn>
              <a:cxn ang="f4299">
                <a:pos x="f5850" y="f6584"/>
              </a:cxn>
              <a:cxn ang="f4299">
                <a:pos x="f5851" y="f6583"/>
              </a:cxn>
              <a:cxn ang="f4299">
                <a:pos x="f5852" y="f6583"/>
              </a:cxn>
              <a:cxn ang="f4299">
                <a:pos x="f5853" y="f6584"/>
              </a:cxn>
              <a:cxn ang="f4299">
                <a:pos x="f5853" y="f6585"/>
              </a:cxn>
              <a:cxn ang="f4299">
                <a:pos x="f5852" y="f6586"/>
              </a:cxn>
              <a:cxn ang="f4299">
                <a:pos x="f5851" y="f6586"/>
              </a:cxn>
              <a:cxn ang="f4299">
                <a:pos x="f5854" y="f6585"/>
              </a:cxn>
              <a:cxn ang="f4299">
                <a:pos x="f5854" y="f6584"/>
              </a:cxn>
              <a:cxn ang="f4299">
                <a:pos x="f5835" y="f6587"/>
              </a:cxn>
              <a:cxn ang="f4299">
                <a:pos x="f5836" y="f6587"/>
              </a:cxn>
              <a:cxn ang="f4299">
                <a:pos x="f5837" y="f6588"/>
              </a:cxn>
              <a:cxn ang="f4299">
                <a:pos x="f5837" y="f6585"/>
              </a:cxn>
              <a:cxn ang="f4299">
                <a:pos x="f5836" y="f6586"/>
              </a:cxn>
              <a:cxn ang="f4299">
                <a:pos x="f5835" y="f6586"/>
              </a:cxn>
              <a:cxn ang="f4299">
                <a:pos x="f5838" y="f6585"/>
              </a:cxn>
              <a:cxn ang="f4299">
                <a:pos x="f5838" y="f6588"/>
              </a:cxn>
              <a:cxn ang="f4299">
                <a:pos x="f5839" y="f6587"/>
              </a:cxn>
              <a:cxn ang="f4299">
                <a:pos x="f5840" y="f6587"/>
              </a:cxn>
              <a:cxn ang="f4299">
                <a:pos x="f5841" y="f6588"/>
              </a:cxn>
              <a:cxn ang="f4299">
                <a:pos x="f5841" y="f6585"/>
              </a:cxn>
              <a:cxn ang="f4299">
                <a:pos x="f5840" y="f6586"/>
              </a:cxn>
              <a:cxn ang="f4299">
                <a:pos x="f5839" y="f6586"/>
              </a:cxn>
              <a:cxn ang="f4299">
                <a:pos x="f5842" y="f6585"/>
              </a:cxn>
              <a:cxn ang="f4299">
                <a:pos x="f5842" y="f6588"/>
              </a:cxn>
              <a:cxn ang="f4299">
                <a:pos x="f5823" y="f6589"/>
              </a:cxn>
              <a:cxn ang="f4299">
                <a:pos x="f5824" y="f6589"/>
              </a:cxn>
              <a:cxn ang="f4299">
                <a:pos x="f5825" y="f6590"/>
              </a:cxn>
              <a:cxn ang="f4299">
                <a:pos x="f5825" y="f6591"/>
              </a:cxn>
              <a:cxn ang="f4299">
                <a:pos x="f5824" y="f6592"/>
              </a:cxn>
              <a:cxn ang="f4299">
                <a:pos x="f5823" y="f6592"/>
              </a:cxn>
              <a:cxn ang="f4299">
                <a:pos x="f5826" y="f6591"/>
              </a:cxn>
              <a:cxn ang="f4299">
                <a:pos x="f5826" y="f6590"/>
              </a:cxn>
              <a:cxn ang="f4299">
                <a:pos x="f5827" y="f6589"/>
              </a:cxn>
              <a:cxn ang="f4299">
                <a:pos x="f5828" y="f6589"/>
              </a:cxn>
              <a:cxn ang="f4299">
                <a:pos x="f5829" y="f6590"/>
              </a:cxn>
              <a:cxn ang="f4299">
                <a:pos x="f5829" y="f6593"/>
              </a:cxn>
              <a:cxn ang="f4299">
                <a:pos x="f5828" y="f6592"/>
              </a:cxn>
              <a:cxn ang="f4299">
                <a:pos x="f5827" y="f6592"/>
              </a:cxn>
              <a:cxn ang="f4299">
                <a:pos x="f5830" y="f6593"/>
              </a:cxn>
              <a:cxn ang="f4299">
                <a:pos x="f5830" y="f6590"/>
              </a:cxn>
              <a:cxn ang="f4299">
                <a:pos x="f5831" y="f6589"/>
              </a:cxn>
              <a:cxn ang="f4299">
                <a:pos x="f5832" y="f6589"/>
              </a:cxn>
              <a:cxn ang="f4299">
                <a:pos x="f5833" y="f6590"/>
              </a:cxn>
              <a:cxn ang="f4299">
                <a:pos x="f5833" y="f6593"/>
              </a:cxn>
              <a:cxn ang="f4299">
                <a:pos x="f5832" y="f6594"/>
              </a:cxn>
              <a:cxn ang="f4299">
                <a:pos x="f5831" y="f6594"/>
              </a:cxn>
              <a:cxn ang="f4299">
                <a:pos x="f5834" y="f6593"/>
              </a:cxn>
              <a:cxn ang="f4299">
                <a:pos x="f5834" y="f6590"/>
              </a:cxn>
              <a:cxn ang="f4299">
                <a:pos x="f5815" y="f6595"/>
              </a:cxn>
              <a:cxn ang="f4299">
                <a:pos x="f5816" y="f6595"/>
              </a:cxn>
              <a:cxn ang="f4299">
                <a:pos x="f5817" y="f6590"/>
              </a:cxn>
              <a:cxn ang="f4299">
                <a:pos x="f5817" y="f6591"/>
              </a:cxn>
              <a:cxn ang="f4299">
                <a:pos x="f5816" y="f6592"/>
              </a:cxn>
              <a:cxn ang="f4299">
                <a:pos x="f5815" y="f6592"/>
              </a:cxn>
              <a:cxn ang="f4299">
                <a:pos x="f5818" y="f6591"/>
              </a:cxn>
              <a:cxn ang="f4299">
                <a:pos x="f5818" y="f6590"/>
              </a:cxn>
              <a:cxn ang="f4299">
                <a:pos x="f5819" y="f6595"/>
              </a:cxn>
              <a:cxn ang="f4299">
                <a:pos x="f5820" y="f6595"/>
              </a:cxn>
              <a:cxn ang="f4299">
                <a:pos x="f5821" y="f6590"/>
              </a:cxn>
              <a:cxn ang="f4299">
                <a:pos x="f5821" y="f6591"/>
              </a:cxn>
              <a:cxn ang="f4299">
                <a:pos x="f5820" y="f6592"/>
              </a:cxn>
              <a:cxn ang="f4299">
                <a:pos x="f5819" y="f6592"/>
              </a:cxn>
              <a:cxn ang="f4299">
                <a:pos x="f5822" y="f6591"/>
              </a:cxn>
              <a:cxn ang="f4299">
                <a:pos x="f5822" y="f6590"/>
              </a:cxn>
              <a:cxn ang="f4299">
                <a:pos x="f5795" y="f6596"/>
              </a:cxn>
              <a:cxn ang="f4299">
                <a:pos x="f5796" y="f6596"/>
              </a:cxn>
              <a:cxn ang="f4299">
                <a:pos x="f5797" y="f6597"/>
              </a:cxn>
              <a:cxn ang="f4299">
                <a:pos x="f5797" y="f6598"/>
              </a:cxn>
              <a:cxn ang="f4299">
                <a:pos x="f5796" y="f6599"/>
              </a:cxn>
              <a:cxn ang="f4299">
                <a:pos x="f5795" y="f6599"/>
              </a:cxn>
              <a:cxn ang="f4299">
                <a:pos x="f5798" y="f6598"/>
              </a:cxn>
              <a:cxn ang="f4299">
                <a:pos x="f5798" y="f6597"/>
              </a:cxn>
              <a:cxn ang="f4299">
                <a:pos x="f5799" y="f6596"/>
              </a:cxn>
              <a:cxn ang="f4299">
                <a:pos x="f5800" y="f6596"/>
              </a:cxn>
              <a:cxn ang="f4299">
                <a:pos x="f5801" y="f6597"/>
              </a:cxn>
              <a:cxn ang="f4299">
                <a:pos x="f5801" y="f6598"/>
              </a:cxn>
              <a:cxn ang="f4299">
                <a:pos x="f5800" y="f6599"/>
              </a:cxn>
              <a:cxn ang="f4299">
                <a:pos x="f5799" y="f6599"/>
              </a:cxn>
              <a:cxn ang="f4299">
                <a:pos x="f5802" y="f6598"/>
              </a:cxn>
              <a:cxn ang="f4299">
                <a:pos x="f5802" y="f6597"/>
              </a:cxn>
              <a:cxn ang="f4299">
                <a:pos x="f5803" y="f6596"/>
              </a:cxn>
              <a:cxn ang="f4299">
                <a:pos x="f5804" y="f6596"/>
              </a:cxn>
              <a:cxn ang="f4299">
                <a:pos x="f5805" y="f6597"/>
              </a:cxn>
              <a:cxn ang="f4299">
                <a:pos x="f5805" y="f6598"/>
              </a:cxn>
              <a:cxn ang="f4299">
                <a:pos x="f5804" y="f6599"/>
              </a:cxn>
              <a:cxn ang="f4299">
                <a:pos x="f5803" y="f6599"/>
              </a:cxn>
              <a:cxn ang="f4299">
                <a:pos x="f5806" y="f6598"/>
              </a:cxn>
              <a:cxn ang="f4299">
                <a:pos x="f5806" y="f6597"/>
              </a:cxn>
              <a:cxn ang="f4299">
                <a:pos x="f5807" y="f6596"/>
              </a:cxn>
              <a:cxn ang="f4299">
                <a:pos x="f5808" y="f6596"/>
              </a:cxn>
              <a:cxn ang="f4299">
                <a:pos x="f5809" y="f6597"/>
              </a:cxn>
              <a:cxn ang="f4299">
                <a:pos x="f5809" y="f6600"/>
              </a:cxn>
              <a:cxn ang="f4299">
                <a:pos x="f5808" y="f6599"/>
              </a:cxn>
              <a:cxn ang="f4299">
                <a:pos x="f5807" y="f6599"/>
              </a:cxn>
              <a:cxn ang="f4299">
                <a:pos x="f5810" y="f6600"/>
              </a:cxn>
              <a:cxn ang="f4299">
                <a:pos x="f5810" y="f6597"/>
              </a:cxn>
              <a:cxn ang="f4299">
                <a:pos x="f5811" y="f6596"/>
              </a:cxn>
              <a:cxn ang="f4299">
                <a:pos x="f5812" y="f6596"/>
              </a:cxn>
              <a:cxn ang="f4299">
                <a:pos x="f5813" y="f6597"/>
              </a:cxn>
              <a:cxn ang="f4299">
                <a:pos x="f5813" y="f6600"/>
              </a:cxn>
              <a:cxn ang="f4299">
                <a:pos x="f5812" y="f6601"/>
              </a:cxn>
              <a:cxn ang="f4299">
                <a:pos x="f5811" y="f6601"/>
              </a:cxn>
              <a:cxn ang="f4299">
                <a:pos x="f5814" y="f6600"/>
              </a:cxn>
              <a:cxn ang="f4299">
                <a:pos x="f5814" y="f6597"/>
              </a:cxn>
              <a:cxn ang="f4299">
                <a:pos x="f5775" y="f6602"/>
              </a:cxn>
              <a:cxn ang="f4299">
                <a:pos x="f5776" y="f6602"/>
              </a:cxn>
              <a:cxn ang="f4299">
                <a:pos x="f5777" y="f6603"/>
              </a:cxn>
              <a:cxn ang="f4299">
                <a:pos x="f5777" y="f6604"/>
              </a:cxn>
              <a:cxn ang="f4299">
                <a:pos x="f5776" y="f6605"/>
              </a:cxn>
              <a:cxn ang="f4299">
                <a:pos x="f5775" y="f6605"/>
              </a:cxn>
              <a:cxn ang="f4299">
                <a:pos x="f5778" y="f6604"/>
              </a:cxn>
              <a:cxn ang="f4299">
                <a:pos x="f5778" y="f6603"/>
              </a:cxn>
              <a:cxn ang="f4299">
                <a:pos x="f5779" y="f6602"/>
              </a:cxn>
              <a:cxn ang="f4299">
                <a:pos x="f5780" y="f6602"/>
              </a:cxn>
              <a:cxn ang="f4299">
                <a:pos x="f5781" y="f6603"/>
              </a:cxn>
              <a:cxn ang="f4299">
                <a:pos x="f5781" y="f6604"/>
              </a:cxn>
              <a:cxn ang="f4299">
                <a:pos x="f5780" y="f6606"/>
              </a:cxn>
              <a:cxn ang="f4299">
                <a:pos x="f5779" y="f6606"/>
              </a:cxn>
              <a:cxn ang="f4299">
                <a:pos x="f5782" y="f6604"/>
              </a:cxn>
              <a:cxn ang="f4299">
                <a:pos x="f5782" y="f6603"/>
              </a:cxn>
              <a:cxn ang="f4299">
                <a:pos x="f5783" y="f6602"/>
              </a:cxn>
              <a:cxn ang="f4299">
                <a:pos x="f5784" y="f6602"/>
              </a:cxn>
              <a:cxn ang="f4299">
                <a:pos x="f5785" y="f6607"/>
              </a:cxn>
              <a:cxn ang="f4299">
                <a:pos x="f5785" y="f6604"/>
              </a:cxn>
              <a:cxn ang="f4299">
                <a:pos x="f5784" y="f6606"/>
              </a:cxn>
              <a:cxn ang="f4299">
                <a:pos x="f5783" y="f6606"/>
              </a:cxn>
              <a:cxn ang="f4299">
                <a:pos x="f5786" y="f6604"/>
              </a:cxn>
              <a:cxn ang="f4299">
                <a:pos x="f5786" y="f6607"/>
              </a:cxn>
              <a:cxn ang="f4299">
                <a:pos x="f5787" y="f6602"/>
              </a:cxn>
              <a:cxn ang="f4299">
                <a:pos x="f5788" y="f6602"/>
              </a:cxn>
              <a:cxn ang="f4299">
                <a:pos x="f5789" y="f6607"/>
              </a:cxn>
              <a:cxn ang="f4299">
                <a:pos x="f5789" y="f6608"/>
              </a:cxn>
              <a:cxn ang="f4299">
                <a:pos x="f5788" y="f6606"/>
              </a:cxn>
              <a:cxn ang="f4299">
                <a:pos x="f5787" y="f6606"/>
              </a:cxn>
              <a:cxn ang="f4299">
                <a:pos x="f5790" y="f6608"/>
              </a:cxn>
              <a:cxn ang="f4299">
                <a:pos x="f5790" y="f6607"/>
              </a:cxn>
              <a:cxn ang="f4299">
                <a:pos x="f5791" y="f6602"/>
              </a:cxn>
              <a:cxn ang="f4299">
                <a:pos x="f5792" y="f6602"/>
              </a:cxn>
              <a:cxn ang="f4299">
                <a:pos x="f5793" y="f6607"/>
              </a:cxn>
              <a:cxn ang="f4299">
                <a:pos x="f5793" y="f6608"/>
              </a:cxn>
              <a:cxn ang="f4299">
                <a:pos x="f5792" y="f6606"/>
              </a:cxn>
              <a:cxn ang="f4299">
                <a:pos x="f5791" y="f6606"/>
              </a:cxn>
              <a:cxn ang="f4299">
                <a:pos x="f5794" y="f6608"/>
              </a:cxn>
              <a:cxn ang="f4299">
                <a:pos x="f5794" y="f6607"/>
              </a:cxn>
              <a:cxn ang="f4299">
                <a:pos x="f6609" y="f6610"/>
              </a:cxn>
              <a:cxn ang="f4299">
                <a:pos x="f6611" y="f6610"/>
              </a:cxn>
              <a:cxn ang="f4299">
                <a:pos x="f6612" y="f6613"/>
              </a:cxn>
              <a:cxn ang="f4299">
                <a:pos x="f6612" y="f6614"/>
              </a:cxn>
              <a:cxn ang="f4299">
                <a:pos x="f6611" y="f6615"/>
              </a:cxn>
              <a:cxn ang="f4299">
                <a:pos x="f6609" y="f6615"/>
              </a:cxn>
              <a:cxn ang="f4299">
                <a:pos x="f6616" y="f6614"/>
              </a:cxn>
              <a:cxn ang="f4299">
                <a:pos x="f6616" y="f6613"/>
              </a:cxn>
              <a:cxn ang="f4299">
                <a:pos x="f6545" y="f6617"/>
              </a:cxn>
              <a:cxn ang="f4299">
                <a:pos x="f6618" y="f6617"/>
              </a:cxn>
              <a:cxn ang="f4299">
                <a:pos x="f6619" y="f6613"/>
              </a:cxn>
              <a:cxn ang="f4299">
                <a:pos x="f6619" y="f6614"/>
              </a:cxn>
              <a:cxn ang="f4299">
                <a:pos x="f6618" y="f6615"/>
              </a:cxn>
              <a:cxn ang="f4299">
                <a:pos x="f6545" y="f6615"/>
              </a:cxn>
              <a:cxn ang="f4299">
                <a:pos x="f6620" y="f6614"/>
              </a:cxn>
              <a:cxn ang="f4299">
                <a:pos x="f6620" y="f6613"/>
              </a:cxn>
              <a:cxn ang="f4299">
                <a:pos x="f6621" y="f6617"/>
              </a:cxn>
              <a:cxn ang="f4299">
                <a:pos x="f6551" y="f6617"/>
              </a:cxn>
              <a:cxn ang="f4299">
                <a:pos x="f6622" y="f6613"/>
              </a:cxn>
              <a:cxn ang="f4299">
                <a:pos x="f6622" y="f6614"/>
              </a:cxn>
              <a:cxn ang="f4299">
                <a:pos x="f6551" y="f6615"/>
              </a:cxn>
              <a:cxn ang="f4299">
                <a:pos x="f6621" y="f6615"/>
              </a:cxn>
              <a:cxn ang="f4299">
                <a:pos x="f6623" y="f6614"/>
              </a:cxn>
              <a:cxn ang="f4299">
                <a:pos x="f6623" y="f6613"/>
              </a:cxn>
              <a:cxn ang="f4299">
                <a:pos x="f6624" y="f6617"/>
              </a:cxn>
              <a:cxn ang="f4299">
                <a:pos x="f6625" y="f6617"/>
              </a:cxn>
              <a:cxn ang="f4299">
                <a:pos x="f6556" y="f6613"/>
              </a:cxn>
              <a:cxn ang="f4299">
                <a:pos x="f6556" y="f6614"/>
              </a:cxn>
              <a:cxn ang="f4299">
                <a:pos x="f6625" y="f6615"/>
              </a:cxn>
              <a:cxn ang="f4299">
                <a:pos x="f6624" y="f6615"/>
              </a:cxn>
              <a:cxn ang="f4299">
                <a:pos x="f6626" y="f6614"/>
              </a:cxn>
              <a:cxn ang="f4299">
                <a:pos x="f6626" y="f6613"/>
              </a:cxn>
              <a:cxn ang="f4299">
                <a:pos x="f5767" y="f6627"/>
              </a:cxn>
              <a:cxn ang="f4299">
                <a:pos x="f5769" y="f6627"/>
              </a:cxn>
              <a:cxn ang="f4299">
                <a:pos x="f5770" y="f6628"/>
              </a:cxn>
              <a:cxn ang="f4299">
                <a:pos x="f5770" y="f6629"/>
              </a:cxn>
              <a:cxn ang="f4299">
                <a:pos x="f5769" y="f6630"/>
              </a:cxn>
              <a:cxn ang="f4299">
                <a:pos x="f5767" y="f6630"/>
              </a:cxn>
              <a:cxn ang="f4299">
                <a:pos x="f5774" y="f6629"/>
              </a:cxn>
              <a:cxn ang="f4299">
                <a:pos x="f5774" y="f6628"/>
              </a:cxn>
              <a:cxn ang="f4299">
                <a:pos x="f6631" y="f6632"/>
              </a:cxn>
              <a:cxn ang="f4299">
                <a:pos x="f6560" y="f6632"/>
              </a:cxn>
              <a:cxn ang="f4299">
                <a:pos x="f6375" y="f6633"/>
              </a:cxn>
              <a:cxn ang="f4299">
                <a:pos x="f6375" y="f6634"/>
              </a:cxn>
              <a:cxn ang="f4299">
                <a:pos x="f6560" y="f6635"/>
              </a:cxn>
              <a:cxn ang="f4299">
                <a:pos x="f6631" y="f6635"/>
              </a:cxn>
              <a:cxn ang="f4299">
                <a:pos x="f6350" y="f6634"/>
              </a:cxn>
              <a:cxn ang="f4299">
                <a:pos x="f6350" y="f6633"/>
              </a:cxn>
              <a:cxn ang="f4299">
                <a:pos x="f6349" y="f6636"/>
              </a:cxn>
              <a:cxn ang="f4299">
                <a:pos x="f6316" y="f6636"/>
              </a:cxn>
              <a:cxn ang="f4299">
                <a:pos x="f6565" y="f6637"/>
              </a:cxn>
              <a:cxn ang="f4299">
                <a:pos x="f6565" y="f6638"/>
              </a:cxn>
              <a:cxn ang="f4299">
                <a:pos x="f6316" y="f6639"/>
              </a:cxn>
              <a:cxn ang="f4299">
                <a:pos x="f6349" y="f6639"/>
              </a:cxn>
              <a:cxn ang="f4299">
                <a:pos x="f6465" y="f6638"/>
              </a:cxn>
              <a:cxn ang="f4299">
                <a:pos x="f6465" y="f6637"/>
              </a:cxn>
              <a:cxn ang="f4299">
                <a:pos x="f6527" y="f6640"/>
              </a:cxn>
              <a:cxn ang="f4299">
                <a:pos x="f6641" y="f6640"/>
              </a:cxn>
              <a:cxn ang="f4299">
                <a:pos x="f6642" y="f6643"/>
              </a:cxn>
              <a:cxn ang="f4299">
                <a:pos x="f6642" y="f6644"/>
              </a:cxn>
              <a:cxn ang="f4299">
                <a:pos x="f6641" y="f6645"/>
              </a:cxn>
              <a:cxn ang="f4299">
                <a:pos x="f6527" y="f6645"/>
              </a:cxn>
              <a:cxn ang="f4299">
                <a:pos x="f6534" y="f6644"/>
              </a:cxn>
              <a:cxn ang="f4299">
                <a:pos x="f6534" y="f6643"/>
              </a:cxn>
              <a:cxn ang="f4299">
                <a:pos x="f6646" y="f6640"/>
              </a:cxn>
              <a:cxn ang="f4299">
                <a:pos x="f6535" y="f6640"/>
              </a:cxn>
              <a:cxn ang="f4299">
                <a:pos x="f6536" y="f6643"/>
              </a:cxn>
              <a:cxn ang="f4299">
                <a:pos x="f6536" y="f6644"/>
              </a:cxn>
              <a:cxn ang="f4299">
                <a:pos x="f6535" y="f6645"/>
              </a:cxn>
              <a:cxn ang="f4299">
                <a:pos x="f6646" y="f6645"/>
              </a:cxn>
              <a:cxn ang="f4299">
                <a:pos x="f6647" y="f6644"/>
              </a:cxn>
              <a:cxn ang="f4299">
                <a:pos x="f6647" y="f6643"/>
              </a:cxn>
              <a:cxn ang="f4299">
                <a:pos x="f6648" y="f6640"/>
              </a:cxn>
              <a:cxn ang="f4299">
                <a:pos x="f6537" y="f6640"/>
              </a:cxn>
              <a:cxn ang="f4299">
                <a:pos x="f6649" y="f6643"/>
              </a:cxn>
              <a:cxn ang="f4299">
                <a:pos x="f6649" y="f6644"/>
              </a:cxn>
              <a:cxn ang="f4299">
                <a:pos x="f6537" y="f6645"/>
              </a:cxn>
              <a:cxn ang="f4299">
                <a:pos x="f6648" y="f6645"/>
              </a:cxn>
              <a:cxn ang="f4299">
                <a:pos x="f6650" y="f6644"/>
              </a:cxn>
              <a:cxn ang="f4299">
                <a:pos x="f6650" y="f6643"/>
              </a:cxn>
              <a:cxn ang="f4299">
                <a:pos x="f6542" y="f6640"/>
              </a:cxn>
              <a:cxn ang="f4299">
                <a:pos x="f6651" y="f6640"/>
              </a:cxn>
              <a:cxn ang="f4299">
                <a:pos x="f6544" y="f6643"/>
              </a:cxn>
              <a:cxn ang="f4299">
                <a:pos x="f6544" y="f6644"/>
              </a:cxn>
              <a:cxn ang="f4299">
                <a:pos x="f6651" y="f6645"/>
              </a:cxn>
              <a:cxn ang="f4299">
                <a:pos x="f6542" y="f6645"/>
              </a:cxn>
              <a:cxn ang="f4299">
                <a:pos x="f6652" y="f6644"/>
              </a:cxn>
              <a:cxn ang="f4299">
                <a:pos x="f6652" y="f6643"/>
              </a:cxn>
              <a:cxn ang="f4299">
                <a:pos x="f5891" y="f6653"/>
              </a:cxn>
              <a:cxn ang="f4299">
                <a:pos x="f5892" y="f6653"/>
              </a:cxn>
              <a:cxn ang="f4299">
                <a:pos x="f5893" y="f6654"/>
              </a:cxn>
              <a:cxn ang="f4299">
                <a:pos x="f5893" y="f6655"/>
              </a:cxn>
              <a:cxn ang="f4299">
                <a:pos x="f5892" y="f6656"/>
              </a:cxn>
              <a:cxn ang="f4299">
                <a:pos x="f5891" y="f6656"/>
              </a:cxn>
              <a:cxn ang="f4299">
                <a:pos x="f5894" y="f6655"/>
              </a:cxn>
              <a:cxn ang="f4299">
                <a:pos x="f5894" y="f6654"/>
              </a:cxn>
              <a:cxn ang="f4299">
                <a:pos x="f5875" y="f6657"/>
              </a:cxn>
              <a:cxn ang="f4299">
                <a:pos x="f5876" y="f6657"/>
              </a:cxn>
              <a:cxn ang="f4299">
                <a:pos x="f5877" y="f6654"/>
              </a:cxn>
              <a:cxn ang="f4299">
                <a:pos x="f5877" y="f6658"/>
              </a:cxn>
              <a:cxn ang="f4299">
                <a:pos x="f5876" y="f6656"/>
              </a:cxn>
              <a:cxn ang="f4299">
                <a:pos x="f5875" y="f6656"/>
              </a:cxn>
              <a:cxn ang="f4299">
                <a:pos x="f5878" y="f6658"/>
              </a:cxn>
              <a:cxn ang="f4299">
                <a:pos x="f5878" y="f6654"/>
              </a:cxn>
              <a:cxn ang="f4299">
                <a:pos x="f5879" y="f6657"/>
              </a:cxn>
              <a:cxn ang="f4299">
                <a:pos x="f5880" y="f6657"/>
              </a:cxn>
              <a:cxn ang="f4299">
                <a:pos x="f5881" y="f6654"/>
              </a:cxn>
              <a:cxn ang="f4299">
                <a:pos x="f5881" y="f6655"/>
              </a:cxn>
              <a:cxn ang="f4299">
                <a:pos x="f5880" y="f6656"/>
              </a:cxn>
              <a:cxn ang="f4299">
                <a:pos x="f5879" y="f6656"/>
              </a:cxn>
              <a:cxn ang="f4299">
                <a:pos x="f5882" y="f6655"/>
              </a:cxn>
              <a:cxn ang="f4299">
                <a:pos x="f5882" y="f6654"/>
              </a:cxn>
              <a:cxn ang="f4299">
                <a:pos x="f5883" y="f6657"/>
              </a:cxn>
              <a:cxn ang="f4299">
                <a:pos x="f5884" y="f6657"/>
              </a:cxn>
              <a:cxn ang="f4299">
                <a:pos x="f5885" y="f6654"/>
              </a:cxn>
              <a:cxn ang="f4299">
                <a:pos x="f5885" y="f6655"/>
              </a:cxn>
              <a:cxn ang="f4299">
                <a:pos x="f5884" y="f6656"/>
              </a:cxn>
              <a:cxn ang="f4299">
                <a:pos x="f5883" y="f6656"/>
              </a:cxn>
              <a:cxn ang="f4299">
                <a:pos x="f5886" y="f6655"/>
              </a:cxn>
              <a:cxn ang="f4299">
                <a:pos x="f5886" y="f6654"/>
              </a:cxn>
              <a:cxn ang="f4299">
                <a:pos x="f5887" y="f6657"/>
              </a:cxn>
              <a:cxn ang="f4299">
                <a:pos x="f5888" y="f6657"/>
              </a:cxn>
              <a:cxn ang="f4299">
                <a:pos x="f5889" y="f6654"/>
              </a:cxn>
              <a:cxn ang="f4299">
                <a:pos x="f5889" y="f6655"/>
              </a:cxn>
              <a:cxn ang="f4299">
                <a:pos x="f5888" y="f6656"/>
              </a:cxn>
              <a:cxn ang="f4299">
                <a:pos x="f5887" y="f6656"/>
              </a:cxn>
              <a:cxn ang="f4299">
                <a:pos x="f5890" y="f6655"/>
              </a:cxn>
              <a:cxn ang="f4299">
                <a:pos x="f5890" y="f6654"/>
              </a:cxn>
              <a:cxn ang="f4299">
                <a:pos x="f5871" y="f6659"/>
              </a:cxn>
              <a:cxn ang="f4299">
                <a:pos x="f5872" y="f6659"/>
              </a:cxn>
              <a:cxn ang="f4299">
                <a:pos x="f5873" y="f6660"/>
              </a:cxn>
              <a:cxn ang="f4299">
                <a:pos x="f5873" y="f6661"/>
              </a:cxn>
              <a:cxn ang="f4299">
                <a:pos x="f5872" y="f6662"/>
              </a:cxn>
              <a:cxn ang="f4299">
                <a:pos x="f5871" y="f6662"/>
              </a:cxn>
              <a:cxn ang="f4299">
                <a:pos x="f5874" y="f6661"/>
              </a:cxn>
              <a:cxn ang="f4299">
                <a:pos x="f5874" y="f6660"/>
              </a:cxn>
              <a:cxn ang="f4299">
                <a:pos x="f5855" y="f6659"/>
              </a:cxn>
              <a:cxn ang="f4299">
                <a:pos x="f5856" y="f6659"/>
              </a:cxn>
              <a:cxn ang="f4299">
                <a:pos x="f5857" y="f6660"/>
              </a:cxn>
              <a:cxn ang="f4299">
                <a:pos x="f5857" y="f6661"/>
              </a:cxn>
              <a:cxn ang="f4299">
                <a:pos x="f5856" y="f6662"/>
              </a:cxn>
              <a:cxn ang="f4299">
                <a:pos x="f5855" y="f6662"/>
              </a:cxn>
              <a:cxn ang="f4299">
                <a:pos x="f5858" y="f6661"/>
              </a:cxn>
              <a:cxn ang="f4299">
                <a:pos x="f5858" y="f6660"/>
              </a:cxn>
              <a:cxn ang="f4299">
                <a:pos x="f5859" y="f6659"/>
              </a:cxn>
              <a:cxn ang="f4299">
                <a:pos x="f5860" y="f6659"/>
              </a:cxn>
              <a:cxn ang="f4299">
                <a:pos x="f5861" y="f6660"/>
              </a:cxn>
              <a:cxn ang="f4299">
                <a:pos x="f5861" y="f6661"/>
              </a:cxn>
              <a:cxn ang="f4299">
                <a:pos x="f5860" y="f6662"/>
              </a:cxn>
              <a:cxn ang="f4299">
                <a:pos x="f5859" y="f6662"/>
              </a:cxn>
              <a:cxn ang="f4299">
                <a:pos x="f5862" y="f6661"/>
              </a:cxn>
              <a:cxn ang="f4299">
                <a:pos x="f5862" y="f6660"/>
              </a:cxn>
              <a:cxn ang="f4299">
                <a:pos x="f5863" y="f6659"/>
              </a:cxn>
              <a:cxn ang="f4299">
                <a:pos x="f5864" y="f6659"/>
              </a:cxn>
              <a:cxn ang="f4299">
                <a:pos x="f5865" y="f6660"/>
              </a:cxn>
              <a:cxn ang="f4299">
                <a:pos x="f5865" y="f6661"/>
              </a:cxn>
              <a:cxn ang="f4299">
                <a:pos x="f5864" y="f6662"/>
              </a:cxn>
              <a:cxn ang="f4299">
                <a:pos x="f5863" y="f6662"/>
              </a:cxn>
              <a:cxn ang="f4299">
                <a:pos x="f5866" y="f6661"/>
              </a:cxn>
              <a:cxn ang="f4299">
                <a:pos x="f5866" y="f6660"/>
              </a:cxn>
              <a:cxn ang="f4299">
                <a:pos x="f5867" y="f6659"/>
              </a:cxn>
              <a:cxn ang="f4299">
                <a:pos x="f5868" y="f6659"/>
              </a:cxn>
              <a:cxn ang="f4299">
                <a:pos x="f5869" y="f6660"/>
              </a:cxn>
              <a:cxn ang="f4299">
                <a:pos x="f5869" y="f6661"/>
              </a:cxn>
              <a:cxn ang="f4299">
                <a:pos x="f5868" y="f6662"/>
              </a:cxn>
              <a:cxn ang="f4299">
                <a:pos x="f5867" y="f6662"/>
              </a:cxn>
              <a:cxn ang="f4299">
                <a:pos x="f5870" y="f6661"/>
              </a:cxn>
              <a:cxn ang="f4299">
                <a:pos x="f5870" y="f6660"/>
              </a:cxn>
              <a:cxn ang="f4299">
                <a:pos x="f5851" y="f6663"/>
              </a:cxn>
              <a:cxn ang="f4299">
                <a:pos x="f5852" y="f6663"/>
              </a:cxn>
              <a:cxn ang="f4299">
                <a:pos x="f5853" y="f6664"/>
              </a:cxn>
              <a:cxn ang="f4299">
                <a:pos x="f5853" y="f6665"/>
              </a:cxn>
              <a:cxn ang="f4299">
                <a:pos x="f5852" y="f6666"/>
              </a:cxn>
              <a:cxn ang="f4299">
                <a:pos x="f5851" y="f6666"/>
              </a:cxn>
              <a:cxn ang="f4299">
                <a:pos x="f5854" y="f6665"/>
              </a:cxn>
              <a:cxn ang="f4299">
                <a:pos x="f5854" y="f6664"/>
              </a:cxn>
              <a:cxn ang="f4299">
                <a:pos x="f5835" y="f6667"/>
              </a:cxn>
              <a:cxn ang="f4299">
                <a:pos x="f5836" y="f6667"/>
              </a:cxn>
              <a:cxn ang="f4299">
                <a:pos x="f5837" y="f6664"/>
              </a:cxn>
              <a:cxn ang="f4299">
                <a:pos x="f5837" y="f6668"/>
              </a:cxn>
              <a:cxn ang="f4299">
                <a:pos x="f5836" y="f6669"/>
              </a:cxn>
              <a:cxn ang="f4299">
                <a:pos x="f5835" y="f6669"/>
              </a:cxn>
              <a:cxn ang="f4299">
                <a:pos x="f5838" y="f6668"/>
              </a:cxn>
              <a:cxn ang="f4299">
                <a:pos x="f5838" y="f6664"/>
              </a:cxn>
              <a:cxn ang="f4299">
                <a:pos x="f5839" y="f6667"/>
              </a:cxn>
              <a:cxn ang="f4299">
                <a:pos x="f5840" y="f6667"/>
              </a:cxn>
              <a:cxn ang="f4299">
                <a:pos x="f5841" y="f6664"/>
              </a:cxn>
              <a:cxn ang="f4299">
                <a:pos x="f5841" y="f6665"/>
              </a:cxn>
              <a:cxn ang="f4299">
                <a:pos x="f5840" y="f6669"/>
              </a:cxn>
              <a:cxn ang="f4299">
                <a:pos x="f5839" y="f6669"/>
              </a:cxn>
              <a:cxn ang="f4299">
                <a:pos x="f5842" y="f6665"/>
              </a:cxn>
              <a:cxn ang="f4299">
                <a:pos x="f5842" y="f6664"/>
              </a:cxn>
              <a:cxn ang="f4299">
                <a:pos x="f5843" y="f6667"/>
              </a:cxn>
              <a:cxn ang="f4299">
                <a:pos x="f5844" y="f6667"/>
              </a:cxn>
              <a:cxn ang="f4299">
                <a:pos x="f5845" y="f6664"/>
              </a:cxn>
              <a:cxn ang="f4299">
                <a:pos x="f5845" y="f6665"/>
              </a:cxn>
              <a:cxn ang="f4299">
                <a:pos x="f5844" y="f6666"/>
              </a:cxn>
              <a:cxn ang="f4299">
                <a:pos x="f5843" y="f6666"/>
              </a:cxn>
              <a:cxn ang="f4299">
                <a:pos x="f5846" y="f6665"/>
              </a:cxn>
              <a:cxn ang="f4299">
                <a:pos x="f5846" y="f6664"/>
              </a:cxn>
              <a:cxn ang="f4299">
                <a:pos x="f5847" y="f6667"/>
              </a:cxn>
              <a:cxn ang="f4299">
                <a:pos x="f5848" y="f6667"/>
              </a:cxn>
              <a:cxn ang="f4299">
                <a:pos x="f5849" y="f6664"/>
              </a:cxn>
              <a:cxn ang="f4299">
                <a:pos x="f5849" y="f6665"/>
              </a:cxn>
              <a:cxn ang="f4299">
                <a:pos x="f5848" y="f6666"/>
              </a:cxn>
              <a:cxn ang="f4299">
                <a:pos x="f5847" y="f6666"/>
              </a:cxn>
              <a:cxn ang="f4299">
                <a:pos x="f5850" y="f6665"/>
              </a:cxn>
              <a:cxn ang="f4299">
                <a:pos x="f5850" y="f6664"/>
              </a:cxn>
              <a:cxn ang="f4299">
                <a:pos x="f5831" y="f6670"/>
              </a:cxn>
              <a:cxn ang="f4299">
                <a:pos x="f5832" y="f6670"/>
              </a:cxn>
              <a:cxn ang="f4299">
                <a:pos x="f5833" y="f6671"/>
              </a:cxn>
              <a:cxn ang="f4299">
                <a:pos x="f5833" y="f6672"/>
              </a:cxn>
              <a:cxn ang="f4299">
                <a:pos x="f5832" y="f6673"/>
              </a:cxn>
              <a:cxn ang="f4299">
                <a:pos x="f5831" y="f6673"/>
              </a:cxn>
              <a:cxn ang="f4299">
                <a:pos x="f5834" y="f6672"/>
              </a:cxn>
              <a:cxn ang="f4299">
                <a:pos x="f5834" y="f6671"/>
              </a:cxn>
              <a:cxn ang="f4299">
                <a:pos x="f5815" y="f6674"/>
              </a:cxn>
              <a:cxn ang="f4299">
                <a:pos x="f5816" y="f6674"/>
              </a:cxn>
              <a:cxn ang="f4299">
                <a:pos x="f5817" y="f6671"/>
              </a:cxn>
              <a:cxn ang="f4299">
                <a:pos x="f5817" y="f6675"/>
              </a:cxn>
              <a:cxn ang="f4299">
                <a:pos x="f5816" y="f6673"/>
              </a:cxn>
              <a:cxn ang="f4299">
                <a:pos x="f5815" y="f6673"/>
              </a:cxn>
              <a:cxn ang="f4299">
                <a:pos x="f5818" y="f6675"/>
              </a:cxn>
              <a:cxn ang="f4299">
                <a:pos x="f5818" y="f6671"/>
              </a:cxn>
              <a:cxn ang="f4299">
                <a:pos x="f5819" y="f6674"/>
              </a:cxn>
              <a:cxn ang="f4299">
                <a:pos x="f5820" y="f6674"/>
              </a:cxn>
              <a:cxn ang="f4299">
                <a:pos x="f5821" y="f6671"/>
              </a:cxn>
              <a:cxn ang="f4299">
                <a:pos x="f5821" y="f6672"/>
              </a:cxn>
              <a:cxn ang="f4299">
                <a:pos x="f5820" y="f6673"/>
              </a:cxn>
              <a:cxn ang="f4299">
                <a:pos x="f5819" y="f6673"/>
              </a:cxn>
              <a:cxn ang="f4299">
                <a:pos x="f5822" y="f6672"/>
              </a:cxn>
              <a:cxn ang="f4299">
                <a:pos x="f5822" y="f6671"/>
              </a:cxn>
              <a:cxn ang="f4299">
                <a:pos x="f5823" y="f6674"/>
              </a:cxn>
              <a:cxn ang="f4299">
                <a:pos x="f5824" y="f6674"/>
              </a:cxn>
              <a:cxn ang="f4299">
                <a:pos x="f5825" y="f6671"/>
              </a:cxn>
              <a:cxn ang="f4299">
                <a:pos x="f5825" y="f6672"/>
              </a:cxn>
              <a:cxn ang="f4299">
                <a:pos x="f5824" y="f6673"/>
              </a:cxn>
              <a:cxn ang="f4299">
                <a:pos x="f5823" y="f6673"/>
              </a:cxn>
              <a:cxn ang="f4299">
                <a:pos x="f5826" y="f6672"/>
              </a:cxn>
              <a:cxn ang="f4299">
                <a:pos x="f5826" y="f6671"/>
              </a:cxn>
              <a:cxn ang="f4299">
                <a:pos x="f5827" y="f6674"/>
              </a:cxn>
              <a:cxn ang="f4299">
                <a:pos x="f5828" y="f6674"/>
              </a:cxn>
              <a:cxn ang="f4299">
                <a:pos x="f5829" y="f6671"/>
              </a:cxn>
              <a:cxn ang="f4299">
                <a:pos x="f5829" y="f6672"/>
              </a:cxn>
              <a:cxn ang="f4299">
                <a:pos x="f5828" y="f6673"/>
              </a:cxn>
              <a:cxn ang="f4299">
                <a:pos x="f5827" y="f6673"/>
              </a:cxn>
              <a:cxn ang="f4299">
                <a:pos x="f5830" y="f6672"/>
              </a:cxn>
              <a:cxn ang="f4299">
                <a:pos x="f5830" y="f6671"/>
              </a:cxn>
              <a:cxn ang="f4299">
                <a:pos x="f5811" y="f6676"/>
              </a:cxn>
              <a:cxn ang="f4299">
                <a:pos x="f5812" y="f6676"/>
              </a:cxn>
              <a:cxn ang="f4299">
                <a:pos x="f5813" y="f6677"/>
              </a:cxn>
              <a:cxn ang="f4299">
                <a:pos x="f5813" y="f6678"/>
              </a:cxn>
              <a:cxn ang="f4299">
                <a:pos x="f5812" y="f6679"/>
              </a:cxn>
              <a:cxn ang="f4299">
                <a:pos x="f5811" y="f6679"/>
              </a:cxn>
              <a:cxn ang="f4299">
                <a:pos x="f5814" y="f6678"/>
              </a:cxn>
              <a:cxn ang="f4299">
                <a:pos x="f5814" y="f6677"/>
              </a:cxn>
              <a:cxn ang="f4299">
                <a:pos x="f5795" y="f6676"/>
              </a:cxn>
              <a:cxn ang="f4299">
                <a:pos x="f5796" y="f6676"/>
              </a:cxn>
              <a:cxn ang="f4299">
                <a:pos x="f5797" y="f6680"/>
              </a:cxn>
              <a:cxn ang="f4299">
                <a:pos x="f5797" y="f6681"/>
              </a:cxn>
              <a:cxn ang="f4299">
                <a:pos x="f5796" y="f6682"/>
              </a:cxn>
              <a:cxn ang="f4299">
                <a:pos x="f5795" y="f6682"/>
              </a:cxn>
              <a:cxn ang="f4299">
                <a:pos x="f5798" y="f6681"/>
              </a:cxn>
              <a:cxn ang="f4299">
                <a:pos x="f5798" y="f6680"/>
              </a:cxn>
              <a:cxn ang="f4299">
                <a:pos x="f5799" y="f6676"/>
              </a:cxn>
              <a:cxn ang="f4299">
                <a:pos x="f5800" y="f6676"/>
              </a:cxn>
              <a:cxn ang="f4299">
                <a:pos x="f5801" y="f6680"/>
              </a:cxn>
              <a:cxn ang="f4299">
                <a:pos x="f5801" y="f6678"/>
              </a:cxn>
              <a:cxn ang="f4299">
                <a:pos x="f5800" y="f6682"/>
              </a:cxn>
              <a:cxn ang="f4299">
                <a:pos x="f5799" y="f6682"/>
              </a:cxn>
              <a:cxn ang="f4299">
                <a:pos x="f5802" y="f6678"/>
              </a:cxn>
              <a:cxn ang="f4299">
                <a:pos x="f5802" y="f6680"/>
              </a:cxn>
              <a:cxn ang="f4299">
                <a:pos x="f5803" y="f6676"/>
              </a:cxn>
              <a:cxn ang="f4299">
                <a:pos x="f5804" y="f6676"/>
              </a:cxn>
              <a:cxn ang="f4299">
                <a:pos x="f5805" y="f6680"/>
              </a:cxn>
              <a:cxn ang="f4299">
                <a:pos x="f5805" y="f6678"/>
              </a:cxn>
              <a:cxn ang="f4299">
                <a:pos x="f5804" y="f6679"/>
              </a:cxn>
              <a:cxn ang="f4299">
                <a:pos x="f5803" y="f6679"/>
              </a:cxn>
              <a:cxn ang="f4299">
                <a:pos x="f5806" y="f6678"/>
              </a:cxn>
              <a:cxn ang="f4299">
                <a:pos x="f5806" y="f6680"/>
              </a:cxn>
              <a:cxn ang="f4299">
                <a:pos x="f5807" y="f6676"/>
              </a:cxn>
              <a:cxn ang="f4299">
                <a:pos x="f5808" y="f6676"/>
              </a:cxn>
              <a:cxn ang="f4299">
                <a:pos x="f5809" y="f6680"/>
              </a:cxn>
              <a:cxn ang="f4299">
                <a:pos x="f5809" y="f6678"/>
              </a:cxn>
              <a:cxn ang="f4299">
                <a:pos x="f5808" y="f6679"/>
              </a:cxn>
              <a:cxn ang="f4299">
                <a:pos x="f5807" y="f6679"/>
              </a:cxn>
              <a:cxn ang="f4299">
                <a:pos x="f5810" y="f6678"/>
              </a:cxn>
              <a:cxn ang="f4299">
                <a:pos x="f5810" y="f6680"/>
              </a:cxn>
              <a:cxn ang="f4299">
                <a:pos x="f5791" y="f6683"/>
              </a:cxn>
              <a:cxn ang="f4299">
                <a:pos x="f5792" y="f6683"/>
              </a:cxn>
              <a:cxn ang="f4299">
                <a:pos x="f5793" y="f6684"/>
              </a:cxn>
              <a:cxn ang="f4299">
                <a:pos x="f5793" y="f6685"/>
              </a:cxn>
              <a:cxn ang="f4299">
                <a:pos x="f5792" y="f6686"/>
              </a:cxn>
              <a:cxn ang="f4299">
                <a:pos x="f5791" y="f6686"/>
              </a:cxn>
              <a:cxn ang="f4299">
                <a:pos x="f5794" y="f6685"/>
              </a:cxn>
              <a:cxn ang="f4299">
                <a:pos x="f5794" y="f6684"/>
              </a:cxn>
              <a:cxn ang="f4299">
                <a:pos x="f5775" y="f6683"/>
              </a:cxn>
              <a:cxn ang="f4299">
                <a:pos x="f5776" y="f6683"/>
              </a:cxn>
              <a:cxn ang="f4299">
                <a:pos x="f5777" y="f6684"/>
              </a:cxn>
              <a:cxn ang="f4299">
                <a:pos x="f5777" y="f6687"/>
              </a:cxn>
              <a:cxn ang="f4299">
                <a:pos x="f5776" y="f6688"/>
              </a:cxn>
              <a:cxn ang="f4299">
                <a:pos x="f5775" y="f6688"/>
              </a:cxn>
              <a:cxn ang="f4299">
                <a:pos x="f5778" y="f6687"/>
              </a:cxn>
              <a:cxn ang="f4299">
                <a:pos x="f5778" y="f6684"/>
              </a:cxn>
              <a:cxn ang="f4299">
                <a:pos x="f5779" y="f6683"/>
              </a:cxn>
              <a:cxn ang="f4299">
                <a:pos x="f5780" y="f6683"/>
              </a:cxn>
              <a:cxn ang="f4299">
                <a:pos x="f5781" y="f6684"/>
              </a:cxn>
              <a:cxn ang="f4299">
                <a:pos x="f5781" y="f6685"/>
              </a:cxn>
              <a:cxn ang="f4299">
                <a:pos x="f5780" y="f6688"/>
              </a:cxn>
              <a:cxn ang="f4299">
                <a:pos x="f5779" y="f6688"/>
              </a:cxn>
              <a:cxn ang="f4299">
                <a:pos x="f5782" y="f6685"/>
              </a:cxn>
              <a:cxn ang="f4299">
                <a:pos x="f5782" y="f6684"/>
              </a:cxn>
              <a:cxn ang="f4299">
                <a:pos x="f5783" y="f6683"/>
              </a:cxn>
              <a:cxn ang="f4299">
                <a:pos x="f5784" y="f6683"/>
              </a:cxn>
              <a:cxn ang="f4299">
                <a:pos x="f5785" y="f6684"/>
              </a:cxn>
              <a:cxn ang="f4299">
                <a:pos x="f5785" y="f6685"/>
              </a:cxn>
              <a:cxn ang="f4299">
                <a:pos x="f5784" y="f6686"/>
              </a:cxn>
              <a:cxn ang="f4299">
                <a:pos x="f5783" y="f6686"/>
              </a:cxn>
              <a:cxn ang="f4299">
                <a:pos x="f5786" y="f6685"/>
              </a:cxn>
              <a:cxn ang="f4299">
                <a:pos x="f5786" y="f6684"/>
              </a:cxn>
              <a:cxn ang="f4299">
                <a:pos x="f5787" y="f6683"/>
              </a:cxn>
              <a:cxn ang="f4299">
                <a:pos x="f5788" y="f6683"/>
              </a:cxn>
              <a:cxn ang="f4299">
                <a:pos x="f5789" y="f6684"/>
              </a:cxn>
              <a:cxn ang="f4299">
                <a:pos x="f5789" y="f6685"/>
              </a:cxn>
              <a:cxn ang="f4299">
                <a:pos x="f5788" y="f6686"/>
              </a:cxn>
              <a:cxn ang="f4299">
                <a:pos x="f5787" y="f6686"/>
              </a:cxn>
              <a:cxn ang="f4299">
                <a:pos x="f5790" y="f6685"/>
              </a:cxn>
              <a:cxn ang="f4299">
                <a:pos x="f5790" y="f6684"/>
              </a:cxn>
              <a:cxn ang="f4299">
                <a:pos x="f6689" y="f6690"/>
              </a:cxn>
              <a:cxn ang="f4299">
                <a:pos x="f6618" y="f6690"/>
              </a:cxn>
              <a:cxn ang="f4299">
                <a:pos x="f6691" y="f6692"/>
              </a:cxn>
              <a:cxn ang="f4299">
                <a:pos x="f6691" y="f6693"/>
              </a:cxn>
              <a:cxn ang="f4299">
                <a:pos x="f6618" y="f6694"/>
              </a:cxn>
              <a:cxn ang="f4299">
                <a:pos x="f6689" y="f6694"/>
              </a:cxn>
              <a:cxn ang="f4299">
                <a:pos x="f6695" y="f6693"/>
              </a:cxn>
              <a:cxn ang="f4299">
                <a:pos x="f6695" y="f6692"/>
              </a:cxn>
              <a:cxn ang="f4299">
                <a:pos x="f6696" y="f6690"/>
              </a:cxn>
              <a:cxn ang="f4299">
                <a:pos x="f6697" y="f6690"/>
              </a:cxn>
              <a:cxn ang="f4299">
                <a:pos x="f6622" y="f6692"/>
              </a:cxn>
              <a:cxn ang="f4299">
                <a:pos x="f6622" y="f6693"/>
              </a:cxn>
              <a:cxn ang="f4299">
                <a:pos x="f6697" y="f6694"/>
              </a:cxn>
              <a:cxn ang="f4299">
                <a:pos x="f6696" y="f6694"/>
              </a:cxn>
              <a:cxn ang="f4299">
                <a:pos x="f6623" y="f6693"/>
              </a:cxn>
              <a:cxn ang="f4299">
                <a:pos x="f6623" y="f6692"/>
              </a:cxn>
              <a:cxn ang="f4299">
                <a:pos x="f6624" y="f6690"/>
              </a:cxn>
              <a:cxn ang="f4299">
                <a:pos x="f6625" y="f6690"/>
              </a:cxn>
              <a:cxn ang="f4299">
                <a:pos x="f6698" y="f6692"/>
              </a:cxn>
              <a:cxn ang="f4299">
                <a:pos x="f6698" y="f6693"/>
              </a:cxn>
              <a:cxn ang="f4299">
                <a:pos x="f6625" y="f6694"/>
              </a:cxn>
              <a:cxn ang="f4299">
                <a:pos x="f6624" y="f6694"/>
              </a:cxn>
              <a:cxn ang="f4299">
                <a:pos x="f6626" y="f6693"/>
              </a:cxn>
              <a:cxn ang="f4299">
                <a:pos x="f6626" y="f6692"/>
              </a:cxn>
              <a:cxn ang="f4299">
                <a:pos x="f6609" y="f6690"/>
              </a:cxn>
              <a:cxn ang="f4299">
                <a:pos x="f6699" y="f6690"/>
              </a:cxn>
              <a:cxn ang="f4299">
                <a:pos x="f6700" y="f6692"/>
              </a:cxn>
              <a:cxn ang="f4299">
                <a:pos x="f6700" y="f6693"/>
              </a:cxn>
              <a:cxn ang="f4299">
                <a:pos x="f6699" y="f6694"/>
              </a:cxn>
              <a:cxn ang="f4299">
                <a:pos x="f6609" y="f6694"/>
              </a:cxn>
              <a:cxn ang="f4299">
                <a:pos x="f6701" y="f6693"/>
              </a:cxn>
              <a:cxn ang="f4299">
                <a:pos x="f6701" y="f6692"/>
              </a:cxn>
              <a:cxn ang="f4299">
                <a:pos x="f5767" y="f6702"/>
              </a:cxn>
              <a:cxn ang="f4299">
                <a:pos x="f5769" y="f6702"/>
              </a:cxn>
              <a:cxn ang="f4299">
                <a:pos x="f5770" y="f6703"/>
              </a:cxn>
              <a:cxn ang="f4299">
                <a:pos x="f5770" y="f6704"/>
              </a:cxn>
              <a:cxn ang="f4299">
                <a:pos x="f5769" y="f6705"/>
              </a:cxn>
              <a:cxn ang="f4299">
                <a:pos x="f5767" y="f6705"/>
              </a:cxn>
              <a:cxn ang="f4299">
                <a:pos x="f5774" y="f6704"/>
              </a:cxn>
              <a:cxn ang="f4299">
                <a:pos x="f5774" y="f6703"/>
              </a:cxn>
              <a:cxn ang="f4299">
                <a:pos x="f6631" y="f6706"/>
              </a:cxn>
              <a:cxn ang="f4299">
                <a:pos x="f6560" y="f6706"/>
              </a:cxn>
              <a:cxn ang="f4299">
                <a:pos x="f6375" y="f6707"/>
              </a:cxn>
              <a:cxn ang="f4299">
                <a:pos x="f6375" y="f6708"/>
              </a:cxn>
              <a:cxn ang="f4299">
                <a:pos x="f6560" y="f6709"/>
              </a:cxn>
              <a:cxn ang="f4299">
                <a:pos x="f6631" y="f6709"/>
              </a:cxn>
              <a:cxn ang="f4299">
                <a:pos x="f6350" y="f6708"/>
              </a:cxn>
              <a:cxn ang="f4299">
                <a:pos x="f6350" y="f6707"/>
              </a:cxn>
              <a:cxn ang="f4299">
                <a:pos x="f6710" y="f6711"/>
              </a:cxn>
              <a:cxn ang="f4299">
                <a:pos x="f6712" y="f6711"/>
              </a:cxn>
              <a:cxn ang="f4299">
                <a:pos x="f6565" y="f6713"/>
              </a:cxn>
              <a:cxn ang="f4299">
                <a:pos x="f6565" y="f6714"/>
              </a:cxn>
              <a:cxn ang="f4299">
                <a:pos x="f6712" y="f6715"/>
              </a:cxn>
              <a:cxn ang="f4299">
                <a:pos x="f6710" y="f6715"/>
              </a:cxn>
              <a:cxn ang="f4299">
                <a:pos x="f6465" y="f6714"/>
              </a:cxn>
              <a:cxn ang="f4299">
                <a:pos x="f6465" y="f6713"/>
              </a:cxn>
              <a:cxn ang="f4299">
                <a:pos x="f6716" y="f6717"/>
              </a:cxn>
              <a:cxn ang="f4299">
                <a:pos x="f6641" y="f6717"/>
              </a:cxn>
              <a:cxn ang="f4299">
                <a:pos x="f6642" y="f6718"/>
              </a:cxn>
              <a:cxn ang="f4299">
                <a:pos x="f6642" y="f6719"/>
              </a:cxn>
              <a:cxn ang="f4299">
                <a:pos x="f6641" y="f6720"/>
              </a:cxn>
              <a:cxn ang="f4299">
                <a:pos x="f6716" y="f6720"/>
              </a:cxn>
              <a:cxn ang="f4299">
                <a:pos x="f6721" y="f6719"/>
              </a:cxn>
              <a:cxn ang="f4299">
                <a:pos x="f6721" y="f6718"/>
              </a:cxn>
              <a:cxn ang="f4299">
                <a:pos x="f6646" y="f6717"/>
              </a:cxn>
              <a:cxn ang="f4299">
                <a:pos x="f6722" y="f6717"/>
              </a:cxn>
              <a:cxn ang="f4299">
                <a:pos x="f6723" y="f6718"/>
              </a:cxn>
              <a:cxn ang="f4299">
                <a:pos x="f6723" y="f6719"/>
              </a:cxn>
              <a:cxn ang="f4299">
                <a:pos x="f6722" y="f6720"/>
              </a:cxn>
              <a:cxn ang="f4299">
                <a:pos x="f6646" y="f6720"/>
              </a:cxn>
              <a:cxn ang="f4299">
                <a:pos x="f6724" y="f6719"/>
              </a:cxn>
              <a:cxn ang="f4299">
                <a:pos x="f6724" y="f6718"/>
              </a:cxn>
              <a:cxn ang="f4299">
                <a:pos x="f6725" y="f6726"/>
              </a:cxn>
              <a:cxn ang="f4299">
                <a:pos x="f6727" y="f6726"/>
              </a:cxn>
              <a:cxn ang="f4299">
                <a:pos x="f6649" y="f6718"/>
              </a:cxn>
              <a:cxn ang="f4299">
                <a:pos x="f6649" y="f6719"/>
              </a:cxn>
              <a:cxn ang="f4299">
                <a:pos x="f6727" y="f6720"/>
              </a:cxn>
              <a:cxn ang="f4299">
                <a:pos x="f6725" y="f6720"/>
              </a:cxn>
              <a:cxn ang="f4299">
                <a:pos x="f6650" y="f6719"/>
              </a:cxn>
              <a:cxn ang="f4299">
                <a:pos x="f6650" y="f6718"/>
              </a:cxn>
              <a:cxn ang="f4299">
                <a:pos x="f6728" y="f6726"/>
              </a:cxn>
              <a:cxn ang="f4299">
                <a:pos x="f6651" y="f6726"/>
              </a:cxn>
              <a:cxn ang="f4299">
                <a:pos x="f6729" y="f6718"/>
              </a:cxn>
              <a:cxn ang="f4299">
                <a:pos x="f6729" y="f6719"/>
              </a:cxn>
              <a:cxn ang="f4299">
                <a:pos x="f6651" y="f6720"/>
              </a:cxn>
              <a:cxn ang="f4299">
                <a:pos x="f6728" y="f6720"/>
              </a:cxn>
              <a:cxn ang="f4299">
                <a:pos x="f6730" y="f6719"/>
              </a:cxn>
              <a:cxn ang="f4299">
                <a:pos x="f6730" y="f6718"/>
              </a:cxn>
              <a:cxn ang="f4299">
                <a:pos x="f5875" y="f6731"/>
              </a:cxn>
              <a:cxn ang="f4299">
                <a:pos x="f5876" y="f6731"/>
              </a:cxn>
              <a:cxn ang="f4299">
                <a:pos x="f5877" y="f6732"/>
              </a:cxn>
              <a:cxn ang="f4299">
                <a:pos x="f5877" y="f6733"/>
              </a:cxn>
              <a:cxn ang="f4299">
                <a:pos x="f5876" y="f6734"/>
              </a:cxn>
              <a:cxn ang="f4299">
                <a:pos x="f5875" y="f6734"/>
              </a:cxn>
              <a:cxn ang="f4299">
                <a:pos x="f5878" y="f6733"/>
              </a:cxn>
              <a:cxn ang="f4299">
                <a:pos x="f5878" y="f6732"/>
              </a:cxn>
              <a:cxn ang="f4299">
                <a:pos x="f5879" y="f6731"/>
              </a:cxn>
              <a:cxn ang="f4299">
                <a:pos x="f5880" y="f6731"/>
              </a:cxn>
              <a:cxn ang="f4299">
                <a:pos x="f5881" y="f6732"/>
              </a:cxn>
              <a:cxn ang="f4299">
                <a:pos x="f5881" y="f6733"/>
              </a:cxn>
              <a:cxn ang="f4299">
                <a:pos x="f5880" y="f6734"/>
              </a:cxn>
              <a:cxn ang="f4299">
                <a:pos x="f5879" y="f6734"/>
              </a:cxn>
              <a:cxn ang="f4299">
                <a:pos x="f5882" y="f6733"/>
              </a:cxn>
              <a:cxn ang="f4299">
                <a:pos x="f5882" y="f6732"/>
              </a:cxn>
              <a:cxn ang="f4299">
                <a:pos x="f5883" y="f6731"/>
              </a:cxn>
              <a:cxn ang="f4299">
                <a:pos x="f5884" y="f6731"/>
              </a:cxn>
              <a:cxn ang="f4299">
                <a:pos x="f5885" y="f6732"/>
              </a:cxn>
              <a:cxn ang="f4299">
                <a:pos x="f5885" y="f6733"/>
              </a:cxn>
              <a:cxn ang="f4299">
                <a:pos x="f5884" y="f6734"/>
              </a:cxn>
              <a:cxn ang="f4299">
                <a:pos x="f5883" y="f6734"/>
              </a:cxn>
              <a:cxn ang="f4299">
                <a:pos x="f5886" y="f6733"/>
              </a:cxn>
              <a:cxn ang="f4299">
                <a:pos x="f5886" y="f6732"/>
              </a:cxn>
              <a:cxn ang="f4299">
                <a:pos x="f5887" y="f6731"/>
              </a:cxn>
              <a:cxn ang="f4299">
                <a:pos x="f5888" y="f6731"/>
              </a:cxn>
              <a:cxn ang="f4299">
                <a:pos x="f5889" y="f6735"/>
              </a:cxn>
              <a:cxn ang="f4299">
                <a:pos x="f5889" y="f6733"/>
              </a:cxn>
              <a:cxn ang="f4299">
                <a:pos x="f5888" y="f6734"/>
              </a:cxn>
              <a:cxn ang="f4299">
                <a:pos x="f5887" y="f6734"/>
              </a:cxn>
              <a:cxn ang="f4299">
                <a:pos x="f5890" y="f6733"/>
              </a:cxn>
              <a:cxn ang="f4299">
                <a:pos x="f5890" y="f6735"/>
              </a:cxn>
              <a:cxn ang="f4299">
                <a:pos x="f5891" y="f6731"/>
              </a:cxn>
              <a:cxn ang="f4299">
                <a:pos x="f5892" y="f6731"/>
              </a:cxn>
              <a:cxn ang="f4299">
                <a:pos x="f5893" y="f6735"/>
              </a:cxn>
              <a:cxn ang="f4299">
                <a:pos x="f5893" y="f6733"/>
              </a:cxn>
              <a:cxn ang="f4299">
                <a:pos x="f5892" y="f6734"/>
              </a:cxn>
              <a:cxn ang="f4299">
                <a:pos x="f5891" y="f6734"/>
              </a:cxn>
              <a:cxn ang="f4299">
                <a:pos x="f5894" y="f6733"/>
              </a:cxn>
              <a:cxn ang="f4299">
                <a:pos x="f5894" y="f6735"/>
              </a:cxn>
              <a:cxn ang="f4299">
                <a:pos x="f5855" y="f6736"/>
              </a:cxn>
              <a:cxn ang="f4299">
                <a:pos x="f5856" y="f6736"/>
              </a:cxn>
              <a:cxn ang="f4299">
                <a:pos x="f5857" y="f6737"/>
              </a:cxn>
              <a:cxn ang="f4299">
                <a:pos x="f5857" y="f6738"/>
              </a:cxn>
              <a:cxn ang="f4299">
                <a:pos x="f5856" y="f6739"/>
              </a:cxn>
              <a:cxn ang="f4299">
                <a:pos x="f5855" y="f6739"/>
              </a:cxn>
              <a:cxn ang="f4299">
                <a:pos x="f5858" y="f6738"/>
              </a:cxn>
              <a:cxn ang="f4299">
                <a:pos x="f5858" y="f6737"/>
              </a:cxn>
              <a:cxn ang="f4299">
                <a:pos x="f5859" y="f6736"/>
              </a:cxn>
              <a:cxn ang="f4299">
                <a:pos x="f5860" y="f6736"/>
              </a:cxn>
              <a:cxn ang="f4299">
                <a:pos x="f5861" y="f6737"/>
              </a:cxn>
              <a:cxn ang="f4299">
                <a:pos x="f5861" y="f6738"/>
              </a:cxn>
              <a:cxn ang="f4299">
                <a:pos x="f5860" y="f6739"/>
              </a:cxn>
              <a:cxn ang="f4299">
                <a:pos x="f5859" y="f6739"/>
              </a:cxn>
              <a:cxn ang="f4299">
                <a:pos x="f5862" y="f6738"/>
              </a:cxn>
              <a:cxn ang="f4299">
                <a:pos x="f5862" y="f6737"/>
              </a:cxn>
              <a:cxn ang="f4299">
                <a:pos x="f5863" y="f6736"/>
              </a:cxn>
              <a:cxn ang="f4299">
                <a:pos x="f5864" y="f6736"/>
              </a:cxn>
              <a:cxn ang="f4299">
                <a:pos x="f5865" y="f6737"/>
              </a:cxn>
              <a:cxn ang="f4299">
                <a:pos x="f5865" y="f6738"/>
              </a:cxn>
              <a:cxn ang="f4299">
                <a:pos x="f5864" y="f6739"/>
              </a:cxn>
              <a:cxn ang="f4299">
                <a:pos x="f5863" y="f6739"/>
              </a:cxn>
              <a:cxn ang="f4299">
                <a:pos x="f5866" y="f6738"/>
              </a:cxn>
              <a:cxn ang="f4299">
                <a:pos x="f5866" y="f6737"/>
              </a:cxn>
              <a:cxn ang="f4299">
                <a:pos x="f5867" y="f6736"/>
              </a:cxn>
              <a:cxn ang="f4299">
                <a:pos x="f5868" y="f6736"/>
              </a:cxn>
              <a:cxn ang="f4299">
                <a:pos x="f5869" y="f6740"/>
              </a:cxn>
              <a:cxn ang="f4299">
                <a:pos x="f5869" y="f6738"/>
              </a:cxn>
              <a:cxn ang="f4299">
                <a:pos x="f5868" y="f6739"/>
              </a:cxn>
              <a:cxn ang="f4299">
                <a:pos x="f5867" y="f6739"/>
              </a:cxn>
              <a:cxn ang="f4299">
                <a:pos x="f5870" y="f6738"/>
              </a:cxn>
              <a:cxn ang="f4299">
                <a:pos x="f5870" y="f6740"/>
              </a:cxn>
              <a:cxn ang="f4299">
                <a:pos x="f5871" y="f6736"/>
              </a:cxn>
              <a:cxn ang="f4299">
                <a:pos x="f5872" y="f6736"/>
              </a:cxn>
              <a:cxn ang="f4299">
                <a:pos x="f5873" y="f6740"/>
              </a:cxn>
              <a:cxn ang="f4299">
                <a:pos x="f5873" y="f6738"/>
              </a:cxn>
              <a:cxn ang="f4299">
                <a:pos x="f5872" y="f6739"/>
              </a:cxn>
              <a:cxn ang="f4299">
                <a:pos x="f5871" y="f6739"/>
              </a:cxn>
              <a:cxn ang="f4299">
                <a:pos x="f5874" y="f6738"/>
              </a:cxn>
              <a:cxn ang="f4299">
                <a:pos x="f5874" y="f6740"/>
              </a:cxn>
              <a:cxn ang="f4299">
                <a:pos x="f5835" y="f6741"/>
              </a:cxn>
              <a:cxn ang="f4299">
                <a:pos x="f5836" y="f6741"/>
              </a:cxn>
              <a:cxn ang="f4299">
                <a:pos x="f5837" y="f6742"/>
              </a:cxn>
              <a:cxn ang="f4299">
                <a:pos x="f5837" y="f6743"/>
              </a:cxn>
              <a:cxn ang="f4299">
                <a:pos x="f5836" y="f6744"/>
              </a:cxn>
              <a:cxn ang="f4299">
                <a:pos x="f5835" y="f6744"/>
              </a:cxn>
              <a:cxn ang="f4299">
                <a:pos x="f5838" y="f6743"/>
              </a:cxn>
              <a:cxn ang="f4299">
                <a:pos x="f5838" y="f6742"/>
              </a:cxn>
              <a:cxn ang="f4299">
                <a:pos x="f5839" y="f6741"/>
              </a:cxn>
              <a:cxn ang="f4299">
                <a:pos x="f5840" y="f6741"/>
              </a:cxn>
              <a:cxn ang="f4299">
                <a:pos x="f5841" y="f6742"/>
              </a:cxn>
              <a:cxn ang="f4299">
                <a:pos x="f5841" y="f6743"/>
              </a:cxn>
              <a:cxn ang="f4299">
                <a:pos x="f5840" y="f6744"/>
              </a:cxn>
              <a:cxn ang="f4299">
                <a:pos x="f5839" y="f6744"/>
              </a:cxn>
              <a:cxn ang="f4299">
                <a:pos x="f5842" y="f6743"/>
              </a:cxn>
              <a:cxn ang="f4299">
                <a:pos x="f5842" y="f6742"/>
              </a:cxn>
              <a:cxn ang="f4299">
                <a:pos x="f5843" y="f6741"/>
              </a:cxn>
              <a:cxn ang="f4299">
                <a:pos x="f5844" y="f6741"/>
              </a:cxn>
              <a:cxn ang="f4299">
                <a:pos x="f5845" y="f6742"/>
              </a:cxn>
              <a:cxn ang="f4299">
                <a:pos x="f5845" y="f6743"/>
              </a:cxn>
              <a:cxn ang="f4299">
                <a:pos x="f5844" y="f6744"/>
              </a:cxn>
              <a:cxn ang="f4299">
                <a:pos x="f5843" y="f6744"/>
              </a:cxn>
              <a:cxn ang="f4299">
                <a:pos x="f5846" y="f6743"/>
              </a:cxn>
              <a:cxn ang="f4299">
                <a:pos x="f5846" y="f6742"/>
              </a:cxn>
              <a:cxn ang="f4299">
                <a:pos x="f5847" y="f6741"/>
              </a:cxn>
              <a:cxn ang="f4299">
                <a:pos x="f5848" y="f6741"/>
              </a:cxn>
              <a:cxn ang="f4299">
                <a:pos x="f5849" y="f6745"/>
              </a:cxn>
              <a:cxn ang="f4299">
                <a:pos x="f5849" y="f6743"/>
              </a:cxn>
              <a:cxn ang="f4299">
                <a:pos x="f5848" y="f6744"/>
              </a:cxn>
              <a:cxn ang="f4299">
                <a:pos x="f5847" y="f6744"/>
              </a:cxn>
              <a:cxn ang="f4299">
                <a:pos x="f5850" y="f6743"/>
              </a:cxn>
              <a:cxn ang="f4299">
                <a:pos x="f5850" y="f6745"/>
              </a:cxn>
              <a:cxn ang="f4299">
                <a:pos x="f5851" y="f6741"/>
              </a:cxn>
              <a:cxn ang="f4299">
                <a:pos x="f5852" y="f6741"/>
              </a:cxn>
              <a:cxn ang="f4299">
                <a:pos x="f5853" y="f6745"/>
              </a:cxn>
              <a:cxn ang="f4299">
                <a:pos x="f5853" y="f6743"/>
              </a:cxn>
              <a:cxn ang="f4299">
                <a:pos x="f5852" y="f6744"/>
              </a:cxn>
              <a:cxn ang="f4299">
                <a:pos x="f5851" y="f6744"/>
              </a:cxn>
              <a:cxn ang="f4299">
                <a:pos x="f5854" y="f6743"/>
              </a:cxn>
              <a:cxn ang="f4299">
                <a:pos x="f5854" y="f6745"/>
              </a:cxn>
              <a:cxn ang="f4299">
                <a:pos x="f5827" y="f6746"/>
              </a:cxn>
              <a:cxn ang="f4299">
                <a:pos x="f5828" y="f6746"/>
              </a:cxn>
              <a:cxn ang="f4299">
                <a:pos x="f5829" y="f6747"/>
              </a:cxn>
              <a:cxn ang="f4299">
                <a:pos x="f5829" y="f6748"/>
              </a:cxn>
              <a:cxn ang="f4299">
                <a:pos x="f5828" y="f6749"/>
              </a:cxn>
              <a:cxn ang="f4299">
                <a:pos x="f5827" y="f6749"/>
              </a:cxn>
              <a:cxn ang="f4299">
                <a:pos x="f5830" y="f6748"/>
              </a:cxn>
              <a:cxn ang="f4299">
                <a:pos x="f5830" y="f6747"/>
              </a:cxn>
              <a:cxn ang="f4299">
                <a:pos x="f5831" y="f6746"/>
              </a:cxn>
              <a:cxn ang="f4299">
                <a:pos x="f5832" y="f6746"/>
              </a:cxn>
              <a:cxn ang="f4299">
                <a:pos x="f5833" y="f6747"/>
              </a:cxn>
              <a:cxn ang="f4299">
                <a:pos x="f5833" y="f6748"/>
              </a:cxn>
              <a:cxn ang="f4299">
                <a:pos x="f5832" y="f6749"/>
              </a:cxn>
              <a:cxn ang="f4299">
                <a:pos x="f5831" y="f6749"/>
              </a:cxn>
              <a:cxn ang="f4299">
                <a:pos x="f5834" y="f6748"/>
              </a:cxn>
              <a:cxn ang="f4299">
                <a:pos x="f5834" y="f6747"/>
              </a:cxn>
              <a:cxn ang="f4299">
                <a:pos x="f5815" y="f6746"/>
              </a:cxn>
              <a:cxn ang="f4299">
                <a:pos x="f5816" y="f6746"/>
              </a:cxn>
              <a:cxn ang="f4299">
                <a:pos x="f5817" y="f6750"/>
              </a:cxn>
              <a:cxn ang="f4299">
                <a:pos x="f5817" y="f6748"/>
              </a:cxn>
              <a:cxn ang="f4299">
                <a:pos x="f5816" y="f6749"/>
              </a:cxn>
              <a:cxn ang="f4299">
                <a:pos x="f5815" y="f6749"/>
              </a:cxn>
              <a:cxn ang="f4299">
                <a:pos x="f5818" y="f6748"/>
              </a:cxn>
              <a:cxn ang="f4299">
                <a:pos x="f5818" y="f6750"/>
              </a:cxn>
              <a:cxn ang="f4299">
                <a:pos x="f5819" y="f6746"/>
              </a:cxn>
              <a:cxn ang="f4299">
                <a:pos x="f5820" y="f6746"/>
              </a:cxn>
              <a:cxn ang="f4299">
                <a:pos x="f5821" y="f6750"/>
              </a:cxn>
              <a:cxn ang="f4299">
                <a:pos x="f5821" y="f6748"/>
              </a:cxn>
              <a:cxn ang="f4299">
                <a:pos x="f5820" y="f6749"/>
              </a:cxn>
              <a:cxn ang="f4299">
                <a:pos x="f5819" y="f6749"/>
              </a:cxn>
              <a:cxn ang="f4299">
                <a:pos x="f5822" y="f6748"/>
              </a:cxn>
              <a:cxn ang="f4299">
                <a:pos x="f5822" y="f6750"/>
              </a:cxn>
              <a:cxn ang="f4299">
                <a:pos x="f5823" y="f6746"/>
              </a:cxn>
              <a:cxn ang="f4299">
                <a:pos x="f5824" y="f6746"/>
              </a:cxn>
              <a:cxn ang="f4299">
                <a:pos x="f5825" y="f6750"/>
              </a:cxn>
              <a:cxn ang="f4299">
                <a:pos x="f5825" y="f6748"/>
              </a:cxn>
              <a:cxn ang="f4299">
                <a:pos x="f5824" y="f6749"/>
              </a:cxn>
              <a:cxn ang="f4299">
                <a:pos x="f5823" y="f6749"/>
              </a:cxn>
              <a:cxn ang="f4299">
                <a:pos x="f5826" y="f6748"/>
              </a:cxn>
              <a:cxn ang="f4299">
                <a:pos x="f5826" y="f6750"/>
              </a:cxn>
              <a:cxn ang="f4299">
                <a:pos x="f5807" y="f6751"/>
              </a:cxn>
              <a:cxn ang="f4299">
                <a:pos x="f5808" y="f6751"/>
              </a:cxn>
              <a:cxn ang="f4299">
                <a:pos x="f5809" y="f6752"/>
              </a:cxn>
              <a:cxn ang="f4299">
                <a:pos x="f5809" y="f6753"/>
              </a:cxn>
              <a:cxn ang="f4299">
                <a:pos x="f5808" y="f6754"/>
              </a:cxn>
              <a:cxn ang="f4299">
                <a:pos x="f5807" y="f6754"/>
              </a:cxn>
              <a:cxn ang="f4299">
                <a:pos x="f5810" y="f6753"/>
              </a:cxn>
              <a:cxn ang="f4299">
                <a:pos x="f5810" y="f6752"/>
              </a:cxn>
              <a:cxn ang="f4299">
                <a:pos x="f5811" y="f6751"/>
              </a:cxn>
              <a:cxn ang="f4299">
                <a:pos x="f5812" y="f6751"/>
              </a:cxn>
              <a:cxn ang="f4299">
                <a:pos x="f5813" y="f6752"/>
              </a:cxn>
              <a:cxn ang="f4299">
                <a:pos x="f5813" y="f6753"/>
              </a:cxn>
              <a:cxn ang="f4299">
                <a:pos x="f5812" y="f6754"/>
              </a:cxn>
              <a:cxn ang="f4299">
                <a:pos x="f5811" y="f6754"/>
              </a:cxn>
              <a:cxn ang="f4299">
                <a:pos x="f5814" y="f6753"/>
              </a:cxn>
              <a:cxn ang="f4299">
                <a:pos x="f5814" y="f6752"/>
              </a:cxn>
              <a:cxn ang="f4299">
                <a:pos x="f5795" y="f6755"/>
              </a:cxn>
              <a:cxn ang="f4299">
                <a:pos x="f5796" y="f6755"/>
              </a:cxn>
              <a:cxn ang="f4299">
                <a:pos x="f5797" y="f6756"/>
              </a:cxn>
              <a:cxn ang="f4299">
                <a:pos x="f5797" y="f6753"/>
              </a:cxn>
              <a:cxn ang="f4299">
                <a:pos x="f5796" y="f6754"/>
              </a:cxn>
              <a:cxn ang="f4299">
                <a:pos x="f5795" y="f6754"/>
              </a:cxn>
              <a:cxn ang="f4299">
                <a:pos x="f5798" y="f6753"/>
              </a:cxn>
              <a:cxn ang="f4299">
                <a:pos x="f5798" y="f6756"/>
              </a:cxn>
              <a:cxn ang="f4299">
                <a:pos x="f5799" y="f6755"/>
              </a:cxn>
              <a:cxn ang="f4299">
                <a:pos x="f5800" y="f6755"/>
              </a:cxn>
              <a:cxn ang="f4299">
                <a:pos x="f5801" y="f6756"/>
              </a:cxn>
              <a:cxn ang="f4299">
                <a:pos x="f5801" y="f6753"/>
              </a:cxn>
              <a:cxn ang="f4299">
                <a:pos x="f5800" y="f6754"/>
              </a:cxn>
              <a:cxn ang="f4299">
                <a:pos x="f5799" y="f6754"/>
              </a:cxn>
              <a:cxn ang="f4299">
                <a:pos x="f5802" y="f6753"/>
              </a:cxn>
              <a:cxn ang="f4299">
                <a:pos x="f5802" y="f6756"/>
              </a:cxn>
              <a:cxn ang="f4299">
                <a:pos x="f5803" y="f6755"/>
              </a:cxn>
              <a:cxn ang="f4299">
                <a:pos x="f5804" y="f6755"/>
              </a:cxn>
              <a:cxn ang="f4299">
                <a:pos x="f5805" y="f6756"/>
              </a:cxn>
              <a:cxn ang="f4299">
                <a:pos x="f5805" y="f6753"/>
              </a:cxn>
              <a:cxn ang="f4299">
                <a:pos x="f5804" y="f6754"/>
              </a:cxn>
              <a:cxn ang="f4299">
                <a:pos x="f5803" y="f6754"/>
              </a:cxn>
              <a:cxn ang="f4299">
                <a:pos x="f5806" y="f6753"/>
              </a:cxn>
              <a:cxn ang="f4299">
                <a:pos x="f5806" y="f6756"/>
              </a:cxn>
              <a:cxn ang="f4299">
                <a:pos x="f5787" y="f6757"/>
              </a:cxn>
              <a:cxn ang="f4299">
                <a:pos x="f5788" y="f6757"/>
              </a:cxn>
              <a:cxn ang="f4299">
                <a:pos x="f5789" y="f6758"/>
              </a:cxn>
              <a:cxn ang="f4299">
                <a:pos x="f5789" y="f6759"/>
              </a:cxn>
              <a:cxn ang="f4299">
                <a:pos x="f5788" y="f6760"/>
              </a:cxn>
              <a:cxn ang="f4299">
                <a:pos x="f5787" y="f6760"/>
              </a:cxn>
              <a:cxn ang="f4299">
                <a:pos x="f5790" y="f6759"/>
              </a:cxn>
              <a:cxn ang="f4299">
                <a:pos x="f5790" y="f6758"/>
              </a:cxn>
              <a:cxn ang="f4299">
                <a:pos x="f5791" y="f6757"/>
              </a:cxn>
              <a:cxn ang="f4299">
                <a:pos x="f5792" y="f6757"/>
              </a:cxn>
              <a:cxn ang="f4299">
                <a:pos x="f5793" y="f6758"/>
              </a:cxn>
              <a:cxn ang="f4299">
                <a:pos x="f5793" y="f6761"/>
              </a:cxn>
              <a:cxn ang="f4299">
                <a:pos x="f5792" y="f6760"/>
              </a:cxn>
              <a:cxn ang="f4299">
                <a:pos x="f5791" y="f6760"/>
              </a:cxn>
              <a:cxn ang="f4299">
                <a:pos x="f5794" y="f6761"/>
              </a:cxn>
              <a:cxn ang="f4299">
                <a:pos x="f5794" y="f6758"/>
              </a:cxn>
              <a:cxn ang="f4299">
                <a:pos x="f5775" y="f6757"/>
              </a:cxn>
              <a:cxn ang="f4299">
                <a:pos x="f5776" y="f6757"/>
              </a:cxn>
              <a:cxn ang="f4299">
                <a:pos x="f5777" y="f6762"/>
              </a:cxn>
              <a:cxn ang="f4299">
                <a:pos x="f5777" y="f6759"/>
              </a:cxn>
              <a:cxn ang="f4299">
                <a:pos x="f5776" y="f6760"/>
              </a:cxn>
              <a:cxn ang="f4299">
                <a:pos x="f5775" y="f6760"/>
              </a:cxn>
              <a:cxn ang="f4299">
                <a:pos x="f5778" y="f6759"/>
              </a:cxn>
              <a:cxn ang="f4299">
                <a:pos x="f5778" y="f6762"/>
              </a:cxn>
              <a:cxn ang="f4299">
                <a:pos x="f5779" y="f6757"/>
              </a:cxn>
              <a:cxn ang="f4299">
                <a:pos x="f5780" y="f6757"/>
              </a:cxn>
              <a:cxn ang="f4299">
                <a:pos x="f5781" y="f6762"/>
              </a:cxn>
              <a:cxn ang="f4299">
                <a:pos x="f5781" y="f6759"/>
              </a:cxn>
              <a:cxn ang="f4299">
                <a:pos x="f5780" y="f6760"/>
              </a:cxn>
              <a:cxn ang="f4299">
                <a:pos x="f5779" y="f6760"/>
              </a:cxn>
              <a:cxn ang="f4299">
                <a:pos x="f5782" y="f6759"/>
              </a:cxn>
              <a:cxn ang="f4299">
                <a:pos x="f5782" y="f6762"/>
              </a:cxn>
              <a:cxn ang="f4299">
                <a:pos x="f5783" y="f6757"/>
              </a:cxn>
              <a:cxn ang="f4299">
                <a:pos x="f5784" y="f6757"/>
              </a:cxn>
              <a:cxn ang="f4299">
                <a:pos x="f5785" y="f6762"/>
              </a:cxn>
              <a:cxn ang="f4299">
                <a:pos x="f5785" y="f6759"/>
              </a:cxn>
              <a:cxn ang="f4299">
                <a:pos x="f5784" y="f6760"/>
              </a:cxn>
              <a:cxn ang="f4299">
                <a:pos x="f5783" y="f6760"/>
              </a:cxn>
              <a:cxn ang="f4299">
                <a:pos x="f5786" y="f6759"/>
              </a:cxn>
              <a:cxn ang="f4299">
                <a:pos x="f5786" y="f6762"/>
              </a:cxn>
              <a:cxn ang="f4299">
                <a:pos x="f5767" y="f6763"/>
              </a:cxn>
              <a:cxn ang="f4299">
                <a:pos x="f5769" y="f6763"/>
              </a:cxn>
              <a:cxn ang="f4299">
                <a:pos x="f5770" y="f6764"/>
              </a:cxn>
              <a:cxn ang="f4299">
                <a:pos x="f5770" y="f6765"/>
              </a:cxn>
              <a:cxn ang="f4299">
                <a:pos x="f5769" y="f6766"/>
              </a:cxn>
              <a:cxn ang="f4299">
                <a:pos x="f5767" y="f6766"/>
              </a:cxn>
              <a:cxn ang="f4299">
                <a:pos x="f5774" y="f6765"/>
              </a:cxn>
              <a:cxn ang="f4299">
                <a:pos x="f5774" y="f6764"/>
              </a:cxn>
              <a:cxn ang="f4299">
                <a:pos x="f6767" y="f6768"/>
              </a:cxn>
              <a:cxn ang="f4299">
                <a:pos x="f6769" y="f6768"/>
              </a:cxn>
              <a:cxn ang="f4299">
                <a:pos x="f6723" y="f6770"/>
              </a:cxn>
              <a:cxn ang="f4299">
                <a:pos x="f6723" y="f6771"/>
              </a:cxn>
              <a:cxn ang="f4299">
                <a:pos x="f6769" y="f6772"/>
              </a:cxn>
              <a:cxn ang="f4299">
                <a:pos x="f6767" y="f6772"/>
              </a:cxn>
              <a:cxn ang="f4299">
                <a:pos x="f6773" y="f6771"/>
              </a:cxn>
              <a:cxn ang="f4299">
                <a:pos x="f6773" y="f6770"/>
              </a:cxn>
              <a:cxn ang="f4299">
                <a:pos x="f6774" y="f6775"/>
              </a:cxn>
              <a:cxn ang="f4299">
                <a:pos x="f6776" y="f6775"/>
              </a:cxn>
              <a:cxn ang="f4299">
                <a:pos x="f6777" y="f6770"/>
              </a:cxn>
              <a:cxn ang="f4299">
                <a:pos x="f6777" y="f6771"/>
              </a:cxn>
              <a:cxn ang="f4299">
                <a:pos x="f6776" y="f6778"/>
              </a:cxn>
              <a:cxn ang="f4299">
                <a:pos x="f6774" y="f6778"/>
              </a:cxn>
              <a:cxn ang="f4299">
                <a:pos x="f6779" y="f6771"/>
              </a:cxn>
              <a:cxn ang="f4299">
                <a:pos x="f6779" y="f6770"/>
              </a:cxn>
              <a:cxn ang="f4299">
                <a:pos x="f6728" y="f6775"/>
              </a:cxn>
              <a:cxn ang="f4299">
                <a:pos x="f6780" y="f6775"/>
              </a:cxn>
              <a:cxn ang="f4299">
                <a:pos x="f6781" y="f6770"/>
              </a:cxn>
              <a:cxn ang="f4299">
                <a:pos x="f6781" y="f6771"/>
              </a:cxn>
              <a:cxn ang="f4299">
                <a:pos x="f6780" y="f6772"/>
              </a:cxn>
              <a:cxn ang="f4299">
                <a:pos x="f6728" y="f6772"/>
              </a:cxn>
              <a:cxn ang="f4299">
                <a:pos x="f6730" y="f6771"/>
              </a:cxn>
              <a:cxn ang="f4299">
                <a:pos x="f6730" y="f6770"/>
              </a:cxn>
              <a:cxn ang="f4299">
                <a:pos x="f6782" y="f6775"/>
              </a:cxn>
              <a:cxn ang="f4299">
                <a:pos x="f6783" y="f6775"/>
              </a:cxn>
              <a:cxn ang="f4299">
                <a:pos x="f6784" y="f6770"/>
              </a:cxn>
              <a:cxn ang="f4299">
                <a:pos x="f6784" y="f6771"/>
              </a:cxn>
              <a:cxn ang="f4299">
                <a:pos x="f6783" y="f6772"/>
              </a:cxn>
              <a:cxn ang="f4299">
                <a:pos x="f6782" y="f6772"/>
              </a:cxn>
              <a:cxn ang="f4299">
                <a:pos x="f6785" y="f6771"/>
              </a:cxn>
              <a:cxn ang="f4299">
                <a:pos x="f6785" y="f6770"/>
              </a:cxn>
              <a:cxn ang="f4299">
                <a:pos x="f6696" y="f6786"/>
              </a:cxn>
              <a:cxn ang="f4299">
                <a:pos x="f6697" y="f6786"/>
              </a:cxn>
              <a:cxn ang="f4299">
                <a:pos x="f6787" y="f6788"/>
              </a:cxn>
              <a:cxn ang="f4299">
                <a:pos x="f6787" y="f6789"/>
              </a:cxn>
              <a:cxn ang="f4299">
                <a:pos x="f6697" y="f6790"/>
              </a:cxn>
              <a:cxn ang="f4299">
                <a:pos x="f6696" y="f6790"/>
              </a:cxn>
              <a:cxn ang="f4299">
                <a:pos x="f6791" y="f6789"/>
              </a:cxn>
              <a:cxn ang="f4299">
                <a:pos x="f6791" y="f6788"/>
              </a:cxn>
              <a:cxn ang="f4299">
                <a:pos x="f6792" y="f6786"/>
              </a:cxn>
              <a:cxn ang="f4299">
                <a:pos x="f6793" y="f6786"/>
              </a:cxn>
              <a:cxn ang="f4299">
                <a:pos x="f6698" y="f6788"/>
              </a:cxn>
              <a:cxn ang="f4299">
                <a:pos x="f6698" y="f6789"/>
              </a:cxn>
              <a:cxn ang="f4299">
                <a:pos x="f6793" y="f6790"/>
              </a:cxn>
              <a:cxn ang="f4299">
                <a:pos x="f6792" y="f6790"/>
              </a:cxn>
              <a:cxn ang="f4299">
                <a:pos x="f6794" y="f6789"/>
              </a:cxn>
              <a:cxn ang="f4299">
                <a:pos x="f6794" y="f6788"/>
              </a:cxn>
              <a:cxn ang="f4299">
                <a:pos x="f6795" y="f6786"/>
              </a:cxn>
              <a:cxn ang="f4299">
                <a:pos x="f6699" y="f6786"/>
              </a:cxn>
              <a:cxn ang="f4299">
                <a:pos x="f6700" y="f6788"/>
              </a:cxn>
              <a:cxn ang="f4299">
                <a:pos x="f6700" y="f6796"/>
              </a:cxn>
              <a:cxn ang="f4299">
                <a:pos x="f6699" y="f6790"/>
              </a:cxn>
              <a:cxn ang="f4299">
                <a:pos x="f6795" y="f6790"/>
              </a:cxn>
              <a:cxn ang="f4299">
                <a:pos x="f6797" y="f6796"/>
              </a:cxn>
              <a:cxn ang="f4299">
                <a:pos x="f6797" y="f6788"/>
              </a:cxn>
              <a:cxn ang="f4299">
                <a:pos x="f6798" y="f6786"/>
              </a:cxn>
              <a:cxn ang="f4299">
                <a:pos x="f6799" y="f6786"/>
              </a:cxn>
              <a:cxn ang="f4299">
                <a:pos x="f6691" y="f6800"/>
              </a:cxn>
              <a:cxn ang="f4299">
                <a:pos x="f6691" y="f6789"/>
              </a:cxn>
              <a:cxn ang="f4299">
                <a:pos x="f6799" y="f6790"/>
              </a:cxn>
              <a:cxn ang="f4299">
                <a:pos x="f6798" y="f6790"/>
              </a:cxn>
              <a:cxn ang="f4299">
                <a:pos x="f6695" y="f6789"/>
              </a:cxn>
              <a:cxn ang="f4299">
                <a:pos x="f6695" y="f6800"/>
              </a:cxn>
              <a:cxn ang="f4299">
                <a:pos x="f6631" y="f6801"/>
              </a:cxn>
              <a:cxn ang="f4299">
                <a:pos x="f6560" y="f6801"/>
              </a:cxn>
              <a:cxn ang="f4299">
                <a:pos x="f6375" y="f6802"/>
              </a:cxn>
              <a:cxn ang="f4299">
                <a:pos x="f6375" y="f6803"/>
              </a:cxn>
              <a:cxn ang="f4299">
                <a:pos x="f6560" y="f6804"/>
              </a:cxn>
              <a:cxn ang="f4299">
                <a:pos x="f6631" y="f6804"/>
              </a:cxn>
              <a:cxn ang="f4299">
                <a:pos x="f6805" y="f6803"/>
              </a:cxn>
              <a:cxn ang="f4299">
                <a:pos x="f6805" y="f6802"/>
              </a:cxn>
              <a:cxn ang="f4299">
                <a:pos x="f6710" y="f6806"/>
              </a:cxn>
              <a:cxn ang="f4299">
                <a:pos x="f6712" y="f6806"/>
              </a:cxn>
              <a:cxn ang="f4299">
                <a:pos x="f6565" y="f6807"/>
              </a:cxn>
              <a:cxn ang="f4299">
                <a:pos x="f6565" y="f6808"/>
              </a:cxn>
              <a:cxn ang="f4299">
                <a:pos x="f6712" y="f6809"/>
              </a:cxn>
              <a:cxn ang="f4299">
                <a:pos x="f6710" y="f6809"/>
              </a:cxn>
              <a:cxn ang="f4299">
                <a:pos x="f6465" y="f6808"/>
              </a:cxn>
              <a:cxn ang="f4299">
                <a:pos x="f6465" y="f6807"/>
              </a:cxn>
              <a:cxn ang="f4299">
                <a:pos x="f5875" y="f6810"/>
              </a:cxn>
              <a:cxn ang="f4299">
                <a:pos x="f5876" y="f6810"/>
              </a:cxn>
              <a:cxn ang="f4299">
                <a:pos x="f5877" y="f6811"/>
              </a:cxn>
              <a:cxn ang="f4299">
                <a:pos x="f5877" y="f6812"/>
              </a:cxn>
              <a:cxn ang="f4299">
                <a:pos x="f5876" y="f6813"/>
              </a:cxn>
              <a:cxn ang="f4299">
                <a:pos x="f5875" y="f6813"/>
              </a:cxn>
              <a:cxn ang="f4299">
                <a:pos x="f5878" y="f6812"/>
              </a:cxn>
              <a:cxn ang="f4299">
                <a:pos x="f5878" y="f6811"/>
              </a:cxn>
              <a:cxn ang="f4299">
                <a:pos x="f5879" y="f6810"/>
              </a:cxn>
              <a:cxn ang="f4299">
                <a:pos x="f5880" y="f6810"/>
              </a:cxn>
              <a:cxn ang="f4299">
                <a:pos x="f5881" y="f6811"/>
              </a:cxn>
              <a:cxn ang="f4299">
                <a:pos x="f5881" y="f6812"/>
              </a:cxn>
              <a:cxn ang="f4299">
                <a:pos x="f5880" y="f6813"/>
              </a:cxn>
              <a:cxn ang="f4299">
                <a:pos x="f5879" y="f6813"/>
              </a:cxn>
              <a:cxn ang="f4299">
                <a:pos x="f5882" y="f6812"/>
              </a:cxn>
              <a:cxn ang="f4299">
                <a:pos x="f5882" y="f6811"/>
              </a:cxn>
              <a:cxn ang="f4299">
                <a:pos x="f5883" y="f6810"/>
              </a:cxn>
              <a:cxn ang="f4299">
                <a:pos x="f5884" y="f6810"/>
              </a:cxn>
              <a:cxn ang="f4299">
                <a:pos x="f5885" y="f6811"/>
              </a:cxn>
              <a:cxn ang="f4299">
                <a:pos x="f5885" y="f6812"/>
              </a:cxn>
              <a:cxn ang="f4299">
                <a:pos x="f5884" y="f6813"/>
              </a:cxn>
              <a:cxn ang="f4299">
                <a:pos x="f5883" y="f6813"/>
              </a:cxn>
              <a:cxn ang="f4299">
                <a:pos x="f5886" y="f6812"/>
              </a:cxn>
              <a:cxn ang="f4299">
                <a:pos x="f5886" y="f6811"/>
              </a:cxn>
              <a:cxn ang="f4299">
                <a:pos x="f5887" y="f6810"/>
              </a:cxn>
              <a:cxn ang="f4299">
                <a:pos x="f5888" y="f6810"/>
              </a:cxn>
              <a:cxn ang="f4299">
                <a:pos x="f5889" y="f6811"/>
              </a:cxn>
              <a:cxn ang="f4299">
                <a:pos x="f5889" y="f6812"/>
              </a:cxn>
              <a:cxn ang="f4299">
                <a:pos x="f5888" y="f6814"/>
              </a:cxn>
              <a:cxn ang="f4299">
                <a:pos x="f5887" y="f6814"/>
              </a:cxn>
              <a:cxn ang="f4299">
                <a:pos x="f5890" y="f6812"/>
              </a:cxn>
              <a:cxn ang="f4299">
                <a:pos x="f5890" y="f6811"/>
              </a:cxn>
              <a:cxn ang="f4299">
                <a:pos x="f5891" y="f6810"/>
              </a:cxn>
              <a:cxn ang="f4299">
                <a:pos x="f5892" y="f6810"/>
              </a:cxn>
              <a:cxn ang="f4299">
                <a:pos x="f5893" y="f6811"/>
              </a:cxn>
              <a:cxn ang="f4299">
                <a:pos x="f5893" y="f6812"/>
              </a:cxn>
              <a:cxn ang="f4299">
                <a:pos x="f5892" y="f6814"/>
              </a:cxn>
              <a:cxn ang="f4299">
                <a:pos x="f5891" y="f6814"/>
              </a:cxn>
              <a:cxn ang="f4299">
                <a:pos x="f5894" y="f6812"/>
              </a:cxn>
              <a:cxn ang="f4299">
                <a:pos x="f5894" y="f6811"/>
              </a:cxn>
              <a:cxn ang="f4299">
                <a:pos x="f5855" y="f6815"/>
              </a:cxn>
              <a:cxn ang="f4299">
                <a:pos x="f5856" y="f6815"/>
              </a:cxn>
              <a:cxn ang="f4299">
                <a:pos x="f5857" y="f6816"/>
              </a:cxn>
              <a:cxn ang="f4299">
                <a:pos x="f5857" y="f6817"/>
              </a:cxn>
              <a:cxn ang="f4299">
                <a:pos x="f5856" y="f6818"/>
              </a:cxn>
              <a:cxn ang="f4299">
                <a:pos x="f5855" y="f6818"/>
              </a:cxn>
              <a:cxn ang="f4299">
                <a:pos x="f5858" y="f6817"/>
              </a:cxn>
              <a:cxn ang="f4299">
                <a:pos x="f5858" y="f6816"/>
              </a:cxn>
              <a:cxn ang="f4299">
                <a:pos x="f5859" y="f6815"/>
              </a:cxn>
              <a:cxn ang="f4299">
                <a:pos x="f5860" y="f6815"/>
              </a:cxn>
              <a:cxn ang="f4299">
                <a:pos x="f5861" y="f6816"/>
              </a:cxn>
              <a:cxn ang="f4299">
                <a:pos x="f5861" y="f6817"/>
              </a:cxn>
              <a:cxn ang="f4299">
                <a:pos x="f5860" y="f6818"/>
              </a:cxn>
              <a:cxn ang="f4299">
                <a:pos x="f5859" y="f6818"/>
              </a:cxn>
              <a:cxn ang="f4299">
                <a:pos x="f5862" y="f6817"/>
              </a:cxn>
              <a:cxn ang="f4299">
                <a:pos x="f5862" y="f6816"/>
              </a:cxn>
              <a:cxn ang="f4299">
                <a:pos x="f5863" y="f6815"/>
              </a:cxn>
              <a:cxn ang="f4299">
                <a:pos x="f5864" y="f6815"/>
              </a:cxn>
              <a:cxn ang="f4299">
                <a:pos x="f5865" y="f6816"/>
              </a:cxn>
              <a:cxn ang="f4299">
                <a:pos x="f5865" y="f6817"/>
              </a:cxn>
              <a:cxn ang="f4299">
                <a:pos x="f5864" y="f6818"/>
              </a:cxn>
              <a:cxn ang="f4299">
                <a:pos x="f5863" y="f6818"/>
              </a:cxn>
              <a:cxn ang="f4299">
                <a:pos x="f5866" y="f6817"/>
              </a:cxn>
              <a:cxn ang="f4299">
                <a:pos x="f5866" y="f6816"/>
              </a:cxn>
              <a:cxn ang="f4299">
                <a:pos x="f5867" y="f6815"/>
              </a:cxn>
              <a:cxn ang="f4299">
                <a:pos x="f5868" y="f6815"/>
              </a:cxn>
              <a:cxn ang="f4299">
                <a:pos x="f5869" y="f6816"/>
              </a:cxn>
              <a:cxn ang="f4299">
                <a:pos x="f5869" y="f6817"/>
              </a:cxn>
              <a:cxn ang="f4299">
                <a:pos x="f5868" y="f6818"/>
              </a:cxn>
              <a:cxn ang="f4299">
                <a:pos x="f5867" y="f6818"/>
              </a:cxn>
              <a:cxn ang="f4299">
                <a:pos x="f5870" y="f6817"/>
              </a:cxn>
              <a:cxn ang="f4299">
                <a:pos x="f5870" y="f6816"/>
              </a:cxn>
              <a:cxn ang="f4299">
                <a:pos x="f5871" y="f6815"/>
              </a:cxn>
              <a:cxn ang="f4299">
                <a:pos x="f5872" y="f6815"/>
              </a:cxn>
              <a:cxn ang="f4299">
                <a:pos x="f5873" y="f6816"/>
              </a:cxn>
              <a:cxn ang="f4299">
                <a:pos x="f5873" y="f6817"/>
              </a:cxn>
              <a:cxn ang="f4299">
                <a:pos x="f5872" y="f6818"/>
              </a:cxn>
              <a:cxn ang="f4299">
                <a:pos x="f5871" y="f6818"/>
              </a:cxn>
              <a:cxn ang="f4299">
                <a:pos x="f5874" y="f6817"/>
              </a:cxn>
              <a:cxn ang="f4299">
                <a:pos x="f5874" y="f6816"/>
              </a:cxn>
              <a:cxn ang="f4299">
                <a:pos x="f5835" y="f6819"/>
              </a:cxn>
              <a:cxn ang="f4299">
                <a:pos x="f5836" y="f6819"/>
              </a:cxn>
              <a:cxn ang="f4299">
                <a:pos x="f5837" y="f6820"/>
              </a:cxn>
              <a:cxn ang="f4299">
                <a:pos x="f5837" y="f6821"/>
              </a:cxn>
              <a:cxn ang="f4299">
                <a:pos x="f5836" y="f6822"/>
              </a:cxn>
              <a:cxn ang="f4299">
                <a:pos x="f5835" y="f6822"/>
              </a:cxn>
              <a:cxn ang="f4299">
                <a:pos x="f5838" y="f6821"/>
              </a:cxn>
              <a:cxn ang="f4299">
                <a:pos x="f5838" y="f6820"/>
              </a:cxn>
              <a:cxn ang="f4299">
                <a:pos x="f5839" y="f6819"/>
              </a:cxn>
              <a:cxn ang="f4299">
                <a:pos x="f5840" y="f6819"/>
              </a:cxn>
              <a:cxn ang="f4299">
                <a:pos x="f5841" y="f6820"/>
              </a:cxn>
              <a:cxn ang="f4299">
                <a:pos x="f5841" y="f6821"/>
              </a:cxn>
              <a:cxn ang="f4299">
                <a:pos x="f5840" y="f6822"/>
              </a:cxn>
              <a:cxn ang="f4299">
                <a:pos x="f5839" y="f6822"/>
              </a:cxn>
              <a:cxn ang="f4299">
                <a:pos x="f5842" y="f6821"/>
              </a:cxn>
              <a:cxn ang="f4299">
                <a:pos x="f5842" y="f6820"/>
              </a:cxn>
              <a:cxn ang="f4299">
                <a:pos x="f5843" y="f6819"/>
              </a:cxn>
              <a:cxn ang="f4299">
                <a:pos x="f5844" y="f6819"/>
              </a:cxn>
              <a:cxn ang="f4299">
                <a:pos x="f5845" y="f6820"/>
              </a:cxn>
              <a:cxn ang="f4299">
                <a:pos x="f5845" y="f6821"/>
              </a:cxn>
              <a:cxn ang="f4299">
                <a:pos x="f5844" y="f6822"/>
              </a:cxn>
              <a:cxn ang="f4299">
                <a:pos x="f5843" y="f6822"/>
              </a:cxn>
              <a:cxn ang="f4299">
                <a:pos x="f5846" y="f6821"/>
              </a:cxn>
              <a:cxn ang="f4299">
                <a:pos x="f5846" y="f6820"/>
              </a:cxn>
              <a:cxn ang="f4299">
                <a:pos x="f5847" y="f6819"/>
              </a:cxn>
              <a:cxn ang="f4299">
                <a:pos x="f5848" y="f6819"/>
              </a:cxn>
              <a:cxn ang="f4299">
                <a:pos x="f5849" y="f6820"/>
              </a:cxn>
              <a:cxn ang="f4299">
                <a:pos x="f5849" y="f6821"/>
              </a:cxn>
              <a:cxn ang="f4299">
                <a:pos x="f5848" y="f6823"/>
              </a:cxn>
              <a:cxn ang="f4299">
                <a:pos x="f5847" y="f6823"/>
              </a:cxn>
              <a:cxn ang="f4299">
                <a:pos x="f5850" y="f6821"/>
              </a:cxn>
              <a:cxn ang="f4299">
                <a:pos x="f5850" y="f6820"/>
              </a:cxn>
              <a:cxn ang="f4299">
                <a:pos x="f5851" y="f6819"/>
              </a:cxn>
              <a:cxn ang="f4299">
                <a:pos x="f5852" y="f6819"/>
              </a:cxn>
              <a:cxn ang="f4299">
                <a:pos x="f5853" y="f6824"/>
              </a:cxn>
              <a:cxn ang="f4299">
                <a:pos x="f5853" y="f6821"/>
              </a:cxn>
              <a:cxn ang="f4299">
                <a:pos x="f5852" y="f6823"/>
              </a:cxn>
              <a:cxn ang="f4299">
                <a:pos x="f5851" y="f6823"/>
              </a:cxn>
              <a:cxn ang="f4299">
                <a:pos x="f5854" y="f6821"/>
              </a:cxn>
              <a:cxn ang="f4299">
                <a:pos x="f5854" y="f6824"/>
              </a:cxn>
              <a:cxn ang="f4299">
                <a:pos x="f5815" y="f6825"/>
              </a:cxn>
              <a:cxn ang="f4299">
                <a:pos x="f5816" y="f6825"/>
              </a:cxn>
              <a:cxn ang="f4299">
                <a:pos x="f5817" y="f6826"/>
              </a:cxn>
              <a:cxn ang="f4299">
                <a:pos x="f5817" y="f6827"/>
              </a:cxn>
              <a:cxn ang="f4299">
                <a:pos x="f5816" y="f6828"/>
              </a:cxn>
              <a:cxn ang="f4299">
                <a:pos x="f5815" y="f6828"/>
              </a:cxn>
              <a:cxn ang="f4299">
                <a:pos x="f5818" y="f6827"/>
              </a:cxn>
              <a:cxn ang="f4299">
                <a:pos x="f5818" y="f6826"/>
              </a:cxn>
              <a:cxn ang="f4299">
                <a:pos x="f5819" y="f6825"/>
              </a:cxn>
              <a:cxn ang="f4299">
                <a:pos x="f5820" y="f6825"/>
              </a:cxn>
              <a:cxn ang="f4299">
                <a:pos x="f5821" y="f6826"/>
              </a:cxn>
              <a:cxn ang="f4299">
                <a:pos x="f5821" y="f6827"/>
              </a:cxn>
              <a:cxn ang="f4299">
                <a:pos x="f5820" y="f6828"/>
              </a:cxn>
              <a:cxn ang="f4299">
                <a:pos x="f5819" y="f6828"/>
              </a:cxn>
              <a:cxn ang="f4299">
                <a:pos x="f5822" y="f6827"/>
              </a:cxn>
              <a:cxn ang="f4299">
                <a:pos x="f5822" y="f6826"/>
              </a:cxn>
              <a:cxn ang="f4299">
                <a:pos x="f5823" y="f6825"/>
              </a:cxn>
              <a:cxn ang="f4299">
                <a:pos x="f5824" y="f6825"/>
              </a:cxn>
              <a:cxn ang="f4299">
                <a:pos x="f5825" y="f6826"/>
              </a:cxn>
              <a:cxn ang="f4299">
                <a:pos x="f5825" y="f6827"/>
              </a:cxn>
              <a:cxn ang="f4299">
                <a:pos x="f5824" y="f6828"/>
              </a:cxn>
              <a:cxn ang="f4299">
                <a:pos x="f5823" y="f6828"/>
              </a:cxn>
              <a:cxn ang="f4299">
                <a:pos x="f5826" y="f6827"/>
              </a:cxn>
              <a:cxn ang="f4299">
                <a:pos x="f5826" y="f6826"/>
              </a:cxn>
              <a:cxn ang="f4299">
                <a:pos x="f5827" y="f6825"/>
              </a:cxn>
              <a:cxn ang="f4299">
                <a:pos x="f5828" y="f6825"/>
              </a:cxn>
              <a:cxn ang="f4299">
                <a:pos x="f5829" y="f6826"/>
              </a:cxn>
              <a:cxn ang="f4299">
                <a:pos x="f5829" y="f6827"/>
              </a:cxn>
              <a:cxn ang="f4299">
                <a:pos x="f5828" y="f6828"/>
              </a:cxn>
              <a:cxn ang="f4299">
                <a:pos x="f5827" y="f6828"/>
              </a:cxn>
              <a:cxn ang="f4299">
                <a:pos x="f5830" y="f6827"/>
              </a:cxn>
              <a:cxn ang="f4299">
                <a:pos x="f5830" y="f6826"/>
              </a:cxn>
              <a:cxn ang="f4299">
                <a:pos x="f5831" y="f6825"/>
              </a:cxn>
              <a:cxn ang="f4299">
                <a:pos x="f5832" y="f6825"/>
              </a:cxn>
              <a:cxn ang="f4299">
                <a:pos x="f5833" y="f6826"/>
              </a:cxn>
              <a:cxn ang="f4299">
                <a:pos x="f5833" y="f6827"/>
              </a:cxn>
              <a:cxn ang="f4299">
                <a:pos x="f5832" y="f6828"/>
              </a:cxn>
              <a:cxn ang="f4299">
                <a:pos x="f5831" y="f6828"/>
              </a:cxn>
              <a:cxn ang="f4299">
                <a:pos x="f5834" y="f6827"/>
              </a:cxn>
              <a:cxn ang="f4299">
                <a:pos x="f5834" y="f6826"/>
              </a:cxn>
              <a:cxn ang="f4299">
                <a:pos x="f5795" y="f6829"/>
              </a:cxn>
              <a:cxn ang="f4299">
                <a:pos x="f5796" y="f6829"/>
              </a:cxn>
              <a:cxn ang="f4299">
                <a:pos x="f5797" y="f6830"/>
              </a:cxn>
              <a:cxn ang="f4299">
                <a:pos x="f5797" y="f6831"/>
              </a:cxn>
              <a:cxn ang="f4299">
                <a:pos x="f5796" y="f6832"/>
              </a:cxn>
              <a:cxn ang="f4299">
                <a:pos x="f5795" y="f6832"/>
              </a:cxn>
              <a:cxn ang="f4299">
                <a:pos x="f5798" y="f6831"/>
              </a:cxn>
              <a:cxn ang="f4299">
                <a:pos x="f5798" y="f6830"/>
              </a:cxn>
              <a:cxn ang="f4299">
                <a:pos x="f5799" y="f6829"/>
              </a:cxn>
              <a:cxn ang="f4299">
                <a:pos x="f5800" y="f6829"/>
              </a:cxn>
              <a:cxn ang="f4299">
                <a:pos x="f5801" y="f6830"/>
              </a:cxn>
              <a:cxn ang="f4299">
                <a:pos x="f5801" y="f6831"/>
              </a:cxn>
              <a:cxn ang="f4299">
                <a:pos x="f5800" y="f6832"/>
              </a:cxn>
              <a:cxn ang="f4299">
                <a:pos x="f5799" y="f6832"/>
              </a:cxn>
              <a:cxn ang="f4299">
                <a:pos x="f5802" y="f6831"/>
              </a:cxn>
              <a:cxn ang="f4299">
                <a:pos x="f5802" y="f6830"/>
              </a:cxn>
              <a:cxn ang="f4299">
                <a:pos x="f5803" y="f6829"/>
              </a:cxn>
              <a:cxn ang="f4299">
                <a:pos x="f5804" y="f6829"/>
              </a:cxn>
              <a:cxn ang="f4299">
                <a:pos x="f5805" y="f6830"/>
              </a:cxn>
              <a:cxn ang="f4299">
                <a:pos x="f5805" y="f6831"/>
              </a:cxn>
              <a:cxn ang="f4299">
                <a:pos x="f5804" y="f6832"/>
              </a:cxn>
              <a:cxn ang="f4299">
                <a:pos x="f5803" y="f6832"/>
              </a:cxn>
              <a:cxn ang="f4299">
                <a:pos x="f5806" y="f6831"/>
              </a:cxn>
              <a:cxn ang="f4299">
                <a:pos x="f5806" y="f6830"/>
              </a:cxn>
              <a:cxn ang="f4299">
                <a:pos x="f5807" y="f6829"/>
              </a:cxn>
              <a:cxn ang="f4299">
                <a:pos x="f5808" y="f6829"/>
              </a:cxn>
              <a:cxn ang="f4299">
                <a:pos x="f5809" y="f6830"/>
              </a:cxn>
              <a:cxn ang="f4299">
                <a:pos x="f5809" y="f6831"/>
              </a:cxn>
              <a:cxn ang="f4299">
                <a:pos x="f5808" y="f6832"/>
              </a:cxn>
              <a:cxn ang="f4299">
                <a:pos x="f5807" y="f6832"/>
              </a:cxn>
              <a:cxn ang="f4299">
                <a:pos x="f5810" y="f6831"/>
              </a:cxn>
              <a:cxn ang="f4299">
                <a:pos x="f5810" y="f6830"/>
              </a:cxn>
              <a:cxn ang="f4299">
                <a:pos x="f5811" y="f6829"/>
              </a:cxn>
              <a:cxn ang="f4299">
                <a:pos x="f5812" y="f6829"/>
              </a:cxn>
              <a:cxn ang="f4299">
                <a:pos x="f5813" y="f6830"/>
              </a:cxn>
              <a:cxn ang="f4299">
                <a:pos x="f5813" y="f6831"/>
              </a:cxn>
              <a:cxn ang="f4299">
                <a:pos x="f5812" y="f6832"/>
              </a:cxn>
              <a:cxn ang="f4299">
                <a:pos x="f5811" y="f6832"/>
              </a:cxn>
              <a:cxn ang="f4299">
                <a:pos x="f5814" y="f6831"/>
              </a:cxn>
              <a:cxn ang="f4299">
                <a:pos x="f5814" y="f6830"/>
              </a:cxn>
              <a:cxn ang="f4299">
                <a:pos x="f6798" y="f6833"/>
              </a:cxn>
              <a:cxn ang="f4299">
                <a:pos x="f6834" y="f6833"/>
              </a:cxn>
              <a:cxn ang="f4299">
                <a:pos x="f6835" y="f6836"/>
              </a:cxn>
              <a:cxn ang="f4299">
                <a:pos x="f6835" y="f6837"/>
              </a:cxn>
              <a:cxn ang="f4299">
                <a:pos x="f6834" y="f6838"/>
              </a:cxn>
              <a:cxn ang="f4299">
                <a:pos x="f6798" y="f6838"/>
              </a:cxn>
              <a:cxn ang="f4299">
                <a:pos x="f6839" y="f6837"/>
              </a:cxn>
              <a:cxn ang="f4299">
                <a:pos x="f6839" y="f6836"/>
              </a:cxn>
              <a:cxn ang="f4299">
                <a:pos x="f6840" y="f6833"/>
              </a:cxn>
              <a:cxn ang="f4299">
                <a:pos x="f6841" y="f6833"/>
              </a:cxn>
              <a:cxn ang="f4299">
                <a:pos x="f6787" y="f6836"/>
              </a:cxn>
              <a:cxn ang="f4299">
                <a:pos x="f6787" y="f6837"/>
              </a:cxn>
              <a:cxn ang="f4299">
                <a:pos x="f6841" y="f6838"/>
              </a:cxn>
              <a:cxn ang="f4299">
                <a:pos x="f6840" y="f6838"/>
              </a:cxn>
              <a:cxn ang="f4299">
                <a:pos x="f6791" y="f6837"/>
              </a:cxn>
              <a:cxn ang="f4299">
                <a:pos x="f6791" y="f6836"/>
              </a:cxn>
              <a:cxn ang="f4299">
                <a:pos x="f6792" y="f6833"/>
              </a:cxn>
              <a:cxn ang="f4299">
                <a:pos x="f6842" y="f6833"/>
              </a:cxn>
              <a:cxn ang="f4299">
                <a:pos x="f6843" y="f6836"/>
              </a:cxn>
              <a:cxn ang="f4299">
                <a:pos x="f6843" y="f6837"/>
              </a:cxn>
              <a:cxn ang="f4299">
                <a:pos x="f6842" y="f6838"/>
              </a:cxn>
              <a:cxn ang="f4299">
                <a:pos x="f6792" y="f6838"/>
              </a:cxn>
              <a:cxn ang="f4299">
                <a:pos x="f6844" y="f6837"/>
              </a:cxn>
              <a:cxn ang="f4299">
                <a:pos x="f6844" y="f6836"/>
              </a:cxn>
              <a:cxn ang="f4299">
                <a:pos x="f6795" y="f6833"/>
              </a:cxn>
              <a:cxn ang="f4299">
                <a:pos x="f6845" y="f6833"/>
              </a:cxn>
              <a:cxn ang="f4299">
                <a:pos x="f6846" y="f6836"/>
              </a:cxn>
              <a:cxn ang="f4299">
                <a:pos x="f6846" y="f6847"/>
              </a:cxn>
              <a:cxn ang="f4299">
                <a:pos x="f6845" y="f6838"/>
              </a:cxn>
              <a:cxn ang="f4299">
                <a:pos x="f6795" y="f6838"/>
              </a:cxn>
              <a:cxn ang="f4299">
                <a:pos x="f6797" y="f6847"/>
              </a:cxn>
              <a:cxn ang="f4299">
                <a:pos x="f6797" y="f6836"/>
              </a:cxn>
              <a:cxn ang="f4299">
                <a:pos x="f5775" y="f6848"/>
              </a:cxn>
              <a:cxn ang="f4299">
                <a:pos x="f5776" y="f6848"/>
              </a:cxn>
              <a:cxn ang="f4299">
                <a:pos x="f5777" y="f6849"/>
              </a:cxn>
              <a:cxn ang="f4299">
                <a:pos x="f5777" y="f6850"/>
              </a:cxn>
              <a:cxn ang="f4299">
                <a:pos x="f5776" y="f6851"/>
              </a:cxn>
              <a:cxn ang="f4299">
                <a:pos x="f5775" y="f6851"/>
              </a:cxn>
              <a:cxn ang="f4299">
                <a:pos x="f5778" y="f6850"/>
              </a:cxn>
              <a:cxn ang="f4299">
                <a:pos x="f5778" y="f6849"/>
              </a:cxn>
              <a:cxn ang="f4299">
                <a:pos x="f5779" y="f6848"/>
              </a:cxn>
              <a:cxn ang="f4299">
                <a:pos x="f5780" y="f6848"/>
              </a:cxn>
              <a:cxn ang="f4299">
                <a:pos x="f5781" y="f6849"/>
              </a:cxn>
              <a:cxn ang="f4299">
                <a:pos x="f5781" y="f6850"/>
              </a:cxn>
              <a:cxn ang="f4299">
                <a:pos x="f5780" y="f6851"/>
              </a:cxn>
              <a:cxn ang="f4299">
                <a:pos x="f5779" y="f6851"/>
              </a:cxn>
              <a:cxn ang="f4299">
                <a:pos x="f5782" y="f6850"/>
              </a:cxn>
              <a:cxn ang="f4299">
                <a:pos x="f5782" y="f6849"/>
              </a:cxn>
              <a:cxn ang="f4299">
                <a:pos x="f5783" y="f6848"/>
              </a:cxn>
              <a:cxn ang="f4299">
                <a:pos x="f5784" y="f6848"/>
              </a:cxn>
              <a:cxn ang="f4299">
                <a:pos x="f5785" y="f6849"/>
              </a:cxn>
              <a:cxn ang="f4299">
                <a:pos x="f5785" y="f6850"/>
              </a:cxn>
              <a:cxn ang="f4299">
                <a:pos x="f5784" y="f6851"/>
              </a:cxn>
              <a:cxn ang="f4299">
                <a:pos x="f5783" y="f6851"/>
              </a:cxn>
              <a:cxn ang="f4299">
                <a:pos x="f5786" y="f6850"/>
              </a:cxn>
              <a:cxn ang="f4299">
                <a:pos x="f5786" y="f6849"/>
              </a:cxn>
              <a:cxn ang="f4299">
                <a:pos x="f5787" y="f6848"/>
              </a:cxn>
              <a:cxn ang="f4299">
                <a:pos x="f5788" y="f6848"/>
              </a:cxn>
              <a:cxn ang="f4299">
                <a:pos x="f5789" y="f6849"/>
              </a:cxn>
              <a:cxn ang="f4299">
                <a:pos x="f5789" y="f6850"/>
              </a:cxn>
              <a:cxn ang="f4299">
                <a:pos x="f5788" y="f6851"/>
              </a:cxn>
              <a:cxn ang="f4299">
                <a:pos x="f5787" y="f6851"/>
              </a:cxn>
              <a:cxn ang="f4299">
                <a:pos x="f5790" y="f6850"/>
              </a:cxn>
              <a:cxn ang="f4299">
                <a:pos x="f5790" y="f6849"/>
              </a:cxn>
              <a:cxn ang="f4299">
                <a:pos x="f5791" y="f6848"/>
              </a:cxn>
              <a:cxn ang="f4299">
                <a:pos x="f5792" y="f6848"/>
              </a:cxn>
              <a:cxn ang="f4299">
                <a:pos x="f5793" y="f6849"/>
              </a:cxn>
              <a:cxn ang="f4299">
                <a:pos x="f5793" y="f6850"/>
              </a:cxn>
              <a:cxn ang="f4299">
                <a:pos x="f5792" y="f6851"/>
              </a:cxn>
              <a:cxn ang="f4299">
                <a:pos x="f5791" y="f6851"/>
              </a:cxn>
              <a:cxn ang="f4299">
                <a:pos x="f5794" y="f6850"/>
              </a:cxn>
              <a:cxn ang="f4299">
                <a:pos x="f5794" y="f6849"/>
              </a:cxn>
              <a:cxn ang="f4299">
                <a:pos x="f6631" y="f6852"/>
              </a:cxn>
              <a:cxn ang="f4299">
                <a:pos x="f6560" y="f6852"/>
              </a:cxn>
              <a:cxn ang="f4299">
                <a:pos x="f6853" y="f6854"/>
              </a:cxn>
              <a:cxn ang="f4299">
                <a:pos x="f6853" y="f6850"/>
              </a:cxn>
              <a:cxn ang="f4299">
                <a:pos x="f6560" y="f6851"/>
              </a:cxn>
              <a:cxn ang="f4299">
                <a:pos x="f6631" y="f6851"/>
              </a:cxn>
              <a:cxn ang="f4299">
                <a:pos x="f6805" y="f6850"/>
              </a:cxn>
              <a:cxn ang="f4299">
                <a:pos x="f6805" y="f6854"/>
              </a:cxn>
              <a:cxn ang="f4299">
                <a:pos x="f6710" y="f6855"/>
              </a:cxn>
              <a:cxn ang="f4299">
                <a:pos x="f6712" y="f6855"/>
              </a:cxn>
              <a:cxn ang="f4299">
                <a:pos x="f6565" y="f6856"/>
              </a:cxn>
              <a:cxn ang="f4299">
                <a:pos x="f6565" y="f6857"/>
              </a:cxn>
              <a:cxn ang="f4299">
                <a:pos x="f6712" y="f6858"/>
              </a:cxn>
              <a:cxn ang="f4299">
                <a:pos x="f6710" y="f6858"/>
              </a:cxn>
              <a:cxn ang="f4299">
                <a:pos x="f6859" y="f6857"/>
              </a:cxn>
              <a:cxn ang="f4299">
                <a:pos x="f6859" y="f6856"/>
              </a:cxn>
              <a:cxn ang="f4299">
                <a:pos x="f5767" y="f6860"/>
              </a:cxn>
              <a:cxn ang="f4299">
                <a:pos x="f5769" y="f6860"/>
              </a:cxn>
              <a:cxn ang="f4299">
                <a:pos x="f5770" y="f6861"/>
              </a:cxn>
              <a:cxn ang="f4299">
                <a:pos x="f5770" y="f6862"/>
              </a:cxn>
              <a:cxn ang="f4299">
                <a:pos x="f5769" y="f6863"/>
              </a:cxn>
              <a:cxn ang="f4299">
                <a:pos x="f5767" y="f6863"/>
              </a:cxn>
              <a:cxn ang="f4299">
                <a:pos x="f5774" y="f6862"/>
              </a:cxn>
              <a:cxn ang="f4299">
                <a:pos x="f5774" y="f6861"/>
              </a:cxn>
              <a:cxn ang="f4299">
                <a:pos x="f6774" y="f6864"/>
              </a:cxn>
              <a:cxn ang="f4299">
                <a:pos x="f6776" y="f6864"/>
              </a:cxn>
              <a:cxn ang="f4299">
                <a:pos x="f6777" y="f6865"/>
              </a:cxn>
              <a:cxn ang="f4299">
                <a:pos x="f6777" y="f6866"/>
              </a:cxn>
              <a:cxn ang="f4299">
                <a:pos x="f6776" y="f6867"/>
              </a:cxn>
              <a:cxn ang="f4299">
                <a:pos x="f6774" y="f6867"/>
              </a:cxn>
              <a:cxn ang="f4299">
                <a:pos x="f6868" y="f6866"/>
              </a:cxn>
              <a:cxn ang="f4299">
                <a:pos x="f6868" y="f6865"/>
              </a:cxn>
              <a:cxn ang="f4299">
                <a:pos x="f6869" y="f6864"/>
              </a:cxn>
              <a:cxn ang="f4299">
                <a:pos x="f6780" y="f6864"/>
              </a:cxn>
              <a:cxn ang="f4299">
                <a:pos x="f6781" y="f6865"/>
              </a:cxn>
              <a:cxn ang="f4299">
                <a:pos x="f6781" y="f6866"/>
              </a:cxn>
              <a:cxn ang="f4299">
                <a:pos x="f6780" y="f6867"/>
              </a:cxn>
              <a:cxn ang="f4299">
                <a:pos x="f6869" y="f6867"/>
              </a:cxn>
              <a:cxn ang="f4299">
                <a:pos x="f6870" y="f6866"/>
              </a:cxn>
              <a:cxn ang="f4299">
                <a:pos x="f6870" y="f6865"/>
              </a:cxn>
              <a:cxn ang="f4299">
                <a:pos x="f6871" y="f6864"/>
              </a:cxn>
              <a:cxn ang="f4299">
                <a:pos x="f6872" y="f6864"/>
              </a:cxn>
              <a:cxn ang="f4299">
                <a:pos x="f6784" y="f6865"/>
              </a:cxn>
              <a:cxn ang="f4299">
                <a:pos x="f6784" y="f6866"/>
              </a:cxn>
              <a:cxn ang="f4299">
                <a:pos x="f6872" y="f6867"/>
              </a:cxn>
              <a:cxn ang="f4299">
                <a:pos x="f6871" y="f6867"/>
              </a:cxn>
              <a:cxn ang="f4299">
                <a:pos x="f6873" y="f6866"/>
              </a:cxn>
              <a:cxn ang="f4299">
                <a:pos x="f6873" y="f6865"/>
              </a:cxn>
              <a:cxn ang="f4299">
                <a:pos x="f6874" y="f6864"/>
              </a:cxn>
              <a:cxn ang="f4299">
                <a:pos x="f6875" y="f6864"/>
              </a:cxn>
              <a:cxn ang="f4299">
                <a:pos x="f6876" y="f6865"/>
              </a:cxn>
              <a:cxn ang="f4299">
                <a:pos x="f6876" y="f6877"/>
              </a:cxn>
              <a:cxn ang="f4299">
                <a:pos x="f6875" y="f6867"/>
              </a:cxn>
              <a:cxn ang="f4299">
                <a:pos x="f6874" y="f6867"/>
              </a:cxn>
              <a:cxn ang="f4299">
                <a:pos x="f6773" y="f6877"/>
              </a:cxn>
              <a:cxn ang="f4299">
                <a:pos x="f6773" y="f6865"/>
              </a:cxn>
              <a:cxn ang="f4299">
                <a:pos x="f5875" y="f6878"/>
              </a:cxn>
              <a:cxn ang="f4299">
                <a:pos x="f5876" y="f6878"/>
              </a:cxn>
              <a:cxn ang="f4299">
                <a:pos x="f5877" y="f6879"/>
              </a:cxn>
              <a:cxn ang="f4299">
                <a:pos x="f5877" y="f6880"/>
              </a:cxn>
              <a:cxn ang="f4299">
                <a:pos x="f5876" y="f6881"/>
              </a:cxn>
              <a:cxn ang="f4299">
                <a:pos x="f5875" y="f6881"/>
              </a:cxn>
              <a:cxn ang="f4299">
                <a:pos x="f5878" y="f6880"/>
              </a:cxn>
              <a:cxn ang="f4299">
                <a:pos x="f5878" y="f6879"/>
              </a:cxn>
              <a:cxn ang="f4299">
                <a:pos x="f5879" y="f6878"/>
              </a:cxn>
              <a:cxn ang="f4299">
                <a:pos x="f5880" y="f6878"/>
              </a:cxn>
              <a:cxn ang="f4299">
                <a:pos x="f5881" y="f6879"/>
              </a:cxn>
              <a:cxn ang="f4299">
                <a:pos x="f5881" y="f6882"/>
              </a:cxn>
              <a:cxn ang="f4299">
                <a:pos x="f5880" y="f6881"/>
              </a:cxn>
              <a:cxn ang="f4299">
                <a:pos x="f5879" y="f6881"/>
              </a:cxn>
              <a:cxn ang="f4299">
                <a:pos x="f5882" y="f6882"/>
              </a:cxn>
              <a:cxn ang="f4299">
                <a:pos x="f5882" y="f6879"/>
              </a:cxn>
              <a:cxn ang="f4299">
                <a:pos x="f5883" y="f6878"/>
              </a:cxn>
              <a:cxn ang="f4299">
                <a:pos x="f5884" y="f6878"/>
              </a:cxn>
              <a:cxn ang="f4299">
                <a:pos x="f5885" y="f6879"/>
              </a:cxn>
              <a:cxn ang="f4299">
                <a:pos x="f5885" y="f6882"/>
              </a:cxn>
              <a:cxn ang="f4299">
                <a:pos x="f5884" y="f6881"/>
              </a:cxn>
              <a:cxn ang="f4299">
                <a:pos x="f5883" y="f6881"/>
              </a:cxn>
              <a:cxn ang="f4299">
                <a:pos x="f5886" y="f6882"/>
              </a:cxn>
              <a:cxn ang="f4299">
                <a:pos x="f5886" y="f6879"/>
              </a:cxn>
              <a:cxn ang="f4299">
                <a:pos x="f5887" y="f6878"/>
              </a:cxn>
              <a:cxn ang="f4299">
                <a:pos x="f5888" y="f6878"/>
              </a:cxn>
              <a:cxn ang="f4299">
                <a:pos x="f5889" y="f6879"/>
              </a:cxn>
              <a:cxn ang="f4299">
                <a:pos x="f5889" y="f6882"/>
              </a:cxn>
              <a:cxn ang="f4299">
                <a:pos x="f5888" y="f6883"/>
              </a:cxn>
              <a:cxn ang="f4299">
                <a:pos x="f5887" y="f6883"/>
              </a:cxn>
              <a:cxn ang="f4299">
                <a:pos x="f5890" y="f6882"/>
              </a:cxn>
              <a:cxn ang="f4299">
                <a:pos x="f5890" y="f6879"/>
              </a:cxn>
              <a:cxn ang="f4299">
                <a:pos x="f5891" y="f6878"/>
              </a:cxn>
              <a:cxn ang="f4299">
                <a:pos x="f5892" y="f6878"/>
              </a:cxn>
              <a:cxn ang="f4299">
                <a:pos x="f5893" y="f6879"/>
              </a:cxn>
              <a:cxn ang="f4299">
                <a:pos x="f5893" y="f6882"/>
              </a:cxn>
              <a:cxn ang="f4299">
                <a:pos x="f5892" y="f6883"/>
              </a:cxn>
              <a:cxn ang="f4299">
                <a:pos x="f5891" y="f6883"/>
              </a:cxn>
              <a:cxn ang="f4299">
                <a:pos x="f5894" y="f6882"/>
              </a:cxn>
              <a:cxn ang="f4299">
                <a:pos x="f5894" y="f6879"/>
              </a:cxn>
              <a:cxn ang="f4299">
                <a:pos x="f5855" y="f6884"/>
              </a:cxn>
              <a:cxn ang="f4299">
                <a:pos x="f5856" y="f6884"/>
              </a:cxn>
              <a:cxn ang="f4299">
                <a:pos x="f5857" y="f6885"/>
              </a:cxn>
              <a:cxn ang="f4299">
                <a:pos x="f5857" y="f6886"/>
              </a:cxn>
              <a:cxn ang="f4299">
                <a:pos x="f5856" y="f6887"/>
              </a:cxn>
              <a:cxn ang="f4299">
                <a:pos x="f5855" y="f6887"/>
              </a:cxn>
              <a:cxn ang="f4299">
                <a:pos x="f5858" y="f6886"/>
              </a:cxn>
              <a:cxn ang="f4299">
                <a:pos x="f5858" y="f6885"/>
              </a:cxn>
              <a:cxn ang="f4299">
                <a:pos x="f5859" y="f6884"/>
              </a:cxn>
              <a:cxn ang="f4299">
                <a:pos x="f5860" y="f6884"/>
              </a:cxn>
              <a:cxn ang="f4299">
                <a:pos x="f5861" y="f6885"/>
              </a:cxn>
              <a:cxn ang="f4299">
                <a:pos x="f5861" y="f6888"/>
              </a:cxn>
              <a:cxn ang="f4299">
                <a:pos x="f5860" y="f6887"/>
              </a:cxn>
              <a:cxn ang="f4299">
                <a:pos x="f5859" y="f6887"/>
              </a:cxn>
              <a:cxn ang="f4299">
                <a:pos x="f5862" y="f6888"/>
              </a:cxn>
              <a:cxn ang="f4299">
                <a:pos x="f5862" y="f6885"/>
              </a:cxn>
              <a:cxn ang="f4299">
                <a:pos x="f5863" y="f6884"/>
              </a:cxn>
              <a:cxn ang="f4299">
                <a:pos x="f5864" y="f6884"/>
              </a:cxn>
              <a:cxn ang="f4299">
                <a:pos x="f5865" y="f6885"/>
              </a:cxn>
              <a:cxn ang="f4299">
                <a:pos x="f5865" y="f6888"/>
              </a:cxn>
              <a:cxn ang="f4299">
                <a:pos x="f5864" y="f6887"/>
              </a:cxn>
              <a:cxn ang="f4299">
                <a:pos x="f5863" y="f6887"/>
              </a:cxn>
              <a:cxn ang="f4299">
                <a:pos x="f5866" y="f6888"/>
              </a:cxn>
              <a:cxn ang="f4299">
                <a:pos x="f5866" y="f6885"/>
              </a:cxn>
              <a:cxn ang="f4299">
                <a:pos x="f5867" y="f6884"/>
              </a:cxn>
              <a:cxn ang="f4299">
                <a:pos x="f5868" y="f6884"/>
              </a:cxn>
              <a:cxn ang="f4299">
                <a:pos x="f5869" y="f6885"/>
              </a:cxn>
              <a:cxn ang="f4299">
                <a:pos x="f5869" y="f6888"/>
              </a:cxn>
              <a:cxn ang="f4299">
                <a:pos x="f5868" y="f6887"/>
              </a:cxn>
              <a:cxn ang="f4299">
                <a:pos x="f5867" y="f6887"/>
              </a:cxn>
              <a:cxn ang="f4299">
                <a:pos x="f5870" y="f6888"/>
              </a:cxn>
              <a:cxn ang="f4299">
                <a:pos x="f5870" y="f6885"/>
              </a:cxn>
              <a:cxn ang="f4299">
                <a:pos x="f5871" y="f6884"/>
              </a:cxn>
              <a:cxn ang="f4299">
                <a:pos x="f5872" y="f6884"/>
              </a:cxn>
              <a:cxn ang="f4299">
                <a:pos x="f5873" y="f6885"/>
              </a:cxn>
              <a:cxn ang="f4299">
                <a:pos x="f5873" y="f6888"/>
              </a:cxn>
              <a:cxn ang="f4299">
                <a:pos x="f5872" y="f6887"/>
              </a:cxn>
              <a:cxn ang="f4299">
                <a:pos x="f5871" y="f6887"/>
              </a:cxn>
              <a:cxn ang="f4299">
                <a:pos x="f5874" y="f6888"/>
              </a:cxn>
              <a:cxn ang="f4299">
                <a:pos x="f5874" y="f6885"/>
              </a:cxn>
              <a:cxn ang="f4299">
                <a:pos x="f5835" y="f6889"/>
              </a:cxn>
              <a:cxn ang="f4299">
                <a:pos x="f5836" y="f6889"/>
              </a:cxn>
              <a:cxn ang="f4299">
                <a:pos x="f5837" y="f6890"/>
              </a:cxn>
              <a:cxn ang="f4299">
                <a:pos x="f5837" y="f6891"/>
              </a:cxn>
              <a:cxn ang="f4299">
                <a:pos x="f5836" y="f6892"/>
              </a:cxn>
              <a:cxn ang="f4299">
                <a:pos x="f5835" y="f6892"/>
              </a:cxn>
              <a:cxn ang="f4299">
                <a:pos x="f5838" y="f6891"/>
              </a:cxn>
              <a:cxn ang="f4299">
                <a:pos x="f5838" y="f6890"/>
              </a:cxn>
              <a:cxn ang="f4299">
                <a:pos x="f5839" y="f6889"/>
              </a:cxn>
              <a:cxn ang="f4299">
                <a:pos x="f5840" y="f6889"/>
              </a:cxn>
              <a:cxn ang="f4299">
                <a:pos x="f5841" y="f6890"/>
              </a:cxn>
              <a:cxn ang="f4299">
                <a:pos x="f5841" y="f6891"/>
              </a:cxn>
              <a:cxn ang="f4299">
                <a:pos x="f5840" y="f6892"/>
              </a:cxn>
              <a:cxn ang="f4299">
                <a:pos x="f5839" y="f6892"/>
              </a:cxn>
              <a:cxn ang="f4299">
                <a:pos x="f5842" y="f6891"/>
              </a:cxn>
              <a:cxn ang="f4299">
                <a:pos x="f5842" y="f6890"/>
              </a:cxn>
              <a:cxn ang="f4299">
                <a:pos x="f5843" y="f6889"/>
              </a:cxn>
              <a:cxn ang="f4299">
                <a:pos x="f5844" y="f6889"/>
              </a:cxn>
              <a:cxn ang="f4299">
                <a:pos x="f5845" y="f6890"/>
              </a:cxn>
              <a:cxn ang="f4299">
                <a:pos x="f5845" y="f6891"/>
              </a:cxn>
              <a:cxn ang="f4299">
                <a:pos x="f5844" y="f6892"/>
              </a:cxn>
              <a:cxn ang="f4299">
                <a:pos x="f5843" y="f6892"/>
              </a:cxn>
              <a:cxn ang="f4299">
                <a:pos x="f5846" y="f6891"/>
              </a:cxn>
              <a:cxn ang="f4299">
                <a:pos x="f5846" y="f6890"/>
              </a:cxn>
              <a:cxn ang="f4299">
                <a:pos x="f5847" y="f6889"/>
              </a:cxn>
              <a:cxn ang="f4299">
                <a:pos x="f5848" y="f6889"/>
              </a:cxn>
              <a:cxn ang="f4299">
                <a:pos x="f5849" y="f6890"/>
              </a:cxn>
              <a:cxn ang="f4299">
                <a:pos x="f5849" y="f6891"/>
              </a:cxn>
              <a:cxn ang="f4299">
                <a:pos x="f5848" y="f6892"/>
              </a:cxn>
              <a:cxn ang="f4299">
                <a:pos x="f5847" y="f6892"/>
              </a:cxn>
              <a:cxn ang="f4299">
                <a:pos x="f5850" y="f6891"/>
              </a:cxn>
              <a:cxn ang="f4299">
                <a:pos x="f5850" y="f6890"/>
              </a:cxn>
              <a:cxn ang="f4299">
                <a:pos x="f5851" y="f6889"/>
              </a:cxn>
              <a:cxn ang="f4299">
                <a:pos x="f5852" y="f6889"/>
              </a:cxn>
              <a:cxn ang="f4299">
                <a:pos x="f5853" y="f6890"/>
              </a:cxn>
              <a:cxn ang="f4299">
                <a:pos x="f5853" y="f6891"/>
              </a:cxn>
              <a:cxn ang="f4299">
                <a:pos x="f5852" y="f6892"/>
              </a:cxn>
              <a:cxn ang="f4299">
                <a:pos x="f5851" y="f6892"/>
              </a:cxn>
              <a:cxn ang="f4299">
                <a:pos x="f5854" y="f6891"/>
              </a:cxn>
              <a:cxn ang="f4299">
                <a:pos x="f5854" y="f6890"/>
              </a:cxn>
              <a:cxn ang="f4299">
                <a:pos x="f5815" y="f6893"/>
              </a:cxn>
              <a:cxn ang="f4299">
                <a:pos x="f5816" y="f6893"/>
              </a:cxn>
              <a:cxn ang="f4299">
                <a:pos x="f5817" y="f6894"/>
              </a:cxn>
              <a:cxn ang="f4299">
                <a:pos x="f5817" y="f6895"/>
              </a:cxn>
              <a:cxn ang="f4299">
                <a:pos x="f5816" y="f6896"/>
              </a:cxn>
              <a:cxn ang="f4299">
                <a:pos x="f5815" y="f6896"/>
              </a:cxn>
              <a:cxn ang="f4299">
                <a:pos x="f5818" y="f6895"/>
              </a:cxn>
              <a:cxn ang="f4299">
                <a:pos x="f5818" y="f6894"/>
              </a:cxn>
              <a:cxn ang="f4299">
                <a:pos x="f5819" y="f6893"/>
              </a:cxn>
              <a:cxn ang="f4299">
                <a:pos x="f5820" y="f6893"/>
              </a:cxn>
              <a:cxn ang="f4299">
                <a:pos x="f5821" y="f6894"/>
              </a:cxn>
              <a:cxn ang="f4299">
                <a:pos x="f5821" y="f6897"/>
              </a:cxn>
              <a:cxn ang="f4299">
                <a:pos x="f5820" y="f6896"/>
              </a:cxn>
              <a:cxn ang="f4299">
                <a:pos x="f5819" y="f6896"/>
              </a:cxn>
              <a:cxn ang="f4299">
                <a:pos x="f5822" y="f6897"/>
              </a:cxn>
              <a:cxn ang="f4299">
                <a:pos x="f5822" y="f6894"/>
              </a:cxn>
              <a:cxn ang="f4299">
                <a:pos x="f5823" y="f6893"/>
              </a:cxn>
              <a:cxn ang="f4299">
                <a:pos x="f5824" y="f6893"/>
              </a:cxn>
              <a:cxn ang="f4299">
                <a:pos x="f5825" y="f6894"/>
              </a:cxn>
              <a:cxn ang="f4299">
                <a:pos x="f5825" y="f6897"/>
              </a:cxn>
              <a:cxn ang="f4299">
                <a:pos x="f5824" y="f6896"/>
              </a:cxn>
              <a:cxn ang="f4299">
                <a:pos x="f5823" y="f6896"/>
              </a:cxn>
              <a:cxn ang="f4299">
                <a:pos x="f5826" y="f6897"/>
              </a:cxn>
              <a:cxn ang="f4299">
                <a:pos x="f5826" y="f6894"/>
              </a:cxn>
              <a:cxn ang="f4299">
                <a:pos x="f5827" y="f6893"/>
              </a:cxn>
              <a:cxn ang="f4299">
                <a:pos x="f5828" y="f6893"/>
              </a:cxn>
              <a:cxn ang="f4299">
                <a:pos x="f5829" y="f6894"/>
              </a:cxn>
              <a:cxn ang="f4299">
                <a:pos x="f5829" y="f6897"/>
              </a:cxn>
              <a:cxn ang="f4299">
                <a:pos x="f5828" y="f6898"/>
              </a:cxn>
              <a:cxn ang="f4299">
                <a:pos x="f5827" y="f6898"/>
              </a:cxn>
              <a:cxn ang="f4299">
                <a:pos x="f5830" y="f6897"/>
              </a:cxn>
              <a:cxn ang="f4299">
                <a:pos x="f5830" y="f6894"/>
              </a:cxn>
              <a:cxn ang="f4299">
                <a:pos x="f5831" y="f6893"/>
              </a:cxn>
              <a:cxn ang="f4299">
                <a:pos x="f5832" y="f6893"/>
              </a:cxn>
              <a:cxn ang="f4299">
                <a:pos x="f5833" y="f6894"/>
              </a:cxn>
              <a:cxn ang="f4299">
                <a:pos x="f5833" y="f6897"/>
              </a:cxn>
              <a:cxn ang="f4299">
                <a:pos x="f5832" y="f6898"/>
              </a:cxn>
              <a:cxn ang="f4299">
                <a:pos x="f5831" y="f6898"/>
              </a:cxn>
              <a:cxn ang="f4299">
                <a:pos x="f5834" y="f6897"/>
              </a:cxn>
              <a:cxn ang="f4299">
                <a:pos x="f5834" y="f6894"/>
              </a:cxn>
              <a:cxn ang="f4299">
                <a:pos x="f5795" y="f6899"/>
              </a:cxn>
              <a:cxn ang="f4299">
                <a:pos x="f5796" y="f6899"/>
              </a:cxn>
              <a:cxn ang="f4299">
                <a:pos x="f5797" y="f6900"/>
              </a:cxn>
              <a:cxn ang="f4299">
                <a:pos x="f5797" y="f6901"/>
              </a:cxn>
              <a:cxn ang="f4299">
                <a:pos x="f5796" y="f6902"/>
              </a:cxn>
              <a:cxn ang="f4299">
                <a:pos x="f5795" y="f6902"/>
              </a:cxn>
              <a:cxn ang="f4299">
                <a:pos x="f5798" y="f6901"/>
              </a:cxn>
              <a:cxn ang="f4299">
                <a:pos x="f5798" y="f6900"/>
              </a:cxn>
              <a:cxn ang="f4299">
                <a:pos x="f5799" y="f6899"/>
              </a:cxn>
              <a:cxn ang="f4299">
                <a:pos x="f5800" y="f6899"/>
              </a:cxn>
              <a:cxn ang="f4299">
                <a:pos x="f5801" y="f6903"/>
              </a:cxn>
              <a:cxn ang="f4299">
                <a:pos x="f5801" y="f6901"/>
              </a:cxn>
              <a:cxn ang="f4299">
                <a:pos x="f5800" y="f6902"/>
              </a:cxn>
              <a:cxn ang="f4299">
                <a:pos x="f5799" y="f6902"/>
              </a:cxn>
              <a:cxn ang="f4299">
                <a:pos x="f5802" y="f6901"/>
              </a:cxn>
              <a:cxn ang="f4299">
                <a:pos x="f5802" y="f6903"/>
              </a:cxn>
              <a:cxn ang="f4299">
                <a:pos x="f5803" y="f6899"/>
              </a:cxn>
              <a:cxn ang="f4299">
                <a:pos x="f5804" y="f6899"/>
              </a:cxn>
              <a:cxn ang="f4299">
                <a:pos x="f5805" y="f6903"/>
              </a:cxn>
              <a:cxn ang="f4299">
                <a:pos x="f5805" y="f6901"/>
              </a:cxn>
              <a:cxn ang="f4299">
                <a:pos x="f5804" y="f6902"/>
              </a:cxn>
              <a:cxn ang="f4299">
                <a:pos x="f5803" y="f6902"/>
              </a:cxn>
              <a:cxn ang="f4299">
                <a:pos x="f5806" y="f6901"/>
              </a:cxn>
              <a:cxn ang="f4299">
                <a:pos x="f5806" y="f6903"/>
              </a:cxn>
              <a:cxn ang="f4299">
                <a:pos x="f5807" y="f6899"/>
              </a:cxn>
              <a:cxn ang="f4299">
                <a:pos x="f5808" y="f6899"/>
              </a:cxn>
              <a:cxn ang="f4299">
                <a:pos x="f5809" y="f6903"/>
              </a:cxn>
              <a:cxn ang="f4299">
                <a:pos x="f5809" y="f6901"/>
              </a:cxn>
              <a:cxn ang="f4299">
                <a:pos x="f5808" y="f6902"/>
              </a:cxn>
              <a:cxn ang="f4299">
                <a:pos x="f5807" y="f6902"/>
              </a:cxn>
              <a:cxn ang="f4299">
                <a:pos x="f5810" y="f6901"/>
              </a:cxn>
              <a:cxn ang="f4299">
                <a:pos x="f5810" y="f6903"/>
              </a:cxn>
              <a:cxn ang="f4299">
                <a:pos x="f5811" y="f6899"/>
              </a:cxn>
              <a:cxn ang="f4299">
                <a:pos x="f5812" y="f6899"/>
              </a:cxn>
              <a:cxn ang="f4299">
                <a:pos x="f5813" y="f6903"/>
              </a:cxn>
              <a:cxn ang="f4299">
                <a:pos x="f5813" y="f6901"/>
              </a:cxn>
              <a:cxn ang="f4299">
                <a:pos x="f5812" y="f6902"/>
              </a:cxn>
              <a:cxn ang="f4299">
                <a:pos x="f5811" y="f6902"/>
              </a:cxn>
              <a:cxn ang="f4299">
                <a:pos x="f5814" y="f6901"/>
              </a:cxn>
              <a:cxn ang="f4299">
                <a:pos x="f5814" y="f6903"/>
              </a:cxn>
              <a:cxn ang="f4299">
                <a:pos x="f6904" y="f6905"/>
              </a:cxn>
              <a:cxn ang="f4299">
                <a:pos x="f6845" y="f6905"/>
              </a:cxn>
              <a:cxn ang="f4299">
                <a:pos x="f6906" y="f6907"/>
              </a:cxn>
              <a:cxn ang="f4299">
                <a:pos x="f6906" y="f6908"/>
              </a:cxn>
              <a:cxn ang="f4299">
                <a:pos x="f6845" y="f6909"/>
              </a:cxn>
              <a:cxn ang="f4299">
                <a:pos x="f6904" y="f6909"/>
              </a:cxn>
              <a:cxn ang="f4299">
                <a:pos x="f6910" y="f6908"/>
              </a:cxn>
              <a:cxn ang="f4299">
                <a:pos x="f6910" y="f6907"/>
              </a:cxn>
              <a:cxn ang="f4299">
                <a:pos x="f6911" y="f6912"/>
              </a:cxn>
              <a:cxn ang="f4299">
                <a:pos x="f6834" y="f6912"/>
              </a:cxn>
              <a:cxn ang="f4299">
                <a:pos x="f6913" y="f6907"/>
              </a:cxn>
              <a:cxn ang="f4299">
                <a:pos x="f6913" y="f6908"/>
              </a:cxn>
              <a:cxn ang="f4299">
                <a:pos x="f6834" y="f6914"/>
              </a:cxn>
              <a:cxn ang="f4299">
                <a:pos x="f6911" y="f6914"/>
              </a:cxn>
              <a:cxn ang="f4299">
                <a:pos x="f6915" y="f6908"/>
              </a:cxn>
              <a:cxn ang="f4299">
                <a:pos x="f6915" y="f6907"/>
              </a:cxn>
              <a:cxn ang="f4299">
                <a:pos x="f6840" y="f6912"/>
              </a:cxn>
              <a:cxn ang="f4299">
                <a:pos x="f6841" y="f6912"/>
              </a:cxn>
              <a:cxn ang="f4299">
                <a:pos x="f6916" y="f6907"/>
              </a:cxn>
              <a:cxn ang="f4299">
                <a:pos x="f6916" y="f6908"/>
              </a:cxn>
              <a:cxn ang="f4299">
                <a:pos x="f6841" y="f6914"/>
              </a:cxn>
              <a:cxn ang="f4299">
                <a:pos x="f6840" y="f6914"/>
              </a:cxn>
              <a:cxn ang="f4299">
                <a:pos x="f6917" y="f6908"/>
              </a:cxn>
              <a:cxn ang="f4299">
                <a:pos x="f6917" y="f6907"/>
              </a:cxn>
              <a:cxn ang="f4299">
                <a:pos x="f6918" y="f6912"/>
              </a:cxn>
              <a:cxn ang="f4299">
                <a:pos x="f6842" y="f6912"/>
              </a:cxn>
              <a:cxn ang="f4299">
                <a:pos x="f6843" y="f6907"/>
              </a:cxn>
              <a:cxn ang="f4299">
                <a:pos x="f6843" y="f6908"/>
              </a:cxn>
              <a:cxn ang="f4299">
                <a:pos x="f6842" y="f6914"/>
              </a:cxn>
              <a:cxn ang="f4299">
                <a:pos x="f6918" y="f6914"/>
              </a:cxn>
              <a:cxn ang="f4299">
                <a:pos x="f6844" y="f6908"/>
              </a:cxn>
              <a:cxn ang="f4299">
                <a:pos x="f6844" y="f6907"/>
              </a:cxn>
              <a:cxn ang="f4299">
                <a:pos x="f5775" y="f6919"/>
              </a:cxn>
              <a:cxn ang="f4299">
                <a:pos x="f5776" y="f6919"/>
              </a:cxn>
              <a:cxn ang="f4299">
                <a:pos x="f5777" y="f6920"/>
              </a:cxn>
              <a:cxn ang="f4299">
                <a:pos x="f5777" y="f6921"/>
              </a:cxn>
              <a:cxn ang="f4299">
                <a:pos x="f5776" y="f6922"/>
              </a:cxn>
              <a:cxn ang="f4299">
                <a:pos x="f5775" y="f6922"/>
              </a:cxn>
              <a:cxn ang="f4299">
                <a:pos x="f5778" y="f6921"/>
              </a:cxn>
              <a:cxn ang="f4299">
                <a:pos x="f5778" y="f6920"/>
              </a:cxn>
              <a:cxn ang="f4299">
                <a:pos x="f5779" y="f6919"/>
              </a:cxn>
              <a:cxn ang="f4299">
                <a:pos x="f5780" y="f6919"/>
              </a:cxn>
              <a:cxn ang="f4299">
                <a:pos x="f5781" y="f6920"/>
              </a:cxn>
              <a:cxn ang="f4299">
                <a:pos x="f5781" y="f6921"/>
              </a:cxn>
              <a:cxn ang="f4299">
                <a:pos x="f5780" y="f6922"/>
              </a:cxn>
              <a:cxn ang="f4299">
                <a:pos x="f5779" y="f6922"/>
              </a:cxn>
              <a:cxn ang="f4299">
                <a:pos x="f5782" y="f6921"/>
              </a:cxn>
              <a:cxn ang="f4299">
                <a:pos x="f5782" y="f6920"/>
              </a:cxn>
              <a:cxn ang="f4299">
                <a:pos x="f5783" y="f6919"/>
              </a:cxn>
              <a:cxn ang="f4299">
                <a:pos x="f5784" y="f6919"/>
              </a:cxn>
              <a:cxn ang="f4299">
                <a:pos x="f5785" y="f6920"/>
              </a:cxn>
              <a:cxn ang="f4299">
                <a:pos x="f5785" y="f6921"/>
              </a:cxn>
              <a:cxn ang="f4299">
                <a:pos x="f5784" y="f6922"/>
              </a:cxn>
              <a:cxn ang="f4299">
                <a:pos x="f5783" y="f6922"/>
              </a:cxn>
              <a:cxn ang="f4299">
                <a:pos x="f5786" y="f6921"/>
              </a:cxn>
              <a:cxn ang="f4299">
                <a:pos x="f5786" y="f6920"/>
              </a:cxn>
              <a:cxn ang="f4299">
                <a:pos x="f5787" y="f6919"/>
              </a:cxn>
              <a:cxn ang="f4299">
                <a:pos x="f5788" y="f6919"/>
              </a:cxn>
              <a:cxn ang="f4299">
                <a:pos x="f5789" y="f6920"/>
              </a:cxn>
              <a:cxn ang="f4299">
                <a:pos x="f5789" y="f6921"/>
              </a:cxn>
              <a:cxn ang="f4299">
                <a:pos x="f5788" y="f6922"/>
              </a:cxn>
              <a:cxn ang="f4299">
                <a:pos x="f5787" y="f6922"/>
              </a:cxn>
              <a:cxn ang="f4299">
                <a:pos x="f5790" y="f6921"/>
              </a:cxn>
              <a:cxn ang="f4299">
                <a:pos x="f5790" y="f6920"/>
              </a:cxn>
              <a:cxn ang="f4299">
                <a:pos x="f5791" y="f6919"/>
              </a:cxn>
              <a:cxn ang="f4299">
                <a:pos x="f5792" y="f6919"/>
              </a:cxn>
              <a:cxn ang="f4299">
                <a:pos x="f5793" y="f6920"/>
              </a:cxn>
              <a:cxn ang="f4299">
                <a:pos x="f5793" y="f6921"/>
              </a:cxn>
              <a:cxn ang="f4299">
                <a:pos x="f5792" y="f6922"/>
              </a:cxn>
              <a:cxn ang="f4299">
                <a:pos x="f5791" y="f6922"/>
              </a:cxn>
              <a:cxn ang="f4299">
                <a:pos x="f5794" y="f6921"/>
              </a:cxn>
              <a:cxn ang="f4299">
                <a:pos x="f5794" y="f6920"/>
              </a:cxn>
              <a:cxn ang="f4299">
                <a:pos x="f6631" y="f6923"/>
              </a:cxn>
              <a:cxn ang="f4299">
                <a:pos x="f6560" y="f6923"/>
              </a:cxn>
              <a:cxn ang="f4299">
                <a:pos x="f6853" y="f6924"/>
              </a:cxn>
              <a:cxn ang="f4299">
                <a:pos x="f6853" y="f6925"/>
              </a:cxn>
              <a:cxn ang="f4299">
                <a:pos x="f6560" y="f6926"/>
              </a:cxn>
              <a:cxn ang="f4299">
                <a:pos x="f6631" y="f6926"/>
              </a:cxn>
              <a:cxn ang="f4299">
                <a:pos x="f6805" y="f6925"/>
              </a:cxn>
              <a:cxn ang="f4299">
                <a:pos x="f6805" y="f6924"/>
              </a:cxn>
              <a:cxn ang="f4299">
                <a:pos x="f6710" y="f6927"/>
              </a:cxn>
              <a:cxn ang="f4299">
                <a:pos x="f6712" y="f6927"/>
              </a:cxn>
              <a:cxn ang="f4299">
                <a:pos x="f6928" y="f6929"/>
              </a:cxn>
              <a:cxn ang="f4299">
                <a:pos x="f6928" y="f6930"/>
              </a:cxn>
              <a:cxn ang="f4299">
                <a:pos x="f6712" y="f6931"/>
              </a:cxn>
              <a:cxn ang="f4299">
                <a:pos x="f6710" y="f6931"/>
              </a:cxn>
              <a:cxn ang="f4299">
                <a:pos x="f6859" y="f6930"/>
              </a:cxn>
              <a:cxn ang="f4299">
                <a:pos x="f6859" y="f6929"/>
              </a:cxn>
              <a:cxn ang="f4299">
                <a:pos x="f5767" y="f6932"/>
              </a:cxn>
              <a:cxn ang="f4299">
                <a:pos x="f5769" y="f6932"/>
              </a:cxn>
              <a:cxn ang="f4299">
                <a:pos x="f5770" y="f6933"/>
              </a:cxn>
              <a:cxn ang="f4299">
                <a:pos x="f5770" y="f6934"/>
              </a:cxn>
              <a:cxn ang="f4299">
                <a:pos x="f5769" y="f6935"/>
              </a:cxn>
              <a:cxn ang="f4299">
                <a:pos x="f5767" y="f6935"/>
              </a:cxn>
              <a:cxn ang="f4299">
                <a:pos x="f5774" y="f6934"/>
              </a:cxn>
              <a:cxn ang="f4299">
                <a:pos x="f5774" y="f6933"/>
              </a:cxn>
              <a:cxn ang="f4299">
                <a:pos x="f6871" y="f6936"/>
              </a:cxn>
              <a:cxn ang="f4299">
                <a:pos x="f6937" y="f6936"/>
              </a:cxn>
              <a:cxn ang="f4299">
                <a:pos x="f6938" y="f6939"/>
              </a:cxn>
              <a:cxn ang="f4299">
                <a:pos x="f6938" y="f6940"/>
              </a:cxn>
              <a:cxn ang="f4299">
                <a:pos x="f6937" y="f6941"/>
              </a:cxn>
              <a:cxn ang="f4299">
                <a:pos x="f6871" y="f6941"/>
              </a:cxn>
              <a:cxn ang="f4299">
                <a:pos x="f6873" y="f6940"/>
              </a:cxn>
              <a:cxn ang="f4299">
                <a:pos x="f6873" y="f6939"/>
              </a:cxn>
              <a:cxn ang="f4299">
                <a:pos x="f6874" y="f6936"/>
              </a:cxn>
              <a:cxn ang="f4299">
                <a:pos x="f6942" y="f6936"/>
              </a:cxn>
              <a:cxn ang="f4299">
                <a:pos x="f6876" y="f6943"/>
              </a:cxn>
              <a:cxn ang="f4299">
                <a:pos x="f6876" y="f6944"/>
              </a:cxn>
              <a:cxn ang="f4299">
                <a:pos x="f6942" y="f6941"/>
              </a:cxn>
              <a:cxn ang="f4299">
                <a:pos x="f6874" y="f6941"/>
              </a:cxn>
              <a:cxn ang="f4299">
                <a:pos x="f6945" y="f6944"/>
              </a:cxn>
              <a:cxn ang="f4299">
                <a:pos x="f6945" y="f6943"/>
              </a:cxn>
              <a:cxn ang="f4299">
                <a:pos x="f6946" y="f6936"/>
              </a:cxn>
              <a:cxn ang="f4299">
                <a:pos x="f6947" y="f6936"/>
              </a:cxn>
              <a:cxn ang="f4299">
                <a:pos x="f6948" y="f6939"/>
              </a:cxn>
              <a:cxn ang="f4299">
                <a:pos x="f6948" y="f6940"/>
              </a:cxn>
              <a:cxn ang="f4299">
                <a:pos x="f6947" y="f6941"/>
              </a:cxn>
              <a:cxn ang="f4299">
                <a:pos x="f6946" y="f6941"/>
              </a:cxn>
              <a:cxn ang="f4299">
                <a:pos x="f6868" y="f6940"/>
              </a:cxn>
              <a:cxn ang="f4299">
                <a:pos x="f6868" y="f6939"/>
              </a:cxn>
              <a:cxn ang="f4299">
                <a:pos x="f6949" y="f6936"/>
              </a:cxn>
              <a:cxn ang="f4299">
                <a:pos x="f6950" y="f6936"/>
              </a:cxn>
              <a:cxn ang="f4299">
                <a:pos x="f6951" y="f6939"/>
              </a:cxn>
              <a:cxn ang="f4299">
                <a:pos x="f6951" y="f6940"/>
              </a:cxn>
              <a:cxn ang="f4299">
                <a:pos x="f6950" y="f6941"/>
              </a:cxn>
              <a:cxn ang="f4299">
                <a:pos x="f6949" y="f6941"/>
              </a:cxn>
              <a:cxn ang="f4299">
                <a:pos x="f6870" y="f6940"/>
              </a:cxn>
              <a:cxn ang="f4299">
                <a:pos x="f6870" y="f6939"/>
              </a:cxn>
              <a:cxn ang="f4299">
                <a:pos x="f5875" y="f6952"/>
              </a:cxn>
              <a:cxn ang="f4299">
                <a:pos x="f5876" y="f6952"/>
              </a:cxn>
              <a:cxn ang="f4299">
                <a:pos x="f5877" y="f6953"/>
              </a:cxn>
              <a:cxn ang="f4299">
                <a:pos x="f5877" y="f6954"/>
              </a:cxn>
              <a:cxn ang="f4299">
                <a:pos x="f5876" y="f6955"/>
              </a:cxn>
              <a:cxn ang="f4299">
                <a:pos x="f5875" y="f6955"/>
              </a:cxn>
              <a:cxn ang="f4299">
                <a:pos x="f5878" y="f6954"/>
              </a:cxn>
              <a:cxn ang="f4299">
                <a:pos x="f5878" y="f6953"/>
              </a:cxn>
              <a:cxn ang="f4299">
                <a:pos x="f5879" y="f6952"/>
              </a:cxn>
              <a:cxn ang="f4299">
                <a:pos x="f5880" y="f6952"/>
              </a:cxn>
              <a:cxn ang="f4299">
                <a:pos x="f5881" y="f6953"/>
              </a:cxn>
              <a:cxn ang="f4299">
                <a:pos x="f5881" y="f6954"/>
              </a:cxn>
              <a:cxn ang="f4299">
                <a:pos x="f5880" y="f6955"/>
              </a:cxn>
              <a:cxn ang="f4299">
                <a:pos x="f5879" y="f6955"/>
              </a:cxn>
              <a:cxn ang="f4299">
                <a:pos x="f5882" y="f6954"/>
              </a:cxn>
              <a:cxn ang="f4299">
                <a:pos x="f5882" y="f6953"/>
              </a:cxn>
              <a:cxn ang="f4299">
                <a:pos x="f5883" y="f6952"/>
              </a:cxn>
              <a:cxn ang="f4299">
                <a:pos x="f5884" y="f6952"/>
              </a:cxn>
              <a:cxn ang="f4299">
                <a:pos x="f5885" y="f6953"/>
              </a:cxn>
              <a:cxn ang="f4299">
                <a:pos x="f5885" y="f6954"/>
              </a:cxn>
              <a:cxn ang="f4299">
                <a:pos x="f5884" y="f6955"/>
              </a:cxn>
              <a:cxn ang="f4299">
                <a:pos x="f5883" y="f6955"/>
              </a:cxn>
              <a:cxn ang="f4299">
                <a:pos x="f5886" y="f6954"/>
              </a:cxn>
              <a:cxn ang="f4299">
                <a:pos x="f5886" y="f6953"/>
              </a:cxn>
              <a:cxn ang="f4299">
                <a:pos x="f5887" y="f6952"/>
              </a:cxn>
              <a:cxn ang="f4299">
                <a:pos x="f5888" y="f6952"/>
              </a:cxn>
              <a:cxn ang="f4299">
                <a:pos x="f5889" y="f6953"/>
              </a:cxn>
              <a:cxn ang="f4299">
                <a:pos x="f5889" y="f6954"/>
              </a:cxn>
              <a:cxn ang="f4299">
                <a:pos x="f5888" y="f6955"/>
              </a:cxn>
              <a:cxn ang="f4299">
                <a:pos x="f5887" y="f6955"/>
              </a:cxn>
              <a:cxn ang="f4299">
                <a:pos x="f5890" y="f6954"/>
              </a:cxn>
              <a:cxn ang="f4299">
                <a:pos x="f5890" y="f6953"/>
              </a:cxn>
              <a:cxn ang="f4299">
                <a:pos x="f5891" y="f6952"/>
              </a:cxn>
              <a:cxn ang="f4299">
                <a:pos x="f5892" y="f6952"/>
              </a:cxn>
              <a:cxn ang="f4299">
                <a:pos x="f5893" y="f6953"/>
              </a:cxn>
              <a:cxn ang="f4299">
                <a:pos x="f5893" y="f6954"/>
              </a:cxn>
              <a:cxn ang="f4299">
                <a:pos x="f5892" y="f6955"/>
              </a:cxn>
              <a:cxn ang="f4299">
                <a:pos x="f5891" y="f6955"/>
              </a:cxn>
              <a:cxn ang="f4299">
                <a:pos x="f5894" y="f6954"/>
              </a:cxn>
              <a:cxn ang="f4299">
                <a:pos x="f5894" y="f6953"/>
              </a:cxn>
              <a:cxn ang="f4299">
                <a:pos x="f5855" y="f6956"/>
              </a:cxn>
              <a:cxn ang="f4299">
                <a:pos x="f5856" y="f6956"/>
              </a:cxn>
              <a:cxn ang="f4299">
                <a:pos x="f5857" y="f6957"/>
              </a:cxn>
              <a:cxn ang="f4299">
                <a:pos x="f5857" y="f6958"/>
              </a:cxn>
              <a:cxn ang="f4299">
                <a:pos x="f5856" y="f6959"/>
              </a:cxn>
              <a:cxn ang="f4299">
                <a:pos x="f5855" y="f6959"/>
              </a:cxn>
              <a:cxn ang="f4299">
                <a:pos x="f5858" y="f6958"/>
              </a:cxn>
              <a:cxn ang="f4299">
                <a:pos x="f5858" y="f6957"/>
              </a:cxn>
              <a:cxn ang="f4299">
                <a:pos x="f5859" y="f6956"/>
              </a:cxn>
              <a:cxn ang="f4299">
                <a:pos x="f5860" y="f6956"/>
              </a:cxn>
              <a:cxn ang="f4299">
                <a:pos x="f5861" y="f6957"/>
              </a:cxn>
              <a:cxn ang="f4299">
                <a:pos x="f5861" y="f6958"/>
              </a:cxn>
              <a:cxn ang="f4299">
                <a:pos x="f5860" y="f6959"/>
              </a:cxn>
              <a:cxn ang="f4299">
                <a:pos x="f5859" y="f6959"/>
              </a:cxn>
              <a:cxn ang="f4299">
                <a:pos x="f5862" y="f6958"/>
              </a:cxn>
              <a:cxn ang="f4299">
                <a:pos x="f5862" y="f6957"/>
              </a:cxn>
              <a:cxn ang="f4299">
                <a:pos x="f5863" y="f6956"/>
              </a:cxn>
              <a:cxn ang="f4299">
                <a:pos x="f5864" y="f6956"/>
              </a:cxn>
              <a:cxn ang="f4299">
                <a:pos x="f5865" y="f6957"/>
              </a:cxn>
              <a:cxn ang="f4299">
                <a:pos x="f5865" y="f6958"/>
              </a:cxn>
              <a:cxn ang="f4299">
                <a:pos x="f5864" y="f6959"/>
              </a:cxn>
              <a:cxn ang="f4299">
                <a:pos x="f5863" y="f6959"/>
              </a:cxn>
              <a:cxn ang="f4299">
                <a:pos x="f5866" y="f6958"/>
              </a:cxn>
              <a:cxn ang="f4299">
                <a:pos x="f5866" y="f6957"/>
              </a:cxn>
              <a:cxn ang="f4299">
                <a:pos x="f5867" y="f6956"/>
              </a:cxn>
              <a:cxn ang="f4299">
                <a:pos x="f5868" y="f6956"/>
              </a:cxn>
              <a:cxn ang="f4299">
                <a:pos x="f5869" y="f6957"/>
              </a:cxn>
              <a:cxn ang="f4299">
                <a:pos x="f5869" y="f6958"/>
              </a:cxn>
              <a:cxn ang="f4299">
                <a:pos x="f5868" y="f6959"/>
              </a:cxn>
              <a:cxn ang="f4299">
                <a:pos x="f5867" y="f6959"/>
              </a:cxn>
              <a:cxn ang="f4299">
                <a:pos x="f5870" y="f6958"/>
              </a:cxn>
              <a:cxn ang="f4299">
                <a:pos x="f5870" y="f6957"/>
              </a:cxn>
              <a:cxn ang="f4299">
                <a:pos x="f5871" y="f6956"/>
              </a:cxn>
              <a:cxn ang="f4299">
                <a:pos x="f5872" y="f6956"/>
              </a:cxn>
              <a:cxn ang="f4299">
                <a:pos x="f5873" y="f6957"/>
              </a:cxn>
              <a:cxn ang="f4299">
                <a:pos x="f5873" y="f6958"/>
              </a:cxn>
              <a:cxn ang="f4299">
                <a:pos x="f5872" y="f6959"/>
              </a:cxn>
              <a:cxn ang="f4299">
                <a:pos x="f5871" y="f6959"/>
              </a:cxn>
              <a:cxn ang="f4299">
                <a:pos x="f5874" y="f6958"/>
              </a:cxn>
              <a:cxn ang="f4299">
                <a:pos x="f5874" y="f6957"/>
              </a:cxn>
              <a:cxn ang="f4299">
                <a:pos x="f5835" y="f6960"/>
              </a:cxn>
              <a:cxn ang="f4299">
                <a:pos x="f5836" y="f6960"/>
              </a:cxn>
              <a:cxn ang="f4299">
                <a:pos x="f5837" y="f6961"/>
              </a:cxn>
              <a:cxn ang="f4299">
                <a:pos x="f5837" y="f6962"/>
              </a:cxn>
              <a:cxn ang="f4299">
                <a:pos x="f5836" y="f6963"/>
              </a:cxn>
              <a:cxn ang="f4299">
                <a:pos x="f5835" y="f6963"/>
              </a:cxn>
              <a:cxn ang="f4299">
                <a:pos x="f5838" y="f6962"/>
              </a:cxn>
              <a:cxn ang="f4299">
                <a:pos x="f5838" y="f6961"/>
              </a:cxn>
              <a:cxn ang="f4299">
                <a:pos x="f5839" y="f6960"/>
              </a:cxn>
              <a:cxn ang="f4299">
                <a:pos x="f5840" y="f6960"/>
              </a:cxn>
              <a:cxn ang="f4299">
                <a:pos x="f5841" y="f6961"/>
              </a:cxn>
              <a:cxn ang="f4299">
                <a:pos x="f5841" y="f6962"/>
              </a:cxn>
              <a:cxn ang="f4299">
                <a:pos x="f5840" y="f6963"/>
              </a:cxn>
              <a:cxn ang="f4299">
                <a:pos x="f5839" y="f6963"/>
              </a:cxn>
              <a:cxn ang="f4299">
                <a:pos x="f5842" y="f6962"/>
              </a:cxn>
              <a:cxn ang="f4299">
                <a:pos x="f5842" y="f6961"/>
              </a:cxn>
              <a:cxn ang="f4299">
                <a:pos x="f5843" y="f6960"/>
              </a:cxn>
              <a:cxn ang="f4299">
                <a:pos x="f5844" y="f6960"/>
              </a:cxn>
              <a:cxn ang="f4299">
                <a:pos x="f5845" y="f6961"/>
              </a:cxn>
              <a:cxn ang="f4299">
                <a:pos x="f5845" y="f6962"/>
              </a:cxn>
              <a:cxn ang="f4299">
                <a:pos x="f5844" y="f6963"/>
              </a:cxn>
              <a:cxn ang="f4299">
                <a:pos x="f5843" y="f6963"/>
              </a:cxn>
              <a:cxn ang="f4299">
                <a:pos x="f5846" y="f6962"/>
              </a:cxn>
              <a:cxn ang="f4299">
                <a:pos x="f5846" y="f6961"/>
              </a:cxn>
              <a:cxn ang="f4299">
                <a:pos x="f5847" y="f6960"/>
              </a:cxn>
              <a:cxn ang="f4299">
                <a:pos x="f5848" y="f6960"/>
              </a:cxn>
              <a:cxn ang="f4299">
                <a:pos x="f5849" y="f6961"/>
              </a:cxn>
              <a:cxn ang="f4299">
                <a:pos x="f5849" y="f6962"/>
              </a:cxn>
              <a:cxn ang="f4299">
                <a:pos x="f5848" y="f6963"/>
              </a:cxn>
              <a:cxn ang="f4299">
                <a:pos x="f5847" y="f6963"/>
              </a:cxn>
              <a:cxn ang="f4299">
                <a:pos x="f5850" y="f6962"/>
              </a:cxn>
              <a:cxn ang="f4299">
                <a:pos x="f5850" y="f6961"/>
              </a:cxn>
              <a:cxn ang="f4299">
                <a:pos x="f5851" y="f6960"/>
              </a:cxn>
              <a:cxn ang="f4299">
                <a:pos x="f5852" y="f6960"/>
              </a:cxn>
              <a:cxn ang="f4299">
                <a:pos x="f5853" y="f6961"/>
              </a:cxn>
              <a:cxn ang="f4299">
                <a:pos x="f5853" y="f6962"/>
              </a:cxn>
              <a:cxn ang="f4299">
                <a:pos x="f5852" y="f6963"/>
              </a:cxn>
              <a:cxn ang="f4299">
                <a:pos x="f5851" y="f6963"/>
              </a:cxn>
              <a:cxn ang="f4299">
                <a:pos x="f5854" y="f6962"/>
              </a:cxn>
              <a:cxn ang="f4299">
                <a:pos x="f5854" y="f6961"/>
              </a:cxn>
              <a:cxn ang="f4299">
                <a:pos x="f5815" y="f6964"/>
              </a:cxn>
              <a:cxn ang="f4299">
                <a:pos x="f5816" y="f6964"/>
              </a:cxn>
              <a:cxn ang="f4299">
                <a:pos x="f5817" y="f6965"/>
              </a:cxn>
              <a:cxn ang="f4299">
                <a:pos x="f5817" y="f6966"/>
              </a:cxn>
              <a:cxn ang="f4299">
                <a:pos x="f5816" y="f6967"/>
              </a:cxn>
              <a:cxn ang="f4299">
                <a:pos x="f5815" y="f6967"/>
              </a:cxn>
              <a:cxn ang="f4299">
                <a:pos x="f5818" y="f6966"/>
              </a:cxn>
              <a:cxn ang="f4299">
                <a:pos x="f5818" y="f6965"/>
              </a:cxn>
              <a:cxn ang="f4299">
                <a:pos x="f5819" y="f6964"/>
              </a:cxn>
              <a:cxn ang="f4299">
                <a:pos x="f5820" y="f6964"/>
              </a:cxn>
              <a:cxn ang="f4299">
                <a:pos x="f5821" y="f6965"/>
              </a:cxn>
              <a:cxn ang="f4299">
                <a:pos x="f5821" y="f6966"/>
              </a:cxn>
              <a:cxn ang="f4299">
                <a:pos x="f5820" y="f6967"/>
              </a:cxn>
              <a:cxn ang="f4299">
                <a:pos x="f5819" y="f6967"/>
              </a:cxn>
              <a:cxn ang="f4299">
                <a:pos x="f5822" y="f6966"/>
              </a:cxn>
              <a:cxn ang="f4299">
                <a:pos x="f5822" y="f6965"/>
              </a:cxn>
              <a:cxn ang="f4299">
                <a:pos x="f5823" y="f6964"/>
              </a:cxn>
              <a:cxn ang="f4299">
                <a:pos x="f5824" y="f6964"/>
              </a:cxn>
              <a:cxn ang="f4299">
                <a:pos x="f5825" y="f6965"/>
              </a:cxn>
              <a:cxn ang="f4299">
                <a:pos x="f5825" y="f6966"/>
              </a:cxn>
              <a:cxn ang="f4299">
                <a:pos x="f5824" y="f6967"/>
              </a:cxn>
              <a:cxn ang="f4299">
                <a:pos x="f5823" y="f6967"/>
              </a:cxn>
              <a:cxn ang="f4299">
                <a:pos x="f5826" y="f6966"/>
              </a:cxn>
              <a:cxn ang="f4299">
                <a:pos x="f5826" y="f6965"/>
              </a:cxn>
              <a:cxn ang="f4299">
                <a:pos x="f5827" y="f6964"/>
              </a:cxn>
              <a:cxn ang="f4299">
                <a:pos x="f5828" y="f6964"/>
              </a:cxn>
              <a:cxn ang="f4299">
                <a:pos x="f5829" y="f6965"/>
              </a:cxn>
              <a:cxn ang="f4299">
                <a:pos x="f5829" y="f6966"/>
              </a:cxn>
              <a:cxn ang="f4299">
                <a:pos x="f5828" y="f6967"/>
              </a:cxn>
              <a:cxn ang="f4299">
                <a:pos x="f5827" y="f6967"/>
              </a:cxn>
              <a:cxn ang="f4299">
                <a:pos x="f5830" y="f6966"/>
              </a:cxn>
              <a:cxn ang="f4299">
                <a:pos x="f5830" y="f6965"/>
              </a:cxn>
              <a:cxn ang="f4299">
                <a:pos x="f5831" y="f6964"/>
              </a:cxn>
              <a:cxn ang="f4299">
                <a:pos x="f5832" y="f6964"/>
              </a:cxn>
              <a:cxn ang="f4299">
                <a:pos x="f5833" y="f6965"/>
              </a:cxn>
              <a:cxn ang="f4299">
                <a:pos x="f5833" y="f6966"/>
              </a:cxn>
              <a:cxn ang="f4299">
                <a:pos x="f5832" y="f6967"/>
              </a:cxn>
              <a:cxn ang="f4299">
                <a:pos x="f5831" y="f6967"/>
              </a:cxn>
              <a:cxn ang="f4299">
                <a:pos x="f5834" y="f6966"/>
              </a:cxn>
              <a:cxn ang="f4299">
                <a:pos x="f5834" y="f6965"/>
              </a:cxn>
              <a:cxn ang="f4299">
                <a:pos x="f5799" y="f6968"/>
              </a:cxn>
              <a:cxn ang="f4299">
                <a:pos x="f5800" y="f6968"/>
              </a:cxn>
              <a:cxn ang="f4299">
                <a:pos x="f5801" y="f6969"/>
              </a:cxn>
              <a:cxn ang="f4299">
                <a:pos x="f5801" y="f6970"/>
              </a:cxn>
              <a:cxn ang="f4299">
                <a:pos x="f5800" y="f6971"/>
              </a:cxn>
              <a:cxn ang="f4299">
                <a:pos x="f5799" y="f6971"/>
              </a:cxn>
              <a:cxn ang="f4299">
                <a:pos x="f5802" y="f6970"/>
              </a:cxn>
              <a:cxn ang="f4299">
                <a:pos x="f5802" y="f6969"/>
              </a:cxn>
              <a:cxn ang="f4299">
                <a:pos x="f5803" y="f6968"/>
              </a:cxn>
              <a:cxn ang="f4299">
                <a:pos x="f5804" y="f6968"/>
              </a:cxn>
              <a:cxn ang="f4299">
                <a:pos x="f5805" y="f6969"/>
              </a:cxn>
              <a:cxn ang="f4299">
                <a:pos x="f5805" y="f6970"/>
              </a:cxn>
              <a:cxn ang="f4299">
                <a:pos x="f5804" y="f6972"/>
              </a:cxn>
              <a:cxn ang="f4299">
                <a:pos x="f5803" y="f6972"/>
              </a:cxn>
              <a:cxn ang="f4299">
                <a:pos x="f5806" y="f6970"/>
              </a:cxn>
              <a:cxn ang="f4299">
                <a:pos x="f5806" y="f6969"/>
              </a:cxn>
              <a:cxn ang="f4299">
                <a:pos x="f5807" y="f6968"/>
              </a:cxn>
              <a:cxn ang="f4299">
                <a:pos x="f5808" y="f6968"/>
              </a:cxn>
              <a:cxn ang="f4299">
                <a:pos x="f5809" y="f6969"/>
              </a:cxn>
              <a:cxn ang="f4299">
                <a:pos x="f5809" y="f6970"/>
              </a:cxn>
              <a:cxn ang="f4299">
                <a:pos x="f5808" y="f6972"/>
              </a:cxn>
              <a:cxn ang="f4299">
                <a:pos x="f5807" y="f6972"/>
              </a:cxn>
              <a:cxn ang="f4299">
                <a:pos x="f5810" y="f6970"/>
              </a:cxn>
              <a:cxn ang="f4299">
                <a:pos x="f5810" y="f6969"/>
              </a:cxn>
              <a:cxn ang="f4299">
                <a:pos x="f5811" y="f6968"/>
              </a:cxn>
              <a:cxn ang="f4299">
                <a:pos x="f5812" y="f6968"/>
              </a:cxn>
              <a:cxn ang="f4299">
                <a:pos x="f5813" y="f6969"/>
              </a:cxn>
              <a:cxn ang="f4299">
                <a:pos x="f5813" y="f6970"/>
              </a:cxn>
              <a:cxn ang="f4299">
                <a:pos x="f5812" y="f6972"/>
              </a:cxn>
              <a:cxn ang="f4299">
                <a:pos x="f5811" y="f6972"/>
              </a:cxn>
              <a:cxn ang="f4299">
                <a:pos x="f5814" y="f6970"/>
              </a:cxn>
              <a:cxn ang="f4299">
                <a:pos x="f5814" y="f6969"/>
              </a:cxn>
              <a:cxn ang="f4299">
                <a:pos x="f5795" y="f6973"/>
              </a:cxn>
              <a:cxn ang="f4299">
                <a:pos x="f5796" y="f6973"/>
              </a:cxn>
              <a:cxn ang="f4299">
                <a:pos x="f5797" y="f6969"/>
              </a:cxn>
              <a:cxn ang="f4299">
                <a:pos x="f5797" y="f6970"/>
              </a:cxn>
              <a:cxn ang="f4299">
                <a:pos x="f5796" y="f6971"/>
              </a:cxn>
              <a:cxn ang="f4299">
                <a:pos x="f5795" y="f6971"/>
              </a:cxn>
              <a:cxn ang="f4299">
                <a:pos x="f5798" y="f6970"/>
              </a:cxn>
              <a:cxn ang="f4299">
                <a:pos x="f5798" y="f6969"/>
              </a:cxn>
              <a:cxn ang="f4299">
                <a:pos x="f5779" y="f6974"/>
              </a:cxn>
              <a:cxn ang="f4299">
                <a:pos x="f5780" y="f6974"/>
              </a:cxn>
              <a:cxn ang="f4299">
                <a:pos x="f5781" y="f6975"/>
              </a:cxn>
              <a:cxn ang="f4299">
                <a:pos x="f5781" y="f6976"/>
              </a:cxn>
              <a:cxn ang="f4299">
                <a:pos x="f5780" y="f6977"/>
              </a:cxn>
              <a:cxn ang="f4299">
                <a:pos x="f5779" y="f6977"/>
              </a:cxn>
              <a:cxn ang="f4299">
                <a:pos x="f5782" y="f6976"/>
              </a:cxn>
              <a:cxn ang="f4299">
                <a:pos x="f5782" y="f6975"/>
              </a:cxn>
              <a:cxn ang="f4299">
                <a:pos x="f5783" y="f6974"/>
              </a:cxn>
              <a:cxn ang="f4299">
                <a:pos x="f5784" y="f6974"/>
              </a:cxn>
              <a:cxn ang="f4299">
                <a:pos x="f5785" y="f6975"/>
              </a:cxn>
              <a:cxn ang="f4299">
                <a:pos x="f5785" y="f6976"/>
              </a:cxn>
              <a:cxn ang="f4299">
                <a:pos x="f5784" y="f6978"/>
              </a:cxn>
              <a:cxn ang="f4299">
                <a:pos x="f5783" y="f6978"/>
              </a:cxn>
              <a:cxn ang="f4299">
                <a:pos x="f5786" y="f6976"/>
              </a:cxn>
              <a:cxn ang="f4299">
                <a:pos x="f5786" y="f6975"/>
              </a:cxn>
              <a:cxn ang="f4299">
                <a:pos x="f5787" y="f6974"/>
              </a:cxn>
              <a:cxn ang="f4299">
                <a:pos x="f5788" y="f6974"/>
              </a:cxn>
              <a:cxn ang="f4299">
                <a:pos x="f5789" y="f6979"/>
              </a:cxn>
              <a:cxn ang="f4299">
                <a:pos x="f5789" y="f6976"/>
              </a:cxn>
              <a:cxn ang="f4299">
                <a:pos x="f5788" y="f6978"/>
              </a:cxn>
              <a:cxn ang="f4299">
                <a:pos x="f5787" y="f6978"/>
              </a:cxn>
              <a:cxn ang="f4299">
                <a:pos x="f5790" y="f6976"/>
              </a:cxn>
              <a:cxn ang="f4299">
                <a:pos x="f5790" y="f6979"/>
              </a:cxn>
              <a:cxn ang="f4299">
                <a:pos x="f5791" y="f6974"/>
              </a:cxn>
              <a:cxn ang="f4299">
                <a:pos x="f5792" y="f6974"/>
              </a:cxn>
              <a:cxn ang="f4299">
                <a:pos x="f5793" y="f6979"/>
              </a:cxn>
              <a:cxn ang="f4299">
                <a:pos x="f5793" y="f6976"/>
              </a:cxn>
              <a:cxn ang="f4299">
                <a:pos x="f5792" y="f6978"/>
              </a:cxn>
              <a:cxn ang="f4299">
                <a:pos x="f5791" y="f6978"/>
              </a:cxn>
              <a:cxn ang="f4299">
                <a:pos x="f5794" y="f6976"/>
              </a:cxn>
              <a:cxn ang="f4299">
                <a:pos x="f5794" y="f6979"/>
              </a:cxn>
              <a:cxn ang="f4299">
                <a:pos x="f5775" y="f6980"/>
              </a:cxn>
              <a:cxn ang="f4299">
                <a:pos x="f5776" y="f6980"/>
              </a:cxn>
              <a:cxn ang="f4299">
                <a:pos x="f5777" y="f6975"/>
              </a:cxn>
              <a:cxn ang="f4299">
                <a:pos x="f5777" y="f6976"/>
              </a:cxn>
              <a:cxn ang="f4299">
                <a:pos x="f5776" y="f6977"/>
              </a:cxn>
              <a:cxn ang="f4299">
                <a:pos x="f5775" y="f6977"/>
              </a:cxn>
              <a:cxn ang="f4299">
                <a:pos x="f5778" y="f6976"/>
              </a:cxn>
              <a:cxn ang="f4299">
                <a:pos x="f5778" y="f6975"/>
              </a:cxn>
              <a:cxn ang="f4299">
                <a:pos x="f5767" y="f6981"/>
              </a:cxn>
              <a:cxn ang="f4299">
                <a:pos x="f5769" y="f6981"/>
              </a:cxn>
              <a:cxn ang="f4299">
                <a:pos x="f5770" y="f6982"/>
              </a:cxn>
              <a:cxn ang="f4299">
                <a:pos x="f5770" y="f6983"/>
              </a:cxn>
              <a:cxn ang="f4299">
                <a:pos x="f5769" y="f6984"/>
              </a:cxn>
              <a:cxn ang="f4299">
                <a:pos x="f5767" y="f6984"/>
              </a:cxn>
              <a:cxn ang="f4299">
                <a:pos x="f5774" y="f6983"/>
              </a:cxn>
              <a:cxn ang="f4299">
                <a:pos x="f5774" y="f6982"/>
              </a:cxn>
              <a:cxn ang="f4299">
                <a:pos x="f6985" y="f6986"/>
              </a:cxn>
              <a:cxn ang="f4299">
                <a:pos x="f6987" y="f6986"/>
              </a:cxn>
              <a:cxn ang="f4299">
                <a:pos x="f6988" y="f6989"/>
              </a:cxn>
              <a:cxn ang="f4299">
                <a:pos x="f6988" y="f6990"/>
              </a:cxn>
              <a:cxn ang="f4299">
                <a:pos x="f6987" y="f6991"/>
              </a:cxn>
              <a:cxn ang="f4299">
                <a:pos x="f6985" y="f6991"/>
              </a:cxn>
              <a:cxn ang="f4299">
                <a:pos x="f6992" y="f6990"/>
              </a:cxn>
              <a:cxn ang="f4299">
                <a:pos x="f6992" y="f6989"/>
              </a:cxn>
              <a:cxn ang="f4299">
                <a:pos x="f6993" y="f6986"/>
              </a:cxn>
              <a:cxn ang="f4299">
                <a:pos x="f6994" y="f6986"/>
              </a:cxn>
              <a:cxn ang="f4299">
                <a:pos x="f6951" y="f6989"/>
              </a:cxn>
              <a:cxn ang="f4299">
                <a:pos x="f6951" y="f6990"/>
              </a:cxn>
              <a:cxn ang="f4299">
                <a:pos x="f6994" y="f6991"/>
              </a:cxn>
              <a:cxn ang="f4299">
                <a:pos x="f6993" y="f6991"/>
              </a:cxn>
              <a:cxn ang="f4299">
                <a:pos x="f6995" y="f6990"/>
              </a:cxn>
              <a:cxn ang="f4299">
                <a:pos x="f6995" y="f6989"/>
              </a:cxn>
              <a:cxn ang="f4299">
                <a:pos x="f6996" y="f6986"/>
              </a:cxn>
              <a:cxn ang="f4299">
                <a:pos x="f6937" y="f6986"/>
              </a:cxn>
              <a:cxn ang="f4299">
                <a:pos x="f6938" y="f6989"/>
              </a:cxn>
              <a:cxn ang="f4299">
                <a:pos x="f6938" y="f6990"/>
              </a:cxn>
              <a:cxn ang="f4299">
                <a:pos x="f6937" y="f6991"/>
              </a:cxn>
              <a:cxn ang="f4299">
                <a:pos x="f6996" y="f6991"/>
              </a:cxn>
              <a:cxn ang="f4299">
                <a:pos x="f6997" y="f6990"/>
              </a:cxn>
              <a:cxn ang="f4299">
                <a:pos x="f6997" y="f6989"/>
              </a:cxn>
              <a:cxn ang="f4299">
                <a:pos x="f6998" y="f6986"/>
              </a:cxn>
              <a:cxn ang="f4299">
                <a:pos x="f6942" y="f6986"/>
              </a:cxn>
              <a:cxn ang="f4299">
                <a:pos x="f6999" y="f6989"/>
              </a:cxn>
              <a:cxn ang="f4299">
                <a:pos x="f6999" y="f6990"/>
              </a:cxn>
              <a:cxn ang="f4299">
                <a:pos x="f6942" y="f6991"/>
              </a:cxn>
              <a:cxn ang="f4299">
                <a:pos x="f6998" y="f6991"/>
              </a:cxn>
              <a:cxn ang="f4299">
                <a:pos x="f7000" y="f6990"/>
              </a:cxn>
              <a:cxn ang="f4299">
                <a:pos x="f7000" y="f6989"/>
              </a:cxn>
              <a:cxn ang="f4299">
                <a:pos x="f7001" y="f7002"/>
              </a:cxn>
              <a:cxn ang="f4299">
                <a:pos x="f7003" y="f7002"/>
              </a:cxn>
              <a:cxn ang="f4299">
                <a:pos x="f6913" y="f7004"/>
              </a:cxn>
              <a:cxn ang="f4299">
                <a:pos x="f6913" y="f7005"/>
              </a:cxn>
              <a:cxn ang="f4299">
                <a:pos x="f7003" y="f7006"/>
              </a:cxn>
              <a:cxn ang="f4299">
                <a:pos x="f7001" y="f7006"/>
              </a:cxn>
              <a:cxn ang="f4299">
                <a:pos x="f6915" y="f7005"/>
              </a:cxn>
              <a:cxn ang="f4299">
                <a:pos x="f6915" y="f7004"/>
              </a:cxn>
              <a:cxn ang="f4299">
                <a:pos x="f7007" y="f7002"/>
              </a:cxn>
              <a:cxn ang="f4299">
                <a:pos x="f7008" y="f7002"/>
              </a:cxn>
              <a:cxn ang="f4299">
                <a:pos x="f6916" y="f7004"/>
              </a:cxn>
              <a:cxn ang="f4299">
                <a:pos x="f6916" y="f7005"/>
              </a:cxn>
              <a:cxn ang="f4299">
                <a:pos x="f7008" y="f7006"/>
              </a:cxn>
              <a:cxn ang="f4299">
                <a:pos x="f7007" y="f7006"/>
              </a:cxn>
              <a:cxn ang="f4299">
                <a:pos x="f6917" y="f7005"/>
              </a:cxn>
              <a:cxn ang="f4299">
                <a:pos x="f6917" y="f7004"/>
              </a:cxn>
              <a:cxn ang="f4299">
                <a:pos x="f6918" y="f7002"/>
              </a:cxn>
              <a:cxn ang="f4299">
                <a:pos x="f7009" y="f7002"/>
              </a:cxn>
              <a:cxn ang="f4299">
                <a:pos x="f7010" y="f7011"/>
              </a:cxn>
              <a:cxn ang="f4299">
                <a:pos x="f7010" y="f7005"/>
              </a:cxn>
              <a:cxn ang="f4299">
                <a:pos x="f7009" y="f7006"/>
              </a:cxn>
              <a:cxn ang="f4299">
                <a:pos x="f6918" y="f7006"/>
              </a:cxn>
              <a:cxn ang="f4299">
                <a:pos x="f7012" y="f7005"/>
              </a:cxn>
              <a:cxn ang="f4299">
                <a:pos x="f7012" y="f7011"/>
              </a:cxn>
              <a:cxn ang="f4299">
                <a:pos x="f7013" y="f7002"/>
              </a:cxn>
              <a:cxn ang="f4299">
                <a:pos x="f7014" y="f7002"/>
              </a:cxn>
              <a:cxn ang="f4299">
                <a:pos x="f6906" y="f7011"/>
              </a:cxn>
              <a:cxn ang="f4299">
                <a:pos x="f6906" y="f7005"/>
              </a:cxn>
              <a:cxn ang="f4299">
                <a:pos x="f7014" y="f7006"/>
              </a:cxn>
              <a:cxn ang="f4299">
                <a:pos x="f7013" y="f7006"/>
              </a:cxn>
              <a:cxn ang="f4299">
                <a:pos x="f6910" y="f7005"/>
              </a:cxn>
              <a:cxn ang="f4299">
                <a:pos x="f6910" y="f7011"/>
              </a:cxn>
              <a:cxn ang="f4299">
                <a:pos x="f7015" y="f7016"/>
              </a:cxn>
              <a:cxn ang="f4299">
                <a:pos x="f7017" y="f7016"/>
              </a:cxn>
              <a:cxn ang="f4299">
                <a:pos x="f6853" y="f7018"/>
              </a:cxn>
              <a:cxn ang="f4299">
                <a:pos x="f6853" y="f7019"/>
              </a:cxn>
              <a:cxn ang="f4299">
                <a:pos x="f7017" y="f7020"/>
              </a:cxn>
              <a:cxn ang="f4299">
                <a:pos x="f7015" y="f7020"/>
              </a:cxn>
              <a:cxn ang="f4299">
                <a:pos x="f6805" y="f7019"/>
              </a:cxn>
              <a:cxn ang="f4299">
                <a:pos x="f6805" y="f7018"/>
              </a:cxn>
              <a:cxn ang="f4299">
                <a:pos x="f6710" y="f7021"/>
              </a:cxn>
              <a:cxn ang="f4299">
                <a:pos x="f7022" y="f7021"/>
              </a:cxn>
              <a:cxn ang="f4299">
                <a:pos x="f6928" y="f7023"/>
              </a:cxn>
              <a:cxn ang="f4299">
                <a:pos x="f6928" y="f7024"/>
              </a:cxn>
              <a:cxn ang="f4299">
                <a:pos x="f7022" y="f7025"/>
              </a:cxn>
              <a:cxn ang="f4299">
                <a:pos x="f6710" y="f7025"/>
              </a:cxn>
              <a:cxn ang="f4299">
                <a:pos x="f6859" y="f7024"/>
              </a:cxn>
              <a:cxn ang="f4299">
                <a:pos x="f6859" y="f7023"/>
              </a:cxn>
              <a:cxn ang="f4299">
                <a:pos x="f5887" y="f7026"/>
              </a:cxn>
              <a:cxn ang="f4299">
                <a:pos x="f5888" y="f7026"/>
              </a:cxn>
              <a:cxn ang="f4299">
                <a:pos x="f5889" y="f7027"/>
              </a:cxn>
              <a:cxn ang="f4299">
                <a:pos x="f5889" y="f7028"/>
              </a:cxn>
              <a:cxn ang="f4299">
                <a:pos x="f5888" y="f7029"/>
              </a:cxn>
              <a:cxn ang="f4299">
                <a:pos x="f5887" y="f7029"/>
              </a:cxn>
              <a:cxn ang="f4299">
                <a:pos x="f5890" y="f7028"/>
              </a:cxn>
              <a:cxn ang="f4299">
                <a:pos x="f5890" y="f7027"/>
              </a:cxn>
              <a:cxn ang="f4299">
                <a:pos x="f5891" y="f7026"/>
              </a:cxn>
              <a:cxn ang="f4299">
                <a:pos x="f5892" y="f7026"/>
              </a:cxn>
              <a:cxn ang="f4299">
                <a:pos x="f5893" y="f7027"/>
              </a:cxn>
              <a:cxn ang="f4299">
                <a:pos x="f5893" y="f7028"/>
              </a:cxn>
              <a:cxn ang="f4299">
                <a:pos x="f5892" y="f7029"/>
              </a:cxn>
              <a:cxn ang="f4299">
                <a:pos x="f5891" y="f7029"/>
              </a:cxn>
              <a:cxn ang="f4299">
                <a:pos x="f5894" y="f7028"/>
              </a:cxn>
              <a:cxn ang="f4299">
                <a:pos x="f5894" y="f7027"/>
              </a:cxn>
              <a:cxn ang="f4299">
                <a:pos x="f5875" y="f7026"/>
              </a:cxn>
              <a:cxn ang="f4299">
                <a:pos x="f5876" y="f7026"/>
              </a:cxn>
              <a:cxn ang="f4299">
                <a:pos x="f5877" y="f7027"/>
              </a:cxn>
              <a:cxn ang="f4299">
                <a:pos x="f5877" y="f7028"/>
              </a:cxn>
              <a:cxn ang="f4299">
                <a:pos x="f5876" y="f7029"/>
              </a:cxn>
              <a:cxn ang="f4299">
                <a:pos x="f5875" y="f7029"/>
              </a:cxn>
              <a:cxn ang="f4299">
                <a:pos x="f5878" y="f7028"/>
              </a:cxn>
              <a:cxn ang="f4299">
                <a:pos x="f5878" y="f7027"/>
              </a:cxn>
              <a:cxn ang="f4299">
                <a:pos x="f5879" y="f7026"/>
              </a:cxn>
              <a:cxn ang="f4299">
                <a:pos x="f5880" y="f7026"/>
              </a:cxn>
              <a:cxn ang="f4299">
                <a:pos x="f5881" y="f7027"/>
              </a:cxn>
              <a:cxn ang="f4299">
                <a:pos x="f5881" y="f7028"/>
              </a:cxn>
              <a:cxn ang="f4299">
                <a:pos x="f5880" y="f7029"/>
              </a:cxn>
              <a:cxn ang="f4299">
                <a:pos x="f5879" y="f7029"/>
              </a:cxn>
              <a:cxn ang="f4299">
                <a:pos x="f5882" y="f7028"/>
              </a:cxn>
              <a:cxn ang="f4299">
                <a:pos x="f5882" y="f7027"/>
              </a:cxn>
              <a:cxn ang="f4299">
                <a:pos x="f5883" y="f7026"/>
              </a:cxn>
              <a:cxn ang="f4299">
                <a:pos x="f5884" y="f7026"/>
              </a:cxn>
              <a:cxn ang="f4299">
                <a:pos x="f5885" y="f7027"/>
              </a:cxn>
              <a:cxn ang="f4299">
                <a:pos x="f5885" y="f7028"/>
              </a:cxn>
              <a:cxn ang="f4299">
                <a:pos x="f5884" y="f7029"/>
              </a:cxn>
              <a:cxn ang="f4299">
                <a:pos x="f5883" y="f7029"/>
              </a:cxn>
              <a:cxn ang="f4299">
                <a:pos x="f5886" y="f7028"/>
              </a:cxn>
              <a:cxn ang="f4299">
                <a:pos x="f5886" y="f7027"/>
              </a:cxn>
              <a:cxn ang="f4299">
                <a:pos x="f5867" y="f7030"/>
              </a:cxn>
              <a:cxn ang="f4299">
                <a:pos x="f5868" y="f7030"/>
              </a:cxn>
              <a:cxn ang="f4299">
                <a:pos x="f5869" y="f7031"/>
              </a:cxn>
              <a:cxn ang="f4299">
                <a:pos x="f5869" y="f7032"/>
              </a:cxn>
              <a:cxn ang="f4299">
                <a:pos x="f5868" y="f7033"/>
              </a:cxn>
              <a:cxn ang="f4299">
                <a:pos x="f5867" y="f7033"/>
              </a:cxn>
              <a:cxn ang="f4299">
                <a:pos x="f5870" y="f7032"/>
              </a:cxn>
              <a:cxn ang="f4299">
                <a:pos x="f5870" y="f7031"/>
              </a:cxn>
              <a:cxn ang="f4299">
                <a:pos x="f5871" y="f7030"/>
              </a:cxn>
              <a:cxn ang="f4299">
                <a:pos x="f5872" y="f7030"/>
              </a:cxn>
              <a:cxn ang="f4299">
                <a:pos x="f5873" y="f7031"/>
              </a:cxn>
              <a:cxn ang="f4299">
                <a:pos x="f5873" y="f7032"/>
              </a:cxn>
              <a:cxn ang="f4299">
                <a:pos x="f5872" y="f7033"/>
              </a:cxn>
              <a:cxn ang="f4299">
                <a:pos x="f5871" y="f7033"/>
              </a:cxn>
              <a:cxn ang="f4299">
                <a:pos x="f5874" y="f7032"/>
              </a:cxn>
              <a:cxn ang="f4299">
                <a:pos x="f5874" y="f7031"/>
              </a:cxn>
              <a:cxn ang="f4299">
                <a:pos x="f5855" y="f7034"/>
              </a:cxn>
              <a:cxn ang="f4299">
                <a:pos x="f5856" y="f7034"/>
              </a:cxn>
              <a:cxn ang="f4299">
                <a:pos x="f5857" y="f7031"/>
              </a:cxn>
              <a:cxn ang="f4299">
                <a:pos x="f5857" y="f7032"/>
              </a:cxn>
              <a:cxn ang="f4299">
                <a:pos x="f5856" y="f7033"/>
              </a:cxn>
              <a:cxn ang="f4299">
                <a:pos x="f5855" y="f7033"/>
              </a:cxn>
              <a:cxn ang="f4299">
                <a:pos x="f5858" y="f7032"/>
              </a:cxn>
              <a:cxn ang="f4299">
                <a:pos x="f5858" y="f7031"/>
              </a:cxn>
              <a:cxn ang="f4299">
                <a:pos x="f5859" y="f7034"/>
              </a:cxn>
              <a:cxn ang="f4299">
                <a:pos x="f5860" y="f7034"/>
              </a:cxn>
              <a:cxn ang="f4299">
                <a:pos x="f5861" y="f7031"/>
              </a:cxn>
              <a:cxn ang="f4299">
                <a:pos x="f5861" y="f7032"/>
              </a:cxn>
              <a:cxn ang="f4299">
                <a:pos x="f5860" y="f7033"/>
              </a:cxn>
              <a:cxn ang="f4299">
                <a:pos x="f5859" y="f7033"/>
              </a:cxn>
              <a:cxn ang="f4299">
                <a:pos x="f5862" y="f7032"/>
              </a:cxn>
              <a:cxn ang="f4299">
                <a:pos x="f5862" y="f7031"/>
              </a:cxn>
              <a:cxn ang="f4299">
                <a:pos x="f5863" y="f7034"/>
              </a:cxn>
              <a:cxn ang="f4299">
                <a:pos x="f5864" y="f7034"/>
              </a:cxn>
              <a:cxn ang="f4299">
                <a:pos x="f5865" y="f7031"/>
              </a:cxn>
              <a:cxn ang="f4299">
                <a:pos x="f5865" y="f7032"/>
              </a:cxn>
              <a:cxn ang="f4299">
                <a:pos x="f5864" y="f7033"/>
              </a:cxn>
              <a:cxn ang="f4299">
                <a:pos x="f5863" y="f7033"/>
              </a:cxn>
              <a:cxn ang="f4299">
                <a:pos x="f5866" y="f7032"/>
              </a:cxn>
              <a:cxn ang="f4299">
                <a:pos x="f5866" y="f7031"/>
              </a:cxn>
              <a:cxn ang="f4299">
                <a:pos x="f5847" y="f7035"/>
              </a:cxn>
              <a:cxn ang="f4299">
                <a:pos x="f5848" y="f7035"/>
              </a:cxn>
              <a:cxn ang="f4299">
                <a:pos x="f5849" y="f7036"/>
              </a:cxn>
              <a:cxn ang="f4299">
                <a:pos x="f5849" y="f7037"/>
              </a:cxn>
              <a:cxn ang="f4299">
                <a:pos x="f5848" y="f7038"/>
              </a:cxn>
              <a:cxn ang="f4299">
                <a:pos x="f5847" y="f7038"/>
              </a:cxn>
              <a:cxn ang="f4299">
                <a:pos x="f5850" y="f7037"/>
              </a:cxn>
              <a:cxn ang="f4299">
                <a:pos x="f5850" y="f7036"/>
              </a:cxn>
              <a:cxn ang="f4299">
                <a:pos x="f5851" y="f7035"/>
              </a:cxn>
              <a:cxn ang="f4299">
                <a:pos x="f5852" y="f7035"/>
              </a:cxn>
              <a:cxn ang="f4299">
                <a:pos x="f5853" y="f7036"/>
              </a:cxn>
              <a:cxn ang="f4299">
                <a:pos x="f5853" y="f7037"/>
              </a:cxn>
              <a:cxn ang="f4299">
                <a:pos x="f5852" y="f7038"/>
              </a:cxn>
              <a:cxn ang="f4299">
                <a:pos x="f5851" y="f7038"/>
              </a:cxn>
              <a:cxn ang="f4299">
                <a:pos x="f5854" y="f7037"/>
              </a:cxn>
              <a:cxn ang="f4299">
                <a:pos x="f5854" y="f7036"/>
              </a:cxn>
              <a:cxn ang="f4299">
                <a:pos x="f5835" y="f7035"/>
              </a:cxn>
              <a:cxn ang="f4299">
                <a:pos x="f5836" y="f7035"/>
              </a:cxn>
              <a:cxn ang="f4299">
                <a:pos x="f5837" y="f7036"/>
              </a:cxn>
              <a:cxn ang="f4299">
                <a:pos x="f5837" y="f7037"/>
              </a:cxn>
              <a:cxn ang="f4299">
                <a:pos x="f5836" y="f7038"/>
              </a:cxn>
              <a:cxn ang="f4299">
                <a:pos x="f5835" y="f7038"/>
              </a:cxn>
              <a:cxn ang="f4299">
                <a:pos x="f5838" y="f7037"/>
              </a:cxn>
              <a:cxn ang="f4299">
                <a:pos x="f5838" y="f7036"/>
              </a:cxn>
              <a:cxn ang="f4299">
                <a:pos x="f5839" y="f7035"/>
              </a:cxn>
              <a:cxn ang="f4299">
                <a:pos x="f5840" y="f7035"/>
              </a:cxn>
              <a:cxn ang="f4299">
                <a:pos x="f5841" y="f7036"/>
              </a:cxn>
              <a:cxn ang="f4299">
                <a:pos x="f5841" y="f7037"/>
              </a:cxn>
              <a:cxn ang="f4299">
                <a:pos x="f5840" y="f7038"/>
              </a:cxn>
              <a:cxn ang="f4299">
                <a:pos x="f5839" y="f7038"/>
              </a:cxn>
              <a:cxn ang="f4299">
                <a:pos x="f5842" y="f7037"/>
              </a:cxn>
              <a:cxn ang="f4299">
                <a:pos x="f5842" y="f7036"/>
              </a:cxn>
              <a:cxn ang="f4299">
                <a:pos x="f5843" y="f7035"/>
              </a:cxn>
              <a:cxn ang="f4299">
                <a:pos x="f5844" y="f7035"/>
              </a:cxn>
              <a:cxn ang="f4299">
                <a:pos x="f5845" y="f7036"/>
              </a:cxn>
              <a:cxn ang="f4299">
                <a:pos x="f5845" y="f7037"/>
              </a:cxn>
              <a:cxn ang="f4299">
                <a:pos x="f5844" y="f7038"/>
              </a:cxn>
              <a:cxn ang="f4299">
                <a:pos x="f5843" y="f7038"/>
              </a:cxn>
              <a:cxn ang="f4299">
                <a:pos x="f5846" y="f7037"/>
              </a:cxn>
              <a:cxn ang="f4299">
                <a:pos x="f5846" y="f7036"/>
              </a:cxn>
              <a:cxn ang="f4299">
                <a:pos x="f5827" y="f7039"/>
              </a:cxn>
              <a:cxn ang="f4299">
                <a:pos x="f5828" y="f7039"/>
              </a:cxn>
              <a:cxn ang="f4299">
                <a:pos x="f5829" y="f7040"/>
              </a:cxn>
              <a:cxn ang="f4299">
                <a:pos x="f5829" y="f7041"/>
              </a:cxn>
              <a:cxn ang="f4299">
                <a:pos x="f5828" y="f7042"/>
              </a:cxn>
              <a:cxn ang="f4299">
                <a:pos x="f5827" y="f7042"/>
              </a:cxn>
              <a:cxn ang="f4299">
                <a:pos x="f5830" y="f7041"/>
              </a:cxn>
              <a:cxn ang="f4299">
                <a:pos x="f5830" y="f7040"/>
              </a:cxn>
              <a:cxn ang="f4299">
                <a:pos x="f5831" y="f7039"/>
              </a:cxn>
              <a:cxn ang="f4299">
                <a:pos x="f5832" y="f7039"/>
              </a:cxn>
              <a:cxn ang="f4299">
                <a:pos x="f5833" y="f7043"/>
              </a:cxn>
              <a:cxn ang="f4299">
                <a:pos x="f5833" y="f7041"/>
              </a:cxn>
              <a:cxn ang="f4299">
                <a:pos x="f5832" y="f7042"/>
              </a:cxn>
              <a:cxn ang="f4299">
                <a:pos x="f5831" y="f7042"/>
              </a:cxn>
              <a:cxn ang="f4299">
                <a:pos x="f5834" y="f7041"/>
              </a:cxn>
              <a:cxn ang="f4299">
                <a:pos x="f5834" y="f7043"/>
              </a:cxn>
              <a:cxn ang="f4299">
                <a:pos x="f5815" y="f7044"/>
              </a:cxn>
              <a:cxn ang="f4299">
                <a:pos x="f5816" y="f7044"/>
              </a:cxn>
              <a:cxn ang="f4299">
                <a:pos x="f5817" y="f7040"/>
              </a:cxn>
              <a:cxn ang="f4299">
                <a:pos x="f5817" y="f7041"/>
              </a:cxn>
              <a:cxn ang="f4299">
                <a:pos x="f5816" y="f7042"/>
              </a:cxn>
              <a:cxn ang="f4299">
                <a:pos x="f5815" y="f7042"/>
              </a:cxn>
              <a:cxn ang="f4299">
                <a:pos x="f5818" y="f7041"/>
              </a:cxn>
              <a:cxn ang="f4299">
                <a:pos x="f5818" y="f7040"/>
              </a:cxn>
              <a:cxn ang="f4299">
                <a:pos x="f5819" y="f7044"/>
              </a:cxn>
              <a:cxn ang="f4299">
                <a:pos x="f5820" y="f7044"/>
              </a:cxn>
              <a:cxn ang="f4299">
                <a:pos x="f5821" y="f7040"/>
              </a:cxn>
              <a:cxn ang="f4299">
                <a:pos x="f5821" y="f7041"/>
              </a:cxn>
              <a:cxn ang="f4299">
                <a:pos x="f5820" y="f7042"/>
              </a:cxn>
              <a:cxn ang="f4299">
                <a:pos x="f5819" y="f7042"/>
              </a:cxn>
              <a:cxn ang="f4299">
                <a:pos x="f5822" y="f7041"/>
              </a:cxn>
              <a:cxn ang="f4299">
                <a:pos x="f5822" y="f7040"/>
              </a:cxn>
              <a:cxn ang="f4299">
                <a:pos x="f5823" y="f7044"/>
              </a:cxn>
              <a:cxn ang="f4299">
                <a:pos x="f5824" y="f7044"/>
              </a:cxn>
              <a:cxn ang="f4299">
                <a:pos x="f5825" y="f7040"/>
              </a:cxn>
              <a:cxn ang="f4299">
                <a:pos x="f5825" y="f7041"/>
              </a:cxn>
              <a:cxn ang="f4299">
                <a:pos x="f5824" y="f7042"/>
              </a:cxn>
              <a:cxn ang="f4299">
                <a:pos x="f5823" y="f7042"/>
              </a:cxn>
              <a:cxn ang="f4299">
                <a:pos x="f5826" y="f7041"/>
              </a:cxn>
              <a:cxn ang="f4299">
                <a:pos x="f5826" y="f7040"/>
              </a:cxn>
              <a:cxn ang="f4299">
                <a:pos x="f5807" y="f7045"/>
              </a:cxn>
              <a:cxn ang="f4299">
                <a:pos x="f5808" y="f7045"/>
              </a:cxn>
              <a:cxn ang="f4299">
                <a:pos x="f5809" y="f7046"/>
              </a:cxn>
              <a:cxn ang="f4299">
                <a:pos x="f5809" y="f7047"/>
              </a:cxn>
              <a:cxn ang="f4299">
                <a:pos x="f5808" y="f7048"/>
              </a:cxn>
              <a:cxn ang="f4299">
                <a:pos x="f5807" y="f7048"/>
              </a:cxn>
              <a:cxn ang="f4299">
                <a:pos x="f5810" y="f7047"/>
              </a:cxn>
              <a:cxn ang="f4299">
                <a:pos x="f5810" y="f7046"/>
              </a:cxn>
              <a:cxn ang="f4299">
                <a:pos x="f5811" y="f7045"/>
              </a:cxn>
              <a:cxn ang="f4299">
                <a:pos x="f5812" y="f7045"/>
              </a:cxn>
              <a:cxn ang="f4299">
                <a:pos x="f5813" y="f7049"/>
              </a:cxn>
              <a:cxn ang="f4299">
                <a:pos x="f5813" y="f7050"/>
              </a:cxn>
              <a:cxn ang="f4299">
                <a:pos x="f5812" y="f7048"/>
              </a:cxn>
              <a:cxn ang="f4299">
                <a:pos x="f5811" y="f7048"/>
              </a:cxn>
              <a:cxn ang="f4299">
                <a:pos x="f5814" y="f7050"/>
              </a:cxn>
              <a:cxn ang="f4299">
                <a:pos x="f5814" y="f7049"/>
              </a:cxn>
              <a:cxn ang="f4299">
                <a:pos x="f5795" y="f7045"/>
              </a:cxn>
              <a:cxn ang="f4299">
                <a:pos x="f5796" y="f7045"/>
              </a:cxn>
              <a:cxn ang="f4299">
                <a:pos x="f5797" y="f7046"/>
              </a:cxn>
              <a:cxn ang="f4299">
                <a:pos x="f5797" y="f7047"/>
              </a:cxn>
              <a:cxn ang="f4299">
                <a:pos x="f5796" y="f7048"/>
              </a:cxn>
              <a:cxn ang="f4299">
                <a:pos x="f5795" y="f7048"/>
              </a:cxn>
              <a:cxn ang="f4299">
                <a:pos x="f5798" y="f7047"/>
              </a:cxn>
              <a:cxn ang="f4299">
                <a:pos x="f5798" y="f7046"/>
              </a:cxn>
              <a:cxn ang="f4299">
                <a:pos x="f5799" y="f7045"/>
              </a:cxn>
              <a:cxn ang="f4299">
                <a:pos x="f5800" y="f7045"/>
              </a:cxn>
              <a:cxn ang="f4299">
                <a:pos x="f5801" y="f7046"/>
              </a:cxn>
              <a:cxn ang="f4299">
                <a:pos x="f5801" y="f7047"/>
              </a:cxn>
              <a:cxn ang="f4299">
                <a:pos x="f5800" y="f7048"/>
              </a:cxn>
              <a:cxn ang="f4299">
                <a:pos x="f5799" y="f7048"/>
              </a:cxn>
              <a:cxn ang="f4299">
                <a:pos x="f5802" y="f7047"/>
              </a:cxn>
              <a:cxn ang="f4299">
                <a:pos x="f5802" y="f7046"/>
              </a:cxn>
              <a:cxn ang="f4299">
                <a:pos x="f5803" y="f7045"/>
              </a:cxn>
              <a:cxn ang="f4299">
                <a:pos x="f5804" y="f7045"/>
              </a:cxn>
              <a:cxn ang="f4299">
                <a:pos x="f5805" y="f7046"/>
              </a:cxn>
              <a:cxn ang="f4299">
                <a:pos x="f5805" y="f7047"/>
              </a:cxn>
              <a:cxn ang="f4299">
                <a:pos x="f5804" y="f7048"/>
              </a:cxn>
              <a:cxn ang="f4299">
                <a:pos x="f5803" y="f7048"/>
              </a:cxn>
              <a:cxn ang="f4299">
                <a:pos x="f5806" y="f7047"/>
              </a:cxn>
              <a:cxn ang="f4299">
                <a:pos x="f5806" y="f7046"/>
              </a:cxn>
              <a:cxn ang="f4299">
                <a:pos x="f7001" y="f7051"/>
              </a:cxn>
              <a:cxn ang="f4299">
                <a:pos x="f7052" y="f7051"/>
              </a:cxn>
              <a:cxn ang="f4299">
                <a:pos x="f7053" y="f7054"/>
              </a:cxn>
              <a:cxn ang="f4299">
                <a:pos x="f7053" y="f7055"/>
              </a:cxn>
              <a:cxn ang="f4299">
                <a:pos x="f7052" y="f7056"/>
              </a:cxn>
              <a:cxn ang="f4299">
                <a:pos x="f7001" y="f7056"/>
              </a:cxn>
              <a:cxn ang="f4299">
                <a:pos x="f7057" y="f7055"/>
              </a:cxn>
              <a:cxn ang="f4299">
                <a:pos x="f7057" y="f7054"/>
              </a:cxn>
              <a:cxn ang="f4299">
                <a:pos x="f7007" y="f7051"/>
              </a:cxn>
              <a:cxn ang="f4299">
                <a:pos x="f7058" y="f7051"/>
              </a:cxn>
              <a:cxn ang="f4299">
                <a:pos x="f7059" y="f7054"/>
              </a:cxn>
              <a:cxn ang="f4299">
                <a:pos x="f7059" y="f7055"/>
              </a:cxn>
              <a:cxn ang="f4299">
                <a:pos x="f7058" y="f7056"/>
              </a:cxn>
              <a:cxn ang="f4299">
                <a:pos x="f7007" y="f7056"/>
              </a:cxn>
              <a:cxn ang="f4299">
                <a:pos x="f7060" y="f7055"/>
              </a:cxn>
              <a:cxn ang="f4299">
                <a:pos x="f7060" y="f7054"/>
              </a:cxn>
              <a:cxn ang="f4299">
                <a:pos x="f7061" y="f7051"/>
              </a:cxn>
              <a:cxn ang="f4299">
                <a:pos x="f7009" y="f7051"/>
              </a:cxn>
              <a:cxn ang="f4299">
                <a:pos x="f7010" y="f7054"/>
              </a:cxn>
              <a:cxn ang="f4299">
                <a:pos x="f7010" y="f7055"/>
              </a:cxn>
              <a:cxn ang="f4299">
                <a:pos x="f7009" y="f7056"/>
              </a:cxn>
              <a:cxn ang="f4299">
                <a:pos x="f7061" y="f7056"/>
              </a:cxn>
              <a:cxn ang="f4299">
                <a:pos x="f7012" y="f7055"/>
              </a:cxn>
              <a:cxn ang="f4299">
                <a:pos x="f7012" y="f7054"/>
              </a:cxn>
              <a:cxn ang="f4299">
                <a:pos x="f7013" y="f7051"/>
              </a:cxn>
              <a:cxn ang="f4299">
                <a:pos x="f7062" y="f7051"/>
              </a:cxn>
              <a:cxn ang="f4299">
                <a:pos x="f7063" y="f7054"/>
              </a:cxn>
              <a:cxn ang="f4299">
                <a:pos x="f7063" y="f7055"/>
              </a:cxn>
              <a:cxn ang="f4299">
                <a:pos x="f7062" y="f7056"/>
              </a:cxn>
              <a:cxn ang="f4299">
                <a:pos x="f7013" y="f7056"/>
              </a:cxn>
              <a:cxn ang="f4299">
                <a:pos x="f7064" y="f7055"/>
              </a:cxn>
              <a:cxn ang="f4299">
                <a:pos x="f7064" y="f7054"/>
              </a:cxn>
              <a:cxn ang="f4299">
                <a:pos x="f5787" y="f7065"/>
              </a:cxn>
              <a:cxn ang="f4299">
                <a:pos x="f5788" y="f7065"/>
              </a:cxn>
              <a:cxn ang="f4299">
                <a:pos x="f5789" y="f7066"/>
              </a:cxn>
              <a:cxn ang="f4299">
                <a:pos x="f5789" y="f7067"/>
              </a:cxn>
              <a:cxn ang="f4299">
                <a:pos x="f5788" y="f7068"/>
              </a:cxn>
              <a:cxn ang="f4299">
                <a:pos x="f5787" y="f7068"/>
              </a:cxn>
              <a:cxn ang="f4299">
                <a:pos x="f5790" y="f7067"/>
              </a:cxn>
              <a:cxn ang="f4299">
                <a:pos x="f5790" y="f7066"/>
              </a:cxn>
              <a:cxn ang="f4299">
                <a:pos x="f5791" y="f7065"/>
              </a:cxn>
              <a:cxn ang="f4299">
                <a:pos x="f5792" y="f7065"/>
              </a:cxn>
              <a:cxn ang="f4299">
                <a:pos x="f5793" y="f7066"/>
              </a:cxn>
              <a:cxn ang="f4299">
                <a:pos x="f5793" y="f7069"/>
              </a:cxn>
              <a:cxn ang="f4299">
                <a:pos x="f5792" y="f7070"/>
              </a:cxn>
              <a:cxn ang="f4299">
                <a:pos x="f5791" y="f7070"/>
              </a:cxn>
              <a:cxn ang="f4299">
                <a:pos x="f5794" y="f7069"/>
              </a:cxn>
              <a:cxn ang="f4299">
                <a:pos x="f5794" y="f7066"/>
              </a:cxn>
              <a:cxn ang="f4299">
                <a:pos x="f5775" y="f7071"/>
              </a:cxn>
              <a:cxn ang="f4299">
                <a:pos x="f5776" y="f7071"/>
              </a:cxn>
              <a:cxn ang="f4299">
                <a:pos x="f5777" y="f7072"/>
              </a:cxn>
              <a:cxn ang="f4299">
                <a:pos x="f5777" y="f7067"/>
              </a:cxn>
              <a:cxn ang="f4299">
                <a:pos x="f5776" y="f7068"/>
              </a:cxn>
              <a:cxn ang="f4299">
                <a:pos x="f5775" y="f7068"/>
              </a:cxn>
              <a:cxn ang="f4299">
                <a:pos x="f5778" y="f7067"/>
              </a:cxn>
              <a:cxn ang="f4299">
                <a:pos x="f5778" y="f7072"/>
              </a:cxn>
              <a:cxn ang="f4299">
                <a:pos x="f5779" y="f7071"/>
              </a:cxn>
              <a:cxn ang="f4299">
                <a:pos x="f5780" y="f7071"/>
              </a:cxn>
              <a:cxn ang="f4299">
                <a:pos x="f5781" y="f7072"/>
              </a:cxn>
              <a:cxn ang="f4299">
                <a:pos x="f5781" y="f7067"/>
              </a:cxn>
              <a:cxn ang="f4299">
                <a:pos x="f5780" y="f7068"/>
              </a:cxn>
              <a:cxn ang="f4299">
                <a:pos x="f5779" y="f7068"/>
              </a:cxn>
              <a:cxn ang="f4299">
                <a:pos x="f5782" y="f7067"/>
              </a:cxn>
              <a:cxn ang="f4299">
                <a:pos x="f5782" y="f7072"/>
              </a:cxn>
              <a:cxn ang="f4299">
                <a:pos x="f5783" y="f7071"/>
              </a:cxn>
              <a:cxn ang="f4299">
                <a:pos x="f5784" y="f7071"/>
              </a:cxn>
              <a:cxn ang="f4299">
                <a:pos x="f5785" y="f7072"/>
              </a:cxn>
              <a:cxn ang="f4299">
                <a:pos x="f5785" y="f7067"/>
              </a:cxn>
              <a:cxn ang="f4299">
                <a:pos x="f5784" y="f7068"/>
              </a:cxn>
              <a:cxn ang="f4299">
                <a:pos x="f5783" y="f7068"/>
              </a:cxn>
              <a:cxn ang="f4299">
                <a:pos x="f5786" y="f7067"/>
              </a:cxn>
              <a:cxn ang="f4299">
                <a:pos x="f5786" y="f7072"/>
              </a:cxn>
              <a:cxn ang="f4299">
                <a:pos x="f7015" y="f7073"/>
              </a:cxn>
              <a:cxn ang="f4299">
                <a:pos x="f7017" y="f7073"/>
              </a:cxn>
              <a:cxn ang="f4299">
                <a:pos x="f6853" y="f7074"/>
              </a:cxn>
              <a:cxn ang="f4299">
                <a:pos x="f6853" y="f7075"/>
              </a:cxn>
              <a:cxn ang="f4299">
                <a:pos x="f7017" y="f7076"/>
              </a:cxn>
              <a:cxn ang="f4299">
                <a:pos x="f7015" y="f7076"/>
              </a:cxn>
              <a:cxn ang="f4299">
                <a:pos x="f6805" y="f7075"/>
              </a:cxn>
              <a:cxn ang="f4299">
                <a:pos x="f6805" y="f7074"/>
              </a:cxn>
              <a:cxn ang="f4299">
                <a:pos x="f7077" y="f7078"/>
              </a:cxn>
              <a:cxn ang="f4299">
                <a:pos x="f7022" y="f7078"/>
              </a:cxn>
              <a:cxn ang="f4299">
                <a:pos x="f6928" y="f7079"/>
              </a:cxn>
              <a:cxn ang="f4299">
                <a:pos x="f6928" y="f7080"/>
              </a:cxn>
              <a:cxn ang="f4299">
                <a:pos x="f7022" y="f7081"/>
              </a:cxn>
              <a:cxn ang="f4299">
                <a:pos x="f7077" y="f7081"/>
              </a:cxn>
              <a:cxn ang="f4299">
                <a:pos x="f6859" y="f7080"/>
              </a:cxn>
              <a:cxn ang="f4299">
                <a:pos x="f6859" y="f7079"/>
              </a:cxn>
              <a:cxn ang="f4299">
                <a:pos x="f5767" y="f7082"/>
              </a:cxn>
              <a:cxn ang="f4299">
                <a:pos x="f5769" y="f7082"/>
              </a:cxn>
              <a:cxn ang="f4299">
                <a:pos x="f5770" y="f7083"/>
              </a:cxn>
              <a:cxn ang="f4299">
                <a:pos x="f5770" y="f7084"/>
              </a:cxn>
              <a:cxn ang="f4299">
                <a:pos x="f5769" y="f7085"/>
              </a:cxn>
              <a:cxn ang="f4299">
                <a:pos x="f5767" y="f7085"/>
              </a:cxn>
              <a:cxn ang="f4299">
                <a:pos x="f5774" y="f7084"/>
              </a:cxn>
              <a:cxn ang="f4299">
                <a:pos x="f5774" y="f7083"/>
              </a:cxn>
              <a:cxn ang="f4299">
                <a:pos x="f6985" y="f7086"/>
              </a:cxn>
              <a:cxn ang="f4299">
                <a:pos x="f7087" y="f7086"/>
              </a:cxn>
              <a:cxn ang="f4299">
                <a:pos x="f7088" y="f7089"/>
              </a:cxn>
              <a:cxn ang="f4299">
                <a:pos x="f7088" y="f7090"/>
              </a:cxn>
              <a:cxn ang="f4299">
                <a:pos x="f7087" y="f7091"/>
              </a:cxn>
              <a:cxn ang="f4299">
                <a:pos x="f6985" y="f7091"/>
              </a:cxn>
              <a:cxn ang="f4299">
                <a:pos x="f7092" y="f7090"/>
              </a:cxn>
              <a:cxn ang="f4299">
                <a:pos x="f7092" y="f7089"/>
              </a:cxn>
              <a:cxn ang="f4299">
                <a:pos x="f6993" y="f7086"/>
              </a:cxn>
              <a:cxn ang="f4299">
                <a:pos x="f7093" y="f7086"/>
              </a:cxn>
              <a:cxn ang="f4299">
                <a:pos x="f7094" y="f7089"/>
              </a:cxn>
              <a:cxn ang="f4299">
                <a:pos x="f7094" y="f7090"/>
              </a:cxn>
              <a:cxn ang="f4299">
                <a:pos x="f7093" y="f7091"/>
              </a:cxn>
              <a:cxn ang="f4299">
                <a:pos x="f6993" y="f7091"/>
              </a:cxn>
              <a:cxn ang="f4299">
                <a:pos x="f6995" y="f7090"/>
              </a:cxn>
              <a:cxn ang="f4299">
                <a:pos x="f6995" y="f7089"/>
              </a:cxn>
              <a:cxn ang="f4299">
                <a:pos x="f6996" y="f7086"/>
              </a:cxn>
              <a:cxn ang="f4299">
                <a:pos x="f7095" y="f7086"/>
              </a:cxn>
              <a:cxn ang="f4299">
                <a:pos x="f7096" y="f7089"/>
              </a:cxn>
              <a:cxn ang="f4299">
                <a:pos x="f7096" y="f7090"/>
              </a:cxn>
              <a:cxn ang="f4299">
                <a:pos x="f7095" y="f7091"/>
              </a:cxn>
              <a:cxn ang="f4299">
                <a:pos x="f6996" y="f7091"/>
              </a:cxn>
              <a:cxn ang="f4299">
                <a:pos x="f7097" y="f7090"/>
              </a:cxn>
              <a:cxn ang="f4299">
                <a:pos x="f7097" y="f7089"/>
              </a:cxn>
              <a:cxn ang="f4299">
                <a:pos x="f6998" y="f7086"/>
              </a:cxn>
              <a:cxn ang="f4299">
                <a:pos x="f7098" y="f7086"/>
              </a:cxn>
              <a:cxn ang="f4299">
                <a:pos x="f7099" y="f7089"/>
              </a:cxn>
              <a:cxn ang="f4299">
                <a:pos x="f7099" y="f7090"/>
              </a:cxn>
              <a:cxn ang="f4299">
                <a:pos x="f7098" y="f7091"/>
              </a:cxn>
              <a:cxn ang="f4299">
                <a:pos x="f6998" y="f7091"/>
              </a:cxn>
              <a:cxn ang="f4299">
                <a:pos x="f7000" y="f7090"/>
              </a:cxn>
              <a:cxn ang="f4299">
                <a:pos x="f7000" y="f7089"/>
              </a:cxn>
              <a:cxn ang="f4299">
                <a:pos x="f5879" y="f7100"/>
              </a:cxn>
              <a:cxn ang="f4299">
                <a:pos x="f5880" y="f7100"/>
              </a:cxn>
              <a:cxn ang="f4299">
                <a:pos x="f5881" y="f7101"/>
              </a:cxn>
              <a:cxn ang="f4299">
                <a:pos x="f5881" y="f7102"/>
              </a:cxn>
              <a:cxn ang="f4299">
                <a:pos x="f5880" y="f7103"/>
              </a:cxn>
              <a:cxn ang="f4299">
                <a:pos x="f5879" y="f7103"/>
              </a:cxn>
              <a:cxn ang="f4299">
                <a:pos x="f5882" y="f7102"/>
              </a:cxn>
              <a:cxn ang="f4299">
                <a:pos x="f5882" y="f7101"/>
              </a:cxn>
              <a:cxn ang="f4299">
                <a:pos x="f5883" y="f7100"/>
              </a:cxn>
              <a:cxn ang="f4299">
                <a:pos x="f5884" y="f7100"/>
              </a:cxn>
              <a:cxn ang="f4299">
                <a:pos x="f5885" y="f7104"/>
              </a:cxn>
              <a:cxn ang="f4299">
                <a:pos x="f5885" y="f7102"/>
              </a:cxn>
              <a:cxn ang="f4299">
                <a:pos x="f5884" y="f7103"/>
              </a:cxn>
              <a:cxn ang="f4299">
                <a:pos x="f5883" y="f7103"/>
              </a:cxn>
              <a:cxn ang="f4299">
                <a:pos x="f5886" y="f7102"/>
              </a:cxn>
              <a:cxn ang="f4299">
                <a:pos x="f5886" y="f7104"/>
              </a:cxn>
              <a:cxn ang="f4299">
                <a:pos x="f5887" y="f7100"/>
              </a:cxn>
              <a:cxn ang="f4299">
                <a:pos x="f5888" y="f7100"/>
              </a:cxn>
              <a:cxn ang="f4299">
                <a:pos x="f5889" y="f7104"/>
              </a:cxn>
              <a:cxn ang="f4299">
                <a:pos x="f5889" y="f7105"/>
              </a:cxn>
              <a:cxn ang="f4299">
                <a:pos x="f5888" y="f7106"/>
              </a:cxn>
              <a:cxn ang="f4299">
                <a:pos x="f5887" y="f7106"/>
              </a:cxn>
              <a:cxn ang="f4299">
                <a:pos x="f5890" y="f7105"/>
              </a:cxn>
              <a:cxn ang="f4299">
                <a:pos x="f5890" y="f7104"/>
              </a:cxn>
              <a:cxn ang="f4299">
                <a:pos x="f5891" y="f7100"/>
              </a:cxn>
              <a:cxn ang="f4299">
                <a:pos x="f5892" y="f7100"/>
              </a:cxn>
              <a:cxn ang="f4299">
                <a:pos x="f5893" y="f7104"/>
              </a:cxn>
              <a:cxn ang="f4299">
                <a:pos x="f5893" y="f7105"/>
              </a:cxn>
              <a:cxn ang="f4299">
                <a:pos x="f5892" y="f7106"/>
              </a:cxn>
              <a:cxn ang="f4299">
                <a:pos x="f5891" y="f7106"/>
              </a:cxn>
              <a:cxn ang="f4299">
                <a:pos x="f5894" y="f7105"/>
              </a:cxn>
              <a:cxn ang="f4299">
                <a:pos x="f5894" y="f7104"/>
              </a:cxn>
              <a:cxn ang="f4299">
                <a:pos x="f5875" y="f7100"/>
              </a:cxn>
              <a:cxn ang="f4299">
                <a:pos x="f5876" y="f7100"/>
              </a:cxn>
              <a:cxn ang="f4299">
                <a:pos x="f5877" y="f7101"/>
              </a:cxn>
              <a:cxn ang="f4299">
                <a:pos x="f5877" y="f7102"/>
              </a:cxn>
              <a:cxn ang="f4299">
                <a:pos x="f5876" y="f7103"/>
              </a:cxn>
              <a:cxn ang="f4299">
                <a:pos x="f5875" y="f7103"/>
              </a:cxn>
              <a:cxn ang="f4299">
                <a:pos x="f5878" y="f7102"/>
              </a:cxn>
              <a:cxn ang="f4299">
                <a:pos x="f5878" y="f7101"/>
              </a:cxn>
              <a:cxn ang="f4299">
                <a:pos x="f5855" y="f7107"/>
              </a:cxn>
              <a:cxn ang="f4299">
                <a:pos x="f5856" y="f7107"/>
              </a:cxn>
              <a:cxn ang="f4299">
                <a:pos x="f5857" y="f7108"/>
              </a:cxn>
              <a:cxn ang="f4299">
                <a:pos x="f5857" y="f7109"/>
              </a:cxn>
              <a:cxn ang="f4299">
                <a:pos x="f5856" y="f7110"/>
              </a:cxn>
              <a:cxn ang="f4299">
                <a:pos x="f5855" y="f7110"/>
              </a:cxn>
              <a:cxn ang="f4299">
                <a:pos x="f5858" y="f7109"/>
              </a:cxn>
              <a:cxn ang="f4299">
                <a:pos x="f5858" y="f7108"/>
              </a:cxn>
              <a:cxn ang="f4299">
                <a:pos x="f5859" y="f7107"/>
              </a:cxn>
              <a:cxn ang="f4299">
                <a:pos x="f5860" y="f7107"/>
              </a:cxn>
              <a:cxn ang="f4299">
                <a:pos x="f5861" y="f7108"/>
              </a:cxn>
              <a:cxn ang="f4299">
                <a:pos x="f5861" y="f7111"/>
              </a:cxn>
              <a:cxn ang="f4299">
                <a:pos x="f5860" y="f7112"/>
              </a:cxn>
              <a:cxn ang="f4299">
                <a:pos x="f5859" y="f7112"/>
              </a:cxn>
              <a:cxn ang="f4299">
                <a:pos x="f5862" y="f7111"/>
              </a:cxn>
              <a:cxn ang="f4299">
                <a:pos x="f5862" y="f7108"/>
              </a:cxn>
              <a:cxn ang="f4299">
                <a:pos x="f5863" y="f7107"/>
              </a:cxn>
              <a:cxn ang="f4299">
                <a:pos x="f5864" y="f7107"/>
              </a:cxn>
              <a:cxn ang="f4299">
                <a:pos x="f5865" y="f7108"/>
              </a:cxn>
              <a:cxn ang="f4299">
                <a:pos x="f5865" y="f7111"/>
              </a:cxn>
              <a:cxn ang="f4299">
                <a:pos x="f5864" y="f7112"/>
              </a:cxn>
              <a:cxn ang="f4299">
                <a:pos x="f5863" y="f7112"/>
              </a:cxn>
              <a:cxn ang="f4299">
                <a:pos x="f5866" y="f7111"/>
              </a:cxn>
              <a:cxn ang="f4299">
                <a:pos x="f5866" y="f7108"/>
              </a:cxn>
              <a:cxn ang="f4299">
                <a:pos x="f5867" y="f7107"/>
              </a:cxn>
              <a:cxn ang="f4299">
                <a:pos x="f5868" y="f7107"/>
              </a:cxn>
              <a:cxn ang="f4299">
                <a:pos x="f5869" y="f7108"/>
              </a:cxn>
              <a:cxn ang="f4299">
                <a:pos x="f5869" y="f7111"/>
              </a:cxn>
              <a:cxn ang="f4299">
                <a:pos x="f5868" y="f7112"/>
              </a:cxn>
              <a:cxn ang="f4299">
                <a:pos x="f5867" y="f7112"/>
              </a:cxn>
              <a:cxn ang="f4299">
                <a:pos x="f5870" y="f7111"/>
              </a:cxn>
              <a:cxn ang="f4299">
                <a:pos x="f5870" y="f7108"/>
              </a:cxn>
              <a:cxn ang="f4299">
                <a:pos x="f5871" y="f7107"/>
              </a:cxn>
              <a:cxn ang="f4299">
                <a:pos x="f5872" y="f7107"/>
              </a:cxn>
              <a:cxn ang="f4299">
                <a:pos x="f5873" y="f7108"/>
              </a:cxn>
              <a:cxn ang="f4299">
                <a:pos x="f5873" y="f7111"/>
              </a:cxn>
              <a:cxn ang="f4299">
                <a:pos x="f5872" y="f7112"/>
              </a:cxn>
              <a:cxn ang="f4299">
                <a:pos x="f5871" y="f7112"/>
              </a:cxn>
              <a:cxn ang="f4299">
                <a:pos x="f5874" y="f7111"/>
              </a:cxn>
              <a:cxn ang="f4299">
                <a:pos x="f5874" y="f7108"/>
              </a:cxn>
              <a:cxn ang="f4299">
                <a:pos x="f5851" y="f7113"/>
              </a:cxn>
              <a:cxn ang="f4299">
                <a:pos x="f5852" y="f7113"/>
              </a:cxn>
              <a:cxn ang="f4299">
                <a:pos x="f5853" y="f7114"/>
              </a:cxn>
              <a:cxn ang="f4299">
                <a:pos x="f5853" y="f7115"/>
              </a:cxn>
              <a:cxn ang="f4299">
                <a:pos x="f5852" y="f7116"/>
              </a:cxn>
              <a:cxn ang="f4299">
                <a:pos x="f5851" y="f7116"/>
              </a:cxn>
              <a:cxn ang="f4299">
                <a:pos x="f5854" y="f7115"/>
              </a:cxn>
              <a:cxn ang="f4299">
                <a:pos x="f5854" y="f7114"/>
              </a:cxn>
              <a:cxn ang="f4299">
                <a:pos x="f5835" y="f7117"/>
              </a:cxn>
              <a:cxn ang="f4299">
                <a:pos x="f5836" y="f7117"/>
              </a:cxn>
              <a:cxn ang="f4299">
                <a:pos x="f5837" y="f7114"/>
              </a:cxn>
              <a:cxn ang="f4299">
                <a:pos x="f5837" y="f7115"/>
              </a:cxn>
              <a:cxn ang="f4299">
                <a:pos x="f5836" y="f7116"/>
              </a:cxn>
              <a:cxn ang="f4299">
                <a:pos x="f5835" y="f7116"/>
              </a:cxn>
              <a:cxn ang="f4299">
                <a:pos x="f5838" y="f7115"/>
              </a:cxn>
              <a:cxn ang="f4299">
                <a:pos x="f5838" y="f7114"/>
              </a:cxn>
              <a:cxn ang="f4299">
                <a:pos x="f5839" y="f7117"/>
              </a:cxn>
              <a:cxn ang="f4299">
                <a:pos x="f5840" y="f7117"/>
              </a:cxn>
              <a:cxn ang="f4299">
                <a:pos x="f5841" y="f7114"/>
              </a:cxn>
              <a:cxn ang="f4299">
                <a:pos x="f5841" y="f7115"/>
              </a:cxn>
              <a:cxn ang="f4299">
                <a:pos x="f5840" y="f7116"/>
              </a:cxn>
              <a:cxn ang="f4299">
                <a:pos x="f5839" y="f7116"/>
              </a:cxn>
              <a:cxn ang="f4299">
                <a:pos x="f5842" y="f7115"/>
              </a:cxn>
              <a:cxn ang="f4299">
                <a:pos x="f5842" y="f7114"/>
              </a:cxn>
              <a:cxn ang="f4299">
                <a:pos x="f5843" y="f7117"/>
              </a:cxn>
              <a:cxn ang="f4299">
                <a:pos x="f5844" y="f7117"/>
              </a:cxn>
              <a:cxn ang="f4299">
                <a:pos x="f5845" y="f7114"/>
              </a:cxn>
              <a:cxn ang="f4299">
                <a:pos x="f5845" y="f7115"/>
              </a:cxn>
              <a:cxn ang="f4299">
                <a:pos x="f5844" y="f7116"/>
              </a:cxn>
              <a:cxn ang="f4299">
                <a:pos x="f5843" y="f7116"/>
              </a:cxn>
              <a:cxn ang="f4299">
                <a:pos x="f5846" y="f7115"/>
              </a:cxn>
              <a:cxn ang="f4299">
                <a:pos x="f5846" y="f7114"/>
              </a:cxn>
              <a:cxn ang="f4299">
                <a:pos x="f5847" y="f7117"/>
              </a:cxn>
              <a:cxn ang="f4299">
                <a:pos x="f5848" y="f7117"/>
              </a:cxn>
              <a:cxn ang="f4299">
                <a:pos x="f5849" y="f7114"/>
              </a:cxn>
              <a:cxn ang="f4299">
                <a:pos x="f5849" y="f7115"/>
              </a:cxn>
              <a:cxn ang="f4299">
                <a:pos x="f5848" y="f7116"/>
              </a:cxn>
              <a:cxn ang="f4299">
                <a:pos x="f5847" y="f7116"/>
              </a:cxn>
              <a:cxn ang="f4299">
                <a:pos x="f5850" y="f7115"/>
              </a:cxn>
              <a:cxn ang="f4299">
                <a:pos x="f5850" y="f7114"/>
              </a:cxn>
              <a:cxn ang="f4299">
                <a:pos x="f5823" y="f7118"/>
              </a:cxn>
              <a:cxn ang="f4299">
                <a:pos x="f5824" y="f7118"/>
              </a:cxn>
              <a:cxn ang="f4299">
                <a:pos x="f5825" y="f7119"/>
              </a:cxn>
              <a:cxn ang="f4299">
                <a:pos x="f5825" y="f7120"/>
              </a:cxn>
              <a:cxn ang="f4299">
                <a:pos x="f5824" y="f7121"/>
              </a:cxn>
              <a:cxn ang="f4299">
                <a:pos x="f5823" y="f7121"/>
              </a:cxn>
              <a:cxn ang="f4299">
                <a:pos x="f5826" y="f7120"/>
              </a:cxn>
              <a:cxn ang="f4299">
                <a:pos x="f5826" y="f7119"/>
              </a:cxn>
              <a:cxn ang="f4299">
                <a:pos x="f5827" y="f7118"/>
              </a:cxn>
              <a:cxn ang="f4299">
                <a:pos x="f5828" y="f7118"/>
              </a:cxn>
              <a:cxn ang="f4299">
                <a:pos x="f5829" y="f7119"/>
              </a:cxn>
              <a:cxn ang="f4299">
                <a:pos x="f5829" y="f7122"/>
              </a:cxn>
              <a:cxn ang="f4299">
                <a:pos x="f5828" y="f7123"/>
              </a:cxn>
              <a:cxn ang="f4299">
                <a:pos x="f5827" y="f7123"/>
              </a:cxn>
              <a:cxn ang="f4299">
                <a:pos x="f5830" y="f7122"/>
              </a:cxn>
              <a:cxn ang="f4299">
                <a:pos x="f5830" y="f7119"/>
              </a:cxn>
              <a:cxn ang="f4299">
                <a:pos x="f5831" y="f7118"/>
              </a:cxn>
              <a:cxn ang="f4299">
                <a:pos x="f5832" y="f7118"/>
              </a:cxn>
              <a:cxn ang="f4299">
                <a:pos x="f5833" y="f7119"/>
              </a:cxn>
              <a:cxn ang="f4299">
                <a:pos x="f5833" y="f7122"/>
              </a:cxn>
              <a:cxn ang="f4299">
                <a:pos x="f5832" y="f7123"/>
              </a:cxn>
              <a:cxn ang="f4299">
                <a:pos x="f5831" y="f7123"/>
              </a:cxn>
              <a:cxn ang="f4299">
                <a:pos x="f5834" y="f7122"/>
              </a:cxn>
              <a:cxn ang="f4299">
                <a:pos x="f5834" y="f7119"/>
              </a:cxn>
              <a:cxn ang="f4299">
                <a:pos x="f5815" y="f7124"/>
              </a:cxn>
              <a:cxn ang="f4299">
                <a:pos x="f5816" y="f7124"/>
              </a:cxn>
              <a:cxn ang="f4299">
                <a:pos x="f5817" y="f7125"/>
              </a:cxn>
              <a:cxn ang="f4299">
                <a:pos x="f5817" y="f7120"/>
              </a:cxn>
              <a:cxn ang="f4299">
                <a:pos x="f5816" y="f7121"/>
              </a:cxn>
              <a:cxn ang="f4299">
                <a:pos x="f5815" y="f7121"/>
              </a:cxn>
              <a:cxn ang="f4299">
                <a:pos x="f5818" y="f7120"/>
              </a:cxn>
              <a:cxn ang="f4299">
                <a:pos x="f5818" y="f7125"/>
              </a:cxn>
              <a:cxn ang="f4299">
                <a:pos x="f5819" y="f7124"/>
              </a:cxn>
              <a:cxn ang="f4299">
                <a:pos x="f5820" y="f7124"/>
              </a:cxn>
              <a:cxn ang="f4299">
                <a:pos x="f5821" y="f7125"/>
              </a:cxn>
              <a:cxn ang="f4299">
                <a:pos x="f5821" y="f7120"/>
              </a:cxn>
              <a:cxn ang="f4299">
                <a:pos x="f5820" y="f7121"/>
              </a:cxn>
              <a:cxn ang="f4299">
                <a:pos x="f5819" y="f7121"/>
              </a:cxn>
              <a:cxn ang="f4299">
                <a:pos x="f5822" y="f7120"/>
              </a:cxn>
              <a:cxn ang="f4299">
                <a:pos x="f5822" y="f7125"/>
              </a:cxn>
              <a:cxn ang="f4299">
                <a:pos x="f5795" y="f7126"/>
              </a:cxn>
              <a:cxn ang="f4299">
                <a:pos x="f5796" y="f7126"/>
              </a:cxn>
              <a:cxn ang="f4299">
                <a:pos x="f5797" y="f7127"/>
              </a:cxn>
              <a:cxn ang="f4299">
                <a:pos x="f5797" y="f7128"/>
              </a:cxn>
              <a:cxn ang="f4299">
                <a:pos x="f5796" y="f7129"/>
              </a:cxn>
              <a:cxn ang="f4299">
                <a:pos x="f5795" y="f7129"/>
              </a:cxn>
              <a:cxn ang="f4299">
                <a:pos x="f5798" y="f7128"/>
              </a:cxn>
              <a:cxn ang="f4299">
                <a:pos x="f5798" y="f7127"/>
              </a:cxn>
              <a:cxn ang="f4299">
                <a:pos x="f5799" y="f7126"/>
              </a:cxn>
              <a:cxn ang="f4299">
                <a:pos x="f5800" y="f7126"/>
              </a:cxn>
              <a:cxn ang="f4299">
                <a:pos x="f5801" y="f7127"/>
              </a:cxn>
              <a:cxn ang="f4299">
                <a:pos x="f5801" y="f7130"/>
              </a:cxn>
              <a:cxn ang="f4299">
                <a:pos x="f5800" y="f7131"/>
              </a:cxn>
              <a:cxn ang="f4299">
                <a:pos x="f5799" y="f7131"/>
              </a:cxn>
              <a:cxn ang="f4299">
                <a:pos x="f5802" y="f7130"/>
              </a:cxn>
              <a:cxn ang="f4299">
                <a:pos x="f5802" y="f7127"/>
              </a:cxn>
              <a:cxn ang="f4299">
                <a:pos x="f5803" y="f7126"/>
              </a:cxn>
              <a:cxn ang="f4299">
                <a:pos x="f5804" y="f7126"/>
              </a:cxn>
              <a:cxn ang="f4299">
                <a:pos x="f5805" y="f7127"/>
              </a:cxn>
              <a:cxn ang="f4299">
                <a:pos x="f5805" y="f7130"/>
              </a:cxn>
              <a:cxn ang="f4299">
                <a:pos x="f5804" y="f7131"/>
              </a:cxn>
              <a:cxn ang="f4299">
                <a:pos x="f5803" y="f7131"/>
              </a:cxn>
              <a:cxn ang="f4299">
                <a:pos x="f5806" y="f7130"/>
              </a:cxn>
              <a:cxn ang="f4299">
                <a:pos x="f5806" y="f7127"/>
              </a:cxn>
              <a:cxn ang="f4299">
                <a:pos x="f5807" y="f7126"/>
              </a:cxn>
              <a:cxn ang="f4299">
                <a:pos x="f5808" y="f7126"/>
              </a:cxn>
              <a:cxn ang="f4299">
                <a:pos x="f5809" y="f7127"/>
              </a:cxn>
              <a:cxn ang="f4299">
                <a:pos x="f5809" y="f7130"/>
              </a:cxn>
              <a:cxn ang="f4299">
                <a:pos x="f5808" y="f7131"/>
              </a:cxn>
              <a:cxn ang="f4299">
                <a:pos x="f5807" y="f7131"/>
              </a:cxn>
              <a:cxn ang="f4299">
                <a:pos x="f5810" y="f7130"/>
              </a:cxn>
              <a:cxn ang="f4299">
                <a:pos x="f5810" y="f7127"/>
              </a:cxn>
              <a:cxn ang="f4299">
                <a:pos x="f5811" y="f7126"/>
              </a:cxn>
              <a:cxn ang="f4299">
                <a:pos x="f5812" y="f7126"/>
              </a:cxn>
              <a:cxn ang="f4299">
                <a:pos x="f5813" y="f7127"/>
              </a:cxn>
              <a:cxn ang="f4299">
                <a:pos x="f5813" y="f7130"/>
              </a:cxn>
              <a:cxn ang="f4299">
                <a:pos x="f5812" y="f7131"/>
              </a:cxn>
              <a:cxn ang="f4299">
                <a:pos x="f5811" y="f7131"/>
              </a:cxn>
              <a:cxn ang="f4299">
                <a:pos x="f5814" y="f7130"/>
              </a:cxn>
              <a:cxn ang="f4299">
                <a:pos x="f5814" y="f7127"/>
              </a:cxn>
              <a:cxn ang="f4299">
                <a:pos x="f5791" y="f7132"/>
              </a:cxn>
              <a:cxn ang="f4299">
                <a:pos x="f5792" y="f7132"/>
              </a:cxn>
              <a:cxn ang="f4299">
                <a:pos x="f5793" y="f7133"/>
              </a:cxn>
              <a:cxn ang="f4299">
                <a:pos x="f5793" y="f7134"/>
              </a:cxn>
              <a:cxn ang="f4299">
                <a:pos x="f5792" y="f7135"/>
              </a:cxn>
              <a:cxn ang="f4299">
                <a:pos x="f5791" y="f7135"/>
              </a:cxn>
              <a:cxn ang="f4299">
                <a:pos x="f5794" y="f7134"/>
              </a:cxn>
              <a:cxn ang="f4299">
                <a:pos x="f5794" y="f7133"/>
              </a:cxn>
              <a:cxn ang="f4299">
                <a:pos x="f5775" y="f7136"/>
              </a:cxn>
              <a:cxn ang="f4299">
                <a:pos x="f5776" y="f7136"/>
              </a:cxn>
              <a:cxn ang="f4299">
                <a:pos x="f5777" y="f7133"/>
              </a:cxn>
              <a:cxn ang="f4299">
                <a:pos x="f5777" y="f7134"/>
              </a:cxn>
              <a:cxn ang="f4299">
                <a:pos x="f5776" y="f7135"/>
              </a:cxn>
              <a:cxn ang="f4299">
                <a:pos x="f5775" y="f7135"/>
              </a:cxn>
              <a:cxn ang="f4299">
                <a:pos x="f5778" y="f7134"/>
              </a:cxn>
              <a:cxn ang="f4299">
                <a:pos x="f5778" y="f7133"/>
              </a:cxn>
              <a:cxn ang="f4299">
                <a:pos x="f5779" y="f7136"/>
              </a:cxn>
              <a:cxn ang="f4299">
                <a:pos x="f5780" y="f7136"/>
              </a:cxn>
              <a:cxn ang="f4299">
                <a:pos x="f5781" y="f7133"/>
              </a:cxn>
              <a:cxn ang="f4299">
                <a:pos x="f5781" y="f7134"/>
              </a:cxn>
              <a:cxn ang="f4299">
                <a:pos x="f5780" y="f7135"/>
              </a:cxn>
              <a:cxn ang="f4299">
                <a:pos x="f5779" y="f7135"/>
              </a:cxn>
              <a:cxn ang="f4299">
                <a:pos x="f5782" y="f7134"/>
              </a:cxn>
              <a:cxn ang="f4299">
                <a:pos x="f5782" y="f7133"/>
              </a:cxn>
              <a:cxn ang="f4299">
                <a:pos x="f5783" y="f7136"/>
              </a:cxn>
              <a:cxn ang="f4299">
                <a:pos x="f5784" y="f7136"/>
              </a:cxn>
              <a:cxn ang="f4299">
                <a:pos x="f5785" y="f7133"/>
              </a:cxn>
              <a:cxn ang="f4299">
                <a:pos x="f5785" y="f7134"/>
              </a:cxn>
              <a:cxn ang="f4299">
                <a:pos x="f5784" y="f7135"/>
              </a:cxn>
              <a:cxn ang="f4299">
                <a:pos x="f5783" y="f7135"/>
              </a:cxn>
              <a:cxn ang="f4299">
                <a:pos x="f5786" y="f7134"/>
              </a:cxn>
              <a:cxn ang="f4299">
                <a:pos x="f5786" y="f7133"/>
              </a:cxn>
              <a:cxn ang="f4299">
                <a:pos x="f5787" y="f7136"/>
              </a:cxn>
              <a:cxn ang="f4299">
                <a:pos x="f5788" y="f7136"/>
              </a:cxn>
              <a:cxn ang="f4299">
                <a:pos x="f5789" y="f7133"/>
              </a:cxn>
              <a:cxn ang="f4299">
                <a:pos x="f5789" y="f7134"/>
              </a:cxn>
              <a:cxn ang="f4299">
                <a:pos x="f5788" y="f7135"/>
              </a:cxn>
              <a:cxn ang="f4299">
                <a:pos x="f5787" y="f7135"/>
              </a:cxn>
              <a:cxn ang="f4299">
                <a:pos x="f5790" y="f7134"/>
              </a:cxn>
              <a:cxn ang="f4299">
                <a:pos x="f5790" y="f7133"/>
              </a:cxn>
              <a:cxn ang="f4299">
                <a:pos x="f7137" y="f7136"/>
              </a:cxn>
              <a:cxn ang="f4299">
                <a:pos x="f7062" y="f7136"/>
              </a:cxn>
              <a:cxn ang="f4299">
                <a:pos x="f7138" y="f7133"/>
              </a:cxn>
              <a:cxn ang="f4299">
                <a:pos x="f7138" y="f7134"/>
              </a:cxn>
              <a:cxn ang="f4299">
                <a:pos x="f7062" y="f7135"/>
              </a:cxn>
              <a:cxn ang="f4299">
                <a:pos x="f7137" y="f7135"/>
              </a:cxn>
              <a:cxn ang="f4299">
                <a:pos x="f7139" y="f7134"/>
              </a:cxn>
              <a:cxn ang="f4299">
                <a:pos x="f7139" y="f7133"/>
              </a:cxn>
              <a:cxn ang="f4299">
                <a:pos x="f7140" y="f7136"/>
              </a:cxn>
              <a:cxn ang="f4299">
                <a:pos x="f7052" y="f7136"/>
              </a:cxn>
              <a:cxn ang="f4299">
                <a:pos x="f7141" y="f7142"/>
              </a:cxn>
              <a:cxn ang="f4299">
                <a:pos x="f7141" y="f7143"/>
              </a:cxn>
              <a:cxn ang="f4299">
                <a:pos x="f7052" y="f7144"/>
              </a:cxn>
              <a:cxn ang="f4299">
                <a:pos x="f7140" y="f7144"/>
              </a:cxn>
              <a:cxn ang="f4299">
                <a:pos x="f7145" y="f7143"/>
              </a:cxn>
              <a:cxn ang="f4299">
                <a:pos x="f7145" y="f7142"/>
              </a:cxn>
              <a:cxn ang="f4299">
                <a:pos x="f7146" y="f7136"/>
              </a:cxn>
              <a:cxn ang="f4299">
                <a:pos x="f7058" y="f7136"/>
              </a:cxn>
              <a:cxn ang="f4299">
                <a:pos x="f7147" y="f7142"/>
              </a:cxn>
              <a:cxn ang="f4299">
                <a:pos x="f7147" y="f7143"/>
              </a:cxn>
              <a:cxn ang="f4299">
                <a:pos x="f7058" y="f7144"/>
              </a:cxn>
              <a:cxn ang="f4299">
                <a:pos x="f7146" y="f7144"/>
              </a:cxn>
              <a:cxn ang="f4299">
                <a:pos x="f7148" y="f7143"/>
              </a:cxn>
              <a:cxn ang="f4299">
                <a:pos x="f7148" y="f7142"/>
              </a:cxn>
              <a:cxn ang="f4299">
                <a:pos x="f7061" y="f7136"/>
              </a:cxn>
              <a:cxn ang="f4299">
                <a:pos x="f7149" y="f7136"/>
              </a:cxn>
              <a:cxn ang="f4299">
                <a:pos x="f7150" y="f7133"/>
              </a:cxn>
              <a:cxn ang="f4299">
                <a:pos x="f7150" y="f7134"/>
              </a:cxn>
              <a:cxn ang="f4299">
                <a:pos x="f7149" y="f7144"/>
              </a:cxn>
              <a:cxn ang="f4299">
                <a:pos x="f7061" y="f7144"/>
              </a:cxn>
              <a:cxn ang="f4299">
                <a:pos x="f7151" y="f7134"/>
              </a:cxn>
              <a:cxn ang="f4299">
                <a:pos x="f7151" y="f7133"/>
              </a:cxn>
              <a:cxn ang="f4299">
                <a:pos x="f7015" y="f7152"/>
              </a:cxn>
              <a:cxn ang="f4299">
                <a:pos x="f7017" y="f7152"/>
              </a:cxn>
              <a:cxn ang="f4299">
                <a:pos x="f6853" y="f7153"/>
              </a:cxn>
              <a:cxn ang="f4299">
                <a:pos x="f6853" y="f7154"/>
              </a:cxn>
              <a:cxn ang="f4299">
                <a:pos x="f7017" y="f7155"/>
              </a:cxn>
              <a:cxn ang="f4299">
                <a:pos x="f7015" y="f7155"/>
              </a:cxn>
              <a:cxn ang="f4299">
                <a:pos x="f7156" y="f7154"/>
              </a:cxn>
              <a:cxn ang="f4299">
                <a:pos x="f7156" y="f7153"/>
              </a:cxn>
              <a:cxn ang="f4299">
                <a:pos x="f5767" y="f7157"/>
              </a:cxn>
              <a:cxn ang="f4299">
                <a:pos x="f5769" y="f7157"/>
              </a:cxn>
              <a:cxn ang="f4299">
                <a:pos x="f5770" y="f7158"/>
              </a:cxn>
              <a:cxn ang="f4299">
                <a:pos x="f5770" y="f7159"/>
              </a:cxn>
              <a:cxn ang="f4299">
                <a:pos x="f5769" y="f7160"/>
              </a:cxn>
              <a:cxn ang="f4299">
                <a:pos x="f5767" y="f7160"/>
              </a:cxn>
              <a:cxn ang="f4299">
                <a:pos x="f5774" y="f7159"/>
              </a:cxn>
              <a:cxn ang="f4299">
                <a:pos x="f5774" y="f7158"/>
              </a:cxn>
              <a:cxn ang="f4299">
                <a:pos x="f7077" y="f7161"/>
              </a:cxn>
              <a:cxn ang="f4299">
                <a:pos x="f7022" y="f7161"/>
              </a:cxn>
              <a:cxn ang="f4299">
                <a:pos x="f6928" y="f7158"/>
              </a:cxn>
              <a:cxn ang="f4299">
                <a:pos x="f6928" y="f7159"/>
              </a:cxn>
              <a:cxn ang="f4299">
                <a:pos x="f7022" y="f7160"/>
              </a:cxn>
              <a:cxn ang="f4299">
                <a:pos x="f7077" y="f7160"/>
              </a:cxn>
              <a:cxn ang="f4299">
                <a:pos x="f6859" y="f7159"/>
              </a:cxn>
              <a:cxn ang="f4299">
                <a:pos x="f6859" y="f7158"/>
              </a:cxn>
              <a:cxn ang="f4299">
                <a:pos x="f7162" y="f7163"/>
              </a:cxn>
              <a:cxn ang="f4299">
                <a:pos x="f7087" y="f7163"/>
              </a:cxn>
              <a:cxn ang="f4299">
                <a:pos x="f7088" y="f7164"/>
              </a:cxn>
              <a:cxn ang="f4299">
                <a:pos x="f7088" y="f7165"/>
              </a:cxn>
              <a:cxn ang="f4299">
                <a:pos x="f7087" y="f7166"/>
              </a:cxn>
              <a:cxn ang="f4299">
                <a:pos x="f7162" y="f7166"/>
              </a:cxn>
              <a:cxn ang="f4299">
                <a:pos x="f7167" y="f7165"/>
              </a:cxn>
              <a:cxn ang="f4299">
                <a:pos x="f7167" y="f7164"/>
              </a:cxn>
              <a:cxn ang="f4299">
                <a:pos x="f7168" y="f7163"/>
              </a:cxn>
              <a:cxn ang="f4299">
                <a:pos x="f7093" y="f7163"/>
              </a:cxn>
              <a:cxn ang="f4299">
                <a:pos x="f7094" y="f7164"/>
              </a:cxn>
              <a:cxn ang="f4299">
                <a:pos x="f7094" y="f7165"/>
              </a:cxn>
              <a:cxn ang="f4299">
                <a:pos x="f7093" y="f7166"/>
              </a:cxn>
              <a:cxn ang="f4299">
                <a:pos x="f7168" y="f7166"/>
              </a:cxn>
              <a:cxn ang="f4299">
                <a:pos x="f7169" y="f7165"/>
              </a:cxn>
              <a:cxn ang="f4299">
                <a:pos x="f7169" y="f7164"/>
              </a:cxn>
              <a:cxn ang="f4299">
                <a:pos x="f7170" y="f7163"/>
              </a:cxn>
              <a:cxn ang="f4299">
                <a:pos x="f7095" y="f7163"/>
              </a:cxn>
              <a:cxn ang="f4299">
                <a:pos x="f7171" y="f7164"/>
              </a:cxn>
              <a:cxn ang="f4299">
                <a:pos x="f7171" y="f7165"/>
              </a:cxn>
              <a:cxn ang="f4299">
                <a:pos x="f7095" y="f7166"/>
              </a:cxn>
              <a:cxn ang="f4299">
                <a:pos x="f7170" y="f7166"/>
              </a:cxn>
              <a:cxn ang="f4299">
                <a:pos x="f7097" y="f7165"/>
              </a:cxn>
              <a:cxn ang="f4299">
                <a:pos x="f7097" y="f7164"/>
              </a:cxn>
              <a:cxn ang="f4299">
                <a:pos x="f7172" y="f7163"/>
              </a:cxn>
              <a:cxn ang="f4299">
                <a:pos x="f7098" y="f7163"/>
              </a:cxn>
              <a:cxn ang="f4299">
                <a:pos x="f7099" y="f7164"/>
              </a:cxn>
              <a:cxn ang="f4299">
                <a:pos x="f7099" y="f7165"/>
              </a:cxn>
              <a:cxn ang="f4299">
                <a:pos x="f7098" y="f7166"/>
              </a:cxn>
              <a:cxn ang="f4299">
                <a:pos x="f7172" y="f7166"/>
              </a:cxn>
              <a:cxn ang="f4299">
                <a:pos x="f7173" y="f7165"/>
              </a:cxn>
              <a:cxn ang="f4299">
                <a:pos x="f7173" y="f7164"/>
              </a:cxn>
            </a:cxnLst>
            <a:rect l="f5735" t="f5738" r="f5736" b="f5737"/>
            <a:pathLst>
              <a:path w="9586368" h="6479439">
                <a:moveTo>
                  <a:pt x="f8" y="f9"/>
                </a:moveTo>
                <a:lnTo>
                  <a:pt x="f10" y="f9"/>
                </a:lnTo>
                <a:lnTo>
                  <a:pt x="f11" y="f12"/>
                </a:lnTo>
                <a:lnTo>
                  <a:pt x="f11" y="f13"/>
                </a:lnTo>
                <a:lnTo>
                  <a:pt x="f10" y="f7"/>
                </a:lnTo>
                <a:lnTo>
                  <a:pt x="f8" y="f7"/>
                </a:lnTo>
                <a:lnTo>
                  <a:pt x="f14" y="f13"/>
                </a:lnTo>
                <a:lnTo>
                  <a:pt x="f14" y="f12"/>
                </a:lnTo>
                <a:close/>
                <a:moveTo>
                  <a:pt x="f15" y="f9"/>
                </a:moveTo>
                <a:lnTo>
                  <a:pt x="f16" y="f9"/>
                </a:lnTo>
                <a:lnTo>
                  <a:pt x="f17" y="f12"/>
                </a:lnTo>
                <a:lnTo>
                  <a:pt x="f17" y="f13"/>
                </a:lnTo>
                <a:lnTo>
                  <a:pt x="f16" y="f7"/>
                </a:lnTo>
                <a:lnTo>
                  <a:pt x="f15" y="f7"/>
                </a:lnTo>
                <a:lnTo>
                  <a:pt x="f18" y="f13"/>
                </a:lnTo>
                <a:lnTo>
                  <a:pt x="f18" y="f12"/>
                </a:lnTo>
                <a:close/>
                <a:moveTo>
                  <a:pt x="f19" y="f9"/>
                </a:moveTo>
                <a:lnTo>
                  <a:pt x="f20" y="f9"/>
                </a:lnTo>
                <a:lnTo>
                  <a:pt x="f21" y="f12"/>
                </a:lnTo>
                <a:lnTo>
                  <a:pt x="f21" y="f13"/>
                </a:lnTo>
                <a:lnTo>
                  <a:pt x="f20" y="f7"/>
                </a:lnTo>
                <a:lnTo>
                  <a:pt x="f19" y="f7"/>
                </a:lnTo>
                <a:lnTo>
                  <a:pt x="f22" y="f13"/>
                </a:lnTo>
                <a:lnTo>
                  <a:pt x="f22" y="f12"/>
                </a:lnTo>
                <a:close/>
                <a:moveTo>
                  <a:pt x="f23" y="f9"/>
                </a:moveTo>
                <a:lnTo>
                  <a:pt x="f24" y="f9"/>
                </a:lnTo>
                <a:lnTo>
                  <a:pt x="f25" y="f12"/>
                </a:lnTo>
                <a:lnTo>
                  <a:pt x="f25" y="f13"/>
                </a:lnTo>
                <a:lnTo>
                  <a:pt x="f24" y="f7"/>
                </a:lnTo>
                <a:lnTo>
                  <a:pt x="f23" y="f7"/>
                </a:lnTo>
                <a:lnTo>
                  <a:pt x="f26" y="f13"/>
                </a:lnTo>
                <a:lnTo>
                  <a:pt x="f26" y="f12"/>
                </a:lnTo>
                <a:close/>
                <a:moveTo>
                  <a:pt x="f27" y="f9"/>
                </a:moveTo>
                <a:lnTo>
                  <a:pt x="f28" y="f9"/>
                </a:lnTo>
                <a:lnTo>
                  <a:pt x="f29" y="f12"/>
                </a:lnTo>
                <a:lnTo>
                  <a:pt x="f29" y="f13"/>
                </a:lnTo>
                <a:lnTo>
                  <a:pt x="f28" y="f7"/>
                </a:lnTo>
                <a:lnTo>
                  <a:pt x="f27" y="f7"/>
                </a:lnTo>
                <a:lnTo>
                  <a:pt x="f30" y="f13"/>
                </a:lnTo>
                <a:lnTo>
                  <a:pt x="f30" y="f12"/>
                </a:lnTo>
                <a:close/>
                <a:moveTo>
                  <a:pt x="f31" y="f9"/>
                </a:moveTo>
                <a:lnTo>
                  <a:pt x="f32" y="f9"/>
                </a:lnTo>
                <a:lnTo>
                  <a:pt x="f33" y="f12"/>
                </a:lnTo>
                <a:lnTo>
                  <a:pt x="f33" y="f13"/>
                </a:lnTo>
                <a:lnTo>
                  <a:pt x="f32" y="f7"/>
                </a:lnTo>
                <a:lnTo>
                  <a:pt x="f31" y="f7"/>
                </a:lnTo>
                <a:lnTo>
                  <a:pt x="f34" y="f13"/>
                </a:lnTo>
                <a:lnTo>
                  <a:pt x="f34" y="f12"/>
                </a:lnTo>
                <a:close/>
                <a:moveTo>
                  <a:pt x="f35" y="f36"/>
                </a:moveTo>
                <a:lnTo>
                  <a:pt x="f37" y="f36"/>
                </a:lnTo>
                <a:lnTo>
                  <a:pt x="f6" y="f38"/>
                </a:lnTo>
                <a:lnTo>
                  <a:pt x="f6" y="f39"/>
                </a:lnTo>
                <a:lnTo>
                  <a:pt x="f37" y="f40"/>
                </a:lnTo>
                <a:lnTo>
                  <a:pt x="f35" y="f40"/>
                </a:lnTo>
                <a:lnTo>
                  <a:pt x="f41" y="f39"/>
                </a:lnTo>
                <a:lnTo>
                  <a:pt x="f41" y="f38"/>
                </a:lnTo>
                <a:close/>
                <a:moveTo>
                  <a:pt x="f42" y="f36"/>
                </a:moveTo>
                <a:lnTo>
                  <a:pt x="f43" y="f36"/>
                </a:lnTo>
                <a:lnTo>
                  <a:pt x="f44" y="f38"/>
                </a:lnTo>
                <a:lnTo>
                  <a:pt x="f44" y="f39"/>
                </a:lnTo>
                <a:lnTo>
                  <a:pt x="f43" y="f40"/>
                </a:lnTo>
                <a:lnTo>
                  <a:pt x="f42" y="f40"/>
                </a:lnTo>
                <a:lnTo>
                  <a:pt x="f45" y="f39"/>
                </a:lnTo>
                <a:lnTo>
                  <a:pt x="f45" y="f38"/>
                </a:lnTo>
                <a:close/>
                <a:moveTo>
                  <a:pt x="f46" y="f36"/>
                </a:moveTo>
                <a:lnTo>
                  <a:pt x="f47" y="f36"/>
                </a:lnTo>
                <a:lnTo>
                  <a:pt x="f48" y="f38"/>
                </a:lnTo>
                <a:lnTo>
                  <a:pt x="f48" y="f39"/>
                </a:lnTo>
                <a:lnTo>
                  <a:pt x="f47" y="f40"/>
                </a:lnTo>
                <a:lnTo>
                  <a:pt x="f46" y="f40"/>
                </a:lnTo>
                <a:lnTo>
                  <a:pt x="f49" y="f39"/>
                </a:lnTo>
                <a:lnTo>
                  <a:pt x="f49" y="f38"/>
                </a:lnTo>
                <a:close/>
                <a:moveTo>
                  <a:pt x="f50" y="f36"/>
                </a:moveTo>
                <a:lnTo>
                  <a:pt x="f51" y="f36"/>
                </a:lnTo>
                <a:lnTo>
                  <a:pt x="f52" y="f38"/>
                </a:lnTo>
                <a:lnTo>
                  <a:pt x="f52" y="f39"/>
                </a:lnTo>
                <a:lnTo>
                  <a:pt x="f51" y="f40"/>
                </a:lnTo>
                <a:lnTo>
                  <a:pt x="f50" y="f40"/>
                </a:lnTo>
                <a:lnTo>
                  <a:pt x="f53" y="f39"/>
                </a:lnTo>
                <a:lnTo>
                  <a:pt x="f53" y="f38"/>
                </a:lnTo>
                <a:close/>
                <a:moveTo>
                  <a:pt x="f54" y="f36"/>
                </a:moveTo>
                <a:lnTo>
                  <a:pt x="f55" y="f36"/>
                </a:lnTo>
                <a:lnTo>
                  <a:pt x="f56" y="f38"/>
                </a:lnTo>
                <a:lnTo>
                  <a:pt x="f56" y="f39"/>
                </a:lnTo>
                <a:lnTo>
                  <a:pt x="f55" y="f40"/>
                </a:lnTo>
                <a:lnTo>
                  <a:pt x="f54" y="f40"/>
                </a:lnTo>
                <a:lnTo>
                  <a:pt x="f57" y="f39"/>
                </a:lnTo>
                <a:lnTo>
                  <a:pt x="f57" y="f38"/>
                </a:lnTo>
                <a:close/>
                <a:moveTo>
                  <a:pt x="f58" y="f36"/>
                </a:moveTo>
                <a:lnTo>
                  <a:pt x="f59" y="f36"/>
                </a:lnTo>
                <a:lnTo>
                  <a:pt x="f60" y="f38"/>
                </a:lnTo>
                <a:lnTo>
                  <a:pt x="f60" y="f39"/>
                </a:lnTo>
                <a:lnTo>
                  <a:pt x="f59" y="f40"/>
                </a:lnTo>
                <a:lnTo>
                  <a:pt x="f58" y="f40"/>
                </a:lnTo>
                <a:lnTo>
                  <a:pt x="f61" y="f39"/>
                </a:lnTo>
                <a:lnTo>
                  <a:pt x="f61" y="f38"/>
                </a:lnTo>
                <a:close/>
                <a:moveTo>
                  <a:pt x="f62" y="f36"/>
                </a:moveTo>
                <a:lnTo>
                  <a:pt x="f63" y="f36"/>
                </a:lnTo>
                <a:lnTo>
                  <a:pt x="f64" y="f38"/>
                </a:lnTo>
                <a:lnTo>
                  <a:pt x="f64" y="f39"/>
                </a:lnTo>
                <a:lnTo>
                  <a:pt x="f63" y="f40"/>
                </a:lnTo>
                <a:lnTo>
                  <a:pt x="f62" y="f40"/>
                </a:lnTo>
                <a:lnTo>
                  <a:pt x="f65" y="f39"/>
                </a:lnTo>
                <a:lnTo>
                  <a:pt x="f65" y="f38"/>
                </a:lnTo>
                <a:close/>
                <a:moveTo>
                  <a:pt x="f66" y="f36"/>
                </a:moveTo>
                <a:lnTo>
                  <a:pt x="f67" y="f36"/>
                </a:lnTo>
                <a:lnTo>
                  <a:pt x="f68" y="f38"/>
                </a:lnTo>
                <a:lnTo>
                  <a:pt x="f68" y="f39"/>
                </a:lnTo>
                <a:lnTo>
                  <a:pt x="f67" y="f40"/>
                </a:lnTo>
                <a:lnTo>
                  <a:pt x="f66" y="f40"/>
                </a:lnTo>
                <a:lnTo>
                  <a:pt x="f69" y="f39"/>
                </a:lnTo>
                <a:lnTo>
                  <a:pt x="f69" y="f38"/>
                </a:lnTo>
                <a:close/>
                <a:moveTo>
                  <a:pt x="f70" y="f36"/>
                </a:moveTo>
                <a:lnTo>
                  <a:pt x="f71" y="f36"/>
                </a:lnTo>
                <a:lnTo>
                  <a:pt x="f72" y="f38"/>
                </a:lnTo>
                <a:lnTo>
                  <a:pt x="f72" y="f39"/>
                </a:lnTo>
                <a:lnTo>
                  <a:pt x="f71" y="f40"/>
                </a:lnTo>
                <a:lnTo>
                  <a:pt x="f70" y="f40"/>
                </a:lnTo>
                <a:lnTo>
                  <a:pt x="f73" y="f39"/>
                </a:lnTo>
                <a:lnTo>
                  <a:pt x="f73" y="f38"/>
                </a:lnTo>
                <a:close/>
                <a:moveTo>
                  <a:pt x="f74" y="f36"/>
                </a:moveTo>
                <a:lnTo>
                  <a:pt x="f75" y="f36"/>
                </a:lnTo>
                <a:lnTo>
                  <a:pt x="f76" y="f38"/>
                </a:lnTo>
                <a:lnTo>
                  <a:pt x="f76" y="f39"/>
                </a:lnTo>
                <a:lnTo>
                  <a:pt x="f75" y="f40"/>
                </a:lnTo>
                <a:lnTo>
                  <a:pt x="f74" y="f40"/>
                </a:lnTo>
                <a:lnTo>
                  <a:pt x="f77" y="f39"/>
                </a:lnTo>
                <a:lnTo>
                  <a:pt x="f77" y="f38"/>
                </a:lnTo>
                <a:close/>
                <a:moveTo>
                  <a:pt x="f78" y="f36"/>
                </a:moveTo>
                <a:lnTo>
                  <a:pt x="f79" y="f36"/>
                </a:lnTo>
                <a:lnTo>
                  <a:pt x="f80" y="f38"/>
                </a:lnTo>
                <a:lnTo>
                  <a:pt x="f80" y="f39"/>
                </a:lnTo>
                <a:lnTo>
                  <a:pt x="f79" y="f40"/>
                </a:lnTo>
                <a:lnTo>
                  <a:pt x="f78" y="f40"/>
                </a:lnTo>
                <a:lnTo>
                  <a:pt x="f81" y="f39"/>
                </a:lnTo>
                <a:lnTo>
                  <a:pt x="f81" y="f38"/>
                </a:lnTo>
                <a:close/>
                <a:moveTo>
                  <a:pt x="f82" y="f36"/>
                </a:moveTo>
                <a:lnTo>
                  <a:pt x="f83" y="f36"/>
                </a:lnTo>
                <a:lnTo>
                  <a:pt x="f84" y="f38"/>
                </a:lnTo>
                <a:lnTo>
                  <a:pt x="f84" y="f39"/>
                </a:lnTo>
                <a:lnTo>
                  <a:pt x="f83" y="f40"/>
                </a:lnTo>
                <a:lnTo>
                  <a:pt x="f82" y="f40"/>
                </a:lnTo>
                <a:lnTo>
                  <a:pt x="f85" y="f39"/>
                </a:lnTo>
                <a:lnTo>
                  <a:pt x="f85" y="f38"/>
                </a:lnTo>
                <a:close/>
                <a:moveTo>
                  <a:pt x="f86" y="f36"/>
                </a:moveTo>
                <a:lnTo>
                  <a:pt x="f87" y="f36"/>
                </a:lnTo>
                <a:lnTo>
                  <a:pt x="f88" y="f38"/>
                </a:lnTo>
                <a:lnTo>
                  <a:pt x="f88" y="f39"/>
                </a:lnTo>
                <a:lnTo>
                  <a:pt x="f87" y="f40"/>
                </a:lnTo>
                <a:lnTo>
                  <a:pt x="f86" y="f40"/>
                </a:lnTo>
                <a:lnTo>
                  <a:pt x="f89" y="f39"/>
                </a:lnTo>
                <a:lnTo>
                  <a:pt x="f89" y="f38"/>
                </a:lnTo>
                <a:close/>
                <a:moveTo>
                  <a:pt x="f90" y="f36"/>
                </a:moveTo>
                <a:lnTo>
                  <a:pt x="f91" y="f36"/>
                </a:lnTo>
                <a:lnTo>
                  <a:pt x="f92" y="f38"/>
                </a:lnTo>
                <a:lnTo>
                  <a:pt x="f92" y="f39"/>
                </a:lnTo>
                <a:lnTo>
                  <a:pt x="f91" y="f40"/>
                </a:lnTo>
                <a:lnTo>
                  <a:pt x="f90" y="f40"/>
                </a:lnTo>
                <a:lnTo>
                  <a:pt x="f93" y="f39"/>
                </a:lnTo>
                <a:lnTo>
                  <a:pt x="f93" y="f38"/>
                </a:lnTo>
                <a:close/>
                <a:moveTo>
                  <a:pt x="f94" y="f36"/>
                </a:moveTo>
                <a:lnTo>
                  <a:pt x="f95" y="f36"/>
                </a:lnTo>
                <a:lnTo>
                  <a:pt x="f96" y="f38"/>
                </a:lnTo>
                <a:lnTo>
                  <a:pt x="f96" y="f39"/>
                </a:lnTo>
                <a:lnTo>
                  <a:pt x="f95" y="f40"/>
                </a:lnTo>
                <a:lnTo>
                  <a:pt x="f94" y="f40"/>
                </a:lnTo>
                <a:lnTo>
                  <a:pt x="f97" y="f39"/>
                </a:lnTo>
                <a:lnTo>
                  <a:pt x="f97" y="f38"/>
                </a:lnTo>
                <a:close/>
                <a:moveTo>
                  <a:pt x="f98" y="f36"/>
                </a:moveTo>
                <a:lnTo>
                  <a:pt x="f99" y="f36"/>
                </a:lnTo>
                <a:lnTo>
                  <a:pt x="f100" y="f38"/>
                </a:lnTo>
                <a:lnTo>
                  <a:pt x="f100" y="f39"/>
                </a:lnTo>
                <a:lnTo>
                  <a:pt x="f99" y="f40"/>
                </a:lnTo>
                <a:lnTo>
                  <a:pt x="f98" y="f40"/>
                </a:lnTo>
                <a:lnTo>
                  <a:pt x="f101" y="f39"/>
                </a:lnTo>
                <a:lnTo>
                  <a:pt x="f101" y="f38"/>
                </a:lnTo>
                <a:close/>
                <a:moveTo>
                  <a:pt x="f102" y="f36"/>
                </a:moveTo>
                <a:lnTo>
                  <a:pt x="f103" y="f36"/>
                </a:lnTo>
                <a:lnTo>
                  <a:pt x="f104" y="f38"/>
                </a:lnTo>
                <a:lnTo>
                  <a:pt x="f104" y="f39"/>
                </a:lnTo>
                <a:lnTo>
                  <a:pt x="f103" y="f40"/>
                </a:lnTo>
                <a:lnTo>
                  <a:pt x="f102" y="f40"/>
                </a:lnTo>
                <a:lnTo>
                  <a:pt x="f105" y="f39"/>
                </a:lnTo>
                <a:lnTo>
                  <a:pt x="f105" y="f38"/>
                </a:lnTo>
                <a:close/>
                <a:moveTo>
                  <a:pt x="f106" y="f36"/>
                </a:moveTo>
                <a:lnTo>
                  <a:pt x="f107" y="f36"/>
                </a:lnTo>
                <a:lnTo>
                  <a:pt x="f108" y="f38"/>
                </a:lnTo>
                <a:lnTo>
                  <a:pt x="f108" y="f39"/>
                </a:lnTo>
                <a:lnTo>
                  <a:pt x="f107" y="f40"/>
                </a:lnTo>
                <a:lnTo>
                  <a:pt x="f106" y="f40"/>
                </a:lnTo>
                <a:lnTo>
                  <a:pt x="f109" y="f39"/>
                </a:lnTo>
                <a:lnTo>
                  <a:pt x="f109" y="f38"/>
                </a:lnTo>
                <a:close/>
                <a:moveTo>
                  <a:pt x="f110" y="f36"/>
                </a:moveTo>
                <a:lnTo>
                  <a:pt x="f111" y="f36"/>
                </a:lnTo>
                <a:lnTo>
                  <a:pt x="f112" y="f38"/>
                </a:lnTo>
                <a:lnTo>
                  <a:pt x="f112" y="f39"/>
                </a:lnTo>
                <a:lnTo>
                  <a:pt x="f111" y="f40"/>
                </a:lnTo>
                <a:lnTo>
                  <a:pt x="f110" y="f40"/>
                </a:lnTo>
                <a:lnTo>
                  <a:pt x="f113" y="f39"/>
                </a:lnTo>
                <a:lnTo>
                  <a:pt x="f113" y="f38"/>
                </a:lnTo>
                <a:close/>
                <a:moveTo>
                  <a:pt x="f114" y="f36"/>
                </a:moveTo>
                <a:lnTo>
                  <a:pt x="f115" y="f36"/>
                </a:lnTo>
                <a:lnTo>
                  <a:pt x="f116" y="f38"/>
                </a:lnTo>
                <a:lnTo>
                  <a:pt x="f116" y="f39"/>
                </a:lnTo>
                <a:lnTo>
                  <a:pt x="f115" y="f40"/>
                </a:lnTo>
                <a:lnTo>
                  <a:pt x="f114" y="f40"/>
                </a:lnTo>
                <a:lnTo>
                  <a:pt x="f117" y="f39"/>
                </a:lnTo>
                <a:lnTo>
                  <a:pt x="f117" y="f38"/>
                </a:lnTo>
                <a:close/>
                <a:moveTo>
                  <a:pt x="f118" y="f36"/>
                </a:moveTo>
                <a:lnTo>
                  <a:pt x="f119" y="f36"/>
                </a:lnTo>
                <a:lnTo>
                  <a:pt x="f120" y="f38"/>
                </a:lnTo>
                <a:lnTo>
                  <a:pt x="f120" y="f39"/>
                </a:lnTo>
                <a:lnTo>
                  <a:pt x="f119" y="f40"/>
                </a:lnTo>
                <a:lnTo>
                  <a:pt x="f118" y="f40"/>
                </a:lnTo>
                <a:lnTo>
                  <a:pt x="f121" y="f39"/>
                </a:lnTo>
                <a:lnTo>
                  <a:pt x="f121" y="f38"/>
                </a:lnTo>
                <a:close/>
                <a:moveTo>
                  <a:pt x="f122" y="f36"/>
                </a:moveTo>
                <a:lnTo>
                  <a:pt x="f123" y="f36"/>
                </a:lnTo>
                <a:lnTo>
                  <a:pt x="f124" y="f38"/>
                </a:lnTo>
                <a:lnTo>
                  <a:pt x="f124" y="f39"/>
                </a:lnTo>
                <a:lnTo>
                  <a:pt x="f123" y="f40"/>
                </a:lnTo>
                <a:lnTo>
                  <a:pt x="f122" y="f40"/>
                </a:lnTo>
                <a:lnTo>
                  <a:pt x="f125" y="f39"/>
                </a:lnTo>
                <a:lnTo>
                  <a:pt x="f125" y="f38"/>
                </a:lnTo>
                <a:close/>
                <a:moveTo>
                  <a:pt x="f126" y="f36"/>
                </a:moveTo>
                <a:lnTo>
                  <a:pt x="f127" y="f36"/>
                </a:lnTo>
                <a:lnTo>
                  <a:pt x="f128" y="f38"/>
                </a:lnTo>
                <a:lnTo>
                  <a:pt x="f128" y="f39"/>
                </a:lnTo>
                <a:lnTo>
                  <a:pt x="f127" y="f40"/>
                </a:lnTo>
                <a:lnTo>
                  <a:pt x="f126" y="f40"/>
                </a:lnTo>
                <a:lnTo>
                  <a:pt x="f129" y="f39"/>
                </a:lnTo>
                <a:lnTo>
                  <a:pt x="f129" y="f38"/>
                </a:lnTo>
                <a:close/>
                <a:moveTo>
                  <a:pt x="f130" y="f36"/>
                </a:moveTo>
                <a:lnTo>
                  <a:pt x="f131" y="f36"/>
                </a:lnTo>
                <a:lnTo>
                  <a:pt x="f132" y="f38"/>
                </a:lnTo>
                <a:lnTo>
                  <a:pt x="f132" y="f39"/>
                </a:lnTo>
                <a:lnTo>
                  <a:pt x="f131" y="f40"/>
                </a:lnTo>
                <a:lnTo>
                  <a:pt x="f130" y="f40"/>
                </a:lnTo>
                <a:lnTo>
                  <a:pt x="f133" y="f39"/>
                </a:lnTo>
                <a:lnTo>
                  <a:pt x="f133" y="f38"/>
                </a:lnTo>
                <a:close/>
                <a:moveTo>
                  <a:pt x="f134" y="f36"/>
                </a:moveTo>
                <a:lnTo>
                  <a:pt x="f135" y="f36"/>
                </a:lnTo>
                <a:lnTo>
                  <a:pt x="f136" y="f38"/>
                </a:lnTo>
                <a:lnTo>
                  <a:pt x="f136" y="f39"/>
                </a:lnTo>
                <a:lnTo>
                  <a:pt x="f135" y="f40"/>
                </a:lnTo>
                <a:lnTo>
                  <a:pt x="f134" y="f40"/>
                </a:lnTo>
                <a:lnTo>
                  <a:pt x="f137" y="f39"/>
                </a:lnTo>
                <a:lnTo>
                  <a:pt x="f137" y="f38"/>
                </a:lnTo>
                <a:close/>
                <a:moveTo>
                  <a:pt x="f138" y="f36"/>
                </a:moveTo>
                <a:lnTo>
                  <a:pt x="f139" y="f36"/>
                </a:lnTo>
                <a:lnTo>
                  <a:pt x="f140" y="f38"/>
                </a:lnTo>
                <a:lnTo>
                  <a:pt x="f140" y="f39"/>
                </a:lnTo>
                <a:lnTo>
                  <a:pt x="f139" y="f40"/>
                </a:lnTo>
                <a:lnTo>
                  <a:pt x="f138" y="f40"/>
                </a:lnTo>
                <a:lnTo>
                  <a:pt x="f141" y="f39"/>
                </a:lnTo>
                <a:lnTo>
                  <a:pt x="f141" y="f38"/>
                </a:lnTo>
                <a:close/>
                <a:moveTo>
                  <a:pt x="f142" y="f36"/>
                </a:moveTo>
                <a:lnTo>
                  <a:pt x="f143" y="f36"/>
                </a:lnTo>
                <a:lnTo>
                  <a:pt x="f144" y="f38"/>
                </a:lnTo>
                <a:lnTo>
                  <a:pt x="f144" y="f39"/>
                </a:lnTo>
                <a:lnTo>
                  <a:pt x="f143" y="f40"/>
                </a:lnTo>
                <a:lnTo>
                  <a:pt x="f142" y="f40"/>
                </a:lnTo>
                <a:lnTo>
                  <a:pt x="f145" y="f39"/>
                </a:lnTo>
                <a:lnTo>
                  <a:pt x="f145" y="f38"/>
                </a:lnTo>
                <a:close/>
                <a:moveTo>
                  <a:pt x="f146" y="f36"/>
                </a:moveTo>
                <a:lnTo>
                  <a:pt x="f147" y="f36"/>
                </a:lnTo>
                <a:lnTo>
                  <a:pt x="f148" y="f38"/>
                </a:lnTo>
                <a:lnTo>
                  <a:pt x="f148" y="f39"/>
                </a:lnTo>
                <a:lnTo>
                  <a:pt x="f147" y="f40"/>
                </a:lnTo>
                <a:lnTo>
                  <a:pt x="f146" y="f40"/>
                </a:lnTo>
                <a:lnTo>
                  <a:pt x="f149" y="f39"/>
                </a:lnTo>
                <a:lnTo>
                  <a:pt x="f149" y="f38"/>
                </a:lnTo>
                <a:close/>
                <a:moveTo>
                  <a:pt x="f150" y="f36"/>
                </a:moveTo>
                <a:lnTo>
                  <a:pt x="f151" y="f36"/>
                </a:lnTo>
                <a:lnTo>
                  <a:pt x="f152" y="f38"/>
                </a:lnTo>
                <a:lnTo>
                  <a:pt x="f152" y="f39"/>
                </a:lnTo>
                <a:lnTo>
                  <a:pt x="f151" y="f40"/>
                </a:lnTo>
                <a:lnTo>
                  <a:pt x="f150" y="f40"/>
                </a:lnTo>
                <a:lnTo>
                  <a:pt x="f153" y="f39"/>
                </a:lnTo>
                <a:lnTo>
                  <a:pt x="f153" y="f38"/>
                </a:lnTo>
                <a:close/>
                <a:moveTo>
                  <a:pt x="f154" y="f36"/>
                </a:moveTo>
                <a:lnTo>
                  <a:pt x="f155" y="f36"/>
                </a:lnTo>
                <a:lnTo>
                  <a:pt x="f156" y="f38"/>
                </a:lnTo>
                <a:lnTo>
                  <a:pt x="f156" y="f39"/>
                </a:lnTo>
                <a:lnTo>
                  <a:pt x="f155" y="f40"/>
                </a:lnTo>
                <a:lnTo>
                  <a:pt x="f154" y="f40"/>
                </a:lnTo>
                <a:lnTo>
                  <a:pt x="f157" y="f39"/>
                </a:lnTo>
                <a:lnTo>
                  <a:pt x="f157" y="f38"/>
                </a:lnTo>
                <a:close/>
                <a:moveTo>
                  <a:pt x="f158" y="f36"/>
                </a:moveTo>
                <a:lnTo>
                  <a:pt x="f159" y="f36"/>
                </a:lnTo>
                <a:lnTo>
                  <a:pt x="f160" y="f38"/>
                </a:lnTo>
                <a:lnTo>
                  <a:pt x="f160" y="f39"/>
                </a:lnTo>
                <a:lnTo>
                  <a:pt x="f159" y="f40"/>
                </a:lnTo>
                <a:lnTo>
                  <a:pt x="f158" y="f40"/>
                </a:lnTo>
                <a:lnTo>
                  <a:pt x="f161" y="f39"/>
                </a:lnTo>
                <a:lnTo>
                  <a:pt x="f161" y="f38"/>
                </a:lnTo>
                <a:close/>
                <a:moveTo>
                  <a:pt x="f162" y="f36"/>
                </a:moveTo>
                <a:lnTo>
                  <a:pt x="f163" y="f36"/>
                </a:lnTo>
                <a:lnTo>
                  <a:pt x="f164" y="f38"/>
                </a:lnTo>
                <a:lnTo>
                  <a:pt x="f164" y="f39"/>
                </a:lnTo>
                <a:lnTo>
                  <a:pt x="f163" y="f40"/>
                </a:lnTo>
                <a:lnTo>
                  <a:pt x="f162" y="f40"/>
                </a:lnTo>
                <a:lnTo>
                  <a:pt x="f165" y="f39"/>
                </a:lnTo>
                <a:lnTo>
                  <a:pt x="f165" y="f38"/>
                </a:lnTo>
                <a:close/>
                <a:moveTo>
                  <a:pt x="f166" y="f36"/>
                </a:moveTo>
                <a:lnTo>
                  <a:pt x="f167" y="f36"/>
                </a:lnTo>
                <a:lnTo>
                  <a:pt x="f168" y="f38"/>
                </a:lnTo>
                <a:lnTo>
                  <a:pt x="f168" y="f39"/>
                </a:lnTo>
                <a:lnTo>
                  <a:pt x="f167" y="f40"/>
                </a:lnTo>
                <a:lnTo>
                  <a:pt x="f166" y="f40"/>
                </a:lnTo>
                <a:lnTo>
                  <a:pt x="f169" y="f39"/>
                </a:lnTo>
                <a:lnTo>
                  <a:pt x="f169" y="f38"/>
                </a:lnTo>
                <a:close/>
                <a:moveTo>
                  <a:pt x="f170" y="f36"/>
                </a:moveTo>
                <a:lnTo>
                  <a:pt x="f171" y="f36"/>
                </a:lnTo>
                <a:lnTo>
                  <a:pt x="f172" y="f38"/>
                </a:lnTo>
                <a:lnTo>
                  <a:pt x="f172" y="f39"/>
                </a:lnTo>
                <a:lnTo>
                  <a:pt x="f171" y="f40"/>
                </a:lnTo>
                <a:lnTo>
                  <a:pt x="f170" y="f40"/>
                </a:lnTo>
                <a:lnTo>
                  <a:pt x="f173" y="f39"/>
                </a:lnTo>
                <a:lnTo>
                  <a:pt x="f173" y="f38"/>
                </a:lnTo>
                <a:close/>
                <a:moveTo>
                  <a:pt x="f174" y="f36"/>
                </a:moveTo>
                <a:lnTo>
                  <a:pt x="f175" y="f36"/>
                </a:lnTo>
                <a:lnTo>
                  <a:pt x="f176" y="f38"/>
                </a:lnTo>
                <a:lnTo>
                  <a:pt x="f176" y="f39"/>
                </a:lnTo>
                <a:lnTo>
                  <a:pt x="f175" y="f40"/>
                </a:lnTo>
                <a:lnTo>
                  <a:pt x="f174" y="f40"/>
                </a:lnTo>
                <a:lnTo>
                  <a:pt x="f5" y="f39"/>
                </a:lnTo>
                <a:lnTo>
                  <a:pt x="f5" y="f38"/>
                </a:lnTo>
                <a:close/>
                <a:moveTo>
                  <a:pt x="f35" y="f177"/>
                </a:moveTo>
                <a:lnTo>
                  <a:pt x="f37" y="f177"/>
                </a:lnTo>
                <a:lnTo>
                  <a:pt x="f6" y="f178"/>
                </a:lnTo>
                <a:lnTo>
                  <a:pt x="f6" y="f179"/>
                </a:lnTo>
                <a:lnTo>
                  <a:pt x="f37" y="f180"/>
                </a:lnTo>
                <a:lnTo>
                  <a:pt x="f35" y="f180"/>
                </a:lnTo>
                <a:lnTo>
                  <a:pt x="f41" y="f179"/>
                </a:lnTo>
                <a:lnTo>
                  <a:pt x="f41" y="f178"/>
                </a:lnTo>
                <a:close/>
                <a:moveTo>
                  <a:pt x="f42" y="f177"/>
                </a:moveTo>
                <a:lnTo>
                  <a:pt x="f43" y="f177"/>
                </a:lnTo>
                <a:lnTo>
                  <a:pt x="f44" y="f178"/>
                </a:lnTo>
                <a:lnTo>
                  <a:pt x="f44" y="f179"/>
                </a:lnTo>
                <a:lnTo>
                  <a:pt x="f43" y="f180"/>
                </a:lnTo>
                <a:lnTo>
                  <a:pt x="f42" y="f180"/>
                </a:lnTo>
                <a:lnTo>
                  <a:pt x="f45" y="f179"/>
                </a:lnTo>
                <a:lnTo>
                  <a:pt x="f45" y="f178"/>
                </a:lnTo>
                <a:close/>
                <a:moveTo>
                  <a:pt x="f46" y="f177"/>
                </a:moveTo>
                <a:lnTo>
                  <a:pt x="f47" y="f177"/>
                </a:lnTo>
                <a:lnTo>
                  <a:pt x="f48" y="f178"/>
                </a:lnTo>
                <a:lnTo>
                  <a:pt x="f48" y="f179"/>
                </a:lnTo>
                <a:lnTo>
                  <a:pt x="f47" y="f180"/>
                </a:lnTo>
                <a:lnTo>
                  <a:pt x="f46" y="f180"/>
                </a:lnTo>
                <a:lnTo>
                  <a:pt x="f49" y="f179"/>
                </a:lnTo>
                <a:lnTo>
                  <a:pt x="f49" y="f178"/>
                </a:lnTo>
                <a:close/>
                <a:moveTo>
                  <a:pt x="f50" y="f177"/>
                </a:moveTo>
                <a:lnTo>
                  <a:pt x="f51" y="f177"/>
                </a:lnTo>
                <a:lnTo>
                  <a:pt x="f52" y="f178"/>
                </a:lnTo>
                <a:lnTo>
                  <a:pt x="f52" y="f179"/>
                </a:lnTo>
                <a:lnTo>
                  <a:pt x="f51" y="f180"/>
                </a:lnTo>
                <a:lnTo>
                  <a:pt x="f50" y="f180"/>
                </a:lnTo>
                <a:lnTo>
                  <a:pt x="f53" y="f179"/>
                </a:lnTo>
                <a:lnTo>
                  <a:pt x="f53" y="f178"/>
                </a:lnTo>
                <a:close/>
                <a:moveTo>
                  <a:pt x="f54" y="f177"/>
                </a:moveTo>
                <a:lnTo>
                  <a:pt x="f55" y="f177"/>
                </a:lnTo>
                <a:lnTo>
                  <a:pt x="f56" y="f178"/>
                </a:lnTo>
                <a:lnTo>
                  <a:pt x="f56" y="f179"/>
                </a:lnTo>
                <a:lnTo>
                  <a:pt x="f55" y="f180"/>
                </a:lnTo>
                <a:lnTo>
                  <a:pt x="f54" y="f180"/>
                </a:lnTo>
                <a:lnTo>
                  <a:pt x="f57" y="f179"/>
                </a:lnTo>
                <a:lnTo>
                  <a:pt x="f57" y="f178"/>
                </a:lnTo>
                <a:close/>
                <a:moveTo>
                  <a:pt x="f58" y="f177"/>
                </a:moveTo>
                <a:lnTo>
                  <a:pt x="f59" y="f177"/>
                </a:lnTo>
                <a:lnTo>
                  <a:pt x="f60" y="f178"/>
                </a:lnTo>
                <a:lnTo>
                  <a:pt x="f60" y="f179"/>
                </a:lnTo>
                <a:lnTo>
                  <a:pt x="f59" y="f180"/>
                </a:lnTo>
                <a:lnTo>
                  <a:pt x="f58" y="f180"/>
                </a:lnTo>
                <a:lnTo>
                  <a:pt x="f61" y="f179"/>
                </a:lnTo>
                <a:lnTo>
                  <a:pt x="f61" y="f178"/>
                </a:lnTo>
                <a:close/>
                <a:moveTo>
                  <a:pt x="f62" y="f177"/>
                </a:moveTo>
                <a:lnTo>
                  <a:pt x="f63" y="f177"/>
                </a:lnTo>
                <a:lnTo>
                  <a:pt x="f64" y="f178"/>
                </a:lnTo>
                <a:lnTo>
                  <a:pt x="f64" y="f179"/>
                </a:lnTo>
                <a:lnTo>
                  <a:pt x="f63" y="f180"/>
                </a:lnTo>
                <a:lnTo>
                  <a:pt x="f62" y="f180"/>
                </a:lnTo>
                <a:lnTo>
                  <a:pt x="f65" y="f179"/>
                </a:lnTo>
                <a:lnTo>
                  <a:pt x="f65" y="f178"/>
                </a:lnTo>
                <a:close/>
                <a:moveTo>
                  <a:pt x="f66" y="f177"/>
                </a:moveTo>
                <a:lnTo>
                  <a:pt x="f67" y="f177"/>
                </a:lnTo>
                <a:lnTo>
                  <a:pt x="f68" y="f178"/>
                </a:lnTo>
                <a:lnTo>
                  <a:pt x="f68" y="f179"/>
                </a:lnTo>
                <a:lnTo>
                  <a:pt x="f67" y="f180"/>
                </a:lnTo>
                <a:lnTo>
                  <a:pt x="f66" y="f180"/>
                </a:lnTo>
                <a:lnTo>
                  <a:pt x="f69" y="f179"/>
                </a:lnTo>
                <a:lnTo>
                  <a:pt x="f69" y="f178"/>
                </a:lnTo>
                <a:close/>
                <a:moveTo>
                  <a:pt x="f70" y="f177"/>
                </a:moveTo>
                <a:lnTo>
                  <a:pt x="f71" y="f177"/>
                </a:lnTo>
                <a:lnTo>
                  <a:pt x="f72" y="f178"/>
                </a:lnTo>
                <a:lnTo>
                  <a:pt x="f72" y="f179"/>
                </a:lnTo>
                <a:lnTo>
                  <a:pt x="f71" y="f180"/>
                </a:lnTo>
                <a:lnTo>
                  <a:pt x="f70" y="f180"/>
                </a:lnTo>
                <a:lnTo>
                  <a:pt x="f73" y="f179"/>
                </a:lnTo>
                <a:lnTo>
                  <a:pt x="f73" y="f178"/>
                </a:lnTo>
                <a:close/>
                <a:moveTo>
                  <a:pt x="f74" y="f177"/>
                </a:moveTo>
                <a:lnTo>
                  <a:pt x="f75" y="f177"/>
                </a:lnTo>
                <a:lnTo>
                  <a:pt x="f76" y="f178"/>
                </a:lnTo>
                <a:lnTo>
                  <a:pt x="f76" y="f179"/>
                </a:lnTo>
                <a:lnTo>
                  <a:pt x="f75" y="f180"/>
                </a:lnTo>
                <a:lnTo>
                  <a:pt x="f74" y="f180"/>
                </a:lnTo>
                <a:lnTo>
                  <a:pt x="f77" y="f179"/>
                </a:lnTo>
                <a:lnTo>
                  <a:pt x="f77" y="f178"/>
                </a:lnTo>
                <a:close/>
                <a:moveTo>
                  <a:pt x="f78" y="f177"/>
                </a:moveTo>
                <a:lnTo>
                  <a:pt x="f79" y="f177"/>
                </a:lnTo>
                <a:lnTo>
                  <a:pt x="f80" y="f178"/>
                </a:lnTo>
                <a:lnTo>
                  <a:pt x="f80" y="f179"/>
                </a:lnTo>
                <a:lnTo>
                  <a:pt x="f79" y="f180"/>
                </a:lnTo>
                <a:lnTo>
                  <a:pt x="f78" y="f180"/>
                </a:lnTo>
                <a:lnTo>
                  <a:pt x="f81" y="f179"/>
                </a:lnTo>
                <a:lnTo>
                  <a:pt x="f81" y="f178"/>
                </a:lnTo>
                <a:close/>
                <a:moveTo>
                  <a:pt x="f82" y="f177"/>
                </a:moveTo>
                <a:lnTo>
                  <a:pt x="f83" y="f177"/>
                </a:lnTo>
                <a:lnTo>
                  <a:pt x="f84" y="f178"/>
                </a:lnTo>
                <a:lnTo>
                  <a:pt x="f84" y="f179"/>
                </a:lnTo>
                <a:lnTo>
                  <a:pt x="f83" y="f180"/>
                </a:lnTo>
                <a:lnTo>
                  <a:pt x="f82" y="f180"/>
                </a:lnTo>
                <a:lnTo>
                  <a:pt x="f85" y="f179"/>
                </a:lnTo>
                <a:lnTo>
                  <a:pt x="f85" y="f178"/>
                </a:lnTo>
                <a:close/>
                <a:moveTo>
                  <a:pt x="f86" y="f177"/>
                </a:moveTo>
                <a:lnTo>
                  <a:pt x="f87" y="f177"/>
                </a:lnTo>
                <a:lnTo>
                  <a:pt x="f88" y="f178"/>
                </a:lnTo>
                <a:lnTo>
                  <a:pt x="f88" y="f179"/>
                </a:lnTo>
                <a:lnTo>
                  <a:pt x="f87" y="f180"/>
                </a:lnTo>
                <a:lnTo>
                  <a:pt x="f86" y="f180"/>
                </a:lnTo>
                <a:lnTo>
                  <a:pt x="f89" y="f179"/>
                </a:lnTo>
                <a:lnTo>
                  <a:pt x="f89" y="f178"/>
                </a:lnTo>
                <a:close/>
                <a:moveTo>
                  <a:pt x="f90" y="f177"/>
                </a:moveTo>
                <a:lnTo>
                  <a:pt x="f91" y="f177"/>
                </a:lnTo>
                <a:lnTo>
                  <a:pt x="f92" y="f178"/>
                </a:lnTo>
                <a:lnTo>
                  <a:pt x="f92" y="f179"/>
                </a:lnTo>
                <a:lnTo>
                  <a:pt x="f91" y="f180"/>
                </a:lnTo>
                <a:lnTo>
                  <a:pt x="f90" y="f180"/>
                </a:lnTo>
                <a:lnTo>
                  <a:pt x="f93" y="f179"/>
                </a:lnTo>
                <a:lnTo>
                  <a:pt x="f93" y="f178"/>
                </a:lnTo>
                <a:close/>
                <a:moveTo>
                  <a:pt x="f94" y="f177"/>
                </a:moveTo>
                <a:lnTo>
                  <a:pt x="f95" y="f177"/>
                </a:lnTo>
                <a:lnTo>
                  <a:pt x="f96" y="f178"/>
                </a:lnTo>
                <a:lnTo>
                  <a:pt x="f96" y="f179"/>
                </a:lnTo>
                <a:lnTo>
                  <a:pt x="f95" y="f180"/>
                </a:lnTo>
                <a:lnTo>
                  <a:pt x="f94" y="f180"/>
                </a:lnTo>
                <a:lnTo>
                  <a:pt x="f97" y="f179"/>
                </a:lnTo>
                <a:lnTo>
                  <a:pt x="f97" y="f178"/>
                </a:lnTo>
                <a:close/>
                <a:moveTo>
                  <a:pt x="f98" y="f177"/>
                </a:moveTo>
                <a:lnTo>
                  <a:pt x="f99" y="f177"/>
                </a:lnTo>
                <a:lnTo>
                  <a:pt x="f100" y="f178"/>
                </a:lnTo>
                <a:lnTo>
                  <a:pt x="f100" y="f179"/>
                </a:lnTo>
                <a:lnTo>
                  <a:pt x="f99" y="f180"/>
                </a:lnTo>
                <a:lnTo>
                  <a:pt x="f98" y="f180"/>
                </a:lnTo>
                <a:lnTo>
                  <a:pt x="f101" y="f179"/>
                </a:lnTo>
                <a:lnTo>
                  <a:pt x="f101" y="f178"/>
                </a:lnTo>
                <a:close/>
                <a:moveTo>
                  <a:pt x="f102" y="f177"/>
                </a:moveTo>
                <a:lnTo>
                  <a:pt x="f103" y="f177"/>
                </a:lnTo>
                <a:lnTo>
                  <a:pt x="f104" y="f178"/>
                </a:lnTo>
                <a:lnTo>
                  <a:pt x="f104" y="f179"/>
                </a:lnTo>
                <a:lnTo>
                  <a:pt x="f103" y="f180"/>
                </a:lnTo>
                <a:lnTo>
                  <a:pt x="f102" y="f180"/>
                </a:lnTo>
                <a:lnTo>
                  <a:pt x="f105" y="f179"/>
                </a:lnTo>
                <a:lnTo>
                  <a:pt x="f105" y="f178"/>
                </a:lnTo>
                <a:close/>
                <a:moveTo>
                  <a:pt x="f106" y="f177"/>
                </a:moveTo>
                <a:lnTo>
                  <a:pt x="f107" y="f177"/>
                </a:lnTo>
                <a:lnTo>
                  <a:pt x="f108" y="f178"/>
                </a:lnTo>
                <a:lnTo>
                  <a:pt x="f108" y="f179"/>
                </a:lnTo>
                <a:lnTo>
                  <a:pt x="f107" y="f180"/>
                </a:lnTo>
                <a:lnTo>
                  <a:pt x="f106" y="f180"/>
                </a:lnTo>
                <a:lnTo>
                  <a:pt x="f109" y="f179"/>
                </a:lnTo>
                <a:lnTo>
                  <a:pt x="f109" y="f178"/>
                </a:lnTo>
                <a:close/>
                <a:moveTo>
                  <a:pt x="f110" y="f177"/>
                </a:moveTo>
                <a:lnTo>
                  <a:pt x="f111" y="f177"/>
                </a:lnTo>
                <a:lnTo>
                  <a:pt x="f112" y="f178"/>
                </a:lnTo>
                <a:lnTo>
                  <a:pt x="f112" y="f179"/>
                </a:lnTo>
                <a:lnTo>
                  <a:pt x="f111" y="f180"/>
                </a:lnTo>
                <a:lnTo>
                  <a:pt x="f110" y="f180"/>
                </a:lnTo>
                <a:lnTo>
                  <a:pt x="f113" y="f179"/>
                </a:lnTo>
                <a:lnTo>
                  <a:pt x="f113" y="f178"/>
                </a:lnTo>
                <a:close/>
                <a:moveTo>
                  <a:pt x="f114" y="f177"/>
                </a:moveTo>
                <a:lnTo>
                  <a:pt x="f115" y="f177"/>
                </a:lnTo>
                <a:lnTo>
                  <a:pt x="f116" y="f178"/>
                </a:lnTo>
                <a:lnTo>
                  <a:pt x="f116" y="f179"/>
                </a:lnTo>
                <a:lnTo>
                  <a:pt x="f115" y="f180"/>
                </a:lnTo>
                <a:lnTo>
                  <a:pt x="f114" y="f180"/>
                </a:lnTo>
                <a:lnTo>
                  <a:pt x="f117" y="f179"/>
                </a:lnTo>
                <a:lnTo>
                  <a:pt x="f117" y="f178"/>
                </a:lnTo>
                <a:close/>
                <a:moveTo>
                  <a:pt x="f118" y="f177"/>
                </a:moveTo>
                <a:lnTo>
                  <a:pt x="f119" y="f177"/>
                </a:lnTo>
                <a:lnTo>
                  <a:pt x="f120" y="f178"/>
                </a:lnTo>
                <a:lnTo>
                  <a:pt x="f120" y="f179"/>
                </a:lnTo>
                <a:lnTo>
                  <a:pt x="f119" y="f180"/>
                </a:lnTo>
                <a:lnTo>
                  <a:pt x="f118" y="f180"/>
                </a:lnTo>
                <a:lnTo>
                  <a:pt x="f121" y="f179"/>
                </a:lnTo>
                <a:lnTo>
                  <a:pt x="f121" y="f178"/>
                </a:lnTo>
                <a:close/>
                <a:moveTo>
                  <a:pt x="f122" y="f177"/>
                </a:moveTo>
                <a:lnTo>
                  <a:pt x="f123" y="f177"/>
                </a:lnTo>
                <a:lnTo>
                  <a:pt x="f124" y="f178"/>
                </a:lnTo>
                <a:lnTo>
                  <a:pt x="f124" y="f179"/>
                </a:lnTo>
                <a:lnTo>
                  <a:pt x="f123" y="f180"/>
                </a:lnTo>
                <a:lnTo>
                  <a:pt x="f122" y="f180"/>
                </a:lnTo>
                <a:lnTo>
                  <a:pt x="f125" y="f179"/>
                </a:lnTo>
                <a:lnTo>
                  <a:pt x="f125" y="f178"/>
                </a:lnTo>
                <a:close/>
                <a:moveTo>
                  <a:pt x="f126" y="f177"/>
                </a:moveTo>
                <a:lnTo>
                  <a:pt x="f127" y="f177"/>
                </a:lnTo>
                <a:lnTo>
                  <a:pt x="f128" y="f178"/>
                </a:lnTo>
                <a:lnTo>
                  <a:pt x="f128" y="f179"/>
                </a:lnTo>
                <a:lnTo>
                  <a:pt x="f127" y="f180"/>
                </a:lnTo>
                <a:lnTo>
                  <a:pt x="f126" y="f180"/>
                </a:lnTo>
                <a:lnTo>
                  <a:pt x="f129" y="f179"/>
                </a:lnTo>
                <a:lnTo>
                  <a:pt x="f129" y="f178"/>
                </a:lnTo>
                <a:close/>
                <a:moveTo>
                  <a:pt x="f130" y="f177"/>
                </a:moveTo>
                <a:lnTo>
                  <a:pt x="f131" y="f177"/>
                </a:lnTo>
                <a:lnTo>
                  <a:pt x="f132" y="f178"/>
                </a:lnTo>
                <a:lnTo>
                  <a:pt x="f132" y="f179"/>
                </a:lnTo>
                <a:lnTo>
                  <a:pt x="f131" y="f180"/>
                </a:lnTo>
                <a:lnTo>
                  <a:pt x="f130" y="f180"/>
                </a:lnTo>
                <a:lnTo>
                  <a:pt x="f133" y="f179"/>
                </a:lnTo>
                <a:lnTo>
                  <a:pt x="f133" y="f178"/>
                </a:lnTo>
                <a:close/>
                <a:moveTo>
                  <a:pt x="f134" y="f177"/>
                </a:moveTo>
                <a:lnTo>
                  <a:pt x="f135" y="f177"/>
                </a:lnTo>
                <a:lnTo>
                  <a:pt x="f136" y="f178"/>
                </a:lnTo>
                <a:lnTo>
                  <a:pt x="f136" y="f179"/>
                </a:lnTo>
                <a:lnTo>
                  <a:pt x="f135" y="f180"/>
                </a:lnTo>
                <a:lnTo>
                  <a:pt x="f134" y="f180"/>
                </a:lnTo>
                <a:lnTo>
                  <a:pt x="f137" y="f179"/>
                </a:lnTo>
                <a:lnTo>
                  <a:pt x="f137" y="f178"/>
                </a:lnTo>
                <a:close/>
                <a:moveTo>
                  <a:pt x="f138" y="f177"/>
                </a:moveTo>
                <a:lnTo>
                  <a:pt x="f139" y="f177"/>
                </a:lnTo>
                <a:lnTo>
                  <a:pt x="f140" y="f178"/>
                </a:lnTo>
                <a:lnTo>
                  <a:pt x="f140" y="f179"/>
                </a:lnTo>
                <a:lnTo>
                  <a:pt x="f139" y="f180"/>
                </a:lnTo>
                <a:lnTo>
                  <a:pt x="f138" y="f180"/>
                </a:lnTo>
                <a:lnTo>
                  <a:pt x="f141" y="f179"/>
                </a:lnTo>
                <a:lnTo>
                  <a:pt x="f141" y="f178"/>
                </a:lnTo>
                <a:close/>
                <a:moveTo>
                  <a:pt x="f142" y="f177"/>
                </a:moveTo>
                <a:lnTo>
                  <a:pt x="f143" y="f177"/>
                </a:lnTo>
                <a:lnTo>
                  <a:pt x="f144" y="f178"/>
                </a:lnTo>
                <a:lnTo>
                  <a:pt x="f144" y="f179"/>
                </a:lnTo>
                <a:lnTo>
                  <a:pt x="f143" y="f180"/>
                </a:lnTo>
                <a:lnTo>
                  <a:pt x="f142" y="f180"/>
                </a:lnTo>
                <a:lnTo>
                  <a:pt x="f145" y="f179"/>
                </a:lnTo>
                <a:lnTo>
                  <a:pt x="f145" y="f178"/>
                </a:lnTo>
                <a:close/>
                <a:moveTo>
                  <a:pt x="f146" y="f177"/>
                </a:moveTo>
                <a:lnTo>
                  <a:pt x="f147" y="f177"/>
                </a:lnTo>
                <a:lnTo>
                  <a:pt x="f148" y="f178"/>
                </a:lnTo>
                <a:lnTo>
                  <a:pt x="f148" y="f179"/>
                </a:lnTo>
                <a:lnTo>
                  <a:pt x="f147" y="f180"/>
                </a:lnTo>
                <a:lnTo>
                  <a:pt x="f146" y="f180"/>
                </a:lnTo>
                <a:lnTo>
                  <a:pt x="f149" y="f179"/>
                </a:lnTo>
                <a:lnTo>
                  <a:pt x="f149" y="f178"/>
                </a:lnTo>
                <a:close/>
                <a:moveTo>
                  <a:pt x="f150" y="f177"/>
                </a:moveTo>
                <a:lnTo>
                  <a:pt x="f151" y="f177"/>
                </a:lnTo>
                <a:lnTo>
                  <a:pt x="f152" y="f178"/>
                </a:lnTo>
                <a:lnTo>
                  <a:pt x="f152" y="f179"/>
                </a:lnTo>
                <a:lnTo>
                  <a:pt x="f151" y="f180"/>
                </a:lnTo>
                <a:lnTo>
                  <a:pt x="f150" y="f180"/>
                </a:lnTo>
                <a:lnTo>
                  <a:pt x="f153" y="f179"/>
                </a:lnTo>
                <a:lnTo>
                  <a:pt x="f153" y="f178"/>
                </a:lnTo>
                <a:close/>
                <a:moveTo>
                  <a:pt x="f154" y="f177"/>
                </a:moveTo>
                <a:lnTo>
                  <a:pt x="f155" y="f177"/>
                </a:lnTo>
                <a:lnTo>
                  <a:pt x="f156" y="f178"/>
                </a:lnTo>
                <a:lnTo>
                  <a:pt x="f156" y="f179"/>
                </a:lnTo>
                <a:lnTo>
                  <a:pt x="f155" y="f180"/>
                </a:lnTo>
                <a:lnTo>
                  <a:pt x="f154" y="f180"/>
                </a:lnTo>
                <a:lnTo>
                  <a:pt x="f157" y="f179"/>
                </a:lnTo>
                <a:lnTo>
                  <a:pt x="f157" y="f178"/>
                </a:lnTo>
                <a:close/>
                <a:moveTo>
                  <a:pt x="f158" y="f177"/>
                </a:moveTo>
                <a:lnTo>
                  <a:pt x="f159" y="f177"/>
                </a:lnTo>
                <a:lnTo>
                  <a:pt x="f160" y="f178"/>
                </a:lnTo>
                <a:lnTo>
                  <a:pt x="f160" y="f179"/>
                </a:lnTo>
                <a:lnTo>
                  <a:pt x="f159" y="f180"/>
                </a:lnTo>
                <a:lnTo>
                  <a:pt x="f158" y="f180"/>
                </a:lnTo>
                <a:lnTo>
                  <a:pt x="f161" y="f179"/>
                </a:lnTo>
                <a:lnTo>
                  <a:pt x="f161" y="f178"/>
                </a:lnTo>
                <a:close/>
                <a:moveTo>
                  <a:pt x="f181" y="f177"/>
                </a:moveTo>
                <a:lnTo>
                  <a:pt x="f182" y="f177"/>
                </a:lnTo>
                <a:lnTo>
                  <a:pt x="f183" y="f178"/>
                </a:lnTo>
                <a:lnTo>
                  <a:pt x="f183" y="f179"/>
                </a:lnTo>
                <a:lnTo>
                  <a:pt x="f182" y="f180"/>
                </a:lnTo>
                <a:lnTo>
                  <a:pt x="f181" y="f180"/>
                </a:lnTo>
                <a:lnTo>
                  <a:pt x="f184" y="f179"/>
                </a:lnTo>
                <a:lnTo>
                  <a:pt x="f184" y="f178"/>
                </a:lnTo>
                <a:close/>
                <a:moveTo>
                  <a:pt x="f15" y="f177"/>
                </a:moveTo>
                <a:lnTo>
                  <a:pt x="f16" y="f177"/>
                </a:lnTo>
                <a:lnTo>
                  <a:pt x="f185" y="f178"/>
                </a:lnTo>
                <a:lnTo>
                  <a:pt x="f185" y="f179"/>
                </a:lnTo>
                <a:lnTo>
                  <a:pt x="f16" y="f180"/>
                </a:lnTo>
                <a:lnTo>
                  <a:pt x="f15" y="f180"/>
                </a:lnTo>
                <a:lnTo>
                  <a:pt x="f18" y="f179"/>
                </a:lnTo>
                <a:lnTo>
                  <a:pt x="f18" y="f178"/>
                </a:lnTo>
                <a:close/>
                <a:moveTo>
                  <a:pt x="f19" y="f177"/>
                </a:moveTo>
                <a:lnTo>
                  <a:pt x="f20" y="f177"/>
                </a:lnTo>
                <a:lnTo>
                  <a:pt x="f186" y="f178"/>
                </a:lnTo>
                <a:lnTo>
                  <a:pt x="f186" y="f179"/>
                </a:lnTo>
                <a:lnTo>
                  <a:pt x="f20" y="f180"/>
                </a:lnTo>
                <a:lnTo>
                  <a:pt x="f19" y="f180"/>
                </a:lnTo>
                <a:lnTo>
                  <a:pt x="f187" y="f179"/>
                </a:lnTo>
                <a:lnTo>
                  <a:pt x="f187" y="f178"/>
                </a:lnTo>
                <a:close/>
                <a:moveTo>
                  <a:pt x="f23" y="f177"/>
                </a:moveTo>
                <a:lnTo>
                  <a:pt x="f24" y="f177"/>
                </a:lnTo>
                <a:lnTo>
                  <a:pt x="f188" y="f178"/>
                </a:lnTo>
                <a:lnTo>
                  <a:pt x="f188" y="f179"/>
                </a:lnTo>
                <a:lnTo>
                  <a:pt x="f24" y="f180"/>
                </a:lnTo>
                <a:lnTo>
                  <a:pt x="f23" y="f180"/>
                </a:lnTo>
                <a:lnTo>
                  <a:pt x="f189" y="f179"/>
                </a:lnTo>
                <a:lnTo>
                  <a:pt x="f189" y="f178"/>
                </a:lnTo>
                <a:close/>
                <a:moveTo>
                  <a:pt x="f27" y="f177"/>
                </a:moveTo>
                <a:lnTo>
                  <a:pt x="f190" y="f177"/>
                </a:lnTo>
                <a:lnTo>
                  <a:pt x="f191" y="f178"/>
                </a:lnTo>
                <a:lnTo>
                  <a:pt x="f191" y="f179"/>
                </a:lnTo>
                <a:lnTo>
                  <a:pt x="f190" y="f180"/>
                </a:lnTo>
                <a:lnTo>
                  <a:pt x="f27" y="f180"/>
                </a:lnTo>
                <a:lnTo>
                  <a:pt x="f30" y="f179"/>
                </a:lnTo>
                <a:lnTo>
                  <a:pt x="f30" y="f178"/>
                </a:lnTo>
                <a:close/>
                <a:moveTo>
                  <a:pt x="f192" y="f177"/>
                </a:moveTo>
                <a:lnTo>
                  <a:pt x="f32" y="f177"/>
                </a:lnTo>
                <a:lnTo>
                  <a:pt x="f33" y="f178"/>
                </a:lnTo>
                <a:lnTo>
                  <a:pt x="f33" y="f179"/>
                </a:lnTo>
                <a:lnTo>
                  <a:pt x="f32" y="f180"/>
                </a:lnTo>
                <a:lnTo>
                  <a:pt x="f192" y="f180"/>
                </a:lnTo>
                <a:lnTo>
                  <a:pt x="f193" y="f179"/>
                </a:lnTo>
                <a:lnTo>
                  <a:pt x="f193" y="f178"/>
                </a:lnTo>
                <a:close/>
                <a:moveTo>
                  <a:pt x="f194" y="f177"/>
                </a:moveTo>
                <a:lnTo>
                  <a:pt x="f195" y="f177"/>
                </a:lnTo>
                <a:lnTo>
                  <a:pt x="f196" y="f178"/>
                </a:lnTo>
                <a:lnTo>
                  <a:pt x="f196" y="f179"/>
                </a:lnTo>
                <a:lnTo>
                  <a:pt x="f195" y="f180"/>
                </a:lnTo>
                <a:lnTo>
                  <a:pt x="f194" y="f180"/>
                </a:lnTo>
                <a:lnTo>
                  <a:pt x="f197" y="f179"/>
                </a:lnTo>
                <a:lnTo>
                  <a:pt x="f197" y="f178"/>
                </a:lnTo>
                <a:close/>
                <a:moveTo>
                  <a:pt x="f166" y="f177"/>
                </a:moveTo>
                <a:lnTo>
                  <a:pt x="f198" y="f177"/>
                </a:lnTo>
                <a:lnTo>
                  <a:pt x="f199" y="f178"/>
                </a:lnTo>
                <a:lnTo>
                  <a:pt x="f199" y="f179"/>
                </a:lnTo>
                <a:lnTo>
                  <a:pt x="f198" y="f180"/>
                </a:lnTo>
                <a:lnTo>
                  <a:pt x="f166" y="f180"/>
                </a:lnTo>
                <a:lnTo>
                  <a:pt x="f169" y="f179"/>
                </a:lnTo>
                <a:lnTo>
                  <a:pt x="f169" y="f178"/>
                </a:lnTo>
                <a:close/>
                <a:moveTo>
                  <a:pt x="f200" y="f177"/>
                </a:moveTo>
                <a:lnTo>
                  <a:pt x="f201" y="f177"/>
                </a:lnTo>
                <a:lnTo>
                  <a:pt x="f202" y="f178"/>
                </a:lnTo>
                <a:lnTo>
                  <a:pt x="f202" y="f179"/>
                </a:lnTo>
                <a:lnTo>
                  <a:pt x="f201" y="f180"/>
                </a:lnTo>
                <a:lnTo>
                  <a:pt x="f200" y="f180"/>
                </a:lnTo>
                <a:lnTo>
                  <a:pt x="f203" y="f179"/>
                </a:lnTo>
                <a:lnTo>
                  <a:pt x="f203" y="f178"/>
                </a:lnTo>
                <a:close/>
                <a:moveTo>
                  <a:pt x="f204" y="f177"/>
                </a:moveTo>
                <a:lnTo>
                  <a:pt x="f205" y="f177"/>
                </a:lnTo>
                <a:lnTo>
                  <a:pt x="f176" y="f178"/>
                </a:lnTo>
                <a:lnTo>
                  <a:pt x="f176" y="f179"/>
                </a:lnTo>
                <a:lnTo>
                  <a:pt x="f205" y="f180"/>
                </a:lnTo>
                <a:lnTo>
                  <a:pt x="f204" y="f180"/>
                </a:lnTo>
                <a:lnTo>
                  <a:pt x="f206" y="f179"/>
                </a:lnTo>
                <a:lnTo>
                  <a:pt x="f206" y="f178"/>
                </a:lnTo>
                <a:close/>
                <a:moveTo>
                  <a:pt x="f181" y="f207"/>
                </a:moveTo>
                <a:lnTo>
                  <a:pt x="f182" y="f207"/>
                </a:lnTo>
                <a:lnTo>
                  <a:pt x="f208" y="f209"/>
                </a:lnTo>
                <a:lnTo>
                  <a:pt x="f208" y="f210"/>
                </a:lnTo>
                <a:lnTo>
                  <a:pt x="f182" y="f211"/>
                </a:lnTo>
                <a:lnTo>
                  <a:pt x="f181" y="f211"/>
                </a:lnTo>
                <a:lnTo>
                  <a:pt x="f184" y="f210"/>
                </a:lnTo>
                <a:lnTo>
                  <a:pt x="f184" y="f209"/>
                </a:lnTo>
                <a:close/>
                <a:moveTo>
                  <a:pt x="f15" y="f207"/>
                </a:moveTo>
                <a:lnTo>
                  <a:pt x="f212" y="f207"/>
                </a:lnTo>
                <a:lnTo>
                  <a:pt x="f185" y="f209"/>
                </a:lnTo>
                <a:lnTo>
                  <a:pt x="f185" y="f210"/>
                </a:lnTo>
                <a:lnTo>
                  <a:pt x="f212" y="f211"/>
                </a:lnTo>
                <a:lnTo>
                  <a:pt x="f15" y="f211"/>
                </a:lnTo>
                <a:lnTo>
                  <a:pt x="f18" y="f210"/>
                </a:lnTo>
                <a:lnTo>
                  <a:pt x="f18" y="f209"/>
                </a:lnTo>
                <a:close/>
                <a:moveTo>
                  <a:pt x="f213" y="f207"/>
                </a:moveTo>
                <a:lnTo>
                  <a:pt x="f214" y="f207"/>
                </a:lnTo>
                <a:lnTo>
                  <a:pt x="f186" y="f209"/>
                </a:lnTo>
                <a:lnTo>
                  <a:pt x="f186" y="f210"/>
                </a:lnTo>
                <a:lnTo>
                  <a:pt x="f214" y="f211"/>
                </a:lnTo>
                <a:lnTo>
                  <a:pt x="f213" y="f211"/>
                </a:lnTo>
                <a:lnTo>
                  <a:pt x="f187" y="f210"/>
                </a:lnTo>
                <a:lnTo>
                  <a:pt x="f187" y="f209"/>
                </a:lnTo>
                <a:close/>
                <a:moveTo>
                  <a:pt x="f215" y="f207"/>
                </a:moveTo>
                <a:lnTo>
                  <a:pt x="f216" y="f207"/>
                </a:lnTo>
                <a:lnTo>
                  <a:pt x="f188" y="f209"/>
                </a:lnTo>
                <a:lnTo>
                  <a:pt x="f188" y="f210"/>
                </a:lnTo>
                <a:lnTo>
                  <a:pt x="f216" y="f211"/>
                </a:lnTo>
                <a:lnTo>
                  <a:pt x="f215" y="f211"/>
                </a:lnTo>
                <a:lnTo>
                  <a:pt x="f189" y="f210"/>
                </a:lnTo>
                <a:lnTo>
                  <a:pt x="f189" y="f209"/>
                </a:lnTo>
                <a:close/>
                <a:moveTo>
                  <a:pt x="f217" y="f207"/>
                </a:moveTo>
                <a:lnTo>
                  <a:pt x="f190" y="f207"/>
                </a:lnTo>
                <a:lnTo>
                  <a:pt x="f218" y="f209"/>
                </a:lnTo>
                <a:lnTo>
                  <a:pt x="f218" y="f210"/>
                </a:lnTo>
                <a:lnTo>
                  <a:pt x="f190" y="f211"/>
                </a:lnTo>
                <a:lnTo>
                  <a:pt x="f217" y="f211"/>
                </a:lnTo>
                <a:lnTo>
                  <a:pt x="f219" y="f210"/>
                </a:lnTo>
                <a:lnTo>
                  <a:pt x="f219" y="f209"/>
                </a:lnTo>
                <a:close/>
                <a:moveTo>
                  <a:pt x="f192" y="f207"/>
                </a:moveTo>
                <a:lnTo>
                  <a:pt x="f220" y="f207"/>
                </a:lnTo>
                <a:lnTo>
                  <a:pt x="f221" y="f209"/>
                </a:lnTo>
                <a:lnTo>
                  <a:pt x="f221" y="f210"/>
                </a:lnTo>
                <a:lnTo>
                  <a:pt x="f220" y="f211"/>
                </a:lnTo>
                <a:lnTo>
                  <a:pt x="f192" y="f211"/>
                </a:lnTo>
                <a:lnTo>
                  <a:pt x="f193" y="f210"/>
                </a:lnTo>
                <a:lnTo>
                  <a:pt x="f193" y="f209"/>
                </a:lnTo>
                <a:close/>
                <a:moveTo>
                  <a:pt x="f35" y="f222"/>
                </a:moveTo>
                <a:lnTo>
                  <a:pt x="f37" y="f222"/>
                </a:lnTo>
                <a:lnTo>
                  <a:pt x="f6" y="f223"/>
                </a:lnTo>
                <a:lnTo>
                  <a:pt x="f6" y="f224"/>
                </a:lnTo>
                <a:lnTo>
                  <a:pt x="f37" y="f225"/>
                </a:lnTo>
                <a:lnTo>
                  <a:pt x="f35" y="f225"/>
                </a:lnTo>
                <a:lnTo>
                  <a:pt x="f41" y="f224"/>
                </a:lnTo>
                <a:lnTo>
                  <a:pt x="f41" y="f223"/>
                </a:lnTo>
                <a:close/>
                <a:moveTo>
                  <a:pt x="f42" y="f222"/>
                </a:moveTo>
                <a:lnTo>
                  <a:pt x="f43" y="f222"/>
                </a:lnTo>
                <a:lnTo>
                  <a:pt x="f44" y="f223"/>
                </a:lnTo>
                <a:lnTo>
                  <a:pt x="f44" y="f224"/>
                </a:lnTo>
                <a:lnTo>
                  <a:pt x="f43" y="f225"/>
                </a:lnTo>
                <a:lnTo>
                  <a:pt x="f42" y="f225"/>
                </a:lnTo>
                <a:lnTo>
                  <a:pt x="f45" y="f224"/>
                </a:lnTo>
                <a:lnTo>
                  <a:pt x="f45" y="f223"/>
                </a:lnTo>
                <a:close/>
                <a:moveTo>
                  <a:pt x="f46" y="f222"/>
                </a:moveTo>
                <a:lnTo>
                  <a:pt x="f47" y="f222"/>
                </a:lnTo>
                <a:lnTo>
                  <a:pt x="f48" y="f223"/>
                </a:lnTo>
                <a:lnTo>
                  <a:pt x="f48" y="f224"/>
                </a:lnTo>
                <a:lnTo>
                  <a:pt x="f47" y="f225"/>
                </a:lnTo>
                <a:lnTo>
                  <a:pt x="f46" y="f225"/>
                </a:lnTo>
                <a:lnTo>
                  <a:pt x="f49" y="f224"/>
                </a:lnTo>
                <a:lnTo>
                  <a:pt x="f49" y="f223"/>
                </a:lnTo>
                <a:close/>
                <a:moveTo>
                  <a:pt x="f50" y="f222"/>
                </a:moveTo>
                <a:lnTo>
                  <a:pt x="f51" y="f222"/>
                </a:lnTo>
                <a:lnTo>
                  <a:pt x="f52" y="f223"/>
                </a:lnTo>
                <a:lnTo>
                  <a:pt x="f52" y="f224"/>
                </a:lnTo>
                <a:lnTo>
                  <a:pt x="f51" y="f225"/>
                </a:lnTo>
                <a:lnTo>
                  <a:pt x="f50" y="f225"/>
                </a:lnTo>
                <a:lnTo>
                  <a:pt x="f53" y="f224"/>
                </a:lnTo>
                <a:lnTo>
                  <a:pt x="f53" y="f223"/>
                </a:lnTo>
                <a:close/>
                <a:moveTo>
                  <a:pt x="f54" y="f222"/>
                </a:moveTo>
                <a:lnTo>
                  <a:pt x="f55" y="f222"/>
                </a:lnTo>
                <a:lnTo>
                  <a:pt x="f56" y="f223"/>
                </a:lnTo>
                <a:lnTo>
                  <a:pt x="f56" y="f224"/>
                </a:lnTo>
                <a:lnTo>
                  <a:pt x="f55" y="f225"/>
                </a:lnTo>
                <a:lnTo>
                  <a:pt x="f54" y="f225"/>
                </a:lnTo>
                <a:lnTo>
                  <a:pt x="f57" y="f224"/>
                </a:lnTo>
                <a:lnTo>
                  <a:pt x="f57" y="f223"/>
                </a:lnTo>
                <a:close/>
                <a:moveTo>
                  <a:pt x="f58" y="f222"/>
                </a:moveTo>
                <a:lnTo>
                  <a:pt x="f59" y="f222"/>
                </a:lnTo>
                <a:lnTo>
                  <a:pt x="f60" y="f223"/>
                </a:lnTo>
                <a:lnTo>
                  <a:pt x="f60" y="f224"/>
                </a:lnTo>
                <a:lnTo>
                  <a:pt x="f59" y="f225"/>
                </a:lnTo>
                <a:lnTo>
                  <a:pt x="f58" y="f225"/>
                </a:lnTo>
                <a:lnTo>
                  <a:pt x="f61" y="f224"/>
                </a:lnTo>
                <a:lnTo>
                  <a:pt x="f61" y="f223"/>
                </a:lnTo>
                <a:close/>
                <a:moveTo>
                  <a:pt x="f62" y="f222"/>
                </a:moveTo>
                <a:lnTo>
                  <a:pt x="f63" y="f222"/>
                </a:lnTo>
                <a:lnTo>
                  <a:pt x="f64" y="f223"/>
                </a:lnTo>
                <a:lnTo>
                  <a:pt x="f64" y="f224"/>
                </a:lnTo>
                <a:lnTo>
                  <a:pt x="f63" y="f225"/>
                </a:lnTo>
                <a:lnTo>
                  <a:pt x="f62" y="f225"/>
                </a:lnTo>
                <a:lnTo>
                  <a:pt x="f65" y="f224"/>
                </a:lnTo>
                <a:lnTo>
                  <a:pt x="f65" y="f223"/>
                </a:lnTo>
                <a:close/>
                <a:moveTo>
                  <a:pt x="f66" y="f222"/>
                </a:moveTo>
                <a:lnTo>
                  <a:pt x="f67" y="f222"/>
                </a:lnTo>
                <a:lnTo>
                  <a:pt x="f68" y="f223"/>
                </a:lnTo>
                <a:lnTo>
                  <a:pt x="f68" y="f224"/>
                </a:lnTo>
                <a:lnTo>
                  <a:pt x="f67" y="f225"/>
                </a:lnTo>
                <a:lnTo>
                  <a:pt x="f66" y="f225"/>
                </a:lnTo>
                <a:lnTo>
                  <a:pt x="f69" y="f224"/>
                </a:lnTo>
                <a:lnTo>
                  <a:pt x="f69" y="f223"/>
                </a:lnTo>
                <a:close/>
                <a:moveTo>
                  <a:pt x="f70" y="f222"/>
                </a:moveTo>
                <a:lnTo>
                  <a:pt x="f71" y="f222"/>
                </a:lnTo>
                <a:lnTo>
                  <a:pt x="f72" y="f223"/>
                </a:lnTo>
                <a:lnTo>
                  <a:pt x="f72" y="f224"/>
                </a:lnTo>
                <a:lnTo>
                  <a:pt x="f71" y="f225"/>
                </a:lnTo>
                <a:lnTo>
                  <a:pt x="f70" y="f225"/>
                </a:lnTo>
                <a:lnTo>
                  <a:pt x="f73" y="f224"/>
                </a:lnTo>
                <a:lnTo>
                  <a:pt x="f73" y="f223"/>
                </a:lnTo>
                <a:close/>
                <a:moveTo>
                  <a:pt x="f74" y="f222"/>
                </a:moveTo>
                <a:lnTo>
                  <a:pt x="f75" y="f222"/>
                </a:lnTo>
                <a:lnTo>
                  <a:pt x="f76" y="f223"/>
                </a:lnTo>
                <a:lnTo>
                  <a:pt x="f76" y="f224"/>
                </a:lnTo>
                <a:lnTo>
                  <a:pt x="f75" y="f225"/>
                </a:lnTo>
                <a:lnTo>
                  <a:pt x="f74" y="f225"/>
                </a:lnTo>
                <a:lnTo>
                  <a:pt x="f77" y="f224"/>
                </a:lnTo>
                <a:lnTo>
                  <a:pt x="f77" y="f223"/>
                </a:lnTo>
                <a:close/>
                <a:moveTo>
                  <a:pt x="f78" y="f222"/>
                </a:moveTo>
                <a:lnTo>
                  <a:pt x="f79" y="f222"/>
                </a:lnTo>
                <a:lnTo>
                  <a:pt x="f80" y="f223"/>
                </a:lnTo>
                <a:lnTo>
                  <a:pt x="f80" y="f224"/>
                </a:lnTo>
                <a:lnTo>
                  <a:pt x="f79" y="f225"/>
                </a:lnTo>
                <a:lnTo>
                  <a:pt x="f78" y="f225"/>
                </a:lnTo>
                <a:lnTo>
                  <a:pt x="f81" y="f224"/>
                </a:lnTo>
                <a:lnTo>
                  <a:pt x="f81" y="f223"/>
                </a:lnTo>
                <a:close/>
                <a:moveTo>
                  <a:pt x="f82" y="f222"/>
                </a:moveTo>
                <a:lnTo>
                  <a:pt x="f83" y="f222"/>
                </a:lnTo>
                <a:lnTo>
                  <a:pt x="f84" y="f223"/>
                </a:lnTo>
                <a:lnTo>
                  <a:pt x="f84" y="f224"/>
                </a:lnTo>
                <a:lnTo>
                  <a:pt x="f83" y="f225"/>
                </a:lnTo>
                <a:lnTo>
                  <a:pt x="f82" y="f225"/>
                </a:lnTo>
                <a:lnTo>
                  <a:pt x="f85" y="f224"/>
                </a:lnTo>
                <a:lnTo>
                  <a:pt x="f85" y="f223"/>
                </a:lnTo>
                <a:close/>
                <a:moveTo>
                  <a:pt x="f86" y="f222"/>
                </a:moveTo>
                <a:lnTo>
                  <a:pt x="f87" y="f222"/>
                </a:lnTo>
                <a:lnTo>
                  <a:pt x="f88" y="f223"/>
                </a:lnTo>
                <a:lnTo>
                  <a:pt x="f88" y="f224"/>
                </a:lnTo>
                <a:lnTo>
                  <a:pt x="f87" y="f225"/>
                </a:lnTo>
                <a:lnTo>
                  <a:pt x="f86" y="f225"/>
                </a:lnTo>
                <a:lnTo>
                  <a:pt x="f89" y="f224"/>
                </a:lnTo>
                <a:lnTo>
                  <a:pt x="f89" y="f223"/>
                </a:lnTo>
                <a:close/>
                <a:moveTo>
                  <a:pt x="f90" y="f222"/>
                </a:moveTo>
                <a:lnTo>
                  <a:pt x="f91" y="f222"/>
                </a:lnTo>
                <a:lnTo>
                  <a:pt x="f92" y="f223"/>
                </a:lnTo>
                <a:lnTo>
                  <a:pt x="f92" y="f224"/>
                </a:lnTo>
                <a:lnTo>
                  <a:pt x="f91" y="f225"/>
                </a:lnTo>
                <a:lnTo>
                  <a:pt x="f90" y="f225"/>
                </a:lnTo>
                <a:lnTo>
                  <a:pt x="f93" y="f224"/>
                </a:lnTo>
                <a:lnTo>
                  <a:pt x="f93" y="f223"/>
                </a:lnTo>
                <a:close/>
                <a:moveTo>
                  <a:pt x="f94" y="f222"/>
                </a:moveTo>
                <a:lnTo>
                  <a:pt x="f95" y="f222"/>
                </a:lnTo>
                <a:lnTo>
                  <a:pt x="f96" y="f223"/>
                </a:lnTo>
                <a:lnTo>
                  <a:pt x="f96" y="f224"/>
                </a:lnTo>
                <a:lnTo>
                  <a:pt x="f95" y="f225"/>
                </a:lnTo>
                <a:lnTo>
                  <a:pt x="f94" y="f225"/>
                </a:lnTo>
                <a:lnTo>
                  <a:pt x="f97" y="f224"/>
                </a:lnTo>
                <a:lnTo>
                  <a:pt x="f97" y="f223"/>
                </a:lnTo>
                <a:close/>
                <a:moveTo>
                  <a:pt x="f98" y="f222"/>
                </a:moveTo>
                <a:lnTo>
                  <a:pt x="f99" y="f222"/>
                </a:lnTo>
                <a:lnTo>
                  <a:pt x="f100" y="f223"/>
                </a:lnTo>
                <a:lnTo>
                  <a:pt x="f100" y="f224"/>
                </a:lnTo>
                <a:lnTo>
                  <a:pt x="f99" y="f225"/>
                </a:lnTo>
                <a:lnTo>
                  <a:pt x="f98" y="f225"/>
                </a:lnTo>
                <a:lnTo>
                  <a:pt x="f101" y="f224"/>
                </a:lnTo>
                <a:lnTo>
                  <a:pt x="f101" y="f223"/>
                </a:lnTo>
                <a:close/>
                <a:moveTo>
                  <a:pt x="f102" y="f222"/>
                </a:moveTo>
                <a:lnTo>
                  <a:pt x="f103" y="f222"/>
                </a:lnTo>
                <a:lnTo>
                  <a:pt x="f104" y="f223"/>
                </a:lnTo>
                <a:lnTo>
                  <a:pt x="f104" y="f224"/>
                </a:lnTo>
                <a:lnTo>
                  <a:pt x="f103" y="f225"/>
                </a:lnTo>
                <a:lnTo>
                  <a:pt x="f102" y="f225"/>
                </a:lnTo>
                <a:lnTo>
                  <a:pt x="f105" y="f224"/>
                </a:lnTo>
                <a:lnTo>
                  <a:pt x="f105" y="f223"/>
                </a:lnTo>
                <a:close/>
                <a:moveTo>
                  <a:pt x="f106" y="f222"/>
                </a:moveTo>
                <a:lnTo>
                  <a:pt x="f107" y="f222"/>
                </a:lnTo>
                <a:lnTo>
                  <a:pt x="f108" y="f223"/>
                </a:lnTo>
                <a:lnTo>
                  <a:pt x="f108" y="f224"/>
                </a:lnTo>
                <a:lnTo>
                  <a:pt x="f107" y="f225"/>
                </a:lnTo>
                <a:lnTo>
                  <a:pt x="f106" y="f225"/>
                </a:lnTo>
                <a:lnTo>
                  <a:pt x="f109" y="f224"/>
                </a:lnTo>
                <a:lnTo>
                  <a:pt x="f109" y="f223"/>
                </a:lnTo>
                <a:close/>
                <a:moveTo>
                  <a:pt x="f110" y="f222"/>
                </a:moveTo>
                <a:lnTo>
                  <a:pt x="f111" y="f222"/>
                </a:lnTo>
                <a:lnTo>
                  <a:pt x="f112" y="f223"/>
                </a:lnTo>
                <a:lnTo>
                  <a:pt x="f112" y="f224"/>
                </a:lnTo>
                <a:lnTo>
                  <a:pt x="f111" y="f225"/>
                </a:lnTo>
                <a:lnTo>
                  <a:pt x="f110" y="f225"/>
                </a:lnTo>
                <a:lnTo>
                  <a:pt x="f113" y="f224"/>
                </a:lnTo>
                <a:lnTo>
                  <a:pt x="f113" y="f223"/>
                </a:lnTo>
                <a:close/>
                <a:moveTo>
                  <a:pt x="f114" y="f222"/>
                </a:moveTo>
                <a:lnTo>
                  <a:pt x="f115" y="f222"/>
                </a:lnTo>
                <a:lnTo>
                  <a:pt x="f116" y="f223"/>
                </a:lnTo>
                <a:lnTo>
                  <a:pt x="f116" y="f224"/>
                </a:lnTo>
                <a:lnTo>
                  <a:pt x="f115" y="f225"/>
                </a:lnTo>
                <a:lnTo>
                  <a:pt x="f114" y="f225"/>
                </a:lnTo>
                <a:lnTo>
                  <a:pt x="f117" y="f224"/>
                </a:lnTo>
                <a:lnTo>
                  <a:pt x="f117" y="f223"/>
                </a:lnTo>
                <a:close/>
                <a:moveTo>
                  <a:pt x="f118" y="f222"/>
                </a:moveTo>
                <a:lnTo>
                  <a:pt x="f119" y="f222"/>
                </a:lnTo>
                <a:lnTo>
                  <a:pt x="f120" y="f223"/>
                </a:lnTo>
                <a:lnTo>
                  <a:pt x="f120" y="f224"/>
                </a:lnTo>
                <a:lnTo>
                  <a:pt x="f119" y="f225"/>
                </a:lnTo>
                <a:lnTo>
                  <a:pt x="f118" y="f225"/>
                </a:lnTo>
                <a:lnTo>
                  <a:pt x="f121" y="f224"/>
                </a:lnTo>
                <a:lnTo>
                  <a:pt x="f121" y="f223"/>
                </a:lnTo>
                <a:close/>
                <a:moveTo>
                  <a:pt x="f122" y="f222"/>
                </a:moveTo>
                <a:lnTo>
                  <a:pt x="f123" y="f222"/>
                </a:lnTo>
                <a:lnTo>
                  <a:pt x="f124" y="f223"/>
                </a:lnTo>
                <a:lnTo>
                  <a:pt x="f124" y="f224"/>
                </a:lnTo>
                <a:lnTo>
                  <a:pt x="f123" y="f225"/>
                </a:lnTo>
                <a:lnTo>
                  <a:pt x="f122" y="f225"/>
                </a:lnTo>
                <a:lnTo>
                  <a:pt x="f125" y="f224"/>
                </a:lnTo>
                <a:lnTo>
                  <a:pt x="f125" y="f223"/>
                </a:lnTo>
                <a:close/>
                <a:moveTo>
                  <a:pt x="f126" y="f222"/>
                </a:moveTo>
                <a:lnTo>
                  <a:pt x="f127" y="f222"/>
                </a:lnTo>
                <a:lnTo>
                  <a:pt x="f128" y="f223"/>
                </a:lnTo>
                <a:lnTo>
                  <a:pt x="f128" y="f224"/>
                </a:lnTo>
                <a:lnTo>
                  <a:pt x="f127" y="f225"/>
                </a:lnTo>
                <a:lnTo>
                  <a:pt x="f126" y="f225"/>
                </a:lnTo>
                <a:lnTo>
                  <a:pt x="f129" y="f224"/>
                </a:lnTo>
                <a:lnTo>
                  <a:pt x="f129" y="f223"/>
                </a:lnTo>
                <a:close/>
                <a:moveTo>
                  <a:pt x="f130" y="f222"/>
                </a:moveTo>
                <a:lnTo>
                  <a:pt x="f131" y="f222"/>
                </a:lnTo>
                <a:lnTo>
                  <a:pt x="f132" y="f223"/>
                </a:lnTo>
                <a:lnTo>
                  <a:pt x="f132" y="f224"/>
                </a:lnTo>
                <a:lnTo>
                  <a:pt x="f131" y="f225"/>
                </a:lnTo>
                <a:lnTo>
                  <a:pt x="f130" y="f225"/>
                </a:lnTo>
                <a:lnTo>
                  <a:pt x="f133" y="f224"/>
                </a:lnTo>
                <a:lnTo>
                  <a:pt x="f133" y="f223"/>
                </a:lnTo>
                <a:close/>
                <a:moveTo>
                  <a:pt x="f134" y="f222"/>
                </a:moveTo>
                <a:lnTo>
                  <a:pt x="f135" y="f222"/>
                </a:lnTo>
                <a:lnTo>
                  <a:pt x="f136" y="f223"/>
                </a:lnTo>
                <a:lnTo>
                  <a:pt x="f136" y="f224"/>
                </a:lnTo>
                <a:lnTo>
                  <a:pt x="f135" y="f225"/>
                </a:lnTo>
                <a:lnTo>
                  <a:pt x="f134" y="f225"/>
                </a:lnTo>
                <a:lnTo>
                  <a:pt x="f137" y="f224"/>
                </a:lnTo>
                <a:lnTo>
                  <a:pt x="f137" y="f223"/>
                </a:lnTo>
                <a:close/>
                <a:moveTo>
                  <a:pt x="f138" y="f222"/>
                </a:moveTo>
                <a:lnTo>
                  <a:pt x="f139" y="f222"/>
                </a:lnTo>
                <a:lnTo>
                  <a:pt x="f140" y="f223"/>
                </a:lnTo>
                <a:lnTo>
                  <a:pt x="f140" y="f224"/>
                </a:lnTo>
                <a:lnTo>
                  <a:pt x="f139" y="f225"/>
                </a:lnTo>
                <a:lnTo>
                  <a:pt x="f138" y="f225"/>
                </a:lnTo>
                <a:lnTo>
                  <a:pt x="f141" y="f224"/>
                </a:lnTo>
                <a:lnTo>
                  <a:pt x="f141" y="f223"/>
                </a:lnTo>
                <a:close/>
                <a:moveTo>
                  <a:pt x="f142" y="f222"/>
                </a:moveTo>
                <a:lnTo>
                  <a:pt x="f143" y="f222"/>
                </a:lnTo>
                <a:lnTo>
                  <a:pt x="f144" y="f223"/>
                </a:lnTo>
                <a:lnTo>
                  <a:pt x="f144" y="f224"/>
                </a:lnTo>
                <a:lnTo>
                  <a:pt x="f143" y="f225"/>
                </a:lnTo>
                <a:lnTo>
                  <a:pt x="f142" y="f225"/>
                </a:lnTo>
                <a:lnTo>
                  <a:pt x="f145" y="f224"/>
                </a:lnTo>
                <a:lnTo>
                  <a:pt x="f145" y="f223"/>
                </a:lnTo>
                <a:close/>
                <a:moveTo>
                  <a:pt x="f146" y="f222"/>
                </a:moveTo>
                <a:lnTo>
                  <a:pt x="f147" y="f222"/>
                </a:lnTo>
                <a:lnTo>
                  <a:pt x="f148" y="f223"/>
                </a:lnTo>
                <a:lnTo>
                  <a:pt x="f148" y="f224"/>
                </a:lnTo>
                <a:lnTo>
                  <a:pt x="f147" y="f225"/>
                </a:lnTo>
                <a:lnTo>
                  <a:pt x="f146" y="f225"/>
                </a:lnTo>
                <a:lnTo>
                  <a:pt x="f149" y="f224"/>
                </a:lnTo>
                <a:lnTo>
                  <a:pt x="f149" y="f223"/>
                </a:lnTo>
                <a:close/>
                <a:moveTo>
                  <a:pt x="f150" y="f222"/>
                </a:moveTo>
                <a:lnTo>
                  <a:pt x="f151" y="f222"/>
                </a:lnTo>
                <a:lnTo>
                  <a:pt x="f152" y="f223"/>
                </a:lnTo>
                <a:lnTo>
                  <a:pt x="f152" y="f224"/>
                </a:lnTo>
                <a:lnTo>
                  <a:pt x="f151" y="f225"/>
                </a:lnTo>
                <a:lnTo>
                  <a:pt x="f150" y="f225"/>
                </a:lnTo>
                <a:lnTo>
                  <a:pt x="f153" y="f224"/>
                </a:lnTo>
                <a:lnTo>
                  <a:pt x="f153" y="f223"/>
                </a:lnTo>
                <a:close/>
                <a:moveTo>
                  <a:pt x="f154" y="f222"/>
                </a:moveTo>
                <a:lnTo>
                  <a:pt x="f155" y="f222"/>
                </a:lnTo>
                <a:lnTo>
                  <a:pt x="f156" y="f223"/>
                </a:lnTo>
                <a:lnTo>
                  <a:pt x="f156" y="f224"/>
                </a:lnTo>
                <a:lnTo>
                  <a:pt x="f155" y="f225"/>
                </a:lnTo>
                <a:lnTo>
                  <a:pt x="f154" y="f225"/>
                </a:lnTo>
                <a:lnTo>
                  <a:pt x="f157" y="f224"/>
                </a:lnTo>
                <a:lnTo>
                  <a:pt x="f157" y="f223"/>
                </a:lnTo>
                <a:close/>
                <a:moveTo>
                  <a:pt x="f158" y="f222"/>
                </a:moveTo>
                <a:lnTo>
                  <a:pt x="f159" y="f222"/>
                </a:lnTo>
                <a:lnTo>
                  <a:pt x="f160" y="f223"/>
                </a:lnTo>
                <a:lnTo>
                  <a:pt x="f160" y="f224"/>
                </a:lnTo>
                <a:lnTo>
                  <a:pt x="f159" y="f225"/>
                </a:lnTo>
                <a:lnTo>
                  <a:pt x="f158" y="f225"/>
                </a:lnTo>
                <a:lnTo>
                  <a:pt x="f161" y="f224"/>
                </a:lnTo>
                <a:lnTo>
                  <a:pt x="f161" y="f223"/>
                </a:lnTo>
                <a:close/>
                <a:moveTo>
                  <a:pt x="f226" y="f222"/>
                </a:moveTo>
                <a:lnTo>
                  <a:pt x="f195" y="f222"/>
                </a:lnTo>
                <a:lnTo>
                  <a:pt x="f196" y="f223"/>
                </a:lnTo>
                <a:lnTo>
                  <a:pt x="f196" y="f224"/>
                </a:lnTo>
                <a:lnTo>
                  <a:pt x="f195" y="f225"/>
                </a:lnTo>
                <a:lnTo>
                  <a:pt x="f226" y="f225"/>
                </a:lnTo>
                <a:lnTo>
                  <a:pt x="f197" y="f224"/>
                </a:lnTo>
                <a:lnTo>
                  <a:pt x="f197" y="f223"/>
                </a:lnTo>
                <a:close/>
                <a:moveTo>
                  <a:pt x="f227" y="f222"/>
                </a:moveTo>
                <a:lnTo>
                  <a:pt x="f198" y="f222"/>
                </a:lnTo>
                <a:lnTo>
                  <a:pt x="f199" y="f223"/>
                </a:lnTo>
                <a:lnTo>
                  <a:pt x="f199" y="f224"/>
                </a:lnTo>
                <a:lnTo>
                  <a:pt x="f198" y="f225"/>
                </a:lnTo>
                <a:lnTo>
                  <a:pt x="f227" y="f225"/>
                </a:lnTo>
                <a:lnTo>
                  <a:pt x="f228" y="f224"/>
                </a:lnTo>
                <a:lnTo>
                  <a:pt x="f228" y="f223"/>
                </a:lnTo>
                <a:close/>
                <a:moveTo>
                  <a:pt x="f229" y="f222"/>
                </a:moveTo>
                <a:lnTo>
                  <a:pt x="f230" y="f222"/>
                </a:lnTo>
                <a:lnTo>
                  <a:pt x="f202" y="f223"/>
                </a:lnTo>
                <a:lnTo>
                  <a:pt x="f202" y="f224"/>
                </a:lnTo>
                <a:lnTo>
                  <a:pt x="f230" y="f225"/>
                </a:lnTo>
                <a:lnTo>
                  <a:pt x="f229" y="f225"/>
                </a:lnTo>
                <a:lnTo>
                  <a:pt x="f231" y="f224"/>
                </a:lnTo>
                <a:lnTo>
                  <a:pt x="f231" y="f223"/>
                </a:lnTo>
                <a:close/>
                <a:moveTo>
                  <a:pt x="f232" y="f222"/>
                </a:moveTo>
                <a:lnTo>
                  <a:pt x="f233" y="f222"/>
                </a:lnTo>
                <a:lnTo>
                  <a:pt x="f234" y="f223"/>
                </a:lnTo>
                <a:lnTo>
                  <a:pt x="f234" y="f224"/>
                </a:lnTo>
                <a:lnTo>
                  <a:pt x="f233" y="f225"/>
                </a:lnTo>
                <a:lnTo>
                  <a:pt x="f232" y="f225"/>
                </a:lnTo>
                <a:lnTo>
                  <a:pt x="f206" y="f224"/>
                </a:lnTo>
                <a:lnTo>
                  <a:pt x="f206" y="f223"/>
                </a:lnTo>
                <a:close/>
                <a:moveTo>
                  <a:pt x="f181" y="f235"/>
                </a:moveTo>
                <a:lnTo>
                  <a:pt x="f182" y="f235"/>
                </a:lnTo>
                <a:lnTo>
                  <a:pt x="f208" y="f236"/>
                </a:lnTo>
                <a:lnTo>
                  <a:pt x="f208" y="f237"/>
                </a:lnTo>
                <a:lnTo>
                  <a:pt x="f182" y="f238"/>
                </a:lnTo>
                <a:lnTo>
                  <a:pt x="f181" y="f238"/>
                </a:lnTo>
                <a:lnTo>
                  <a:pt x="f184" y="f237"/>
                </a:lnTo>
                <a:lnTo>
                  <a:pt x="f184" y="f236"/>
                </a:lnTo>
                <a:close/>
                <a:moveTo>
                  <a:pt x="f239" y="f235"/>
                </a:moveTo>
                <a:lnTo>
                  <a:pt x="f212" y="f235"/>
                </a:lnTo>
                <a:lnTo>
                  <a:pt x="f185" y="f236"/>
                </a:lnTo>
                <a:lnTo>
                  <a:pt x="f185" y="f237"/>
                </a:lnTo>
                <a:lnTo>
                  <a:pt x="f212" y="f238"/>
                </a:lnTo>
                <a:lnTo>
                  <a:pt x="f239" y="f238"/>
                </a:lnTo>
                <a:lnTo>
                  <a:pt x="f18" y="f237"/>
                </a:lnTo>
                <a:lnTo>
                  <a:pt x="f18" y="f236"/>
                </a:lnTo>
                <a:close/>
                <a:moveTo>
                  <a:pt x="f213" y="f235"/>
                </a:moveTo>
                <a:lnTo>
                  <a:pt x="f240" y="f235"/>
                </a:lnTo>
                <a:lnTo>
                  <a:pt x="f241" y="f236"/>
                </a:lnTo>
                <a:lnTo>
                  <a:pt x="f241" y="f237"/>
                </a:lnTo>
                <a:lnTo>
                  <a:pt x="f240" y="f238"/>
                </a:lnTo>
                <a:lnTo>
                  <a:pt x="f213" y="f238"/>
                </a:lnTo>
                <a:lnTo>
                  <a:pt x="f242" y="f237"/>
                </a:lnTo>
                <a:lnTo>
                  <a:pt x="f242" y="f236"/>
                </a:lnTo>
                <a:close/>
                <a:moveTo>
                  <a:pt x="f215" y="f235"/>
                </a:moveTo>
                <a:lnTo>
                  <a:pt x="f243" y="f235"/>
                </a:lnTo>
                <a:lnTo>
                  <a:pt x="f244" y="f236"/>
                </a:lnTo>
                <a:lnTo>
                  <a:pt x="f244" y="f237"/>
                </a:lnTo>
                <a:lnTo>
                  <a:pt x="f243" y="f238"/>
                </a:lnTo>
                <a:lnTo>
                  <a:pt x="f215" y="f238"/>
                </a:lnTo>
                <a:lnTo>
                  <a:pt x="f245" y="f237"/>
                </a:lnTo>
                <a:lnTo>
                  <a:pt x="f245" y="f236"/>
                </a:lnTo>
                <a:close/>
                <a:moveTo>
                  <a:pt x="f246" y="f235"/>
                </a:moveTo>
                <a:lnTo>
                  <a:pt x="f247" y="f235"/>
                </a:lnTo>
                <a:lnTo>
                  <a:pt x="f218" y="f236"/>
                </a:lnTo>
                <a:lnTo>
                  <a:pt x="f218" y="f237"/>
                </a:lnTo>
                <a:lnTo>
                  <a:pt x="f247" y="f238"/>
                </a:lnTo>
                <a:lnTo>
                  <a:pt x="f246" y="f238"/>
                </a:lnTo>
                <a:lnTo>
                  <a:pt x="f219" y="f237"/>
                </a:lnTo>
                <a:lnTo>
                  <a:pt x="f219" y="f236"/>
                </a:lnTo>
                <a:close/>
                <a:moveTo>
                  <a:pt x="f248" y="f235"/>
                </a:moveTo>
                <a:lnTo>
                  <a:pt x="f249" y="f235"/>
                </a:lnTo>
                <a:lnTo>
                  <a:pt x="f250" y="f236"/>
                </a:lnTo>
                <a:lnTo>
                  <a:pt x="f250" y="f237"/>
                </a:lnTo>
                <a:lnTo>
                  <a:pt x="f249" y="f238"/>
                </a:lnTo>
                <a:lnTo>
                  <a:pt x="f248" y="f238"/>
                </a:lnTo>
                <a:lnTo>
                  <a:pt x="f251" y="f237"/>
                </a:lnTo>
                <a:lnTo>
                  <a:pt x="f251" y="f236"/>
                </a:lnTo>
                <a:close/>
                <a:moveTo>
                  <a:pt x="f35" y="f252"/>
                </a:moveTo>
                <a:lnTo>
                  <a:pt x="f37" y="f252"/>
                </a:lnTo>
                <a:lnTo>
                  <a:pt x="f6" y="f253"/>
                </a:lnTo>
                <a:lnTo>
                  <a:pt x="f6" y="f254"/>
                </a:lnTo>
                <a:lnTo>
                  <a:pt x="f37" y="f255"/>
                </a:lnTo>
                <a:lnTo>
                  <a:pt x="f35" y="f255"/>
                </a:lnTo>
                <a:lnTo>
                  <a:pt x="f41" y="f254"/>
                </a:lnTo>
                <a:lnTo>
                  <a:pt x="f41" y="f253"/>
                </a:lnTo>
                <a:close/>
                <a:moveTo>
                  <a:pt x="f42" y="f252"/>
                </a:moveTo>
                <a:lnTo>
                  <a:pt x="f43" y="f252"/>
                </a:lnTo>
                <a:lnTo>
                  <a:pt x="f44" y="f253"/>
                </a:lnTo>
                <a:lnTo>
                  <a:pt x="f44" y="f254"/>
                </a:lnTo>
                <a:lnTo>
                  <a:pt x="f43" y="f255"/>
                </a:lnTo>
                <a:lnTo>
                  <a:pt x="f42" y="f255"/>
                </a:lnTo>
                <a:lnTo>
                  <a:pt x="f45" y="f254"/>
                </a:lnTo>
                <a:lnTo>
                  <a:pt x="f45" y="f253"/>
                </a:lnTo>
                <a:close/>
                <a:moveTo>
                  <a:pt x="f46" y="f252"/>
                </a:moveTo>
                <a:lnTo>
                  <a:pt x="f47" y="f252"/>
                </a:lnTo>
                <a:lnTo>
                  <a:pt x="f48" y="f253"/>
                </a:lnTo>
                <a:lnTo>
                  <a:pt x="f48" y="f254"/>
                </a:lnTo>
                <a:lnTo>
                  <a:pt x="f47" y="f255"/>
                </a:lnTo>
                <a:lnTo>
                  <a:pt x="f46" y="f255"/>
                </a:lnTo>
                <a:lnTo>
                  <a:pt x="f49" y="f254"/>
                </a:lnTo>
                <a:lnTo>
                  <a:pt x="f49" y="f253"/>
                </a:lnTo>
                <a:close/>
                <a:moveTo>
                  <a:pt x="f50" y="f252"/>
                </a:moveTo>
                <a:lnTo>
                  <a:pt x="f51" y="f252"/>
                </a:lnTo>
                <a:lnTo>
                  <a:pt x="f52" y="f253"/>
                </a:lnTo>
                <a:lnTo>
                  <a:pt x="f52" y="f254"/>
                </a:lnTo>
                <a:lnTo>
                  <a:pt x="f51" y="f255"/>
                </a:lnTo>
                <a:lnTo>
                  <a:pt x="f50" y="f255"/>
                </a:lnTo>
                <a:lnTo>
                  <a:pt x="f53" y="f254"/>
                </a:lnTo>
                <a:lnTo>
                  <a:pt x="f53" y="f253"/>
                </a:lnTo>
                <a:close/>
                <a:moveTo>
                  <a:pt x="f54" y="f252"/>
                </a:moveTo>
                <a:lnTo>
                  <a:pt x="f55" y="f252"/>
                </a:lnTo>
                <a:lnTo>
                  <a:pt x="f56" y="f253"/>
                </a:lnTo>
                <a:lnTo>
                  <a:pt x="f56" y="f254"/>
                </a:lnTo>
                <a:lnTo>
                  <a:pt x="f55" y="f255"/>
                </a:lnTo>
                <a:lnTo>
                  <a:pt x="f54" y="f255"/>
                </a:lnTo>
                <a:lnTo>
                  <a:pt x="f57" y="f254"/>
                </a:lnTo>
                <a:lnTo>
                  <a:pt x="f57" y="f253"/>
                </a:lnTo>
                <a:close/>
                <a:moveTo>
                  <a:pt x="f58" y="f252"/>
                </a:moveTo>
                <a:lnTo>
                  <a:pt x="f59" y="f252"/>
                </a:lnTo>
                <a:lnTo>
                  <a:pt x="f60" y="f253"/>
                </a:lnTo>
                <a:lnTo>
                  <a:pt x="f60" y="f254"/>
                </a:lnTo>
                <a:lnTo>
                  <a:pt x="f59" y="f255"/>
                </a:lnTo>
                <a:lnTo>
                  <a:pt x="f58" y="f255"/>
                </a:lnTo>
                <a:lnTo>
                  <a:pt x="f61" y="f254"/>
                </a:lnTo>
                <a:lnTo>
                  <a:pt x="f61" y="f253"/>
                </a:lnTo>
                <a:close/>
                <a:moveTo>
                  <a:pt x="f62" y="f252"/>
                </a:moveTo>
                <a:lnTo>
                  <a:pt x="f63" y="f252"/>
                </a:lnTo>
                <a:lnTo>
                  <a:pt x="f64" y="f253"/>
                </a:lnTo>
                <a:lnTo>
                  <a:pt x="f64" y="f254"/>
                </a:lnTo>
                <a:lnTo>
                  <a:pt x="f63" y="f255"/>
                </a:lnTo>
                <a:lnTo>
                  <a:pt x="f62" y="f255"/>
                </a:lnTo>
                <a:lnTo>
                  <a:pt x="f65" y="f254"/>
                </a:lnTo>
                <a:lnTo>
                  <a:pt x="f65" y="f253"/>
                </a:lnTo>
                <a:close/>
                <a:moveTo>
                  <a:pt x="f66" y="f252"/>
                </a:moveTo>
                <a:lnTo>
                  <a:pt x="f67" y="f252"/>
                </a:lnTo>
                <a:lnTo>
                  <a:pt x="f68" y="f253"/>
                </a:lnTo>
                <a:lnTo>
                  <a:pt x="f68" y="f254"/>
                </a:lnTo>
                <a:lnTo>
                  <a:pt x="f67" y="f255"/>
                </a:lnTo>
                <a:lnTo>
                  <a:pt x="f66" y="f255"/>
                </a:lnTo>
                <a:lnTo>
                  <a:pt x="f69" y="f254"/>
                </a:lnTo>
                <a:lnTo>
                  <a:pt x="f69" y="f253"/>
                </a:lnTo>
                <a:close/>
                <a:moveTo>
                  <a:pt x="f70" y="f252"/>
                </a:moveTo>
                <a:lnTo>
                  <a:pt x="f71" y="f252"/>
                </a:lnTo>
                <a:lnTo>
                  <a:pt x="f72" y="f253"/>
                </a:lnTo>
                <a:lnTo>
                  <a:pt x="f72" y="f254"/>
                </a:lnTo>
                <a:lnTo>
                  <a:pt x="f71" y="f255"/>
                </a:lnTo>
                <a:lnTo>
                  <a:pt x="f70" y="f255"/>
                </a:lnTo>
                <a:lnTo>
                  <a:pt x="f73" y="f254"/>
                </a:lnTo>
                <a:lnTo>
                  <a:pt x="f73" y="f253"/>
                </a:lnTo>
                <a:close/>
                <a:moveTo>
                  <a:pt x="f74" y="f252"/>
                </a:moveTo>
                <a:lnTo>
                  <a:pt x="f75" y="f252"/>
                </a:lnTo>
                <a:lnTo>
                  <a:pt x="f76" y="f253"/>
                </a:lnTo>
                <a:lnTo>
                  <a:pt x="f76" y="f254"/>
                </a:lnTo>
                <a:lnTo>
                  <a:pt x="f75" y="f255"/>
                </a:lnTo>
                <a:lnTo>
                  <a:pt x="f74" y="f255"/>
                </a:lnTo>
                <a:lnTo>
                  <a:pt x="f77" y="f254"/>
                </a:lnTo>
                <a:lnTo>
                  <a:pt x="f77" y="f253"/>
                </a:lnTo>
                <a:close/>
                <a:moveTo>
                  <a:pt x="f78" y="f252"/>
                </a:moveTo>
                <a:lnTo>
                  <a:pt x="f79" y="f252"/>
                </a:lnTo>
                <a:lnTo>
                  <a:pt x="f80" y="f253"/>
                </a:lnTo>
                <a:lnTo>
                  <a:pt x="f80" y="f254"/>
                </a:lnTo>
                <a:lnTo>
                  <a:pt x="f79" y="f255"/>
                </a:lnTo>
                <a:lnTo>
                  <a:pt x="f78" y="f255"/>
                </a:lnTo>
                <a:lnTo>
                  <a:pt x="f81" y="f254"/>
                </a:lnTo>
                <a:lnTo>
                  <a:pt x="f81" y="f253"/>
                </a:lnTo>
                <a:close/>
                <a:moveTo>
                  <a:pt x="f82" y="f252"/>
                </a:moveTo>
                <a:lnTo>
                  <a:pt x="f83" y="f252"/>
                </a:lnTo>
                <a:lnTo>
                  <a:pt x="f84" y="f253"/>
                </a:lnTo>
                <a:lnTo>
                  <a:pt x="f84" y="f254"/>
                </a:lnTo>
                <a:lnTo>
                  <a:pt x="f83" y="f255"/>
                </a:lnTo>
                <a:lnTo>
                  <a:pt x="f82" y="f255"/>
                </a:lnTo>
                <a:lnTo>
                  <a:pt x="f85" y="f254"/>
                </a:lnTo>
                <a:lnTo>
                  <a:pt x="f85" y="f253"/>
                </a:lnTo>
                <a:close/>
                <a:moveTo>
                  <a:pt x="f86" y="f252"/>
                </a:moveTo>
                <a:lnTo>
                  <a:pt x="f87" y="f252"/>
                </a:lnTo>
                <a:lnTo>
                  <a:pt x="f88" y="f253"/>
                </a:lnTo>
                <a:lnTo>
                  <a:pt x="f88" y="f254"/>
                </a:lnTo>
                <a:lnTo>
                  <a:pt x="f87" y="f255"/>
                </a:lnTo>
                <a:lnTo>
                  <a:pt x="f86" y="f255"/>
                </a:lnTo>
                <a:lnTo>
                  <a:pt x="f89" y="f254"/>
                </a:lnTo>
                <a:lnTo>
                  <a:pt x="f89" y="f253"/>
                </a:lnTo>
                <a:close/>
                <a:moveTo>
                  <a:pt x="f90" y="f252"/>
                </a:moveTo>
                <a:lnTo>
                  <a:pt x="f91" y="f252"/>
                </a:lnTo>
                <a:lnTo>
                  <a:pt x="f92" y="f253"/>
                </a:lnTo>
                <a:lnTo>
                  <a:pt x="f92" y="f254"/>
                </a:lnTo>
                <a:lnTo>
                  <a:pt x="f91" y="f255"/>
                </a:lnTo>
                <a:lnTo>
                  <a:pt x="f90" y="f255"/>
                </a:lnTo>
                <a:lnTo>
                  <a:pt x="f93" y="f254"/>
                </a:lnTo>
                <a:lnTo>
                  <a:pt x="f93" y="f253"/>
                </a:lnTo>
                <a:close/>
                <a:moveTo>
                  <a:pt x="f94" y="f252"/>
                </a:moveTo>
                <a:lnTo>
                  <a:pt x="f95" y="f252"/>
                </a:lnTo>
                <a:lnTo>
                  <a:pt x="f96" y="f253"/>
                </a:lnTo>
                <a:lnTo>
                  <a:pt x="f96" y="f254"/>
                </a:lnTo>
                <a:lnTo>
                  <a:pt x="f95" y="f255"/>
                </a:lnTo>
                <a:lnTo>
                  <a:pt x="f94" y="f255"/>
                </a:lnTo>
                <a:lnTo>
                  <a:pt x="f97" y="f254"/>
                </a:lnTo>
                <a:lnTo>
                  <a:pt x="f97" y="f253"/>
                </a:lnTo>
                <a:close/>
                <a:moveTo>
                  <a:pt x="f98" y="f252"/>
                </a:moveTo>
                <a:lnTo>
                  <a:pt x="f99" y="f252"/>
                </a:lnTo>
                <a:lnTo>
                  <a:pt x="f100" y="f253"/>
                </a:lnTo>
                <a:lnTo>
                  <a:pt x="f100" y="f254"/>
                </a:lnTo>
                <a:lnTo>
                  <a:pt x="f99" y="f255"/>
                </a:lnTo>
                <a:lnTo>
                  <a:pt x="f98" y="f255"/>
                </a:lnTo>
                <a:lnTo>
                  <a:pt x="f101" y="f254"/>
                </a:lnTo>
                <a:lnTo>
                  <a:pt x="f101" y="f253"/>
                </a:lnTo>
                <a:close/>
                <a:moveTo>
                  <a:pt x="f102" y="f252"/>
                </a:moveTo>
                <a:lnTo>
                  <a:pt x="f103" y="f252"/>
                </a:lnTo>
                <a:lnTo>
                  <a:pt x="f104" y="f253"/>
                </a:lnTo>
                <a:lnTo>
                  <a:pt x="f104" y="f254"/>
                </a:lnTo>
                <a:lnTo>
                  <a:pt x="f103" y="f255"/>
                </a:lnTo>
                <a:lnTo>
                  <a:pt x="f102" y="f255"/>
                </a:lnTo>
                <a:lnTo>
                  <a:pt x="f105" y="f254"/>
                </a:lnTo>
                <a:lnTo>
                  <a:pt x="f105" y="f253"/>
                </a:lnTo>
                <a:close/>
                <a:moveTo>
                  <a:pt x="f106" y="f252"/>
                </a:moveTo>
                <a:lnTo>
                  <a:pt x="f107" y="f252"/>
                </a:lnTo>
                <a:lnTo>
                  <a:pt x="f108" y="f253"/>
                </a:lnTo>
                <a:lnTo>
                  <a:pt x="f108" y="f254"/>
                </a:lnTo>
                <a:lnTo>
                  <a:pt x="f107" y="f255"/>
                </a:lnTo>
                <a:lnTo>
                  <a:pt x="f106" y="f255"/>
                </a:lnTo>
                <a:lnTo>
                  <a:pt x="f109" y="f254"/>
                </a:lnTo>
                <a:lnTo>
                  <a:pt x="f109" y="f253"/>
                </a:lnTo>
                <a:close/>
                <a:moveTo>
                  <a:pt x="f110" y="f252"/>
                </a:moveTo>
                <a:lnTo>
                  <a:pt x="f111" y="f252"/>
                </a:lnTo>
                <a:lnTo>
                  <a:pt x="f112" y="f253"/>
                </a:lnTo>
                <a:lnTo>
                  <a:pt x="f112" y="f254"/>
                </a:lnTo>
                <a:lnTo>
                  <a:pt x="f111" y="f255"/>
                </a:lnTo>
                <a:lnTo>
                  <a:pt x="f110" y="f255"/>
                </a:lnTo>
                <a:lnTo>
                  <a:pt x="f113" y="f254"/>
                </a:lnTo>
                <a:lnTo>
                  <a:pt x="f113" y="f253"/>
                </a:lnTo>
                <a:close/>
                <a:moveTo>
                  <a:pt x="f114" y="f252"/>
                </a:moveTo>
                <a:lnTo>
                  <a:pt x="f115" y="f252"/>
                </a:lnTo>
                <a:lnTo>
                  <a:pt x="f116" y="f253"/>
                </a:lnTo>
                <a:lnTo>
                  <a:pt x="f116" y="f254"/>
                </a:lnTo>
                <a:lnTo>
                  <a:pt x="f115" y="f255"/>
                </a:lnTo>
                <a:lnTo>
                  <a:pt x="f114" y="f255"/>
                </a:lnTo>
                <a:lnTo>
                  <a:pt x="f117" y="f254"/>
                </a:lnTo>
                <a:lnTo>
                  <a:pt x="f117" y="f253"/>
                </a:lnTo>
                <a:close/>
                <a:moveTo>
                  <a:pt x="f118" y="f252"/>
                </a:moveTo>
                <a:lnTo>
                  <a:pt x="f119" y="f252"/>
                </a:lnTo>
                <a:lnTo>
                  <a:pt x="f120" y="f253"/>
                </a:lnTo>
                <a:lnTo>
                  <a:pt x="f120" y="f254"/>
                </a:lnTo>
                <a:lnTo>
                  <a:pt x="f119" y="f255"/>
                </a:lnTo>
                <a:lnTo>
                  <a:pt x="f118" y="f255"/>
                </a:lnTo>
                <a:lnTo>
                  <a:pt x="f121" y="f254"/>
                </a:lnTo>
                <a:lnTo>
                  <a:pt x="f121" y="f253"/>
                </a:lnTo>
                <a:close/>
                <a:moveTo>
                  <a:pt x="f122" y="f252"/>
                </a:moveTo>
                <a:lnTo>
                  <a:pt x="f123" y="f252"/>
                </a:lnTo>
                <a:lnTo>
                  <a:pt x="f124" y="f253"/>
                </a:lnTo>
                <a:lnTo>
                  <a:pt x="f124" y="f254"/>
                </a:lnTo>
                <a:lnTo>
                  <a:pt x="f123" y="f255"/>
                </a:lnTo>
                <a:lnTo>
                  <a:pt x="f122" y="f255"/>
                </a:lnTo>
                <a:lnTo>
                  <a:pt x="f125" y="f254"/>
                </a:lnTo>
                <a:lnTo>
                  <a:pt x="f125" y="f253"/>
                </a:lnTo>
                <a:close/>
                <a:moveTo>
                  <a:pt x="f126" y="f252"/>
                </a:moveTo>
                <a:lnTo>
                  <a:pt x="f127" y="f252"/>
                </a:lnTo>
                <a:lnTo>
                  <a:pt x="f128" y="f253"/>
                </a:lnTo>
                <a:lnTo>
                  <a:pt x="f128" y="f254"/>
                </a:lnTo>
                <a:lnTo>
                  <a:pt x="f127" y="f255"/>
                </a:lnTo>
                <a:lnTo>
                  <a:pt x="f126" y="f255"/>
                </a:lnTo>
                <a:lnTo>
                  <a:pt x="f129" y="f254"/>
                </a:lnTo>
                <a:lnTo>
                  <a:pt x="f129" y="f253"/>
                </a:lnTo>
                <a:close/>
                <a:moveTo>
                  <a:pt x="f130" y="f252"/>
                </a:moveTo>
                <a:lnTo>
                  <a:pt x="f131" y="f252"/>
                </a:lnTo>
                <a:lnTo>
                  <a:pt x="f132" y="f253"/>
                </a:lnTo>
                <a:lnTo>
                  <a:pt x="f132" y="f254"/>
                </a:lnTo>
                <a:lnTo>
                  <a:pt x="f131" y="f255"/>
                </a:lnTo>
                <a:lnTo>
                  <a:pt x="f130" y="f255"/>
                </a:lnTo>
                <a:lnTo>
                  <a:pt x="f133" y="f254"/>
                </a:lnTo>
                <a:lnTo>
                  <a:pt x="f133" y="f253"/>
                </a:lnTo>
                <a:close/>
                <a:moveTo>
                  <a:pt x="f134" y="f252"/>
                </a:moveTo>
                <a:lnTo>
                  <a:pt x="f135" y="f252"/>
                </a:lnTo>
                <a:lnTo>
                  <a:pt x="f136" y="f253"/>
                </a:lnTo>
                <a:lnTo>
                  <a:pt x="f136" y="f254"/>
                </a:lnTo>
                <a:lnTo>
                  <a:pt x="f135" y="f255"/>
                </a:lnTo>
                <a:lnTo>
                  <a:pt x="f134" y="f255"/>
                </a:lnTo>
                <a:lnTo>
                  <a:pt x="f137" y="f254"/>
                </a:lnTo>
                <a:lnTo>
                  <a:pt x="f137" y="f253"/>
                </a:lnTo>
                <a:close/>
                <a:moveTo>
                  <a:pt x="f138" y="f252"/>
                </a:moveTo>
                <a:lnTo>
                  <a:pt x="f139" y="f252"/>
                </a:lnTo>
                <a:lnTo>
                  <a:pt x="f140" y="f253"/>
                </a:lnTo>
                <a:lnTo>
                  <a:pt x="f140" y="f254"/>
                </a:lnTo>
                <a:lnTo>
                  <a:pt x="f139" y="f255"/>
                </a:lnTo>
                <a:lnTo>
                  <a:pt x="f138" y="f255"/>
                </a:lnTo>
                <a:lnTo>
                  <a:pt x="f141" y="f254"/>
                </a:lnTo>
                <a:lnTo>
                  <a:pt x="f141" y="f253"/>
                </a:lnTo>
                <a:close/>
                <a:moveTo>
                  <a:pt x="f142" y="f252"/>
                </a:moveTo>
                <a:lnTo>
                  <a:pt x="f143" y="f252"/>
                </a:lnTo>
                <a:lnTo>
                  <a:pt x="f144" y="f253"/>
                </a:lnTo>
                <a:lnTo>
                  <a:pt x="f144" y="f254"/>
                </a:lnTo>
                <a:lnTo>
                  <a:pt x="f143" y="f255"/>
                </a:lnTo>
                <a:lnTo>
                  <a:pt x="f142" y="f255"/>
                </a:lnTo>
                <a:lnTo>
                  <a:pt x="f145" y="f254"/>
                </a:lnTo>
                <a:lnTo>
                  <a:pt x="f145" y="f253"/>
                </a:lnTo>
                <a:close/>
                <a:moveTo>
                  <a:pt x="f146" y="f252"/>
                </a:moveTo>
                <a:lnTo>
                  <a:pt x="f147" y="f252"/>
                </a:lnTo>
                <a:lnTo>
                  <a:pt x="f148" y="f253"/>
                </a:lnTo>
                <a:lnTo>
                  <a:pt x="f148" y="f254"/>
                </a:lnTo>
                <a:lnTo>
                  <a:pt x="f147" y="f255"/>
                </a:lnTo>
                <a:lnTo>
                  <a:pt x="f146" y="f255"/>
                </a:lnTo>
                <a:lnTo>
                  <a:pt x="f149" y="f254"/>
                </a:lnTo>
                <a:lnTo>
                  <a:pt x="f149" y="f253"/>
                </a:lnTo>
                <a:close/>
                <a:moveTo>
                  <a:pt x="f150" y="f252"/>
                </a:moveTo>
                <a:lnTo>
                  <a:pt x="f151" y="f252"/>
                </a:lnTo>
                <a:lnTo>
                  <a:pt x="f152" y="f253"/>
                </a:lnTo>
                <a:lnTo>
                  <a:pt x="f152" y="f254"/>
                </a:lnTo>
                <a:lnTo>
                  <a:pt x="f151" y="f255"/>
                </a:lnTo>
                <a:lnTo>
                  <a:pt x="f150" y="f255"/>
                </a:lnTo>
                <a:lnTo>
                  <a:pt x="f153" y="f254"/>
                </a:lnTo>
                <a:lnTo>
                  <a:pt x="f153" y="f253"/>
                </a:lnTo>
                <a:close/>
                <a:moveTo>
                  <a:pt x="f154" y="f252"/>
                </a:moveTo>
                <a:lnTo>
                  <a:pt x="f155" y="f252"/>
                </a:lnTo>
                <a:lnTo>
                  <a:pt x="f156" y="f253"/>
                </a:lnTo>
                <a:lnTo>
                  <a:pt x="f156" y="f254"/>
                </a:lnTo>
                <a:lnTo>
                  <a:pt x="f155" y="f255"/>
                </a:lnTo>
                <a:lnTo>
                  <a:pt x="f154" y="f255"/>
                </a:lnTo>
                <a:lnTo>
                  <a:pt x="f157" y="f254"/>
                </a:lnTo>
                <a:lnTo>
                  <a:pt x="f157" y="f253"/>
                </a:lnTo>
                <a:close/>
                <a:moveTo>
                  <a:pt x="f158" y="f252"/>
                </a:moveTo>
                <a:lnTo>
                  <a:pt x="f159" y="f252"/>
                </a:lnTo>
                <a:lnTo>
                  <a:pt x="f160" y="f253"/>
                </a:lnTo>
                <a:lnTo>
                  <a:pt x="f160" y="f254"/>
                </a:lnTo>
                <a:lnTo>
                  <a:pt x="f159" y="f255"/>
                </a:lnTo>
                <a:lnTo>
                  <a:pt x="f158" y="f255"/>
                </a:lnTo>
                <a:lnTo>
                  <a:pt x="f161" y="f254"/>
                </a:lnTo>
                <a:lnTo>
                  <a:pt x="f161" y="f253"/>
                </a:lnTo>
                <a:close/>
                <a:moveTo>
                  <a:pt x="f226" y="f252"/>
                </a:moveTo>
                <a:lnTo>
                  <a:pt x="f256" y="f252"/>
                </a:lnTo>
                <a:lnTo>
                  <a:pt x="f257" y="f253"/>
                </a:lnTo>
                <a:lnTo>
                  <a:pt x="f257" y="f254"/>
                </a:lnTo>
                <a:lnTo>
                  <a:pt x="f256" y="f255"/>
                </a:lnTo>
                <a:lnTo>
                  <a:pt x="f226" y="f255"/>
                </a:lnTo>
                <a:lnTo>
                  <a:pt x="f258" y="f254"/>
                </a:lnTo>
                <a:lnTo>
                  <a:pt x="f258" y="f253"/>
                </a:lnTo>
                <a:close/>
                <a:moveTo>
                  <a:pt x="f259" y="f252"/>
                </a:moveTo>
                <a:lnTo>
                  <a:pt x="f260" y="f252"/>
                </a:lnTo>
                <a:lnTo>
                  <a:pt x="f261" y="f253"/>
                </a:lnTo>
                <a:lnTo>
                  <a:pt x="f261" y="f254"/>
                </a:lnTo>
                <a:lnTo>
                  <a:pt x="f260" y="f255"/>
                </a:lnTo>
                <a:lnTo>
                  <a:pt x="f259" y="f255"/>
                </a:lnTo>
                <a:lnTo>
                  <a:pt x="f262" y="f254"/>
                </a:lnTo>
                <a:lnTo>
                  <a:pt x="f262" y="f253"/>
                </a:lnTo>
                <a:close/>
                <a:moveTo>
                  <a:pt x="f229" y="f252"/>
                </a:moveTo>
                <a:lnTo>
                  <a:pt x="f263" y="f252"/>
                </a:lnTo>
                <a:lnTo>
                  <a:pt x="f264" y="f253"/>
                </a:lnTo>
                <a:lnTo>
                  <a:pt x="f264" y="f254"/>
                </a:lnTo>
                <a:lnTo>
                  <a:pt x="f263" y="f255"/>
                </a:lnTo>
                <a:lnTo>
                  <a:pt x="f229" y="f255"/>
                </a:lnTo>
                <a:lnTo>
                  <a:pt x="f231" y="f254"/>
                </a:lnTo>
                <a:lnTo>
                  <a:pt x="f231" y="f253"/>
                </a:lnTo>
                <a:close/>
                <a:moveTo>
                  <a:pt x="f232" y="f252"/>
                </a:moveTo>
                <a:lnTo>
                  <a:pt x="f265" y="f252"/>
                </a:lnTo>
                <a:lnTo>
                  <a:pt x="f234" y="f253"/>
                </a:lnTo>
                <a:lnTo>
                  <a:pt x="f234" y="f254"/>
                </a:lnTo>
                <a:lnTo>
                  <a:pt x="f265" y="f255"/>
                </a:lnTo>
                <a:lnTo>
                  <a:pt x="f232" y="f255"/>
                </a:lnTo>
                <a:lnTo>
                  <a:pt x="f266" y="f254"/>
                </a:lnTo>
                <a:lnTo>
                  <a:pt x="f266" y="f253"/>
                </a:lnTo>
                <a:close/>
                <a:moveTo>
                  <a:pt x="f35" y="f267"/>
                </a:moveTo>
                <a:lnTo>
                  <a:pt x="f37" y="f267"/>
                </a:lnTo>
                <a:lnTo>
                  <a:pt x="f6" y="f268"/>
                </a:lnTo>
                <a:lnTo>
                  <a:pt x="f6" y="f269"/>
                </a:lnTo>
                <a:lnTo>
                  <a:pt x="f37" y="f270"/>
                </a:lnTo>
                <a:lnTo>
                  <a:pt x="f35" y="f270"/>
                </a:lnTo>
                <a:lnTo>
                  <a:pt x="f41" y="f269"/>
                </a:lnTo>
                <a:lnTo>
                  <a:pt x="f41" y="f268"/>
                </a:lnTo>
                <a:close/>
                <a:moveTo>
                  <a:pt x="f42" y="f267"/>
                </a:moveTo>
                <a:lnTo>
                  <a:pt x="f43" y="f267"/>
                </a:lnTo>
                <a:lnTo>
                  <a:pt x="f44" y="f268"/>
                </a:lnTo>
                <a:lnTo>
                  <a:pt x="f44" y="f269"/>
                </a:lnTo>
                <a:lnTo>
                  <a:pt x="f43" y="f270"/>
                </a:lnTo>
                <a:lnTo>
                  <a:pt x="f42" y="f270"/>
                </a:lnTo>
                <a:lnTo>
                  <a:pt x="f45" y="f269"/>
                </a:lnTo>
                <a:lnTo>
                  <a:pt x="f45" y="f268"/>
                </a:lnTo>
                <a:close/>
                <a:moveTo>
                  <a:pt x="f46" y="f267"/>
                </a:moveTo>
                <a:lnTo>
                  <a:pt x="f47" y="f267"/>
                </a:lnTo>
                <a:lnTo>
                  <a:pt x="f48" y="f268"/>
                </a:lnTo>
                <a:lnTo>
                  <a:pt x="f48" y="f269"/>
                </a:lnTo>
                <a:lnTo>
                  <a:pt x="f47" y="f270"/>
                </a:lnTo>
                <a:lnTo>
                  <a:pt x="f46" y="f270"/>
                </a:lnTo>
                <a:lnTo>
                  <a:pt x="f49" y="f269"/>
                </a:lnTo>
                <a:lnTo>
                  <a:pt x="f49" y="f268"/>
                </a:lnTo>
                <a:close/>
                <a:moveTo>
                  <a:pt x="f50" y="f267"/>
                </a:moveTo>
                <a:lnTo>
                  <a:pt x="f51" y="f267"/>
                </a:lnTo>
                <a:lnTo>
                  <a:pt x="f52" y="f268"/>
                </a:lnTo>
                <a:lnTo>
                  <a:pt x="f52" y="f269"/>
                </a:lnTo>
                <a:lnTo>
                  <a:pt x="f51" y="f270"/>
                </a:lnTo>
                <a:lnTo>
                  <a:pt x="f50" y="f270"/>
                </a:lnTo>
                <a:lnTo>
                  <a:pt x="f53" y="f269"/>
                </a:lnTo>
                <a:lnTo>
                  <a:pt x="f53" y="f268"/>
                </a:lnTo>
                <a:close/>
                <a:moveTo>
                  <a:pt x="f54" y="f267"/>
                </a:moveTo>
                <a:lnTo>
                  <a:pt x="f55" y="f267"/>
                </a:lnTo>
                <a:lnTo>
                  <a:pt x="f56" y="f268"/>
                </a:lnTo>
                <a:lnTo>
                  <a:pt x="f56" y="f269"/>
                </a:lnTo>
                <a:lnTo>
                  <a:pt x="f55" y="f270"/>
                </a:lnTo>
                <a:lnTo>
                  <a:pt x="f54" y="f270"/>
                </a:lnTo>
                <a:lnTo>
                  <a:pt x="f57" y="f269"/>
                </a:lnTo>
                <a:lnTo>
                  <a:pt x="f57" y="f268"/>
                </a:lnTo>
                <a:close/>
                <a:moveTo>
                  <a:pt x="f58" y="f267"/>
                </a:moveTo>
                <a:lnTo>
                  <a:pt x="f59" y="f267"/>
                </a:lnTo>
                <a:lnTo>
                  <a:pt x="f60" y="f268"/>
                </a:lnTo>
                <a:lnTo>
                  <a:pt x="f60" y="f269"/>
                </a:lnTo>
                <a:lnTo>
                  <a:pt x="f59" y="f270"/>
                </a:lnTo>
                <a:lnTo>
                  <a:pt x="f58" y="f270"/>
                </a:lnTo>
                <a:lnTo>
                  <a:pt x="f61" y="f269"/>
                </a:lnTo>
                <a:lnTo>
                  <a:pt x="f61" y="f268"/>
                </a:lnTo>
                <a:close/>
                <a:moveTo>
                  <a:pt x="f62" y="f267"/>
                </a:moveTo>
                <a:lnTo>
                  <a:pt x="f63" y="f267"/>
                </a:lnTo>
                <a:lnTo>
                  <a:pt x="f64" y="f268"/>
                </a:lnTo>
                <a:lnTo>
                  <a:pt x="f64" y="f269"/>
                </a:lnTo>
                <a:lnTo>
                  <a:pt x="f63" y="f270"/>
                </a:lnTo>
                <a:lnTo>
                  <a:pt x="f62" y="f270"/>
                </a:lnTo>
                <a:lnTo>
                  <a:pt x="f65" y="f269"/>
                </a:lnTo>
                <a:lnTo>
                  <a:pt x="f65" y="f268"/>
                </a:lnTo>
                <a:close/>
                <a:moveTo>
                  <a:pt x="f66" y="f267"/>
                </a:moveTo>
                <a:lnTo>
                  <a:pt x="f67" y="f267"/>
                </a:lnTo>
                <a:lnTo>
                  <a:pt x="f68" y="f268"/>
                </a:lnTo>
                <a:lnTo>
                  <a:pt x="f68" y="f269"/>
                </a:lnTo>
                <a:lnTo>
                  <a:pt x="f67" y="f270"/>
                </a:lnTo>
                <a:lnTo>
                  <a:pt x="f66" y="f270"/>
                </a:lnTo>
                <a:lnTo>
                  <a:pt x="f69" y="f269"/>
                </a:lnTo>
                <a:lnTo>
                  <a:pt x="f69" y="f268"/>
                </a:lnTo>
                <a:close/>
                <a:moveTo>
                  <a:pt x="f70" y="f267"/>
                </a:moveTo>
                <a:lnTo>
                  <a:pt x="f71" y="f267"/>
                </a:lnTo>
                <a:lnTo>
                  <a:pt x="f72" y="f268"/>
                </a:lnTo>
                <a:lnTo>
                  <a:pt x="f72" y="f269"/>
                </a:lnTo>
                <a:lnTo>
                  <a:pt x="f71" y="f270"/>
                </a:lnTo>
                <a:lnTo>
                  <a:pt x="f70" y="f270"/>
                </a:lnTo>
                <a:lnTo>
                  <a:pt x="f73" y="f269"/>
                </a:lnTo>
                <a:lnTo>
                  <a:pt x="f73" y="f268"/>
                </a:lnTo>
                <a:close/>
                <a:moveTo>
                  <a:pt x="f74" y="f267"/>
                </a:moveTo>
                <a:lnTo>
                  <a:pt x="f75" y="f267"/>
                </a:lnTo>
                <a:lnTo>
                  <a:pt x="f76" y="f268"/>
                </a:lnTo>
                <a:lnTo>
                  <a:pt x="f76" y="f269"/>
                </a:lnTo>
                <a:lnTo>
                  <a:pt x="f75" y="f270"/>
                </a:lnTo>
                <a:lnTo>
                  <a:pt x="f74" y="f270"/>
                </a:lnTo>
                <a:lnTo>
                  <a:pt x="f77" y="f269"/>
                </a:lnTo>
                <a:lnTo>
                  <a:pt x="f77" y="f268"/>
                </a:lnTo>
                <a:close/>
                <a:moveTo>
                  <a:pt x="f78" y="f267"/>
                </a:moveTo>
                <a:lnTo>
                  <a:pt x="f79" y="f267"/>
                </a:lnTo>
                <a:lnTo>
                  <a:pt x="f80" y="f268"/>
                </a:lnTo>
                <a:lnTo>
                  <a:pt x="f80" y="f269"/>
                </a:lnTo>
                <a:lnTo>
                  <a:pt x="f79" y="f270"/>
                </a:lnTo>
                <a:lnTo>
                  <a:pt x="f78" y="f270"/>
                </a:lnTo>
                <a:lnTo>
                  <a:pt x="f81" y="f269"/>
                </a:lnTo>
                <a:lnTo>
                  <a:pt x="f81" y="f268"/>
                </a:lnTo>
                <a:close/>
                <a:moveTo>
                  <a:pt x="f82" y="f267"/>
                </a:moveTo>
                <a:lnTo>
                  <a:pt x="f83" y="f267"/>
                </a:lnTo>
                <a:lnTo>
                  <a:pt x="f84" y="f268"/>
                </a:lnTo>
                <a:lnTo>
                  <a:pt x="f84" y="f269"/>
                </a:lnTo>
                <a:lnTo>
                  <a:pt x="f83" y="f270"/>
                </a:lnTo>
                <a:lnTo>
                  <a:pt x="f82" y="f270"/>
                </a:lnTo>
                <a:lnTo>
                  <a:pt x="f85" y="f269"/>
                </a:lnTo>
                <a:lnTo>
                  <a:pt x="f85" y="f268"/>
                </a:lnTo>
                <a:close/>
                <a:moveTo>
                  <a:pt x="f86" y="f267"/>
                </a:moveTo>
                <a:lnTo>
                  <a:pt x="f87" y="f267"/>
                </a:lnTo>
                <a:lnTo>
                  <a:pt x="f88" y="f268"/>
                </a:lnTo>
                <a:lnTo>
                  <a:pt x="f88" y="f269"/>
                </a:lnTo>
                <a:lnTo>
                  <a:pt x="f87" y="f270"/>
                </a:lnTo>
                <a:lnTo>
                  <a:pt x="f86" y="f270"/>
                </a:lnTo>
                <a:lnTo>
                  <a:pt x="f89" y="f269"/>
                </a:lnTo>
                <a:lnTo>
                  <a:pt x="f89" y="f268"/>
                </a:lnTo>
                <a:close/>
                <a:moveTo>
                  <a:pt x="f90" y="f267"/>
                </a:moveTo>
                <a:lnTo>
                  <a:pt x="f91" y="f267"/>
                </a:lnTo>
                <a:lnTo>
                  <a:pt x="f92" y="f268"/>
                </a:lnTo>
                <a:lnTo>
                  <a:pt x="f92" y="f269"/>
                </a:lnTo>
                <a:lnTo>
                  <a:pt x="f91" y="f270"/>
                </a:lnTo>
                <a:lnTo>
                  <a:pt x="f90" y="f270"/>
                </a:lnTo>
                <a:lnTo>
                  <a:pt x="f93" y="f269"/>
                </a:lnTo>
                <a:lnTo>
                  <a:pt x="f93" y="f268"/>
                </a:lnTo>
                <a:close/>
                <a:moveTo>
                  <a:pt x="f94" y="f267"/>
                </a:moveTo>
                <a:lnTo>
                  <a:pt x="f95" y="f267"/>
                </a:lnTo>
                <a:lnTo>
                  <a:pt x="f96" y="f268"/>
                </a:lnTo>
                <a:lnTo>
                  <a:pt x="f96" y="f269"/>
                </a:lnTo>
                <a:lnTo>
                  <a:pt x="f95" y="f270"/>
                </a:lnTo>
                <a:lnTo>
                  <a:pt x="f94" y="f270"/>
                </a:lnTo>
                <a:lnTo>
                  <a:pt x="f97" y="f269"/>
                </a:lnTo>
                <a:lnTo>
                  <a:pt x="f97" y="f268"/>
                </a:lnTo>
                <a:close/>
                <a:moveTo>
                  <a:pt x="f98" y="f267"/>
                </a:moveTo>
                <a:lnTo>
                  <a:pt x="f99" y="f267"/>
                </a:lnTo>
                <a:lnTo>
                  <a:pt x="f100" y="f268"/>
                </a:lnTo>
                <a:lnTo>
                  <a:pt x="f100" y="f269"/>
                </a:lnTo>
                <a:lnTo>
                  <a:pt x="f99" y="f270"/>
                </a:lnTo>
                <a:lnTo>
                  <a:pt x="f98" y="f270"/>
                </a:lnTo>
                <a:lnTo>
                  <a:pt x="f101" y="f269"/>
                </a:lnTo>
                <a:lnTo>
                  <a:pt x="f101" y="f268"/>
                </a:lnTo>
                <a:close/>
                <a:moveTo>
                  <a:pt x="f102" y="f267"/>
                </a:moveTo>
                <a:lnTo>
                  <a:pt x="f103" y="f267"/>
                </a:lnTo>
                <a:lnTo>
                  <a:pt x="f104" y="f268"/>
                </a:lnTo>
                <a:lnTo>
                  <a:pt x="f104" y="f269"/>
                </a:lnTo>
                <a:lnTo>
                  <a:pt x="f103" y="f270"/>
                </a:lnTo>
                <a:lnTo>
                  <a:pt x="f102" y="f270"/>
                </a:lnTo>
                <a:lnTo>
                  <a:pt x="f105" y="f269"/>
                </a:lnTo>
                <a:lnTo>
                  <a:pt x="f105" y="f268"/>
                </a:lnTo>
                <a:close/>
                <a:moveTo>
                  <a:pt x="f106" y="f267"/>
                </a:moveTo>
                <a:lnTo>
                  <a:pt x="f107" y="f267"/>
                </a:lnTo>
                <a:lnTo>
                  <a:pt x="f108" y="f268"/>
                </a:lnTo>
                <a:lnTo>
                  <a:pt x="f108" y="f269"/>
                </a:lnTo>
                <a:lnTo>
                  <a:pt x="f107" y="f270"/>
                </a:lnTo>
                <a:lnTo>
                  <a:pt x="f106" y="f270"/>
                </a:lnTo>
                <a:lnTo>
                  <a:pt x="f109" y="f269"/>
                </a:lnTo>
                <a:lnTo>
                  <a:pt x="f109" y="f268"/>
                </a:lnTo>
                <a:close/>
                <a:moveTo>
                  <a:pt x="f110" y="f267"/>
                </a:moveTo>
                <a:lnTo>
                  <a:pt x="f111" y="f267"/>
                </a:lnTo>
                <a:lnTo>
                  <a:pt x="f112" y="f268"/>
                </a:lnTo>
                <a:lnTo>
                  <a:pt x="f112" y="f269"/>
                </a:lnTo>
                <a:lnTo>
                  <a:pt x="f111" y="f270"/>
                </a:lnTo>
                <a:lnTo>
                  <a:pt x="f110" y="f270"/>
                </a:lnTo>
                <a:lnTo>
                  <a:pt x="f113" y="f269"/>
                </a:lnTo>
                <a:lnTo>
                  <a:pt x="f113" y="f268"/>
                </a:lnTo>
                <a:close/>
                <a:moveTo>
                  <a:pt x="f114" y="f267"/>
                </a:moveTo>
                <a:lnTo>
                  <a:pt x="f115" y="f267"/>
                </a:lnTo>
                <a:lnTo>
                  <a:pt x="f116" y="f268"/>
                </a:lnTo>
                <a:lnTo>
                  <a:pt x="f116" y="f269"/>
                </a:lnTo>
                <a:lnTo>
                  <a:pt x="f115" y="f270"/>
                </a:lnTo>
                <a:lnTo>
                  <a:pt x="f114" y="f270"/>
                </a:lnTo>
                <a:lnTo>
                  <a:pt x="f117" y="f269"/>
                </a:lnTo>
                <a:lnTo>
                  <a:pt x="f117" y="f268"/>
                </a:lnTo>
                <a:close/>
                <a:moveTo>
                  <a:pt x="f118" y="f267"/>
                </a:moveTo>
                <a:lnTo>
                  <a:pt x="f119" y="f267"/>
                </a:lnTo>
                <a:lnTo>
                  <a:pt x="f120" y="f268"/>
                </a:lnTo>
                <a:lnTo>
                  <a:pt x="f120" y="f269"/>
                </a:lnTo>
                <a:lnTo>
                  <a:pt x="f119" y="f270"/>
                </a:lnTo>
                <a:lnTo>
                  <a:pt x="f118" y="f270"/>
                </a:lnTo>
                <a:lnTo>
                  <a:pt x="f121" y="f269"/>
                </a:lnTo>
                <a:lnTo>
                  <a:pt x="f121" y="f268"/>
                </a:lnTo>
                <a:close/>
                <a:moveTo>
                  <a:pt x="f122" y="f267"/>
                </a:moveTo>
                <a:lnTo>
                  <a:pt x="f123" y="f267"/>
                </a:lnTo>
                <a:lnTo>
                  <a:pt x="f124" y="f268"/>
                </a:lnTo>
                <a:lnTo>
                  <a:pt x="f124" y="f269"/>
                </a:lnTo>
                <a:lnTo>
                  <a:pt x="f123" y="f270"/>
                </a:lnTo>
                <a:lnTo>
                  <a:pt x="f122" y="f270"/>
                </a:lnTo>
                <a:lnTo>
                  <a:pt x="f125" y="f269"/>
                </a:lnTo>
                <a:lnTo>
                  <a:pt x="f125" y="f268"/>
                </a:lnTo>
                <a:close/>
                <a:moveTo>
                  <a:pt x="f126" y="f267"/>
                </a:moveTo>
                <a:lnTo>
                  <a:pt x="f127" y="f267"/>
                </a:lnTo>
                <a:lnTo>
                  <a:pt x="f128" y="f268"/>
                </a:lnTo>
                <a:lnTo>
                  <a:pt x="f128" y="f269"/>
                </a:lnTo>
                <a:lnTo>
                  <a:pt x="f127" y="f270"/>
                </a:lnTo>
                <a:lnTo>
                  <a:pt x="f126" y="f270"/>
                </a:lnTo>
                <a:lnTo>
                  <a:pt x="f129" y="f269"/>
                </a:lnTo>
                <a:lnTo>
                  <a:pt x="f129" y="f268"/>
                </a:lnTo>
                <a:close/>
                <a:moveTo>
                  <a:pt x="f130" y="f267"/>
                </a:moveTo>
                <a:lnTo>
                  <a:pt x="f131" y="f267"/>
                </a:lnTo>
                <a:lnTo>
                  <a:pt x="f132" y="f268"/>
                </a:lnTo>
                <a:lnTo>
                  <a:pt x="f132" y="f269"/>
                </a:lnTo>
                <a:lnTo>
                  <a:pt x="f131" y="f270"/>
                </a:lnTo>
                <a:lnTo>
                  <a:pt x="f130" y="f270"/>
                </a:lnTo>
                <a:lnTo>
                  <a:pt x="f133" y="f269"/>
                </a:lnTo>
                <a:lnTo>
                  <a:pt x="f133" y="f268"/>
                </a:lnTo>
                <a:close/>
                <a:moveTo>
                  <a:pt x="f134" y="f267"/>
                </a:moveTo>
                <a:lnTo>
                  <a:pt x="f135" y="f267"/>
                </a:lnTo>
                <a:lnTo>
                  <a:pt x="f136" y="f268"/>
                </a:lnTo>
                <a:lnTo>
                  <a:pt x="f136" y="f269"/>
                </a:lnTo>
                <a:lnTo>
                  <a:pt x="f135" y="f270"/>
                </a:lnTo>
                <a:lnTo>
                  <a:pt x="f134" y="f270"/>
                </a:lnTo>
                <a:lnTo>
                  <a:pt x="f137" y="f269"/>
                </a:lnTo>
                <a:lnTo>
                  <a:pt x="f137" y="f268"/>
                </a:lnTo>
                <a:close/>
                <a:moveTo>
                  <a:pt x="f138" y="f267"/>
                </a:moveTo>
                <a:lnTo>
                  <a:pt x="f139" y="f267"/>
                </a:lnTo>
                <a:lnTo>
                  <a:pt x="f140" y="f268"/>
                </a:lnTo>
                <a:lnTo>
                  <a:pt x="f140" y="f269"/>
                </a:lnTo>
                <a:lnTo>
                  <a:pt x="f139" y="f270"/>
                </a:lnTo>
                <a:lnTo>
                  <a:pt x="f138" y="f270"/>
                </a:lnTo>
                <a:lnTo>
                  <a:pt x="f141" y="f269"/>
                </a:lnTo>
                <a:lnTo>
                  <a:pt x="f141" y="f268"/>
                </a:lnTo>
                <a:close/>
                <a:moveTo>
                  <a:pt x="f142" y="f267"/>
                </a:moveTo>
                <a:lnTo>
                  <a:pt x="f143" y="f267"/>
                </a:lnTo>
                <a:lnTo>
                  <a:pt x="f144" y="f268"/>
                </a:lnTo>
                <a:lnTo>
                  <a:pt x="f144" y="f269"/>
                </a:lnTo>
                <a:lnTo>
                  <a:pt x="f143" y="f270"/>
                </a:lnTo>
                <a:lnTo>
                  <a:pt x="f142" y="f270"/>
                </a:lnTo>
                <a:lnTo>
                  <a:pt x="f145" y="f269"/>
                </a:lnTo>
                <a:lnTo>
                  <a:pt x="f145" y="f268"/>
                </a:lnTo>
                <a:close/>
                <a:moveTo>
                  <a:pt x="f146" y="f267"/>
                </a:moveTo>
                <a:lnTo>
                  <a:pt x="f147" y="f267"/>
                </a:lnTo>
                <a:lnTo>
                  <a:pt x="f148" y="f268"/>
                </a:lnTo>
                <a:lnTo>
                  <a:pt x="f148" y="f269"/>
                </a:lnTo>
                <a:lnTo>
                  <a:pt x="f147" y="f270"/>
                </a:lnTo>
                <a:lnTo>
                  <a:pt x="f146" y="f270"/>
                </a:lnTo>
                <a:lnTo>
                  <a:pt x="f149" y="f269"/>
                </a:lnTo>
                <a:lnTo>
                  <a:pt x="f149" y="f268"/>
                </a:lnTo>
                <a:close/>
                <a:moveTo>
                  <a:pt x="f150" y="f267"/>
                </a:moveTo>
                <a:lnTo>
                  <a:pt x="f151" y="f267"/>
                </a:lnTo>
                <a:lnTo>
                  <a:pt x="f152" y="f268"/>
                </a:lnTo>
                <a:lnTo>
                  <a:pt x="f152" y="f269"/>
                </a:lnTo>
                <a:lnTo>
                  <a:pt x="f151" y="f270"/>
                </a:lnTo>
                <a:lnTo>
                  <a:pt x="f150" y="f270"/>
                </a:lnTo>
                <a:lnTo>
                  <a:pt x="f153" y="f269"/>
                </a:lnTo>
                <a:lnTo>
                  <a:pt x="f153" y="f268"/>
                </a:lnTo>
                <a:close/>
                <a:moveTo>
                  <a:pt x="f154" y="f267"/>
                </a:moveTo>
                <a:lnTo>
                  <a:pt x="f155" y="f267"/>
                </a:lnTo>
                <a:lnTo>
                  <a:pt x="f156" y="f268"/>
                </a:lnTo>
                <a:lnTo>
                  <a:pt x="f156" y="f269"/>
                </a:lnTo>
                <a:lnTo>
                  <a:pt x="f155" y="f270"/>
                </a:lnTo>
                <a:lnTo>
                  <a:pt x="f154" y="f270"/>
                </a:lnTo>
                <a:lnTo>
                  <a:pt x="f157" y="f269"/>
                </a:lnTo>
                <a:lnTo>
                  <a:pt x="f157" y="f268"/>
                </a:lnTo>
                <a:close/>
                <a:moveTo>
                  <a:pt x="f158" y="f267"/>
                </a:moveTo>
                <a:lnTo>
                  <a:pt x="f159" y="f267"/>
                </a:lnTo>
                <a:lnTo>
                  <a:pt x="f160" y="f268"/>
                </a:lnTo>
                <a:lnTo>
                  <a:pt x="f160" y="f269"/>
                </a:lnTo>
                <a:lnTo>
                  <a:pt x="f159" y="f270"/>
                </a:lnTo>
                <a:lnTo>
                  <a:pt x="f158" y="f270"/>
                </a:lnTo>
                <a:lnTo>
                  <a:pt x="f161" y="f269"/>
                </a:lnTo>
                <a:lnTo>
                  <a:pt x="f161" y="f268"/>
                </a:lnTo>
                <a:close/>
                <a:moveTo>
                  <a:pt x="f181" y="f267"/>
                </a:moveTo>
                <a:lnTo>
                  <a:pt x="f182" y="f267"/>
                </a:lnTo>
                <a:lnTo>
                  <a:pt x="f271" y="f268"/>
                </a:lnTo>
                <a:lnTo>
                  <a:pt x="f271" y="f269"/>
                </a:lnTo>
                <a:lnTo>
                  <a:pt x="f182" y="f270"/>
                </a:lnTo>
                <a:lnTo>
                  <a:pt x="f181" y="f270"/>
                </a:lnTo>
                <a:lnTo>
                  <a:pt x="f184" y="f269"/>
                </a:lnTo>
                <a:lnTo>
                  <a:pt x="f184" y="f268"/>
                </a:lnTo>
                <a:close/>
                <a:moveTo>
                  <a:pt x="f239" y="f267"/>
                </a:moveTo>
                <a:lnTo>
                  <a:pt x="f212" y="f267"/>
                </a:lnTo>
                <a:lnTo>
                  <a:pt x="f185" y="f268"/>
                </a:lnTo>
                <a:lnTo>
                  <a:pt x="f185" y="f269"/>
                </a:lnTo>
                <a:lnTo>
                  <a:pt x="f212" y="f270"/>
                </a:lnTo>
                <a:lnTo>
                  <a:pt x="f239" y="f270"/>
                </a:lnTo>
                <a:lnTo>
                  <a:pt x="f18" y="f269"/>
                </a:lnTo>
                <a:lnTo>
                  <a:pt x="f18" y="f268"/>
                </a:lnTo>
                <a:close/>
                <a:moveTo>
                  <a:pt x="f272" y="f267"/>
                </a:moveTo>
                <a:lnTo>
                  <a:pt x="f240" y="f267"/>
                </a:lnTo>
                <a:lnTo>
                  <a:pt x="f273" y="f268"/>
                </a:lnTo>
                <a:lnTo>
                  <a:pt x="f273" y="f269"/>
                </a:lnTo>
                <a:lnTo>
                  <a:pt x="f240" y="f270"/>
                </a:lnTo>
                <a:lnTo>
                  <a:pt x="f272" y="f270"/>
                </a:lnTo>
                <a:lnTo>
                  <a:pt x="f274" y="f269"/>
                </a:lnTo>
                <a:lnTo>
                  <a:pt x="f274" y="f268"/>
                </a:lnTo>
                <a:close/>
                <a:moveTo>
                  <a:pt x="f275" y="f267"/>
                </a:moveTo>
                <a:lnTo>
                  <a:pt x="f243" y="f267"/>
                </a:lnTo>
                <a:lnTo>
                  <a:pt x="f244" y="f268"/>
                </a:lnTo>
                <a:lnTo>
                  <a:pt x="f244" y="f269"/>
                </a:lnTo>
                <a:lnTo>
                  <a:pt x="f243" y="f270"/>
                </a:lnTo>
                <a:lnTo>
                  <a:pt x="f275" y="f270"/>
                </a:lnTo>
                <a:lnTo>
                  <a:pt x="f276" y="f269"/>
                </a:lnTo>
                <a:lnTo>
                  <a:pt x="f276" y="f268"/>
                </a:lnTo>
                <a:close/>
                <a:moveTo>
                  <a:pt x="f246" y="f267"/>
                </a:moveTo>
                <a:lnTo>
                  <a:pt x="f277" y="f267"/>
                </a:lnTo>
                <a:lnTo>
                  <a:pt x="f278" y="f268"/>
                </a:lnTo>
                <a:lnTo>
                  <a:pt x="f278" y="f269"/>
                </a:lnTo>
                <a:lnTo>
                  <a:pt x="f277" y="f270"/>
                </a:lnTo>
                <a:lnTo>
                  <a:pt x="f246" y="f270"/>
                </a:lnTo>
                <a:lnTo>
                  <a:pt x="f279" y="f269"/>
                </a:lnTo>
                <a:lnTo>
                  <a:pt x="f279" y="f268"/>
                </a:lnTo>
                <a:close/>
                <a:moveTo>
                  <a:pt x="f280" y="f267"/>
                </a:moveTo>
                <a:lnTo>
                  <a:pt x="f249" y="f267"/>
                </a:lnTo>
                <a:lnTo>
                  <a:pt x="f281" y="f268"/>
                </a:lnTo>
                <a:lnTo>
                  <a:pt x="f281" y="f269"/>
                </a:lnTo>
                <a:lnTo>
                  <a:pt x="f249" y="f270"/>
                </a:lnTo>
                <a:lnTo>
                  <a:pt x="f280" y="f270"/>
                </a:lnTo>
                <a:lnTo>
                  <a:pt x="f282" y="f269"/>
                </a:lnTo>
                <a:lnTo>
                  <a:pt x="f282" y="f268"/>
                </a:lnTo>
                <a:close/>
                <a:moveTo>
                  <a:pt x="f283" y="f267"/>
                </a:moveTo>
                <a:lnTo>
                  <a:pt x="f256" y="f267"/>
                </a:lnTo>
                <a:lnTo>
                  <a:pt x="f284" y="f268"/>
                </a:lnTo>
                <a:lnTo>
                  <a:pt x="f284" y="f269"/>
                </a:lnTo>
                <a:lnTo>
                  <a:pt x="f256" y="f270"/>
                </a:lnTo>
                <a:lnTo>
                  <a:pt x="f283" y="f270"/>
                </a:lnTo>
                <a:lnTo>
                  <a:pt x="f285" y="f269"/>
                </a:lnTo>
                <a:lnTo>
                  <a:pt x="f285" y="f268"/>
                </a:lnTo>
                <a:close/>
                <a:moveTo>
                  <a:pt x="f286" y="f267"/>
                </a:moveTo>
                <a:lnTo>
                  <a:pt x="f287" y="f267"/>
                </a:lnTo>
                <a:lnTo>
                  <a:pt x="f261" y="f268"/>
                </a:lnTo>
                <a:lnTo>
                  <a:pt x="f261" y="f269"/>
                </a:lnTo>
                <a:lnTo>
                  <a:pt x="f287" y="f270"/>
                </a:lnTo>
                <a:lnTo>
                  <a:pt x="f286" y="f270"/>
                </a:lnTo>
                <a:lnTo>
                  <a:pt x="f288" y="f269"/>
                </a:lnTo>
                <a:lnTo>
                  <a:pt x="f288" y="f268"/>
                </a:lnTo>
                <a:close/>
                <a:moveTo>
                  <a:pt x="f289" y="f267"/>
                </a:moveTo>
                <a:lnTo>
                  <a:pt x="f263" y="f267"/>
                </a:lnTo>
                <a:lnTo>
                  <a:pt x="f264" y="f268"/>
                </a:lnTo>
                <a:lnTo>
                  <a:pt x="f264" y="f269"/>
                </a:lnTo>
                <a:lnTo>
                  <a:pt x="f263" y="f270"/>
                </a:lnTo>
                <a:lnTo>
                  <a:pt x="f289" y="f270"/>
                </a:lnTo>
                <a:lnTo>
                  <a:pt x="f290" y="f269"/>
                </a:lnTo>
                <a:lnTo>
                  <a:pt x="f290" y="f268"/>
                </a:lnTo>
                <a:close/>
                <a:moveTo>
                  <a:pt x="f291" y="f267"/>
                </a:moveTo>
                <a:lnTo>
                  <a:pt x="f265" y="f267"/>
                </a:lnTo>
                <a:lnTo>
                  <a:pt x="f292" y="f268"/>
                </a:lnTo>
                <a:lnTo>
                  <a:pt x="f292" y="f269"/>
                </a:lnTo>
                <a:lnTo>
                  <a:pt x="f265" y="f270"/>
                </a:lnTo>
                <a:lnTo>
                  <a:pt x="f291" y="f270"/>
                </a:lnTo>
                <a:lnTo>
                  <a:pt x="f293" y="f269"/>
                </a:lnTo>
                <a:lnTo>
                  <a:pt x="f293" y="f268"/>
                </a:lnTo>
                <a:close/>
                <a:moveTo>
                  <a:pt x="f181" y="f294"/>
                </a:moveTo>
                <a:lnTo>
                  <a:pt x="f295" y="f294"/>
                </a:lnTo>
                <a:lnTo>
                  <a:pt x="f271" y="f296"/>
                </a:lnTo>
                <a:lnTo>
                  <a:pt x="f271" y="f297"/>
                </a:lnTo>
                <a:lnTo>
                  <a:pt x="f295" y="f298"/>
                </a:lnTo>
                <a:lnTo>
                  <a:pt x="f181" y="f298"/>
                </a:lnTo>
                <a:lnTo>
                  <a:pt x="f184" y="f297"/>
                </a:lnTo>
                <a:lnTo>
                  <a:pt x="f184" y="f296"/>
                </a:lnTo>
                <a:close/>
                <a:moveTo>
                  <a:pt x="f239" y="f294"/>
                </a:moveTo>
                <a:lnTo>
                  <a:pt x="f212" y="f294"/>
                </a:lnTo>
                <a:lnTo>
                  <a:pt x="f185" y="f296"/>
                </a:lnTo>
                <a:lnTo>
                  <a:pt x="f185" y="f297"/>
                </a:lnTo>
                <a:lnTo>
                  <a:pt x="f212" y="f298"/>
                </a:lnTo>
                <a:lnTo>
                  <a:pt x="f239" y="f298"/>
                </a:lnTo>
                <a:lnTo>
                  <a:pt x="f299" y="f297"/>
                </a:lnTo>
                <a:lnTo>
                  <a:pt x="f299" y="f296"/>
                </a:lnTo>
                <a:close/>
                <a:moveTo>
                  <a:pt x="f300" y="f294"/>
                </a:moveTo>
                <a:lnTo>
                  <a:pt x="f301" y="f294"/>
                </a:lnTo>
                <a:lnTo>
                  <a:pt x="f273" y="f296"/>
                </a:lnTo>
                <a:lnTo>
                  <a:pt x="f273" y="f297"/>
                </a:lnTo>
                <a:lnTo>
                  <a:pt x="f301" y="f298"/>
                </a:lnTo>
                <a:lnTo>
                  <a:pt x="f300" y="f298"/>
                </a:lnTo>
                <a:lnTo>
                  <a:pt x="f274" y="f297"/>
                </a:lnTo>
                <a:lnTo>
                  <a:pt x="f274" y="f296"/>
                </a:lnTo>
                <a:close/>
                <a:moveTo>
                  <a:pt x="f302" y="f294"/>
                </a:moveTo>
                <a:lnTo>
                  <a:pt x="f303" y="f294"/>
                </a:lnTo>
                <a:lnTo>
                  <a:pt x="f304" y="f296"/>
                </a:lnTo>
                <a:lnTo>
                  <a:pt x="f304" y="f297"/>
                </a:lnTo>
                <a:lnTo>
                  <a:pt x="f303" y="f298"/>
                </a:lnTo>
                <a:lnTo>
                  <a:pt x="f302" y="f298"/>
                </a:lnTo>
                <a:lnTo>
                  <a:pt x="f276" y="f297"/>
                </a:lnTo>
                <a:lnTo>
                  <a:pt x="f276" y="f296"/>
                </a:lnTo>
                <a:close/>
                <a:moveTo>
                  <a:pt x="f305" y="f294"/>
                </a:moveTo>
                <a:lnTo>
                  <a:pt x="f277" y="f294"/>
                </a:lnTo>
                <a:lnTo>
                  <a:pt x="f306" y="f296"/>
                </a:lnTo>
                <a:lnTo>
                  <a:pt x="f306" y="f297"/>
                </a:lnTo>
                <a:lnTo>
                  <a:pt x="f277" y="f298"/>
                </a:lnTo>
                <a:lnTo>
                  <a:pt x="f305" y="f298"/>
                </a:lnTo>
                <a:lnTo>
                  <a:pt x="f279" y="f297"/>
                </a:lnTo>
                <a:lnTo>
                  <a:pt x="f279" y="f296"/>
                </a:lnTo>
                <a:close/>
                <a:moveTo>
                  <a:pt x="f280" y="f294"/>
                </a:moveTo>
                <a:lnTo>
                  <a:pt x="f307" y="f294"/>
                </a:lnTo>
                <a:lnTo>
                  <a:pt x="f281" y="f296"/>
                </a:lnTo>
                <a:lnTo>
                  <a:pt x="f281" y="f297"/>
                </a:lnTo>
                <a:lnTo>
                  <a:pt x="f307" y="f298"/>
                </a:lnTo>
                <a:lnTo>
                  <a:pt x="f280" y="f298"/>
                </a:lnTo>
                <a:lnTo>
                  <a:pt x="f282" y="f297"/>
                </a:lnTo>
                <a:lnTo>
                  <a:pt x="f282" y="f296"/>
                </a:lnTo>
                <a:close/>
                <a:moveTo>
                  <a:pt x="f35" y="f308"/>
                </a:moveTo>
                <a:lnTo>
                  <a:pt x="f37" y="f308"/>
                </a:lnTo>
                <a:lnTo>
                  <a:pt x="f6" y="f309"/>
                </a:lnTo>
                <a:lnTo>
                  <a:pt x="f6" y="f310"/>
                </a:lnTo>
                <a:lnTo>
                  <a:pt x="f37" y="f311"/>
                </a:lnTo>
                <a:lnTo>
                  <a:pt x="f35" y="f311"/>
                </a:lnTo>
                <a:lnTo>
                  <a:pt x="f41" y="f310"/>
                </a:lnTo>
                <a:lnTo>
                  <a:pt x="f41" y="f309"/>
                </a:lnTo>
                <a:close/>
                <a:moveTo>
                  <a:pt x="f42" y="f308"/>
                </a:moveTo>
                <a:lnTo>
                  <a:pt x="f43" y="f308"/>
                </a:lnTo>
                <a:lnTo>
                  <a:pt x="f44" y="f309"/>
                </a:lnTo>
                <a:lnTo>
                  <a:pt x="f44" y="f310"/>
                </a:lnTo>
                <a:lnTo>
                  <a:pt x="f43" y="f311"/>
                </a:lnTo>
                <a:lnTo>
                  <a:pt x="f42" y="f311"/>
                </a:lnTo>
                <a:lnTo>
                  <a:pt x="f45" y="f310"/>
                </a:lnTo>
                <a:lnTo>
                  <a:pt x="f45" y="f309"/>
                </a:lnTo>
                <a:close/>
                <a:moveTo>
                  <a:pt x="f46" y="f308"/>
                </a:moveTo>
                <a:lnTo>
                  <a:pt x="f47" y="f308"/>
                </a:lnTo>
                <a:lnTo>
                  <a:pt x="f48" y="f309"/>
                </a:lnTo>
                <a:lnTo>
                  <a:pt x="f48" y="f310"/>
                </a:lnTo>
                <a:lnTo>
                  <a:pt x="f47" y="f311"/>
                </a:lnTo>
                <a:lnTo>
                  <a:pt x="f46" y="f311"/>
                </a:lnTo>
                <a:lnTo>
                  <a:pt x="f49" y="f310"/>
                </a:lnTo>
                <a:lnTo>
                  <a:pt x="f49" y="f309"/>
                </a:lnTo>
                <a:close/>
                <a:moveTo>
                  <a:pt x="f50" y="f308"/>
                </a:moveTo>
                <a:lnTo>
                  <a:pt x="f51" y="f308"/>
                </a:lnTo>
                <a:lnTo>
                  <a:pt x="f52" y="f309"/>
                </a:lnTo>
                <a:lnTo>
                  <a:pt x="f52" y="f310"/>
                </a:lnTo>
                <a:lnTo>
                  <a:pt x="f51" y="f311"/>
                </a:lnTo>
                <a:lnTo>
                  <a:pt x="f50" y="f311"/>
                </a:lnTo>
                <a:lnTo>
                  <a:pt x="f53" y="f310"/>
                </a:lnTo>
                <a:lnTo>
                  <a:pt x="f53" y="f309"/>
                </a:lnTo>
                <a:close/>
                <a:moveTo>
                  <a:pt x="f54" y="f308"/>
                </a:moveTo>
                <a:lnTo>
                  <a:pt x="f55" y="f308"/>
                </a:lnTo>
                <a:lnTo>
                  <a:pt x="f56" y="f309"/>
                </a:lnTo>
                <a:lnTo>
                  <a:pt x="f56" y="f310"/>
                </a:lnTo>
                <a:lnTo>
                  <a:pt x="f55" y="f311"/>
                </a:lnTo>
                <a:lnTo>
                  <a:pt x="f54" y="f311"/>
                </a:lnTo>
                <a:lnTo>
                  <a:pt x="f57" y="f310"/>
                </a:lnTo>
                <a:lnTo>
                  <a:pt x="f57" y="f309"/>
                </a:lnTo>
                <a:close/>
                <a:moveTo>
                  <a:pt x="f58" y="f308"/>
                </a:moveTo>
                <a:lnTo>
                  <a:pt x="f59" y="f308"/>
                </a:lnTo>
                <a:lnTo>
                  <a:pt x="f60" y="f309"/>
                </a:lnTo>
                <a:lnTo>
                  <a:pt x="f60" y="f310"/>
                </a:lnTo>
                <a:lnTo>
                  <a:pt x="f59" y="f311"/>
                </a:lnTo>
                <a:lnTo>
                  <a:pt x="f58" y="f311"/>
                </a:lnTo>
                <a:lnTo>
                  <a:pt x="f61" y="f310"/>
                </a:lnTo>
                <a:lnTo>
                  <a:pt x="f61" y="f309"/>
                </a:lnTo>
                <a:close/>
                <a:moveTo>
                  <a:pt x="f62" y="f308"/>
                </a:moveTo>
                <a:lnTo>
                  <a:pt x="f63" y="f308"/>
                </a:lnTo>
                <a:lnTo>
                  <a:pt x="f64" y="f309"/>
                </a:lnTo>
                <a:lnTo>
                  <a:pt x="f64" y="f310"/>
                </a:lnTo>
                <a:lnTo>
                  <a:pt x="f63" y="f311"/>
                </a:lnTo>
                <a:lnTo>
                  <a:pt x="f62" y="f311"/>
                </a:lnTo>
                <a:lnTo>
                  <a:pt x="f65" y="f310"/>
                </a:lnTo>
                <a:lnTo>
                  <a:pt x="f65" y="f309"/>
                </a:lnTo>
                <a:close/>
                <a:moveTo>
                  <a:pt x="f66" y="f308"/>
                </a:moveTo>
                <a:lnTo>
                  <a:pt x="f67" y="f308"/>
                </a:lnTo>
                <a:lnTo>
                  <a:pt x="f68" y="f309"/>
                </a:lnTo>
                <a:lnTo>
                  <a:pt x="f68" y="f310"/>
                </a:lnTo>
                <a:lnTo>
                  <a:pt x="f67" y="f311"/>
                </a:lnTo>
                <a:lnTo>
                  <a:pt x="f66" y="f311"/>
                </a:lnTo>
                <a:lnTo>
                  <a:pt x="f69" y="f310"/>
                </a:lnTo>
                <a:lnTo>
                  <a:pt x="f69" y="f309"/>
                </a:lnTo>
                <a:close/>
                <a:moveTo>
                  <a:pt x="f70" y="f308"/>
                </a:moveTo>
                <a:lnTo>
                  <a:pt x="f71" y="f308"/>
                </a:lnTo>
                <a:lnTo>
                  <a:pt x="f72" y="f309"/>
                </a:lnTo>
                <a:lnTo>
                  <a:pt x="f72" y="f310"/>
                </a:lnTo>
                <a:lnTo>
                  <a:pt x="f71" y="f311"/>
                </a:lnTo>
                <a:lnTo>
                  <a:pt x="f70" y="f311"/>
                </a:lnTo>
                <a:lnTo>
                  <a:pt x="f73" y="f310"/>
                </a:lnTo>
                <a:lnTo>
                  <a:pt x="f73" y="f309"/>
                </a:lnTo>
                <a:close/>
                <a:moveTo>
                  <a:pt x="f74" y="f308"/>
                </a:moveTo>
                <a:lnTo>
                  <a:pt x="f75" y="f308"/>
                </a:lnTo>
                <a:lnTo>
                  <a:pt x="f76" y="f309"/>
                </a:lnTo>
                <a:lnTo>
                  <a:pt x="f76" y="f310"/>
                </a:lnTo>
                <a:lnTo>
                  <a:pt x="f75" y="f311"/>
                </a:lnTo>
                <a:lnTo>
                  <a:pt x="f74" y="f311"/>
                </a:lnTo>
                <a:lnTo>
                  <a:pt x="f77" y="f310"/>
                </a:lnTo>
                <a:lnTo>
                  <a:pt x="f77" y="f309"/>
                </a:lnTo>
                <a:close/>
                <a:moveTo>
                  <a:pt x="f78" y="f308"/>
                </a:moveTo>
                <a:lnTo>
                  <a:pt x="f79" y="f308"/>
                </a:lnTo>
                <a:lnTo>
                  <a:pt x="f80" y="f309"/>
                </a:lnTo>
                <a:lnTo>
                  <a:pt x="f80" y="f310"/>
                </a:lnTo>
                <a:lnTo>
                  <a:pt x="f79" y="f311"/>
                </a:lnTo>
                <a:lnTo>
                  <a:pt x="f78" y="f311"/>
                </a:lnTo>
                <a:lnTo>
                  <a:pt x="f81" y="f310"/>
                </a:lnTo>
                <a:lnTo>
                  <a:pt x="f81" y="f309"/>
                </a:lnTo>
                <a:close/>
                <a:moveTo>
                  <a:pt x="f82" y="f308"/>
                </a:moveTo>
                <a:lnTo>
                  <a:pt x="f83" y="f308"/>
                </a:lnTo>
                <a:lnTo>
                  <a:pt x="f84" y="f309"/>
                </a:lnTo>
                <a:lnTo>
                  <a:pt x="f84" y="f310"/>
                </a:lnTo>
                <a:lnTo>
                  <a:pt x="f83" y="f311"/>
                </a:lnTo>
                <a:lnTo>
                  <a:pt x="f82" y="f311"/>
                </a:lnTo>
                <a:lnTo>
                  <a:pt x="f85" y="f310"/>
                </a:lnTo>
                <a:lnTo>
                  <a:pt x="f85" y="f309"/>
                </a:lnTo>
                <a:close/>
                <a:moveTo>
                  <a:pt x="f86" y="f308"/>
                </a:moveTo>
                <a:lnTo>
                  <a:pt x="f87" y="f308"/>
                </a:lnTo>
                <a:lnTo>
                  <a:pt x="f88" y="f309"/>
                </a:lnTo>
                <a:lnTo>
                  <a:pt x="f88" y="f310"/>
                </a:lnTo>
                <a:lnTo>
                  <a:pt x="f87" y="f311"/>
                </a:lnTo>
                <a:lnTo>
                  <a:pt x="f86" y="f311"/>
                </a:lnTo>
                <a:lnTo>
                  <a:pt x="f89" y="f310"/>
                </a:lnTo>
                <a:lnTo>
                  <a:pt x="f89" y="f309"/>
                </a:lnTo>
                <a:close/>
                <a:moveTo>
                  <a:pt x="f90" y="f308"/>
                </a:moveTo>
                <a:lnTo>
                  <a:pt x="f91" y="f308"/>
                </a:lnTo>
                <a:lnTo>
                  <a:pt x="f92" y="f309"/>
                </a:lnTo>
                <a:lnTo>
                  <a:pt x="f92" y="f310"/>
                </a:lnTo>
                <a:lnTo>
                  <a:pt x="f91" y="f311"/>
                </a:lnTo>
                <a:lnTo>
                  <a:pt x="f90" y="f311"/>
                </a:lnTo>
                <a:lnTo>
                  <a:pt x="f93" y="f310"/>
                </a:lnTo>
                <a:lnTo>
                  <a:pt x="f93" y="f309"/>
                </a:lnTo>
                <a:close/>
                <a:moveTo>
                  <a:pt x="f94" y="f308"/>
                </a:moveTo>
                <a:lnTo>
                  <a:pt x="f95" y="f308"/>
                </a:lnTo>
                <a:lnTo>
                  <a:pt x="f96" y="f309"/>
                </a:lnTo>
                <a:lnTo>
                  <a:pt x="f96" y="f310"/>
                </a:lnTo>
                <a:lnTo>
                  <a:pt x="f95" y="f311"/>
                </a:lnTo>
                <a:lnTo>
                  <a:pt x="f94" y="f311"/>
                </a:lnTo>
                <a:lnTo>
                  <a:pt x="f97" y="f310"/>
                </a:lnTo>
                <a:lnTo>
                  <a:pt x="f97" y="f309"/>
                </a:lnTo>
                <a:close/>
                <a:moveTo>
                  <a:pt x="f98" y="f308"/>
                </a:moveTo>
                <a:lnTo>
                  <a:pt x="f99" y="f308"/>
                </a:lnTo>
                <a:lnTo>
                  <a:pt x="f100" y="f309"/>
                </a:lnTo>
                <a:lnTo>
                  <a:pt x="f100" y="f310"/>
                </a:lnTo>
                <a:lnTo>
                  <a:pt x="f99" y="f311"/>
                </a:lnTo>
                <a:lnTo>
                  <a:pt x="f98" y="f311"/>
                </a:lnTo>
                <a:lnTo>
                  <a:pt x="f101" y="f310"/>
                </a:lnTo>
                <a:lnTo>
                  <a:pt x="f101" y="f309"/>
                </a:lnTo>
                <a:close/>
                <a:moveTo>
                  <a:pt x="f102" y="f308"/>
                </a:moveTo>
                <a:lnTo>
                  <a:pt x="f103" y="f308"/>
                </a:lnTo>
                <a:lnTo>
                  <a:pt x="f104" y="f309"/>
                </a:lnTo>
                <a:lnTo>
                  <a:pt x="f104" y="f310"/>
                </a:lnTo>
                <a:lnTo>
                  <a:pt x="f103" y="f311"/>
                </a:lnTo>
                <a:lnTo>
                  <a:pt x="f102" y="f311"/>
                </a:lnTo>
                <a:lnTo>
                  <a:pt x="f105" y="f310"/>
                </a:lnTo>
                <a:lnTo>
                  <a:pt x="f105" y="f309"/>
                </a:lnTo>
                <a:close/>
                <a:moveTo>
                  <a:pt x="f106" y="f308"/>
                </a:moveTo>
                <a:lnTo>
                  <a:pt x="f107" y="f308"/>
                </a:lnTo>
                <a:lnTo>
                  <a:pt x="f108" y="f309"/>
                </a:lnTo>
                <a:lnTo>
                  <a:pt x="f108" y="f310"/>
                </a:lnTo>
                <a:lnTo>
                  <a:pt x="f107" y="f311"/>
                </a:lnTo>
                <a:lnTo>
                  <a:pt x="f106" y="f311"/>
                </a:lnTo>
                <a:lnTo>
                  <a:pt x="f109" y="f310"/>
                </a:lnTo>
                <a:lnTo>
                  <a:pt x="f109" y="f309"/>
                </a:lnTo>
                <a:close/>
                <a:moveTo>
                  <a:pt x="f110" y="f308"/>
                </a:moveTo>
                <a:lnTo>
                  <a:pt x="f111" y="f308"/>
                </a:lnTo>
                <a:lnTo>
                  <a:pt x="f112" y="f309"/>
                </a:lnTo>
                <a:lnTo>
                  <a:pt x="f112" y="f310"/>
                </a:lnTo>
                <a:lnTo>
                  <a:pt x="f111" y="f311"/>
                </a:lnTo>
                <a:lnTo>
                  <a:pt x="f110" y="f311"/>
                </a:lnTo>
                <a:lnTo>
                  <a:pt x="f113" y="f310"/>
                </a:lnTo>
                <a:lnTo>
                  <a:pt x="f113" y="f309"/>
                </a:lnTo>
                <a:close/>
                <a:moveTo>
                  <a:pt x="f114" y="f308"/>
                </a:moveTo>
                <a:lnTo>
                  <a:pt x="f115" y="f308"/>
                </a:lnTo>
                <a:lnTo>
                  <a:pt x="f116" y="f309"/>
                </a:lnTo>
                <a:lnTo>
                  <a:pt x="f116" y="f310"/>
                </a:lnTo>
                <a:lnTo>
                  <a:pt x="f115" y="f311"/>
                </a:lnTo>
                <a:lnTo>
                  <a:pt x="f114" y="f311"/>
                </a:lnTo>
                <a:lnTo>
                  <a:pt x="f117" y="f310"/>
                </a:lnTo>
                <a:lnTo>
                  <a:pt x="f117" y="f309"/>
                </a:lnTo>
                <a:close/>
                <a:moveTo>
                  <a:pt x="f118" y="f308"/>
                </a:moveTo>
                <a:lnTo>
                  <a:pt x="f119" y="f308"/>
                </a:lnTo>
                <a:lnTo>
                  <a:pt x="f120" y="f309"/>
                </a:lnTo>
                <a:lnTo>
                  <a:pt x="f120" y="f310"/>
                </a:lnTo>
                <a:lnTo>
                  <a:pt x="f119" y="f311"/>
                </a:lnTo>
                <a:lnTo>
                  <a:pt x="f118" y="f311"/>
                </a:lnTo>
                <a:lnTo>
                  <a:pt x="f121" y="f310"/>
                </a:lnTo>
                <a:lnTo>
                  <a:pt x="f121" y="f309"/>
                </a:lnTo>
                <a:close/>
                <a:moveTo>
                  <a:pt x="f122" y="f308"/>
                </a:moveTo>
                <a:lnTo>
                  <a:pt x="f123" y="f308"/>
                </a:lnTo>
                <a:lnTo>
                  <a:pt x="f124" y="f309"/>
                </a:lnTo>
                <a:lnTo>
                  <a:pt x="f124" y="f310"/>
                </a:lnTo>
                <a:lnTo>
                  <a:pt x="f123" y="f311"/>
                </a:lnTo>
                <a:lnTo>
                  <a:pt x="f122" y="f311"/>
                </a:lnTo>
                <a:lnTo>
                  <a:pt x="f125" y="f310"/>
                </a:lnTo>
                <a:lnTo>
                  <a:pt x="f125" y="f309"/>
                </a:lnTo>
                <a:close/>
                <a:moveTo>
                  <a:pt x="f126" y="f308"/>
                </a:moveTo>
                <a:lnTo>
                  <a:pt x="f127" y="f308"/>
                </a:lnTo>
                <a:lnTo>
                  <a:pt x="f128" y="f309"/>
                </a:lnTo>
                <a:lnTo>
                  <a:pt x="f128" y="f310"/>
                </a:lnTo>
                <a:lnTo>
                  <a:pt x="f127" y="f311"/>
                </a:lnTo>
                <a:lnTo>
                  <a:pt x="f126" y="f311"/>
                </a:lnTo>
                <a:lnTo>
                  <a:pt x="f129" y="f310"/>
                </a:lnTo>
                <a:lnTo>
                  <a:pt x="f129" y="f309"/>
                </a:lnTo>
                <a:close/>
                <a:moveTo>
                  <a:pt x="f130" y="f308"/>
                </a:moveTo>
                <a:lnTo>
                  <a:pt x="f131" y="f308"/>
                </a:lnTo>
                <a:lnTo>
                  <a:pt x="f132" y="f309"/>
                </a:lnTo>
                <a:lnTo>
                  <a:pt x="f132" y="f310"/>
                </a:lnTo>
                <a:lnTo>
                  <a:pt x="f131" y="f311"/>
                </a:lnTo>
                <a:lnTo>
                  <a:pt x="f130" y="f311"/>
                </a:lnTo>
                <a:lnTo>
                  <a:pt x="f133" y="f310"/>
                </a:lnTo>
                <a:lnTo>
                  <a:pt x="f133" y="f309"/>
                </a:lnTo>
                <a:close/>
                <a:moveTo>
                  <a:pt x="f134" y="f308"/>
                </a:moveTo>
                <a:lnTo>
                  <a:pt x="f135" y="f308"/>
                </a:lnTo>
                <a:lnTo>
                  <a:pt x="f136" y="f309"/>
                </a:lnTo>
                <a:lnTo>
                  <a:pt x="f136" y="f310"/>
                </a:lnTo>
                <a:lnTo>
                  <a:pt x="f135" y="f311"/>
                </a:lnTo>
                <a:lnTo>
                  <a:pt x="f134" y="f311"/>
                </a:lnTo>
                <a:lnTo>
                  <a:pt x="f137" y="f310"/>
                </a:lnTo>
                <a:lnTo>
                  <a:pt x="f137" y="f309"/>
                </a:lnTo>
                <a:close/>
                <a:moveTo>
                  <a:pt x="f138" y="f308"/>
                </a:moveTo>
                <a:lnTo>
                  <a:pt x="f139" y="f308"/>
                </a:lnTo>
                <a:lnTo>
                  <a:pt x="f140" y="f309"/>
                </a:lnTo>
                <a:lnTo>
                  <a:pt x="f140" y="f310"/>
                </a:lnTo>
                <a:lnTo>
                  <a:pt x="f139" y="f311"/>
                </a:lnTo>
                <a:lnTo>
                  <a:pt x="f138" y="f311"/>
                </a:lnTo>
                <a:lnTo>
                  <a:pt x="f141" y="f310"/>
                </a:lnTo>
                <a:lnTo>
                  <a:pt x="f141" y="f309"/>
                </a:lnTo>
                <a:close/>
                <a:moveTo>
                  <a:pt x="f142" y="f308"/>
                </a:moveTo>
                <a:lnTo>
                  <a:pt x="f143" y="f308"/>
                </a:lnTo>
                <a:lnTo>
                  <a:pt x="f144" y="f309"/>
                </a:lnTo>
                <a:lnTo>
                  <a:pt x="f144" y="f310"/>
                </a:lnTo>
                <a:lnTo>
                  <a:pt x="f143" y="f311"/>
                </a:lnTo>
                <a:lnTo>
                  <a:pt x="f142" y="f311"/>
                </a:lnTo>
                <a:lnTo>
                  <a:pt x="f145" y="f310"/>
                </a:lnTo>
                <a:lnTo>
                  <a:pt x="f145" y="f309"/>
                </a:lnTo>
                <a:close/>
                <a:moveTo>
                  <a:pt x="f146" y="f308"/>
                </a:moveTo>
                <a:lnTo>
                  <a:pt x="f147" y="f308"/>
                </a:lnTo>
                <a:lnTo>
                  <a:pt x="f148" y="f309"/>
                </a:lnTo>
                <a:lnTo>
                  <a:pt x="f148" y="f310"/>
                </a:lnTo>
                <a:lnTo>
                  <a:pt x="f147" y="f311"/>
                </a:lnTo>
                <a:lnTo>
                  <a:pt x="f146" y="f311"/>
                </a:lnTo>
                <a:lnTo>
                  <a:pt x="f149" y="f310"/>
                </a:lnTo>
                <a:lnTo>
                  <a:pt x="f149" y="f309"/>
                </a:lnTo>
                <a:close/>
                <a:moveTo>
                  <a:pt x="f150" y="f308"/>
                </a:moveTo>
                <a:lnTo>
                  <a:pt x="f151" y="f308"/>
                </a:lnTo>
                <a:lnTo>
                  <a:pt x="f152" y="f309"/>
                </a:lnTo>
                <a:lnTo>
                  <a:pt x="f152" y="f310"/>
                </a:lnTo>
                <a:lnTo>
                  <a:pt x="f151" y="f311"/>
                </a:lnTo>
                <a:lnTo>
                  <a:pt x="f150" y="f311"/>
                </a:lnTo>
                <a:lnTo>
                  <a:pt x="f153" y="f310"/>
                </a:lnTo>
                <a:lnTo>
                  <a:pt x="f153" y="f309"/>
                </a:lnTo>
                <a:close/>
                <a:moveTo>
                  <a:pt x="f154" y="f308"/>
                </a:moveTo>
                <a:lnTo>
                  <a:pt x="f155" y="f308"/>
                </a:lnTo>
                <a:lnTo>
                  <a:pt x="f156" y="f309"/>
                </a:lnTo>
                <a:lnTo>
                  <a:pt x="f156" y="f310"/>
                </a:lnTo>
                <a:lnTo>
                  <a:pt x="f155" y="f311"/>
                </a:lnTo>
                <a:lnTo>
                  <a:pt x="f154" y="f311"/>
                </a:lnTo>
                <a:lnTo>
                  <a:pt x="f157" y="f310"/>
                </a:lnTo>
                <a:lnTo>
                  <a:pt x="f157" y="f309"/>
                </a:lnTo>
                <a:close/>
                <a:moveTo>
                  <a:pt x="f158" y="f308"/>
                </a:moveTo>
                <a:lnTo>
                  <a:pt x="f159" y="f308"/>
                </a:lnTo>
                <a:lnTo>
                  <a:pt x="f160" y="f309"/>
                </a:lnTo>
                <a:lnTo>
                  <a:pt x="f160" y="f310"/>
                </a:lnTo>
                <a:lnTo>
                  <a:pt x="f159" y="f311"/>
                </a:lnTo>
                <a:lnTo>
                  <a:pt x="f158" y="f311"/>
                </a:lnTo>
                <a:lnTo>
                  <a:pt x="f161" y="f310"/>
                </a:lnTo>
                <a:lnTo>
                  <a:pt x="f161" y="f309"/>
                </a:lnTo>
                <a:close/>
                <a:moveTo>
                  <a:pt x="f283" y="f308"/>
                </a:moveTo>
                <a:lnTo>
                  <a:pt x="f312" y="f308"/>
                </a:lnTo>
                <a:lnTo>
                  <a:pt x="f313" y="f309"/>
                </a:lnTo>
                <a:lnTo>
                  <a:pt x="f313" y="f310"/>
                </a:lnTo>
                <a:lnTo>
                  <a:pt x="f312" y="f311"/>
                </a:lnTo>
                <a:lnTo>
                  <a:pt x="f283" y="f311"/>
                </a:lnTo>
                <a:lnTo>
                  <a:pt x="f314" y="f310"/>
                </a:lnTo>
                <a:lnTo>
                  <a:pt x="f314" y="f309"/>
                </a:lnTo>
                <a:close/>
                <a:moveTo>
                  <a:pt x="f286" y="f308"/>
                </a:moveTo>
                <a:lnTo>
                  <a:pt x="f315" y="f308"/>
                </a:lnTo>
                <a:lnTo>
                  <a:pt x="f316" y="f309"/>
                </a:lnTo>
                <a:lnTo>
                  <a:pt x="f316" y="f310"/>
                </a:lnTo>
                <a:lnTo>
                  <a:pt x="f315" y="f311"/>
                </a:lnTo>
                <a:lnTo>
                  <a:pt x="f286" y="f311"/>
                </a:lnTo>
                <a:lnTo>
                  <a:pt x="f288" y="f310"/>
                </a:lnTo>
                <a:lnTo>
                  <a:pt x="f288" y="f309"/>
                </a:lnTo>
                <a:close/>
                <a:moveTo>
                  <a:pt x="f317" y="f308"/>
                </a:moveTo>
                <a:lnTo>
                  <a:pt x="f318" y="f308"/>
                </a:lnTo>
                <a:lnTo>
                  <a:pt x="f319" y="f309"/>
                </a:lnTo>
                <a:lnTo>
                  <a:pt x="f319" y="f310"/>
                </a:lnTo>
                <a:lnTo>
                  <a:pt x="f318" y="f311"/>
                </a:lnTo>
                <a:lnTo>
                  <a:pt x="f317" y="f311"/>
                </a:lnTo>
                <a:lnTo>
                  <a:pt x="f320" y="f310"/>
                </a:lnTo>
                <a:lnTo>
                  <a:pt x="f320" y="f309"/>
                </a:lnTo>
                <a:close/>
                <a:moveTo>
                  <a:pt x="f291" y="f308"/>
                </a:moveTo>
                <a:lnTo>
                  <a:pt x="f321" y="f308"/>
                </a:lnTo>
                <a:lnTo>
                  <a:pt x="f322" y="f309"/>
                </a:lnTo>
                <a:lnTo>
                  <a:pt x="f322" y="f310"/>
                </a:lnTo>
                <a:lnTo>
                  <a:pt x="f321" y="f311"/>
                </a:lnTo>
                <a:lnTo>
                  <a:pt x="f291" y="f311"/>
                </a:lnTo>
                <a:lnTo>
                  <a:pt x="f293" y="f310"/>
                </a:lnTo>
                <a:lnTo>
                  <a:pt x="f293" y="f309"/>
                </a:lnTo>
                <a:close/>
                <a:moveTo>
                  <a:pt x="f323" y="f324"/>
                </a:moveTo>
                <a:lnTo>
                  <a:pt x="f295" y="f324"/>
                </a:lnTo>
                <a:lnTo>
                  <a:pt x="f271" y="f325"/>
                </a:lnTo>
                <a:lnTo>
                  <a:pt x="f271" y="f326"/>
                </a:lnTo>
                <a:lnTo>
                  <a:pt x="f295" y="f327"/>
                </a:lnTo>
                <a:lnTo>
                  <a:pt x="f323" y="f327"/>
                </a:lnTo>
                <a:lnTo>
                  <a:pt x="f328" y="f326"/>
                </a:lnTo>
                <a:lnTo>
                  <a:pt x="f328" y="f325"/>
                </a:lnTo>
                <a:close/>
                <a:moveTo>
                  <a:pt x="f239" y="f324"/>
                </a:moveTo>
                <a:lnTo>
                  <a:pt x="f212" y="f324"/>
                </a:lnTo>
                <a:lnTo>
                  <a:pt x="f329" y="f325"/>
                </a:lnTo>
                <a:lnTo>
                  <a:pt x="f329" y="f326"/>
                </a:lnTo>
                <a:lnTo>
                  <a:pt x="f212" y="f327"/>
                </a:lnTo>
                <a:lnTo>
                  <a:pt x="f239" y="f327"/>
                </a:lnTo>
                <a:lnTo>
                  <a:pt x="f299" y="f326"/>
                </a:lnTo>
                <a:lnTo>
                  <a:pt x="f299" y="f325"/>
                </a:lnTo>
                <a:close/>
                <a:moveTo>
                  <a:pt x="f300" y="f324"/>
                </a:moveTo>
                <a:lnTo>
                  <a:pt x="f330" y="f324"/>
                </a:lnTo>
                <a:lnTo>
                  <a:pt x="f331" y="f325"/>
                </a:lnTo>
                <a:lnTo>
                  <a:pt x="f331" y="f326"/>
                </a:lnTo>
                <a:lnTo>
                  <a:pt x="f330" y="f327"/>
                </a:lnTo>
                <a:lnTo>
                  <a:pt x="f300" y="f327"/>
                </a:lnTo>
                <a:lnTo>
                  <a:pt x="f332" y="f326"/>
                </a:lnTo>
                <a:lnTo>
                  <a:pt x="f332" y="f325"/>
                </a:lnTo>
                <a:close/>
                <a:moveTo>
                  <a:pt x="f302" y="f324"/>
                </a:moveTo>
                <a:lnTo>
                  <a:pt x="f303" y="f324"/>
                </a:lnTo>
                <a:lnTo>
                  <a:pt x="f333" y="f325"/>
                </a:lnTo>
                <a:lnTo>
                  <a:pt x="f333" y="f326"/>
                </a:lnTo>
                <a:lnTo>
                  <a:pt x="f303" y="f327"/>
                </a:lnTo>
                <a:lnTo>
                  <a:pt x="f302" y="f327"/>
                </a:lnTo>
                <a:lnTo>
                  <a:pt x="f334" y="f326"/>
                </a:lnTo>
                <a:lnTo>
                  <a:pt x="f334" y="f325"/>
                </a:lnTo>
                <a:close/>
                <a:moveTo>
                  <a:pt x="f305" y="f324"/>
                </a:moveTo>
                <a:lnTo>
                  <a:pt x="f335" y="f324"/>
                </a:lnTo>
                <a:lnTo>
                  <a:pt x="f306" y="f325"/>
                </a:lnTo>
                <a:lnTo>
                  <a:pt x="f306" y="f326"/>
                </a:lnTo>
                <a:lnTo>
                  <a:pt x="f335" y="f327"/>
                </a:lnTo>
                <a:lnTo>
                  <a:pt x="f305" y="f327"/>
                </a:lnTo>
                <a:lnTo>
                  <a:pt x="f336" y="f326"/>
                </a:lnTo>
                <a:lnTo>
                  <a:pt x="f336" y="f325"/>
                </a:lnTo>
                <a:close/>
                <a:moveTo>
                  <a:pt x="f337" y="f324"/>
                </a:moveTo>
                <a:lnTo>
                  <a:pt x="f307" y="f324"/>
                </a:lnTo>
                <a:lnTo>
                  <a:pt x="f338" y="f325"/>
                </a:lnTo>
                <a:lnTo>
                  <a:pt x="f338" y="f326"/>
                </a:lnTo>
                <a:lnTo>
                  <a:pt x="f307" y="f327"/>
                </a:lnTo>
                <a:lnTo>
                  <a:pt x="f337" y="f327"/>
                </a:lnTo>
                <a:lnTo>
                  <a:pt x="f339" y="f326"/>
                </a:lnTo>
                <a:lnTo>
                  <a:pt x="f339" y="f325"/>
                </a:lnTo>
                <a:close/>
                <a:moveTo>
                  <a:pt x="f35" y="f340"/>
                </a:moveTo>
                <a:lnTo>
                  <a:pt x="f37" y="f340"/>
                </a:lnTo>
                <a:lnTo>
                  <a:pt x="f6" y="f341"/>
                </a:lnTo>
                <a:lnTo>
                  <a:pt x="f6" y="f342"/>
                </a:lnTo>
                <a:lnTo>
                  <a:pt x="f37" y="f343"/>
                </a:lnTo>
                <a:lnTo>
                  <a:pt x="f35" y="f343"/>
                </a:lnTo>
                <a:lnTo>
                  <a:pt x="f41" y="f342"/>
                </a:lnTo>
                <a:lnTo>
                  <a:pt x="f41" y="f341"/>
                </a:lnTo>
                <a:close/>
                <a:moveTo>
                  <a:pt x="f42" y="f340"/>
                </a:moveTo>
                <a:lnTo>
                  <a:pt x="f43" y="f340"/>
                </a:lnTo>
                <a:lnTo>
                  <a:pt x="f44" y="f341"/>
                </a:lnTo>
                <a:lnTo>
                  <a:pt x="f44" y="f342"/>
                </a:lnTo>
                <a:lnTo>
                  <a:pt x="f43" y="f343"/>
                </a:lnTo>
                <a:lnTo>
                  <a:pt x="f42" y="f343"/>
                </a:lnTo>
                <a:lnTo>
                  <a:pt x="f45" y="f342"/>
                </a:lnTo>
                <a:lnTo>
                  <a:pt x="f45" y="f341"/>
                </a:lnTo>
                <a:close/>
                <a:moveTo>
                  <a:pt x="f46" y="f340"/>
                </a:moveTo>
                <a:lnTo>
                  <a:pt x="f47" y="f340"/>
                </a:lnTo>
                <a:lnTo>
                  <a:pt x="f48" y="f341"/>
                </a:lnTo>
                <a:lnTo>
                  <a:pt x="f48" y="f342"/>
                </a:lnTo>
                <a:lnTo>
                  <a:pt x="f47" y="f343"/>
                </a:lnTo>
                <a:lnTo>
                  <a:pt x="f46" y="f343"/>
                </a:lnTo>
                <a:lnTo>
                  <a:pt x="f49" y="f342"/>
                </a:lnTo>
                <a:lnTo>
                  <a:pt x="f49" y="f341"/>
                </a:lnTo>
                <a:close/>
                <a:moveTo>
                  <a:pt x="f50" y="f340"/>
                </a:moveTo>
                <a:lnTo>
                  <a:pt x="f51" y="f340"/>
                </a:lnTo>
                <a:lnTo>
                  <a:pt x="f52" y="f341"/>
                </a:lnTo>
                <a:lnTo>
                  <a:pt x="f52" y="f342"/>
                </a:lnTo>
                <a:lnTo>
                  <a:pt x="f51" y="f343"/>
                </a:lnTo>
                <a:lnTo>
                  <a:pt x="f50" y="f343"/>
                </a:lnTo>
                <a:lnTo>
                  <a:pt x="f53" y="f342"/>
                </a:lnTo>
                <a:lnTo>
                  <a:pt x="f53" y="f341"/>
                </a:lnTo>
                <a:close/>
                <a:moveTo>
                  <a:pt x="f54" y="f340"/>
                </a:moveTo>
                <a:lnTo>
                  <a:pt x="f55" y="f340"/>
                </a:lnTo>
                <a:lnTo>
                  <a:pt x="f56" y="f341"/>
                </a:lnTo>
                <a:lnTo>
                  <a:pt x="f56" y="f342"/>
                </a:lnTo>
                <a:lnTo>
                  <a:pt x="f55" y="f343"/>
                </a:lnTo>
                <a:lnTo>
                  <a:pt x="f54" y="f343"/>
                </a:lnTo>
                <a:lnTo>
                  <a:pt x="f57" y="f342"/>
                </a:lnTo>
                <a:lnTo>
                  <a:pt x="f57" y="f341"/>
                </a:lnTo>
                <a:close/>
                <a:moveTo>
                  <a:pt x="f58" y="f340"/>
                </a:moveTo>
                <a:lnTo>
                  <a:pt x="f59" y="f340"/>
                </a:lnTo>
                <a:lnTo>
                  <a:pt x="f60" y="f341"/>
                </a:lnTo>
                <a:lnTo>
                  <a:pt x="f60" y="f342"/>
                </a:lnTo>
                <a:lnTo>
                  <a:pt x="f59" y="f343"/>
                </a:lnTo>
                <a:lnTo>
                  <a:pt x="f58" y="f343"/>
                </a:lnTo>
                <a:lnTo>
                  <a:pt x="f61" y="f342"/>
                </a:lnTo>
                <a:lnTo>
                  <a:pt x="f61" y="f341"/>
                </a:lnTo>
                <a:close/>
                <a:moveTo>
                  <a:pt x="f62" y="f340"/>
                </a:moveTo>
                <a:lnTo>
                  <a:pt x="f63" y="f340"/>
                </a:lnTo>
                <a:lnTo>
                  <a:pt x="f64" y="f341"/>
                </a:lnTo>
                <a:lnTo>
                  <a:pt x="f64" y="f342"/>
                </a:lnTo>
                <a:lnTo>
                  <a:pt x="f63" y="f343"/>
                </a:lnTo>
                <a:lnTo>
                  <a:pt x="f62" y="f343"/>
                </a:lnTo>
                <a:lnTo>
                  <a:pt x="f65" y="f342"/>
                </a:lnTo>
                <a:lnTo>
                  <a:pt x="f65" y="f341"/>
                </a:lnTo>
                <a:close/>
                <a:moveTo>
                  <a:pt x="f66" y="f340"/>
                </a:moveTo>
                <a:lnTo>
                  <a:pt x="f67" y="f340"/>
                </a:lnTo>
                <a:lnTo>
                  <a:pt x="f68" y="f341"/>
                </a:lnTo>
                <a:lnTo>
                  <a:pt x="f68" y="f342"/>
                </a:lnTo>
                <a:lnTo>
                  <a:pt x="f67" y="f343"/>
                </a:lnTo>
                <a:lnTo>
                  <a:pt x="f66" y="f343"/>
                </a:lnTo>
                <a:lnTo>
                  <a:pt x="f69" y="f342"/>
                </a:lnTo>
                <a:lnTo>
                  <a:pt x="f69" y="f341"/>
                </a:lnTo>
                <a:close/>
                <a:moveTo>
                  <a:pt x="f70" y="f340"/>
                </a:moveTo>
                <a:lnTo>
                  <a:pt x="f71" y="f340"/>
                </a:lnTo>
                <a:lnTo>
                  <a:pt x="f72" y="f341"/>
                </a:lnTo>
                <a:lnTo>
                  <a:pt x="f72" y="f342"/>
                </a:lnTo>
                <a:lnTo>
                  <a:pt x="f71" y="f343"/>
                </a:lnTo>
                <a:lnTo>
                  <a:pt x="f70" y="f343"/>
                </a:lnTo>
                <a:lnTo>
                  <a:pt x="f73" y="f342"/>
                </a:lnTo>
                <a:lnTo>
                  <a:pt x="f73" y="f341"/>
                </a:lnTo>
                <a:close/>
                <a:moveTo>
                  <a:pt x="f74" y="f340"/>
                </a:moveTo>
                <a:lnTo>
                  <a:pt x="f75" y="f340"/>
                </a:lnTo>
                <a:lnTo>
                  <a:pt x="f76" y="f341"/>
                </a:lnTo>
                <a:lnTo>
                  <a:pt x="f76" y="f342"/>
                </a:lnTo>
                <a:lnTo>
                  <a:pt x="f75" y="f343"/>
                </a:lnTo>
                <a:lnTo>
                  <a:pt x="f74" y="f343"/>
                </a:lnTo>
                <a:lnTo>
                  <a:pt x="f77" y="f342"/>
                </a:lnTo>
                <a:lnTo>
                  <a:pt x="f77" y="f341"/>
                </a:lnTo>
                <a:close/>
                <a:moveTo>
                  <a:pt x="f78" y="f340"/>
                </a:moveTo>
                <a:lnTo>
                  <a:pt x="f79" y="f340"/>
                </a:lnTo>
                <a:lnTo>
                  <a:pt x="f80" y="f341"/>
                </a:lnTo>
                <a:lnTo>
                  <a:pt x="f80" y="f342"/>
                </a:lnTo>
                <a:lnTo>
                  <a:pt x="f79" y="f343"/>
                </a:lnTo>
                <a:lnTo>
                  <a:pt x="f78" y="f343"/>
                </a:lnTo>
                <a:lnTo>
                  <a:pt x="f81" y="f342"/>
                </a:lnTo>
                <a:lnTo>
                  <a:pt x="f81" y="f341"/>
                </a:lnTo>
                <a:close/>
                <a:moveTo>
                  <a:pt x="f82" y="f340"/>
                </a:moveTo>
                <a:lnTo>
                  <a:pt x="f83" y="f340"/>
                </a:lnTo>
                <a:lnTo>
                  <a:pt x="f84" y="f341"/>
                </a:lnTo>
                <a:lnTo>
                  <a:pt x="f84" y="f342"/>
                </a:lnTo>
                <a:lnTo>
                  <a:pt x="f83" y="f343"/>
                </a:lnTo>
                <a:lnTo>
                  <a:pt x="f82" y="f343"/>
                </a:lnTo>
                <a:lnTo>
                  <a:pt x="f85" y="f342"/>
                </a:lnTo>
                <a:lnTo>
                  <a:pt x="f85" y="f341"/>
                </a:lnTo>
                <a:close/>
                <a:moveTo>
                  <a:pt x="f86" y="f340"/>
                </a:moveTo>
                <a:lnTo>
                  <a:pt x="f87" y="f340"/>
                </a:lnTo>
                <a:lnTo>
                  <a:pt x="f88" y="f341"/>
                </a:lnTo>
                <a:lnTo>
                  <a:pt x="f88" y="f342"/>
                </a:lnTo>
                <a:lnTo>
                  <a:pt x="f87" y="f343"/>
                </a:lnTo>
                <a:lnTo>
                  <a:pt x="f86" y="f343"/>
                </a:lnTo>
                <a:lnTo>
                  <a:pt x="f89" y="f342"/>
                </a:lnTo>
                <a:lnTo>
                  <a:pt x="f89" y="f341"/>
                </a:lnTo>
                <a:close/>
                <a:moveTo>
                  <a:pt x="f90" y="f340"/>
                </a:moveTo>
                <a:lnTo>
                  <a:pt x="f91" y="f340"/>
                </a:lnTo>
                <a:lnTo>
                  <a:pt x="f92" y="f341"/>
                </a:lnTo>
                <a:lnTo>
                  <a:pt x="f92" y="f342"/>
                </a:lnTo>
                <a:lnTo>
                  <a:pt x="f91" y="f343"/>
                </a:lnTo>
                <a:lnTo>
                  <a:pt x="f90" y="f343"/>
                </a:lnTo>
                <a:lnTo>
                  <a:pt x="f93" y="f342"/>
                </a:lnTo>
                <a:lnTo>
                  <a:pt x="f93" y="f341"/>
                </a:lnTo>
                <a:close/>
                <a:moveTo>
                  <a:pt x="f94" y="f340"/>
                </a:moveTo>
                <a:lnTo>
                  <a:pt x="f95" y="f340"/>
                </a:lnTo>
                <a:lnTo>
                  <a:pt x="f96" y="f341"/>
                </a:lnTo>
                <a:lnTo>
                  <a:pt x="f96" y="f342"/>
                </a:lnTo>
                <a:lnTo>
                  <a:pt x="f95" y="f343"/>
                </a:lnTo>
                <a:lnTo>
                  <a:pt x="f94" y="f343"/>
                </a:lnTo>
                <a:lnTo>
                  <a:pt x="f97" y="f342"/>
                </a:lnTo>
                <a:lnTo>
                  <a:pt x="f97" y="f341"/>
                </a:lnTo>
                <a:close/>
                <a:moveTo>
                  <a:pt x="f98" y="f340"/>
                </a:moveTo>
                <a:lnTo>
                  <a:pt x="f99" y="f340"/>
                </a:lnTo>
                <a:lnTo>
                  <a:pt x="f100" y="f341"/>
                </a:lnTo>
                <a:lnTo>
                  <a:pt x="f100" y="f342"/>
                </a:lnTo>
                <a:lnTo>
                  <a:pt x="f99" y="f343"/>
                </a:lnTo>
                <a:lnTo>
                  <a:pt x="f98" y="f343"/>
                </a:lnTo>
                <a:lnTo>
                  <a:pt x="f101" y="f342"/>
                </a:lnTo>
                <a:lnTo>
                  <a:pt x="f101" y="f341"/>
                </a:lnTo>
                <a:close/>
                <a:moveTo>
                  <a:pt x="f102" y="f340"/>
                </a:moveTo>
                <a:lnTo>
                  <a:pt x="f103" y="f340"/>
                </a:lnTo>
                <a:lnTo>
                  <a:pt x="f104" y="f341"/>
                </a:lnTo>
                <a:lnTo>
                  <a:pt x="f104" y="f342"/>
                </a:lnTo>
                <a:lnTo>
                  <a:pt x="f103" y="f343"/>
                </a:lnTo>
                <a:lnTo>
                  <a:pt x="f102" y="f343"/>
                </a:lnTo>
                <a:lnTo>
                  <a:pt x="f105" y="f342"/>
                </a:lnTo>
                <a:lnTo>
                  <a:pt x="f105" y="f341"/>
                </a:lnTo>
                <a:close/>
                <a:moveTo>
                  <a:pt x="f106" y="f340"/>
                </a:moveTo>
                <a:lnTo>
                  <a:pt x="f107" y="f340"/>
                </a:lnTo>
                <a:lnTo>
                  <a:pt x="f108" y="f341"/>
                </a:lnTo>
                <a:lnTo>
                  <a:pt x="f108" y="f342"/>
                </a:lnTo>
                <a:lnTo>
                  <a:pt x="f107" y="f343"/>
                </a:lnTo>
                <a:lnTo>
                  <a:pt x="f106" y="f343"/>
                </a:lnTo>
                <a:lnTo>
                  <a:pt x="f109" y="f342"/>
                </a:lnTo>
                <a:lnTo>
                  <a:pt x="f109" y="f341"/>
                </a:lnTo>
                <a:close/>
                <a:moveTo>
                  <a:pt x="f110" y="f340"/>
                </a:moveTo>
                <a:lnTo>
                  <a:pt x="f111" y="f340"/>
                </a:lnTo>
                <a:lnTo>
                  <a:pt x="f112" y="f341"/>
                </a:lnTo>
                <a:lnTo>
                  <a:pt x="f112" y="f342"/>
                </a:lnTo>
                <a:lnTo>
                  <a:pt x="f111" y="f343"/>
                </a:lnTo>
                <a:lnTo>
                  <a:pt x="f110" y="f343"/>
                </a:lnTo>
                <a:lnTo>
                  <a:pt x="f113" y="f342"/>
                </a:lnTo>
                <a:lnTo>
                  <a:pt x="f113" y="f341"/>
                </a:lnTo>
                <a:close/>
                <a:moveTo>
                  <a:pt x="f114" y="f340"/>
                </a:moveTo>
                <a:lnTo>
                  <a:pt x="f115" y="f340"/>
                </a:lnTo>
                <a:lnTo>
                  <a:pt x="f116" y="f341"/>
                </a:lnTo>
                <a:lnTo>
                  <a:pt x="f116" y="f342"/>
                </a:lnTo>
                <a:lnTo>
                  <a:pt x="f115" y="f343"/>
                </a:lnTo>
                <a:lnTo>
                  <a:pt x="f114" y="f343"/>
                </a:lnTo>
                <a:lnTo>
                  <a:pt x="f117" y="f342"/>
                </a:lnTo>
                <a:lnTo>
                  <a:pt x="f117" y="f341"/>
                </a:lnTo>
                <a:close/>
                <a:moveTo>
                  <a:pt x="f118" y="f340"/>
                </a:moveTo>
                <a:lnTo>
                  <a:pt x="f119" y="f340"/>
                </a:lnTo>
                <a:lnTo>
                  <a:pt x="f120" y="f341"/>
                </a:lnTo>
                <a:lnTo>
                  <a:pt x="f120" y="f342"/>
                </a:lnTo>
                <a:lnTo>
                  <a:pt x="f119" y="f343"/>
                </a:lnTo>
                <a:lnTo>
                  <a:pt x="f118" y="f343"/>
                </a:lnTo>
                <a:lnTo>
                  <a:pt x="f121" y="f342"/>
                </a:lnTo>
                <a:lnTo>
                  <a:pt x="f121" y="f341"/>
                </a:lnTo>
                <a:close/>
                <a:moveTo>
                  <a:pt x="f122" y="f340"/>
                </a:moveTo>
                <a:lnTo>
                  <a:pt x="f123" y="f340"/>
                </a:lnTo>
                <a:lnTo>
                  <a:pt x="f124" y="f341"/>
                </a:lnTo>
                <a:lnTo>
                  <a:pt x="f124" y="f342"/>
                </a:lnTo>
                <a:lnTo>
                  <a:pt x="f123" y="f343"/>
                </a:lnTo>
                <a:lnTo>
                  <a:pt x="f122" y="f343"/>
                </a:lnTo>
                <a:lnTo>
                  <a:pt x="f125" y="f342"/>
                </a:lnTo>
                <a:lnTo>
                  <a:pt x="f125" y="f341"/>
                </a:lnTo>
                <a:close/>
                <a:moveTo>
                  <a:pt x="f126" y="f340"/>
                </a:moveTo>
                <a:lnTo>
                  <a:pt x="f127" y="f340"/>
                </a:lnTo>
                <a:lnTo>
                  <a:pt x="f128" y="f341"/>
                </a:lnTo>
                <a:lnTo>
                  <a:pt x="f128" y="f342"/>
                </a:lnTo>
                <a:lnTo>
                  <a:pt x="f127" y="f343"/>
                </a:lnTo>
                <a:lnTo>
                  <a:pt x="f126" y="f343"/>
                </a:lnTo>
                <a:lnTo>
                  <a:pt x="f129" y="f342"/>
                </a:lnTo>
                <a:lnTo>
                  <a:pt x="f129" y="f341"/>
                </a:lnTo>
                <a:close/>
                <a:moveTo>
                  <a:pt x="f130" y="f340"/>
                </a:moveTo>
                <a:lnTo>
                  <a:pt x="f131" y="f340"/>
                </a:lnTo>
                <a:lnTo>
                  <a:pt x="f132" y="f341"/>
                </a:lnTo>
                <a:lnTo>
                  <a:pt x="f132" y="f342"/>
                </a:lnTo>
                <a:lnTo>
                  <a:pt x="f131" y="f343"/>
                </a:lnTo>
                <a:lnTo>
                  <a:pt x="f130" y="f343"/>
                </a:lnTo>
                <a:lnTo>
                  <a:pt x="f133" y="f342"/>
                </a:lnTo>
                <a:lnTo>
                  <a:pt x="f133" y="f341"/>
                </a:lnTo>
                <a:close/>
                <a:moveTo>
                  <a:pt x="f134" y="f340"/>
                </a:moveTo>
                <a:lnTo>
                  <a:pt x="f135" y="f340"/>
                </a:lnTo>
                <a:lnTo>
                  <a:pt x="f136" y="f341"/>
                </a:lnTo>
                <a:lnTo>
                  <a:pt x="f136" y="f342"/>
                </a:lnTo>
                <a:lnTo>
                  <a:pt x="f135" y="f343"/>
                </a:lnTo>
                <a:lnTo>
                  <a:pt x="f134" y="f343"/>
                </a:lnTo>
                <a:lnTo>
                  <a:pt x="f137" y="f342"/>
                </a:lnTo>
                <a:lnTo>
                  <a:pt x="f137" y="f341"/>
                </a:lnTo>
                <a:close/>
                <a:moveTo>
                  <a:pt x="f138" y="f340"/>
                </a:moveTo>
                <a:lnTo>
                  <a:pt x="f139" y="f340"/>
                </a:lnTo>
                <a:lnTo>
                  <a:pt x="f140" y="f341"/>
                </a:lnTo>
                <a:lnTo>
                  <a:pt x="f140" y="f342"/>
                </a:lnTo>
                <a:lnTo>
                  <a:pt x="f139" y="f343"/>
                </a:lnTo>
                <a:lnTo>
                  <a:pt x="f138" y="f343"/>
                </a:lnTo>
                <a:lnTo>
                  <a:pt x="f141" y="f342"/>
                </a:lnTo>
                <a:lnTo>
                  <a:pt x="f141" y="f341"/>
                </a:lnTo>
                <a:close/>
                <a:moveTo>
                  <a:pt x="f142" y="f340"/>
                </a:moveTo>
                <a:lnTo>
                  <a:pt x="f143" y="f340"/>
                </a:lnTo>
                <a:lnTo>
                  <a:pt x="f144" y="f341"/>
                </a:lnTo>
                <a:lnTo>
                  <a:pt x="f144" y="f342"/>
                </a:lnTo>
                <a:lnTo>
                  <a:pt x="f143" y="f343"/>
                </a:lnTo>
                <a:lnTo>
                  <a:pt x="f142" y="f343"/>
                </a:lnTo>
                <a:lnTo>
                  <a:pt x="f145" y="f342"/>
                </a:lnTo>
                <a:lnTo>
                  <a:pt x="f145" y="f341"/>
                </a:lnTo>
                <a:close/>
                <a:moveTo>
                  <a:pt x="f146" y="f340"/>
                </a:moveTo>
                <a:lnTo>
                  <a:pt x="f147" y="f340"/>
                </a:lnTo>
                <a:lnTo>
                  <a:pt x="f148" y="f341"/>
                </a:lnTo>
                <a:lnTo>
                  <a:pt x="f148" y="f342"/>
                </a:lnTo>
                <a:lnTo>
                  <a:pt x="f147" y="f343"/>
                </a:lnTo>
                <a:lnTo>
                  <a:pt x="f146" y="f343"/>
                </a:lnTo>
                <a:lnTo>
                  <a:pt x="f149" y="f342"/>
                </a:lnTo>
                <a:lnTo>
                  <a:pt x="f149" y="f341"/>
                </a:lnTo>
                <a:close/>
                <a:moveTo>
                  <a:pt x="f150" y="f340"/>
                </a:moveTo>
                <a:lnTo>
                  <a:pt x="f151" y="f340"/>
                </a:lnTo>
                <a:lnTo>
                  <a:pt x="f152" y="f341"/>
                </a:lnTo>
                <a:lnTo>
                  <a:pt x="f152" y="f342"/>
                </a:lnTo>
                <a:lnTo>
                  <a:pt x="f151" y="f343"/>
                </a:lnTo>
                <a:lnTo>
                  <a:pt x="f150" y="f343"/>
                </a:lnTo>
                <a:lnTo>
                  <a:pt x="f153" y="f342"/>
                </a:lnTo>
                <a:lnTo>
                  <a:pt x="f153" y="f341"/>
                </a:lnTo>
                <a:close/>
                <a:moveTo>
                  <a:pt x="f154" y="f340"/>
                </a:moveTo>
                <a:lnTo>
                  <a:pt x="f155" y="f340"/>
                </a:lnTo>
                <a:lnTo>
                  <a:pt x="f156" y="f341"/>
                </a:lnTo>
                <a:lnTo>
                  <a:pt x="f156" y="f342"/>
                </a:lnTo>
                <a:lnTo>
                  <a:pt x="f155" y="f343"/>
                </a:lnTo>
                <a:lnTo>
                  <a:pt x="f154" y="f343"/>
                </a:lnTo>
                <a:lnTo>
                  <a:pt x="f157" y="f342"/>
                </a:lnTo>
                <a:lnTo>
                  <a:pt x="f157" y="f341"/>
                </a:lnTo>
                <a:close/>
                <a:moveTo>
                  <a:pt x="f158" y="f340"/>
                </a:moveTo>
                <a:lnTo>
                  <a:pt x="f159" y="f340"/>
                </a:lnTo>
                <a:lnTo>
                  <a:pt x="f160" y="f341"/>
                </a:lnTo>
                <a:lnTo>
                  <a:pt x="f160" y="f342"/>
                </a:lnTo>
                <a:lnTo>
                  <a:pt x="f159" y="f343"/>
                </a:lnTo>
                <a:lnTo>
                  <a:pt x="f158" y="f343"/>
                </a:lnTo>
                <a:lnTo>
                  <a:pt x="f161" y="f342"/>
                </a:lnTo>
                <a:lnTo>
                  <a:pt x="f161" y="f341"/>
                </a:lnTo>
                <a:close/>
                <a:moveTo>
                  <a:pt x="f344" y="f340"/>
                </a:moveTo>
                <a:lnTo>
                  <a:pt x="f312" y="f340"/>
                </a:lnTo>
                <a:lnTo>
                  <a:pt x="f313" y="f341"/>
                </a:lnTo>
                <a:lnTo>
                  <a:pt x="f313" y="f342"/>
                </a:lnTo>
                <a:lnTo>
                  <a:pt x="f312" y="f343"/>
                </a:lnTo>
                <a:lnTo>
                  <a:pt x="f344" y="f343"/>
                </a:lnTo>
                <a:lnTo>
                  <a:pt x="f345" y="f342"/>
                </a:lnTo>
                <a:lnTo>
                  <a:pt x="f345" y="f341"/>
                </a:lnTo>
                <a:close/>
                <a:moveTo>
                  <a:pt x="f346" y="f340"/>
                </a:moveTo>
                <a:lnTo>
                  <a:pt x="f315" y="f340"/>
                </a:lnTo>
                <a:lnTo>
                  <a:pt x="f347" y="f341"/>
                </a:lnTo>
                <a:lnTo>
                  <a:pt x="f347" y="f342"/>
                </a:lnTo>
                <a:lnTo>
                  <a:pt x="f315" y="f343"/>
                </a:lnTo>
                <a:lnTo>
                  <a:pt x="f346" y="f343"/>
                </a:lnTo>
                <a:lnTo>
                  <a:pt x="f348" y="f342"/>
                </a:lnTo>
                <a:lnTo>
                  <a:pt x="f348" y="f341"/>
                </a:lnTo>
                <a:close/>
                <a:moveTo>
                  <a:pt x="f317" y="f340"/>
                </a:moveTo>
                <a:lnTo>
                  <a:pt x="f349" y="f340"/>
                </a:lnTo>
                <a:lnTo>
                  <a:pt x="f350" y="f341"/>
                </a:lnTo>
                <a:lnTo>
                  <a:pt x="f350" y="f342"/>
                </a:lnTo>
                <a:lnTo>
                  <a:pt x="f349" y="f343"/>
                </a:lnTo>
                <a:lnTo>
                  <a:pt x="f317" y="f343"/>
                </a:lnTo>
                <a:lnTo>
                  <a:pt x="f320" y="f342"/>
                </a:lnTo>
                <a:lnTo>
                  <a:pt x="f320" y="f341"/>
                </a:lnTo>
                <a:close/>
                <a:moveTo>
                  <a:pt x="f351" y="f340"/>
                </a:moveTo>
                <a:lnTo>
                  <a:pt x="f321" y="f340"/>
                </a:lnTo>
                <a:lnTo>
                  <a:pt x="f322" y="f341"/>
                </a:lnTo>
                <a:lnTo>
                  <a:pt x="f322" y="f342"/>
                </a:lnTo>
                <a:lnTo>
                  <a:pt x="f321" y="f343"/>
                </a:lnTo>
                <a:lnTo>
                  <a:pt x="f351" y="f343"/>
                </a:lnTo>
                <a:lnTo>
                  <a:pt x="f352" y="f342"/>
                </a:lnTo>
                <a:lnTo>
                  <a:pt x="f352" y="f341"/>
                </a:lnTo>
                <a:close/>
                <a:moveTo>
                  <a:pt x="f35" y="f353"/>
                </a:moveTo>
                <a:lnTo>
                  <a:pt x="f37" y="f353"/>
                </a:lnTo>
                <a:lnTo>
                  <a:pt x="f6" y="f354"/>
                </a:lnTo>
                <a:lnTo>
                  <a:pt x="f6" y="f355"/>
                </a:lnTo>
                <a:lnTo>
                  <a:pt x="f37" y="f356"/>
                </a:lnTo>
                <a:lnTo>
                  <a:pt x="f35" y="f356"/>
                </a:lnTo>
                <a:lnTo>
                  <a:pt x="f41" y="f355"/>
                </a:lnTo>
                <a:lnTo>
                  <a:pt x="f41" y="f354"/>
                </a:lnTo>
                <a:close/>
                <a:moveTo>
                  <a:pt x="f42" y="f353"/>
                </a:moveTo>
                <a:lnTo>
                  <a:pt x="f43" y="f353"/>
                </a:lnTo>
                <a:lnTo>
                  <a:pt x="f44" y="f354"/>
                </a:lnTo>
                <a:lnTo>
                  <a:pt x="f44" y="f355"/>
                </a:lnTo>
                <a:lnTo>
                  <a:pt x="f43" y="f356"/>
                </a:lnTo>
                <a:lnTo>
                  <a:pt x="f42" y="f356"/>
                </a:lnTo>
                <a:lnTo>
                  <a:pt x="f45" y="f355"/>
                </a:lnTo>
                <a:lnTo>
                  <a:pt x="f45" y="f354"/>
                </a:lnTo>
                <a:close/>
                <a:moveTo>
                  <a:pt x="f46" y="f353"/>
                </a:moveTo>
                <a:lnTo>
                  <a:pt x="f47" y="f353"/>
                </a:lnTo>
                <a:lnTo>
                  <a:pt x="f48" y="f354"/>
                </a:lnTo>
                <a:lnTo>
                  <a:pt x="f48" y="f355"/>
                </a:lnTo>
                <a:lnTo>
                  <a:pt x="f47" y="f356"/>
                </a:lnTo>
                <a:lnTo>
                  <a:pt x="f46" y="f356"/>
                </a:lnTo>
                <a:lnTo>
                  <a:pt x="f49" y="f355"/>
                </a:lnTo>
                <a:lnTo>
                  <a:pt x="f49" y="f354"/>
                </a:lnTo>
                <a:close/>
                <a:moveTo>
                  <a:pt x="f50" y="f353"/>
                </a:moveTo>
                <a:lnTo>
                  <a:pt x="f51" y="f353"/>
                </a:lnTo>
                <a:lnTo>
                  <a:pt x="f52" y="f354"/>
                </a:lnTo>
                <a:lnTo>
                  <a:pt x="f52" y="f355"/>
                </a:lnTo>
                <a:lnTo>
                  <a:pt x="f51" y="f356"/>
                </a:lnTo>
                <a:lnTo>
                  <a:pt x="f50" y="f356"/>
                </a:lnTo>
                <a:lnTo>
                  <a:pt x="f53" y="f355"/>
                </a:lnTo>
                <a:lnTo>
                  <a:pt x="f53" y="f354"/>
                </a:lnTo>
                <a:close/>
                <a:moveTo>
                  <a:pt x="f54" y="f353"/>
                </a:moveTo>
                <a:lnTo>
                  <a:pt x="f55" y="f353"/>
                </a:lnTo>
                <a:lnTo>
                  <a:pt x="f56" y="f354"/>
                </a:lnTo>
                <a:lnTo>
                  <a:pt x="f56" y="f355"/>
                </a:lnTo>
                <a:lnTo>
                  <a:pt x="f55" y="f356"/>
                </a:lnTo>
                <a:lnTo>
                  <a:pt x="f54" y="f356"/>
                </a:lnTo>
                <a:lnTo>
                  <a:pt x="f57" y="f355"/>
                </a:lnTo>
                <a:lnTo>
                  <a:pt x="f57" y="f354"/>
                </a:lnTo>
                <a:close/>
                <a:moveTo>
                  <a:pt x="f58" y="f353"/>
                </a:moveTo>
                <a:lnTo>
                  <a:pt x="f59" y="f353"/>
                </a:lnTo>
                <a:lnTo>
                  <a:pt x="f60" y="f354"/>
                </a:lnTo>
                <a:lnTo>
                  <a:pt x="f60" y="f355"/>
                </a:lnTo>
                <a:lnTo>
                  <a:pt x="f59" y="f356"/>
                </a:lnTo>
                <a:lnTo>
                  <a:pt x="f58" y="f356"/>
                </a:lnTo>
                <a:lnTo>
                  <a:pt x="f61" y="f355"/>
                </a:lnTo>
                <a:lnTo>
                  <a:pt x="f61" y="f354"/>
                </a:lnTo>
                <a:close/>
                <a:moveTo>
                  <a:pt x="f62" y="f353"/>
                </a:moveTo>
                <a:lnTo>
                  <a:pt x="f63" y="f353"/>
                </a:lnTo>
                <a:lnTo>
                  <a:pt x="f64" y="f354"/>
                </a:lnTo>
                <a:lnTo>
                  <a:pt x="f64" y="f355"/>
                </a:lnTo>
                <a:lnTo>
                  <a:pt x="f63" y="f356"/>
                </a:lnTo>
                <a:lnTo>
                  <a:pt x="f62" y="f356"/>
                </a:lnTo>
                <a:lnTo>
                  <a:pt x="f65" y="f355"/>
                </a:lnTo>
                <a:lnTo>
                  <a:pt x="f65" y="f354"/>
                </a:lnTo>
                <a:close/>
                <a:moveTo>
                  <a:pt x="f66" y="f353"/>
                </a:moveTo>
                <a:lnTo>
                  <a:pt x="f67" y="f353"/>
                </a:lnTo>
                <a:lnTo>
                  <a:pt x="f68" y="f354"/>
                </a:lnTo>
                <a:lnTo>
                  <a:pt x="f68" y="f355"/>
                </a:lnTo>
                <a:lnTo>
                  <a:pt x="f67" y="f356"/>
                </a:lnTo>
                <a:lnTo>
                  <a:pt x="f66" y="f356"/>
                </a:lnTo>
                <a:lnTo>
                  <a:pt x="f69" y="f355"/>
                </a:lnTo>
                <a:lnTo>
                  <a:pt x="f69" y="f354"/>
                </a:lnTo>
                <a:close/>
                <a:moveTo>
                  <a:pt x="f70" y="f353"/>
                </a:moveTo>
                <a:lnTo>
                  <a:pt x="f71" y="f353"/>
                </a:lnTo>
                <a:lnTo>
                  <a:pt x="f72" y="f354"/>
                </a:lnTo>
                <a:lnTo>
                  <a:pt x="f72" y="f355"/>
                </a:lnTo>
                <a:lnTo>
                  <a:pt x="f71" y="f356"/>
                </a:lnTo>
                <a:lnTo>
                  <a:pt x="f70" y="f356"/>
                </a:lnTo>
                <a:lnTo>
                  <a:pt x="f73" y="f355"/>
                </a:lnTo>
                <a:lnTo>
                  <a:pt x="f73" y="f354"/>
                </a:lnTo>
                <a:close/>
                <a:moveTo>
                  <a:pt x="f74" y="f353"/>
                </a:moveTo>
                <a:lnTo>
                  <a:pt x="f75" y="f353"/>
                </a:lnTo>
                <a:lnTo>
                  <a:pt x="f76" y="f354"/>
                </a:lnTo>
                <a:lnTo>
                  <a:pt x="f76" y="f355"/>
                </a:lnTo>
                <a:lnTo>
                  <a:pt x="f75" y="f356"/>
                </a:lnTo>
                <a:lnTo>
                  <a:pt x="f74" y="f356"/>
                </a:lnTo>
                <a:lnTo>
                  <a:pt x="f77" y="f355"/>
                </a:lnTo>
                <a:lnTo>
                  <a:pt x="f77" y="f354"/>
                </a:lnTo>
                <a:close/>
                <a:moveTo>
                  <a:pt x="f78" y="f353"/>
                </a:moveTo>
                <a:lnTo>
                  <a:pt x="f79" y="f353"/>
                </a:lnTo>
                <a:lnTo>
                  <a:pt x="f80" y="f354"/>
                </a:lnTo>
                <a:lnTo>
                  <a:pt x="f80" y="f355"/>
                </a:lnTo>
                <a:lnTo>
                  <a:pt x="f79" y="f356"/>
                </a:lnTo>
                <a:lnTo>
                  <a:pt x="f78" y="f356"/>
                </a:lnTo>
                <a:lnTo>
                  <a:pt x="f81" y="f355"/>
                </a:lnTo>
                <a:lnTo>
                  <a:pt x="f81" y="f354"/>
                </a:lnTo>
                <a:close/>
                <a:moveTo>
                  <a:pt x="f82" y="f353"/>
                </a:moveTo>
                <a:lnTo>
                  <a:pt x="f83" y="f353"/>
                </a:lnTo>
                <a:lnTo>
                  <a:pt x="f84" y="f354"/>
                </a:lnTo>
                <a:lnTo>
                  <a:pt x="f84" y="f355"/>
                </a:lnTo>
                <a:lnTo>
                  <a:pt x="f83" y="f356"/>
                </a:lnTo>
                <a:lnTo>
                  <a:pt x="f82" y="f356"/>
                </a:lnTo>
                <a:lnTo>
                  <a:pt x="f85" y="f355"/>
                </a:lnTo>
                <a:lnTo>
                  <a:pt x="f85" y="f354"/>
                </a:lnTo>
                <a:close/>
                <a:moveTo>
                  <a:pt x="f86" y="f353"/>
                </a:moveTo>
                <a:lnTo>
                  <a:pt x="f87" y="f353"/>
                </a:lnTo>
                <a:lnTo>
                  <a:pt x="f88" y="f354"/>
                </a:lnTo>
                <a:lnTo>
                  <a:pt x="f88" y="f355"/>
                </a:lnTo>
                <a:lnTo>
                  <a:pt x="f87" y="f356"/>
                </a:lnTo>
                <a:lnTo>
                  <a:pt x="f86" y="f356"/>
                </a:lnTo>
                <a:lnTo>
                  <a:pt x="f89" y="f355"/>
                </a:lnTo>
                <a:lnTo>
                  <a:pt x="f89" y="f354"/>
                </a:lnTo>
                <a:close/>
                <a:moveTo>
                  <a:pt x="f90" y="f353"/>
                </a:moveTo>
                <a:lnTo>
                  <a:pt x="f91" y="f353"/>
                </a:lnTo>
                <a:lnTo>
                  <a:pt x="f92" y="f354"/>
                </a:lnTo>
                <a:lnTo>
                  <a:pt x="f92" y="f355"/>
                </a:lnTo>
                <a:lnTo>
                  <a:pt x="f91" y="f356"/>
                </a:lnTo>
                <a:lnTo>
                  <a:pt x="f90" y="f356"/>
                </a:lnTo>
                <a:lnTo>
                  <a:pt x="f93" y="f355"/>
                </a:lnTo>
                <a:lnTo>
                  <a:pt x="f93" y="f354"/>
                </a:lnTo>
                <a:close/>
                <a:moveTo>
                  <a:pt x="f94" y="f353"/>
                </a:moveTo>
                <a:lnTo>
                  <a:pt x="f95" y="f353"/>
                </a:lnTo>
                <a:lnTo>
                  <a:pt x="f96" y="f354"/>
                </a:lnTo>
                <a:lnTo>
                  <a:pt x="f96" y="f355"/>
                </a:lnTo>
                <a:lnTo>
                  <a:pt x="f95" y="f356"/>
                </a:lnTo>
                <a:lnTo>
                  <a:pt x="f94" y="f356"/>
                </a:lnTo>
                <a:lnTo>
                  <a:pt x="f97" y="f355"/>
                </a:lnTo>
                <a:lnTo>
                  <a:pt x="f97" y="f354"/>
                </a:lnTo>
                <a:close/>
                <a:moveTo>
                  <a:pt x="f98" y="f353"/>
                </a:moveTo>
                <a:lnTo>
                  <a:pt x="f99" y="f353"/>
                </a:lnTo>
                <a:lnTo>
                  <a:pt x="f100" y="f354"/>
                </a:lnTo>
                <a:lnTo>
                  <a:pt x="f100" y="f355"/>
                </a:lnTo>
                <a:lnTo>
                  <a:pt x="f99" y="f356"/>
                </a:lnTo>
                <a:lnTo>
                  <a:pt x="f98" y="f356"/>
                </a:lnTo>
                <a:lnTo>
                  <a:pt x="f101" y="f355"/>
                </a:lnTo>
                <a:lnTo>
                  <a:pt x="f101" y="f354"/>
                </a:lnTo>
                <a:close/>
                <a:moveTo>
                  <a:pt x="f102" y="f353"/>
                </a:moveTo>
                <a:lnTo>
                  <a:pt x="f103" y="f353"/>
                </a:lnTo>
                <a:lnTo>
                  <a:pt x="f104" y="f354"/>
                </a:lnTo>
                <a:lnTo>
                  <a:pt x="f104" y="f355"/>
                </a:lnTo>
                <a:lnTo>
                  <a:pt x="f103" y="f356"/>
                </a:lnTo>
                <a:lnTo>
                  <a:pt x="f102" y="f356"/>
                </a:lnTo>
                <a:lnTo>
                  <a:pt x="f105" y="f355"/>
                </a:lnTo>
                <a:lnTo>
                  <a:pt x="f105" y="f354"/>
                </a:lnTo>
                <a:close/>
                <a:moveTo>
                  <a:pt x="f106" y="f353"/>
                </a:moveTo>
                <a:lnTo>
                  <a:pt x="f107" y="f353"/>
                </a:lnTo>
                <a:lnTo>
                  <a:pt x="f108" y="f354"/>
                </a:lnTo>
                <a:lnTo>
                  <a:pt x="f108" y="f355"/>
                </a:lnTo>
                <a:lnTo>
                  <a:pt x="f107" y="f356"/>
                </a:lnTo>
                <a:lnTo>
                  <a:pt x="f106" y="f356"/>
                </a:lnTo>
                <a:lnTo>
                  <a:pt x="f109" y="f355"/>
                </a:lnTo>
                <a:lnTo>
                  <a:pt x="f109" y="f354"/>
                </a:lnTo>
                <a:close/>
                <a:moveTo>
                  <a:pt x="f110" y="f353"/>
                </a:moveTo>
                <a:lnTo>
                  <a:pt x="f111" y="f353"/>
                </a:lnTo>
                <a:lnTo>
                  <a:pt x="f112" y="f354"/>
                </a:lnTo>
                <a:lnTo>
                  <a:pt x="f112" y="f355"/>
                </a:lnTo>
                <a:lnTo>
                  <a:pt x="f111" y="f356"/>
                </a:lnTo>
                <a:lnTo>
                  <a:pt x="f110" y="f356"/>
                </a:lnTo>
                <a:lnTo>
                  <a:pt x="f113" y="f355"/>
                </a:lnTo>
                <a:lnTo>
                  <a:pt x="f113" y="f354"/>
                </a:lnTo>
                <a:close/>
                <a:moveTo>
                  <a:pt x="f114" y="f353"/>
                </a:moveTo>
                <a:lnTo>
                  <a:pt x="f115" y="f353"/>
                </a:lnTo>
                <a:lnTo>
                  <a:pt x="f116" y="f354"/>
                </a:lnTo>
                <a:lnTo>
                  <a:pt x="f116" y="f355"/>
                </a:lnTo>
                <a:lnTo>
                  <a:pt x="f115" y="f356"/>
                </a:lnTo>
                <a:lnTo>
                  <a:pt x="f114" y="f356"/>
                </a:lnTo>
                <a:lnTo>
                  <a:pt x="f117" y="f355"/>
                </a:lnTo>
                <a:lnTo>
                  <a:pt x="f117" y="f354"/>
                </a:lnTo>
                <a:close/>
                <a:moveTo>
                  <a:pt x="f118" y="f353"/>
                </a:moveTo>
                <a:lnTo>
                  <a:pt x="f119" y="f353"/>
                </a:lnTo>
                <a:lnTo>
                  <a:pt x="f120" y="f354"/>
                </a:lnTo>
                <a:lnTo>
                  <a:pt x="f120" y="f355"/>
                </a:lnTo>
                <a:lnTo>
                  <a:pt x="f119" y="f356"/>
                </a:lnTo>
                <a:lnTo>
                  <a:pt x="f118" y="f356"/>
                </a:lnTo>
                <a:lnTo>
                  <a:pt x="f121" y="f355"/>
                </a:lnTo>
                <a:lnTo>
                  <a:pt x="f121" y="f354"/>
                </a:lnTo>
                <a:close/>
                <a:moveTo>
                  <a:pt x="f122" y="f353"/>
                </a:moveTo>
                <a:lnTo>
                  <a:pt x="f123" y="f353"/>
                </a:lnTo>
                <a:lnTo>
                  <a:pt x="f124" y="f354"/>
                </a:lnTo>
                <a:lnTo>
                  <a:pt x="f124" y="f355"/>
                </a:lnTo>
                <a:lnTo>
                  <a:pt x="f123" y="f356"/>
                </a:lnTo>
                <a:lnTo>
                  <a:pt x="f122" y="f356"/>
                </a:lnTo>
                <a:lnTo>
                  <a:pt x="f125" y="f355"/>
                </a:lnTo>
                <a:lnTo>
                  <a:pt x="f125" y="f354"/>
                </a:lnTo>
                <a:close/>
                <a:moveTo>
                  <a:pt x="f126" y="f353"/>
                </a:moveTo>
                <a:lnTo>
                  <a:pt x="f127" y="f353"/>
                </a:lnTo>
                <a:lnTo>
                  <a:pt x="f128" y="f354"/>
                </a:lnTo>
                <a:lnTo>
                  <a:pt x="f128" y="f355"/>
                </a:lnTo>
                <a:lnTo>
                  <a:pt x="f127" y="f356"/>
                </a:lnTo>
                <a:lnTo>
                  <a:pt x="f126" y="f356"/>
                </a:lnTo>
                <a:lnTo>
                  <a:pt x="f129" y="f355"/>
                </a:lnTo>
                <a:lnTo>
                  <a:pt x="f129" y="f354"/>
                </a:lnTo>
                <a:close/>
                <a:moveTo>
                  <a:pt x="f130" y="f353"/>
                </a:moveTo>
                <a:lnTo>
                  <a:pt x="f131" y="f353"/>
                </a:lnTo>
                <a:lnTo>
                  <a:pt x="f132" y="f354"/>
                </a:lnTo>
                <a:lnTo>
                  <a:pt x="f132" y="f355"/>
                </a:lnTo>
                <a:lnTo>
                  <a:pt x="f131" y="f356"/>
                </a:lnTo>
                <a:lnTo>
                  <a:pt x="f130" y="f356"/>
                </a:lnTo>
                <a:lnTo>
                  <a:pt x="f133" y="f355"/>
                </a:lnTo>
                <a:lnTo>
                  <a:pt x="f133" y="f354"/>
                </a:lnTo>
                <a:close/>
                <a:moveTo>
                  <a:pt x="f134" y="f353"/>
                </a:moveTo>
                <a:lnTo>
                  <a:pt x="f135" y="f353"/>
                </a:lnTo>
                <a:lnTo>
                  <a:pt x="f136" y="f354"/>
                </a:lnTo>
                <a:lnTo>
                  <a:pt x="f136" y="f355"/>
                </a:lnTo>
                <a:lnTo>
                  <a:pt x="f135" y="f356"/>
                </a:lnTo>
                <a:lnTo>
                  <a:pt x="f134" y="f356"/>
                </a:lnTo>
                <a:lnTo>
                  <a:pt x="f137" y="f355"/>
                </a:lnTo>
                <a:lnTo>
                  <a:pt x="f137" y="f354"/>
                </a:lnTo>
                <a:close/>
                <a:moveTo>
                  <a:pt x="f138" y="f353"/>
                </a:moveTo>
                <a:lnTo>
                  <a:pt x="f139" y="f353"/>
                </a:lnTo>
                <a:lnTo>
                  <a:pt x="f140" y="f354"/>
                </a:lnTo>
                <a:lnTo>
                  <a:pt x="f140" y="f355"/>
                </a:lnTo>
                <a:lnTo>
                  <a:pt x="f139" y="f356"/>
                </a:lnTo>
                <a:lnTo>
                  <a:pt x="f138" y="f356"/>
                </a:lnTo>
                <a:lnTo>
                  <a:pt x="f141" y="f355"/>
                </a:lnTo>
                <a:lnTo>
                  <a:pt x="f141" y="f354"/>
                </a:lnTo>
                <a:close/>
                <a:moveTo>
                  <a:pt x="f142" y="f353"/>
                </a:moveTo>
                <a:lnTo>
                  <a:pt x="f143" y="f353"/>
                </a:lnTo>
                <a:lnTo>
                  <a:pt x="f144" y="f354"/>
                </a:lnTo>
                <a:lnTo>
                  <a:pt x="f144" y="f355"/>
                </a:lnTo>
                <a:lnTo>
                  <a:pt x="f143" y="f356"/>
                </a:lnTo>
                <a:lnTo>
                  <a:pt x="f142" y="f356"/>
                </a:lnTo>
                <a:lnTo>
                  <a:pt x="f145" y="f355"/>
                </a:lnTo>
                <a:lnTo>
                  <a:pt x="f145" y="f354"/>
                </a:lnTo>
                <a:close/>
                <a:moveTo>
                  <a:pt x="f146" y="f353"/>
                </a:moveTo>
                <a:lnTo>
                  <a:pt x="f147" y="f353"/>
                </a:lnTo>
                <a:lnTo>
                  <a:pt x="f148" y="f354"/>
                </a:lnTo>
                <a:lnTo>
                  <a:pt x="f148" y="f355"/>
                </a:lnTo>
                <a:lnTo>
                  <a:pt x="f147" y="f356"/>
                </a:lnTo>
                <a:lnTo>
                  <a:pt x="f146" y="f356"/>
                </a:lnTo>
                <a:lnTo>
                  <a:pt x="f149" y="f355"/>
                </a:lnTo>
                <a:lnTo>
                  <a:pt x="f149" y="f354"/>
                </a:lnTo>
                <a:close/>
                <a:moveTo>
                  <a:pt x="f150" y="f353"/>
                </a:moveTo>
                <a:lnTo>
                  <a:pt x="f151" y="f353"/>
                </a:lnTo>
                <a:lnTo>
                  <a:pt x="f152" y="f354"/>
                </a:lnTo>
                <a:lnTo>
                  <a:pt x="f152" y="f355"/>
                </a:lnTo>
                <a:lnTo>
                  <a:pt x="f151" y="f356"/>
                </a:lnTo>
                <a:lnTo>
                  <a:pt x="f150" y="f356"/>
                </a:lnTo>
                <a:lnTo>
                  <a:pt x="f153" y="f355"/>
                </a:lnTo>
                <a:lnTo>
                  <a:pt x="f153" y="f354"/>
                </a:lnTo>
                <a:close/>
                <a:moveTo>
                  <a:pt x="f154" y="f353"/>
                </a:moveTo>
                <a:lnTo>
                  <a:pt x="f155" y="f353"/>
                </a:lnTo>
                <a:lnTo>
                  <a:pt x="f156" y="f354"/>
                </a:lnTo>
                <a:lnTo>
                  <a:pt x="f156" y="f355"/>
                </a:lnTo>
                <a:lnTo>
                  <a:pt x="f155" y="f356"/>
                </a:lnTo>
                <a:lnTo>
                  <a:pt x="f154" y="f356"/>
                </a:lnTo>
                <a:lnTo>
                  <a:pt x="f157" y="f355"/>
                </a:lnTo>
                <a:lnTo>
                  <a:pt x="f157" y="f354"/>
                </a:lnTo>
                <a:close/>
                <a:moveTo>
                  <a:pt x="f158" y="f353"/>
                </a:moveTo>
                <a:lnTo>
                  <a:pt x="f159" y="f353"/>
                </a:lnTo>
                <a:lnTo>
                  <a:pt x="f160" y="f354"/>
                </a:lnTo>
                <a:lnTo>
                  <a:pt x="f160" y="f355"/>
                </a:lnTo>
                <a:lnTo>
                  <a:pt x="f159" y="f356"/>
                </a:lnTo>
                <a:lnTo>
                  <a:pt x="f158" y="f356"/>
                </a:lnTo>
                <a:lnTo>
                  <a:pt x="f161" y="f355"/>
                </a:lnTo>
                <a:lnTo>
                  <a:pt x="f161" y="f354"/>
                </a:lnTo>
                <a:close/>
                <a:moveTo>
                  <a:pt x="f323" y="f353"/>
                </a:moveTo>
                <a:lnTo>
                  <a:pt x="f295" y="f353"/>
                </a:lnTo>
                <a:lnTo>
                  <a:pt x="f271" y="f354"/>
                </a:lnTo>
                <a:lnTo>
                  <a:pt x="f271" y="f355"/>
                </a:lnTo>
                <a:lnTo>
                  <a:pt x="f295" y="f356"/>
                </a:lnTo>
                <a:lnTo>
                  <a:pt x="f323" y="f356"/>
                </a:lnTo>
                <a:lnTo>
                  <a:pt x="f328" y="f355"/>
                </a:lnTo>
                <a:lnTo>
                  <a:pt x="f328" y="f354"/>
                </a:lnTo>
                <a:close/>
                <a:moveTo>
                  <a:pt x="f239" y="f353"/>
                </a:moveTo>
                <a:lnTo>
                  <a:pt x="f212" y="f353"/>
                </a:lnTo>
                <a:lnTo>
                  <a:pt x="f329" y="f354"/>
                </a:lnTo>
                <a:lnTo>
                  <a:pt x="f329" y="f355"/>
                </a:lnTo>
                <a:lnTo>
                  <a:pt x="f212" y="f356"/>
                </a:lnTo>
                <a:lnTo>
                  <a:pt x="f239" y="f356"/>
                </a:lnTo>
                <a:lnTo>
                  <a:pt x="f299" y="f355"/>
                </a:lnTo>
                <a:lnTo>
                  <a:pt x="f299" y="f354"/>
                </a:lnTo>
                <a:close/>
                <a:moveTo>
                  <a:pt x="f357" y="f353"/>
                </a:moveTo>
                <a:lnTo>
                  <a:pt x="f330" y="f353"/>
                </a:lnTo>
                <a:lnTo>
                  <a:pt x="f358" y="f354"/>
                </a:lnTo>
                <a:lnTo>
                  <a:pt x="f358" y="f355"/>
                </a:lnTo>
                <a:lnTo>
                  <a:pt x="f330" y="f356"/>
                </a:lnTo>
                <a:lnTo>
                  <a:pt x="f357" y="f356"/>
                </a:lnTo>
                <a:lnTo>
                  <a:pt x="f359" y="f355"/>
                </a:lnTo>
                <a:lnTo>
                  <a:pt x="f359" y="f354"/>
                </a:lnTo>
                <a:close/>
                <a:moveTo>
                  <a:pt x="f360" y="f353"/>
                </a:moveTo>
                <a:lnTo>
                  <a:pt x="f361" y="f353"/>
                </a:lnTo>
                <a:lnTo>
                  <a:pt x="f333" y="f354"/>
                </a:lnTo>
                <a:lnTo>
                  <a:pt x="f333" y="f355"/>
                </a:lnTo>
                <a:lnTo>
                  <a:pt x="f361" y="f356"/>
                </a:lnTo>
                <a:lnTo>
                  <a:pt x="f360" y="f356"/>
                </a:lnTo>
                <a:lnTo>
                  <a:pt x="f334" y="f355"/>
                </a:lnTo>
                <a:lnTo>
                  <a:pt x="f334" y="f354"/>
                </a:lnTo>
                <a:close/>
                <a:moveTo>
                  <a:pt x="f362" y="f353"/>
                </a:moveTo>
                <a:lnTo>
                  <a:pt x="f335" y="f353"/>
                </a:lnTo>
                <a:lnTo>
                  <a:pt x="f363" y="f354"/>
                </a:lnTo>
                <a:lnTo>
                  <a:pt x="f363" y="f355"/>
                </a:lnTo>
                <a:lnTo>
                  <a:pt x="f335" y="f356"/>
                </a:lnTo>
                <a:lnTo>
                  <a:pt x="f362" y="f356"/>
                </a:lnTo>
                <a:lnTo>
                  <a:pt x="f336" y="f355"/>
                </a:lnTo>
                <a:lnTo>
                  <a:pt x="f336" y="f354"/>
                </a:lnTo>
                <a:close/>
                <a:moveTo>
                  <a:pt x="f364" y="f353"/>
                </a:moveTo>
                <a:lnTo>
                  <a:pt x="f365" y="f353"/>
                </a:lnTo>
                <a:lnTo>
                  <a:pt x="f338" y="f354"/>
                </a:lnTo>
                <a:lnTo>
                  <a:pt x="f338" y="f355"/>
                </a:lnTo>
                <a:lnTo>
                  <a:pt x="f365" y="f356"/>
                </a:lnTo>
                <a:lnTo>
                  <a:pt x="f364" y="f356"/>
                </a:lnTo>
                <a:lnTo>
                  <a:pt x="f339" y="f355"/>
                </a:lnTo>
                <a:lnTo>
                  <a:pt x="f339" y="f354"/>
                </a:lnTo>
                <a:close/>
                <a:moveTo>
                  <a:pt x="f366" y="f353"/>
                </a:moveTo>
                <a:lnTo>
                  <a:pt x="f367" y="f353"/>
                </a:lnTo>
                <a:lnTo>
                  <a:pt x="f368" y="f354"/>
                </a:lnTo>
                <a:lnTo>
                  <a:pt x="f368" y="f355"/>
                </a:lnTo>
                <a:lnTo>
                  <a:pt x="f367" y="f356"/>
                </a:lnTo>
                <a:lnTo>
                  <a:pt x="f366" y="f356"/>
                </a:lnTo>
                <a:lnTo>
                  <a:pt x="f345" y="f355"/>
                </a:lnTo>
                <a:lnTo>
                  <a:pt x="f345" y="f354"/>
                </a:lnTo>
                <a:close/>
                <a:moveTo>
                  <a:pt x="f369" y="f353"/>
                </a:moveTo>
                <a:lnTo>
                  <a:pt x="f370" y="f353"/>
                </a:lnTo>
                <a:lnTo>
                  <a:pt x="f347" y="f354"/>
                </a:lnTo>
                <a:lnTo>
                  <a:pt x="f347" y="f355"/>
                </a:lnTo>
                <a:lnTo>
                  <a:pt x="f370" y="f356"/>
                </a:lnTo>
                <a:lnTo>
                  <a:pt x="f369" y="f356"/>
                </a:lnTo>
                <a:lnTo>
                  <a:pt x="f371" y="f355"/>
                </a:lnTo>
                <a:lnTo>
                  <a:pt x="f371" y="f354"/>
                </a:lnTo>
                <a:close/>
                <a:moveTo>
                  <a:pt x="f372" y="f353"/>
                </a:moveTo>
                <a:lnTo>
                  <a:pt x="f349" y="f353"/>
                </a:lnTo>
                <a:lnTo>
                  <a:pt x="f350" y="f354"/>
                </a:lnTo>
                <a:lnTo>
                  <a:pt x="f350" y="f355"/>
                </a:lnTo>
                <a:lnTo>
                  <a:pt x="f349" y="f356"/>
                </a:lnTo>
                <a:lnTo>
                  <a:pt x="f372" y="f356"/>
                </a:lnTo>
                <a:lnTo>
                  <a:pt x="f373" y="f355"/>
                </a:lnTo>
                <a:lnTo>
                  <a:pt x="f373" y="f354"/>
                </a:lnTo>
                <a:close/>
                <a:moveTo>
                  <a:pt x="f351" y="f353"/>
                </a:moveTo>
                <a:lnTo>
                  <a:pt x="f374" y="f353"/>
                </a:lnTo>
                <a:lnTo>
                  <a:pt x="f375" y="f354"/>
                </a:lnTo>
                <a:lnTo>
                  <a:pt x="f375" y="f355"/>
                </a:lnTo>
                <a:lnTo>
                  <a:pt x="f374" y="f356"/>
                </a:lnTo>
                <a:lnTo>
                  <a:pt x="f351" y="f356"/>
                </a:lnTo>
                <a:lnTo>
                  <a:pt x="f376" y="f355"/>
                </a:lnTo>
                <a:lnTo>
                  <a:pt x="f376" y="f354"/>
                </a:lnTo>
                <a:close/>
                <a:moveTo>
                  <a:pt x="f323" y="f377"/>
                </a:moveTo>
                <a:lnTo>
                  <a:pt x="f295" y="f377"/>
                </a:lnTo>
                <a:lnTo>
                  <a:pt x="f271" y="f378"/>
                </a:lnTo>
                <a:lnTo>
                  <a:pt x="f271" y="f379"/>
                </a:lnTo>
                <a:lnTo>
                  <a:pt x="f295" y="f380"/>
                </a:lnTo>
                <a:lnTo>
                  <a:pt x="f323" y="f380"/>
                </a:lnTo>
                <a:lnTo>
                  <a:pt x="f381" y="f379"/>
                </a:lnTo>
                <a:lnTo>
                  <a:pt x="f381" y="f378"/>
                </a:lnTo>
                <a:close/>
                <a:moveTo>
                  <a:pt x="f239" y="f377"/>
                </a:moveTo>
                <a:lnTo>
                  <a:pt x="f382" y="f377"/>
                </a:lnTo>
                <a:lnTo>
                  <a:pt x="f329" y="f378"/>
                </a:lnTo>
                <a:lnTo>
                  <a:pt x="f329" y="f379"/>
                </a:lnTo>
                <a:lnTo>
                  <a:pt x="f382" y="f380"/>
                </a:lnTo>
                <a:lnTo>
                  <a:pt x="f239" y="f380"/>
                </a:lnTo>
                <a:lnTo>
                  <a:pt x="f299" y="f379"/>
                </a:lnTo>
                <a:lnTo>
                  <a:pt x="f299" y="f378"/>
                </a:lnTo>
                <a:close/>
                <a:moveTo>
                  <a:pt x="f383" y="f377"/>
                </a:moveTo>
                <a:lnTo>
                  <a:pt x="f384" y="f377"/>
                </a:lnTo>
                <a:lnTo>
                  <a:pt x="f358" y="f378"/>
                </a:lnTo>
                <a:lnTo>
                  <a:pt x="f358" y="f379"/>
                </a:lnTo>
                <a:lnTo>
                  <a:pt x="f384" y="f380"/>
                </a:lnTo>
                <a:lnTo>
                  <a:pt x="f383" y="f380"/>
                </a:lnTo>
                <a:lnTo>
                  <a:pt x="f359" y="f379"/>
                </a:lnTo>
                <a:lnTo>
                  <a:pt x="f359" y="f378"/>
                </a:lnTo>
                <a:close/>
                <a:moveTo>
                  <a:pt x="f360" y="f377"/>
                </a:moveTo>
                <a:lnTo>
                  <a:pt x="f361" y="f377"/>
                </a:lnTo>
                <a:lnTo>
                  <a:pt x="f385" y="f378"/>
                </a:lnTo>
                <a:lnTo>
                  <a:pt x="f385" y="f379"/>
                </a:lnTo>
                <a:lnTo>
                  <a:pt x="f361" y="f380"/>
                </a:lnTo>
                <a:lnTo>
                  <a:pt x="f360" y="f380"/>
                </a:lnTo>
                <a:lnTo>
                  <a:pt x="f386" y="f379"/>
                </a:lnTo>
                <a:lnTo>
                  <a:pt x="f386" y="f378"/>
                </a:lnTo>
                <a:close/>
                <a:moveTo>
                  <a:pt x="f387" y="f377"/>
                </a:moveTo>
                <a:lnTo>
                  <a:pt x="f388" y="f377"/>
                </a:lnTo>
                <a:lnTo>
                  <a:pt x="f389" y="f378"/>
                </a:lnTo>
                <a:lnTo>
                  <a:pt x="f389" y="f379"/>
                </a:lnTo>
                <a:lnTo>
                  <a:pt x="f388" y="f380"/>
                </a:lnTo>
                <a:lnTo>
                  <a:pt x="f387" y="f380"/>
                </a:lnTo>
                <a:lnTo>
                  <a:pt x="f390" y="f379"/>
                </a:lnTo>
                <a:lnTo>
                  <a:pt x="f390" y="f378"/>
                </a:lnTo>
                <a:close/>
                <a:moveTo>
                  <a:pt x="f364" y="f377"/>
                </a:moveTo>
                <a:lnTo>
                  <a:pt x="f365" y="f377"/>
                </a:lnTo>
                <a:lnTo>
                  <a:pt x="f391" y="f378"/>
                </a:lnTo>
                <a:lnTo>
                  <a:pt x="f391" y="f379"/>
                </a:lnTo>
                <a:lnTo>
                  <a:pt x="f365" y="f380"/>
                </a:lnTo>
                <a:lnTo>
                  <a:pt x="f364" y="f380"/>
                </a:lnTo>
                <a:lnTo>
                  <a:pt x="f392" y="f379"/>
                </a:lnTo>
                <a:lnTo>
                  <a:pt x="f392" y="f378"/>
                </a:lnTo>
                <a:close/>
                <a:moveTo>
                  <a:pt x="f35" y="f393"/>
                </a:moveTo>
                <a:lnTo>
                  <a:pt x="f37" y="f393"/>
                </a:lnTo>
                <a:lnTo>
                  <a:pt x="f6" y="f394"/>
                </a:lnTo>
                <a:lnTo>
                  <a:pt x="f6" y="f395"/>
                </a:lnTo>
                <a:lnTo>
                  <a:pt x="f37" y="f396"/>
                </a:lnTo>
                <a:lnTo>
                  <a:pt x="f35" y="f396"/>
                </a:lnTo>
                <a:lnTo>
                  <a:pt x="f41" y="f395"/>
                </a:lnTo>
                <a:lnTo>
                  <a:pt x="f41" y="f394"/>
                </a:lnTo>
                <a:close/>
                <a:moveTo>
                  <a:pt x="f42" y="f393"/>
                </a:moveTo>
                <a:lnTo>
                  <a:pt x="f43" y="f393"/>
                </a:lnTo>
                <a:lnTo>
                  <a:pt x="f44" y="f394"/>
                </a:lnTo>
                <a:lnTo>
                  <a:pt x="f44" y="f395"/>
                </a:lnTo>
                <a:lnTo>
                  <a:pt x="f43" y="f396"/>
                </a:lnTo>
                <a:lnTo>
                  <a:pt x="f42" y="f396"/>
                </a:lnTo>
                <a:lnTo>
                  <a:pt x="f45" y="f395"/>
                </a:lnTo>
                <a:lnTo>
                  <a:pt x="f45" y="f394"/>
                </a:lnTo>
                <a:close/>
                <a:moveTo>
                  <a:pt x="f46" y="f393"/>
                </a:moveTo>
                <a:lnTo>
                  <a:pt x="f47" y="f393"/>
                </a:lnTo>
                <a:lnTo>
                  <a:pt x="f48" y="f394"/>
                </a:lnTo>
                <a:lnTo>
                  <a:pt x="f48" y="f395"/>
                </a:lnTo>
                <a:lnTo>
                  <a:pt x="f47" y="f396"/>
                </a:lnTo>
                <a:lnTo>
                  <a:pt x="f46" y="f396"/>
                </a:lnTo>
                <a:lnTo>
                  <a:pt x="f49" y="f395"/>
                </a:lnTo>
                <a:lnTo>
                  <a:pt x="f49" y="f394"/>
                </a:lnTo>
                <a:close/>
                <a:moveTo>
                  <a:pt x="f50" y="f393"/>
                </a:moveTo>
                <a:lnTo>
                  <a:pt x="f51" y="f393"/>
                </a:lnTo>
                <a:lnTo>
                  <a:pt x="f52" y="f394"/>
                </a:lnTo>
                <a:lnTo>
                  <a:pt x="f52" y="f395"/>
                </a:lnTo>
                <a:lnTo>
                  <a:pt x="f51" y="f396"/>
                </a:lnTo>
                <a:lnTo>
                  <a:pt x="f50" y="f396"/>
                </a:lnTo>
                <a:lnTo>
                  <a:pt x="f53" y="f395"/>
                </a:lnTo>
                <a:lnTo>
                  <a:pt x="f53" y="f394"/>
                </a:lnTo>
                <a:close/>
                <a:moveTo>
                  <a:pt x="f54" y="f393"/>
                </a:moveTo>
                <a:lnTo>
                  <a:pt x="f55" y="f393"/>
                </a:lnTo>
                <a:lnTo>
                  <a:pt x="f56" y="f394"/>
                </a:lnTo>
                <a:lnTo>
                  <a:pt x="f56" y="f395"/>
                </a:lnTo>
                <a:lnTo>
                  <a:pt x="f55" y="f396"/>
                </a:lnTo>
                <a:lnTo>
                  <a:pt x="f54" y="f396"/>
                </a:lnTo>
                <a:lnTo>
                  <a:pt x="f57" y="f395"/>
                </a:lnTo>
                <a:lnTo>
                  <a:pt x="f57" y="f394"/>
                </a:lnTo>
                <a:close/>
                <a:moveTo>
                  <a:pt x="f58" y="f393"/>
                </a:moveTo>
                <a:lnTo>
                  <a:pt x="f59" y="f393"/>
                </a:lnTo>
                <a:lnTo>
                  <a:pt x="f60" y="f394"/>
                </a:lnTo>
                <a:lnTo>
                  <a:pt x="f60" y="f395"/>
                </a:lnTo>
                <a:lnTo>
                  <a:pt x="f59" y="f396"/>
                </a:lnTo>
                <a:lnTo>
                  <a:pt x="f58" y="f396"/>
                </a:lnTo>
                <a:lnTo>
                  <a:pt x="f61" y="f395"/>
                </a:lnTo>
                <a:lnTo>
                  <a:pt x="f61" y="f394"/>
                </a:lnTo>
                <a:close/>
                <a:moveTo>
                  <a:pt x="f62" y="f393"/>
                </a:moveTo>
                <a:lnTo>
                  <a:pt x="f63" y="f393"/>
                </a:lnTo>
                <a:lnTo>
                  <a:pt x="f64" y="f394"/>
                </a:lnTo>
                <a:lnTo>
                  <a:pt x="f64" y="f395"/>
                </a:lnTo>
                <a:lnTo>
                  <a:pt x="f63" y="f396"/>
                </a:lnTo>
                <a:lnTo>
                  <a:pt x="f62" y="f396"/>
                </a:lnTo>
                <a:lnTo>
                  <a:pt x="f65" y="f395"/>
                </a:lnTo>
                <a:lnTo>
                  <a:pt x="f65" y="f394"/>
                </a:lnTo>
                <a:close/>
                <a:moveTo>
                  <a:pt x="f66" y="f393"/>
                </a:moveTo>
                <a:lnTo>
                  <a:pt x="f67" y="f393"/>
                </a:lnTo>
                <a:lnTo>
                  <a:pt x="f68" y="f394"/>
                </a:lnTo>
                <a:lnTo>
                  <a:pt x="f68" y="f395"/>
                </a:lnTo>
                <a:lnTo>
                  <a:pt x="f67" y="f396"/>
                </a:lnTo>
                <a:lnTo>
                  <a:pt x="f66" y="f396"/>
                </a:lnTo>
                <a:lnTo>
                  <a:pt x="f69" y="f395"/>
                </a:lnTo>
                <a:lnTo>
                  <a:pt x="f69" y="f394"/>
                </a:lnTo>
                <a:close/>
                <a:moveTo>
                  <a:pt x="f70" y="f393"/>
                </a:moveTo>
                <a:lnTo>
                  <a:pt x="f71" y="f393"/>
                </a:lnTo>
                <a:lnTo>
                  <a:pt x="f72" y="f394"/>
                </a:lnTo>
                <a:lnTo>
                  <a:pt x="f72" y="f395"/>
                </a:lnTo>
                <a:lnTo>
                  <a:pt x="f71" y="f396"/>
                </a:lnTo>
                <a:lnTo>
                  <a:pt x="f70" y="f396"/>
                </a:lnTo>
                <a:lnTo>
                  <a:pt x="f73" y="f395"/>
                </a:lnTo>
                <a:lnTo>
                  <a:pt x="f73" y="f394"/>
                </a:lnTo>
                <a:close/>
                <a:moveTo>
                  <a:pt x="f74" y="f393"/>
                </a:moveTo>
                <a:lnTo>
                  <a:pt x="f75" y="f393"/>
                </a:lnTo>
                <a:lnTo>
                  <a:pt x="f76" y="f394"/>
                </a:lnTo>
                <a:lnTo>
                  <a:pt x="f76" y="f395"/>
                </a:lnTo>
                <a:lnTo>
                  <a:pt x="f75" y="f396"/>
                </a:lnTo>
                <a:lnTo>
                  <a:pt x="f74" y="f396"/>
                </a:lnTo>
                <a:lnTo>
                  <a:pt x="f77" y="f395"/>
                </a:lnTo>
                <a:lnTo>
                  <a:pt x="f77" y="f394"/>
                </a:lnTo>
                <a:close/>
                <a:moveTo>
                  <a:pt x="f78" y="f393"/>
                </a:moveTo>
                <a:lnTo>
                  <a:pt x="f79" y="f393"/>
                </a:lnTo>
                <a:lnTo>
                  <a:pt x="f80" y="f394"/>
                </a:lnTo>
                <a:lnTo>
                  <a:pt x="f80" y="f395"/>
                </a:lnTo>
                <a:lnTo>
                  <a:pt x="f79" y="f396"/>
                </a:lnTo>
                <a:lnTo>
                  <a:pt x="f78" y="f396"/>
                </a:lnTo>
                <a:lnTo>
                  <a:pt x="f81" y="f395"/>
                </a:lnTo>
                <a:lnTo>
                  <a:pt x="f81" y="f394"/>
                </a:lnTo>
                <a:close/>
                <a:moveTo>
                  <a:pt x="f82" y="f393"/>
                </a:moveTo>
                <a:lnTo>
                  <a:pt x="f83" y="f393"/>
                </a:lnTo>
                <a:lnTo>
                  <a:pt x="f84" y="f394"/>
                </a:lnTo>
                <a:lnTo>
                  <a:pt x="f84" y="f395"/>
                </a:lnTo>
                <a:lnTo>
                  <a:pt x="f83" y="f396"/>
                </a:lnTo>
                <a:lnTo>
                  <a:pt x="f82" y="f396"/>
                </a:lnTo>
                <a:lnTo>
                  <a:pt x="f85" y="f395"/>
                </a:lnTo>
                <a:lnTo>
                  <a:pt x="f85" y="f394"/>
                </a:lnTo>
                <a:close/>
                <a:moveTo>
                  <a:pt x="f86" y="f393"/>
                </a:moveTo>
                <a:lnTo>
                  <a:pt x="f87" y="f393"/>
                </a:lnTo>
                <a:lnTo>
                  <a:pt x="f88" y="f394"/>
                </a:lnTo>
                <a:lnTo>
                  <a:pt x="f88" y="f395"/>
                </a:lnTo>
                <a:lnTo>
                  <a:pt x="f87" y="f396"/>
                </a:lnTo>
                <a:lnTo>
                  <a:pt x="f86" y="f396"/>
                </a:lnTo>
                <a:lnTo>
                  <a:pt x="f89" y="f395"/>
                </a:lnTo>
                <a:lnTo>
                  <a:pt x="f89" y="f394"/>
                </a:lnTo>
                <a:close/>
                <a:moveTo>
                  <a:pt x="f90" y="f393"/>
                </a:moveTo>
                <a:lnTo>
                  <a:pt x="f91" y="f393"/>
                </a:lnTo>
                <a:lnTo>
                  <a:pt x="f92" y="f394"/>
                </a:lnTo>
                <a:lnTo>
                  <a:pt x="f92" y="f395"/>
                </a:lnTo>
                <a:lnTo>
                  <a:pt x="f91" y="f396"/>
                </a:lnTo>
                <a:lnTo>
                  <a:pt x="f90" y="f396"/>
                </a:lnTo>
                <a:lnTo>
                  <a:pt x="f93" y="f395"/>
                </a:lnTo>
                <a:lnTo>
                  <a:pt x="f93" y="f394"/>
                </a:lnTo>
                <a:close/>
                <a:moveTo>
                  <a:pt x="f94" y="f393"/>
                </a:moveTo>
                <a:lnTo>
                  <a:pt x="f95" y="f393"/>
                </a:lnTo>
                <a:lnTo>
                  <a:pt x="f96" y="f394"/>
                </a:lnTo>
                <a:lnTo>
                  <a:pt x="f96" y="f395"/>
                </a:lnTo>
                <a:lnTo>
                  <a:pt x="f95" y="f396"/>
                </a:lnTo>
                <a:lnTo>
                  <a:pt x="f94" y="f396"/>
                </a:lnTo>
                <a:lnTo>
                  <a:pt x="f97" y="f395"/>
                </a:lnTo>
                <a:lnTo>
                  <a:pt x="f97" y="f394"/>
                </a:lnTo>
                <a:close/>
                <a:moveTo>
                  <a:pt x="f98" y="f393"/>
                </a:moveTo>
                <a:lnTo>
                  <a:pt x="f99" y="f393"/>
                </a:lnTo>
                <a:lnTo>
                  <a:pt x="f100" y="f394"/>
                </a:lnTo>
                <a:lnTo>
                  <a:pt x="f100" y="f395"/>
                </a:lnTo>
                <a:lnTo>
                  <a:pt x="f99" y="f396"/>
                </a:lnTo>
                <a:lnTo>
                  <a:pt x="f98" y="f396"/>
                </a:lnTo>
                <a:lnTo>
                  <a:pt x="f101" y="f395"/>
                </a:lnTo>
                <a:lnTo>
                  <a:pt x="f101" y="f394"/>
                </a:lnTo>
                <a:close/>
                <a:moveTo>
                  <a:pt x="f102" y="f393"/>
                </a:moveTo>
                <a:lnTo>
                  <a:pt x="f103" y="f393"/>
                </a:lnTo>
                <a:lnTo>
                  <a:pt x="f104" y="f394"/>
                </a:lnTo>
                <a:lnTo>
                  <a:pt x="f104" y="f395"/>
                </a:lnTo>
                <a:lnTo>
                  <a:pt x="f103" y="f396"/>
                </a:lnTo>
                <a:lnTo>
                  <a:pt x="f102" y="f396"/>
                </a:lnTo>
                <a:lnTo>
                  <a:pt x="f105" y="f395"/>
                </a:lnTo>
                <a:lnTo>
                  <a:pt x="f105" y="f394"/>
                </a:lnTo>
                <a:close/>
                <a:moveTo>
                  <a:pt x="f106" y="f393"/>
                </a:moveTo>
                <a:lnTo>
                  <a:pt x="f107" y="f393"/>
                </a:lnTo>
                <a:lnTo>
                  <a:pt x="f108" y="f394"/>
                </a:lnTo>
                <a:lnTo>
                  <a:pt x="f108" y="f395"/>
                </a:lnTo>
                <a:lnTo>
                  <a:pt x="f107" y="f396"/>
                </a:lnTo>
                <a:lnTo>
                  <a:pt x="f106" y="f396"/>
                </a:lnTo>
                <a:lnTo>
                  <a:pt x="f109" y="f395"/>
                </a:lnTo>
                <a:lnTo>
                  <a:pt x="f109" y="f394"/>
                </a:lnTo>
                <a:close/>
                <a:moveTo>
                  <a:pt x="f110" y="f393"/>
                </a:moveTo>
                <a:lnTo>
                  <a:pt x="f111" y="f393"/>
                </a:lnTo>
                <a:lnTo>
                  <a:pt x="f112" y="f394"/>
                </a:lnTo>
                <a:lnTo>
                  <a:pt x="f112" y="f395"/>
                </a:lnTo>
                <a:lnTo>
                  <a:pt x="f111" y="f396"/>
                </a:lnTo>
                <a:lnTo>
                  <a:pt x="f110" y="f396"/>
                </a:lnTo>
                <a:lnTo>
                  <a:pt x="f113" y="f395"/>
                </a:lnTo>
                <a:lnTo>
                  <a:pt x="f113" y="f394"/>
                </a:lnTo>
                <a:close/>
                <a:moveTo>
                  <a:pt x="f114" y="f393"/>
                </a:moveTo>
                <a:lnTo>
                  <a:pt x="f115" y="f393"/>
                </a:lnTo>
                <a:lnTo>
                  <a:pt x="f116" y="f394"/>
                </a:lnTo>
                <a:lnTo>
                  <a:pt x="f116" y="f395"/>
                </a:lnTo>
                <a:lnTo>
                  <a:pt x="f115" y="f396"/>
                </a:lnTo>
                <a:lnTo>
                  <a:pt x="f114" y="f396"/>
                </a:lnTo>
                <a:lnTo>
                  <a:pt x="f117" y="f395"/>
                </a:lnTo>
                <a:lnTo>
                  <a:pt x="f117" y="f394"/>
                </a:lnTo>
                <a:close/>
                <a:moveTo>
                  <a:pt x="f118" y="f393"/>
                </a:moveTo>
                <a:lnTo>
                  <a:pt x="f119" y="f393"/>
                </a:lnTo>
                <a:lnTo>
                  <a:pt x="f120" y="f394"/>
                </a:lnTo>
                <a:lnTo>
                  <a:pt x="f120" y="f395"/>
                </a:lnTo>
                <a:lnTo>
                  <a:pt x="f119" y="f396"/>
                </a:lnTo>
                <a:lnTo>
                  <a:pt x="f118" y="f396"/>
                </a:lnTo>
                <a:lnTo>
                  <a:pt x="f121" y="f395"/>
                </a:lnTo>
                <a:lnTo>
                  <a:pt x="f121" y="f394"/>
                </a:lnTo>
                <a:close/>
                <a:moveTo>
                  <a:pt x="f122" y="f393"/>
                </a:moveTo>
                <a:lnTo>
                  <a:pt x="f123" y="f393"/>
                </a:lnTo>
                <a:lnTo>
                  <a:pt x="f124" y="f394"/>
                </a:lnTo>
                <a:lnTo>
                  <a:pt x="f124" y="f395"/>
                </a:lnTo>
                <a:lnTo>
                  <a:pt x="f123" y="f396"/>
                </a:lnTo>
                <a:lnTo>
                  <a:pt x="f122" y="f396"/>
                </a:lnTo>
                <a:lnTo>
                  <a:pt x="f125" y="f395"/>
                </a:lnTo>
                <a:lnTo>
                  <a:pt x="f125" y="f394"/>
                </a:lnTo>
                <a:close/>
                <a:moveTo>
                  <a:pt x="f126" y="f393"/>
                </a:moveTo>
                <a:lnTo>
                  <a:pt x="f127" y="f393"/>
                </a:lnTo>
                <a:lnTo>
                  <a:pt x="f128" y="f394"/>
                </a:lnTo>
                <a:lnTo>
                  <a:pt x="f128" y="f395"/>
                </a:lnTo>
                <a:lnTo>
                  <a:pt x="f127" y="f396"/>
                </a:lnTo>
                <a:lnTo>
                  <a:pt x="f126" y="f396"/>
                </a:lnTo>
                <a:lnTo>
                  <a:pt x="f129" y="f395"/>
                </a:lnTo>
                <a:lnTo>
                  <a:pt x="f129" y="f394"/>
                </a:lnTo>
                <a:close/>
                <a:moveTo>
                  <a:pt x="f130" y="f393"/>
                </a:moveTo>
                <a:lnTo>
                  <a:pt x="f131" y="f393"/>
                </a:lnTo>
                <a:lnTo>
                  <a:pt x="f132" y="f394"/>
                </a:lnTo>
                <a:lnTo>
                  <a:pt x="f132" y="f395"/>
                </a:lnTo>
                <a:lnTo>
                  <a:pt x="f131" y="f396"/>
                </a:lnTo>
                <a:lnTo>
                  <a:pt x="f130" y="f396"/>
                </a:lnTo>
                <a:lnTo>
                  <a:pt x="f133" y="f395"/>
                </a:lnTo>
                <a:lnTo>
                  <a:pt x="f133" y="f394"/>
                </a:lnTo>
                <a:close/>
                <a:moveTo>
                  <a:pt x="f134" y="f393"/>
                </a:moveTo>
                <a:lnTo>
                  <a:pt x="f135" y="f393"/>
                </a:lnTo>
                <a:lnTo>
                  <a:pt x="f136" y="f394"/>
                </a:lnTo>
                <a:lnTo>
                  <a:pt x="f136" y="f395"/>
                </a:lnTo>
                <a:lnTo>
                  <a:pt x="f135" y="f396"/>
                </a:lnTo>
                <a:lnTo>
                  <a:pt x="f134" y="f396"/>
                </a:lnTo>
                <a:lnTo>
                  <a:pt x="f137" y="f395"/>
                </a:lnTo>
                <a:lnTo>
                  <a:pt x="f137" y="f394"/>
                </a:lnTo>
                <a:close/>
                <a:moveTo>
                  <a:pt x="f138" y="f393"/>
                </a:moveTo>
                <a:lnTo>
                  <a:pt x="f139" y="f393"/>
                </a:lnTo>
                <a:lnTo>
                  <a:pt x="f140" y="f394"/>
                </a:lnTo>
                <a:lnTo>
                  <a:pt x="f140" y="f395"/>
                </a:lnTo>
                <a:lnTo>
                  <a:pt x="f139" y="f396"/>
                </a:lnTo>
                <a:lnTo>
                  <a:pt x="f138" y="f396"/>
                </a:lnTo>
                <a:lnTo>
                  <a:pt x="f141" y="f395"/>
                </a:lnTo>
                <a:lnTo>
                  <a:pt x="f141" y="f394"/>
                </a:lnTo>
                <a:close/>
                <a:moveTo>
                  <a:pt x="f142" y="f393"/>
                </a:moveTo>
                <a:lnTo>
                  <a:pt x="f143" y="f393"/>
                </a:lnTo>
                <a:lnTo>
                  <a:pt x="f144" y="f394"/>
                </a:lnTo>
                <a:lnTo>
                  <a:pt x="f144" y="f395"/>
                </a:lnTo>
                <a:lnTo>
                  <a:pt x="f143" y="f396"/>
                </a:lnTo>
                <a:lnTo>
                  <a:pt x="f142" y="f396"/>
                </a:lnTo>
                <a:lnTo>
                  <a:pt x="f145" y="f395"/>
                </a:lnTo>
                <a:lnTo>
                  <a:pt x="f145" y="f394"/>
                </a:lnTo>
                <a:close/>
                <a:moveTo>
                  <a:pt x="f146" y="f393"/>
                </a:moveTo>
                <a:lnTo>
                  <a:pt x="f147" y="f393"/>
                </a:lnTo>
                <a:lnTo>
                  <a:pt x="f148" y="f394"/>
                </a:lnTo>
                <a:lnTo>
                  <a:pt x="f148" y="f395"/>
                </a:lnTo>
                <a:lnTo>
                  <a:pt x="f147" y="f396"/>
                </a:lnTo>
                <a:lnTo>
                  <a:pt x="f146" y="f396"/>
                </a:lnTo>
                <a:lnTo>
                  <a:pt x="f149" y="f395"/>
                </a:lnTo>
                <a:lnTo>
                  <a:pt x="f149" y="f394"/>
                </a:lnTo>
                <a:close/>
                <a:moveTo>
                  <a:pt x="f150" y="f393"/>
                </a:moveTo>
                <a:lnTo>
                  <a:pt x="f151" y="f393"/>
                </a:lnTo>
                <a:lnTo>
                  <a:pt x="f152" y="f394"/>
                </a:lnTo>
                <a:lnTo>
                  <a:pt x="f152" y="f395"/>
                </a:lnTo>
                <a:lnTo>
                  <a:pt x="f151" y="f396"/>
                </a:lnTo>
                <a:lnTo>
                  <a:pt x="f150" y="f396"/>
                </a:lnTo>
                <a:lnTo>
                  <a:pt x="f153" y="f395"/>
                </a:lnTo>
                <a:lnTo>
                  <a:pt x="f153" y="f394"/>
                </a:lnTo>
                <a:close/>
                <a:moveTo>
                  <a:pt x="f154" y="f393"/>
                </a:moveTo>
                <a:lnTo>
                  <a:pt x="f155" y="f393"/>
                </a:lnTo>
                <a:lnTo>
                  <a:pt x="f156" y="f394"/>
                </a:lnTo>
                <a:lnTo>
                  <a:pt x="f156" y="f395"/>
                </a:lnTo>
                <a:lnTo>
                  <a:pt x="f155" y="f396"/>
                </a:lnTo>
                <a:lnTo>
                  <a:pt x="f154" y="f396"/>
                </a:lnTo>
                <a:lnTo>
                  <a:pt x="f157" y="f395"/>
                </a:lnTo>
                <a:lnTo>
                  <a:pt x="f157" y="f394"/>
                </a:lnTo>
                <a:close/>
                <a:moveTo>
                  <a:pt x="f158" y="f393"/>
                </a:moveTo>
                <a:lnTo>
                  <a:pt x="f159" y="f393"/>
                </a:lnTo>
                <a:lnTo>
                  <a:pt x="f160" y="f394"/>
                </a:lnTo>
                <a:lnTo>
                  <a:pt x="f160" y="f395"/>
                </a:lnTo>
                <a:lnTo>
                  <a:pt x="f159" y="f396"/>
                </a:lnTo>
                <a:lnTo>
                  <a:pt x="f158" y="f396"/>
                </a:lnTo>
                <a:lnTo>
                  <a:pt x="f161" y="f395"/>
                </a:lnTo>
                <a:lnTo>
                  <a:pt x="f161" y="f394"/>
                </a:lnTo>
                <a:close/>
                <a:moveTo>
                  <a:pt x="f397" y="f393"/>
                </a:moveTo>
                <a:lnTo>
                  <a:pt x="f398" y="f393"/>
                </a:lnTo>
                <a:lnTo>
                  <a:pt x="f399" y="f394"/>
                </a:lnTo>
                <a:lnTo>
                  <a:pt x="f399" y="f395"/>
                </a:lnTo>
                <a:lnTo>
                  <a:pt x="f398" y="f396"/>
                </a:lnTo>
                <a:lnTo>
                  <a:pt x="f397" y="f396"/>
                </a:lnTo>
                <a:lnTo>
                  <a:pt x="f400" y="f395"/>
                </a:lnTo>
                <a:lnTo>
                  <a:pt x="f400" y="f394"/>
                </a:lnTo>
                <a:close/>
                <a:moveTo>
                  <a:pt x="f369" y="f393"/>
                </a:moveTo>
                <a:lnTo>
                  <a:pt x="f401" y="f393"/>
                </a:lnTo>
                <a:lnTo>
                  <a:pt x="f402" y="f394"/>
                </a:lnTo>
                <a:lnTo>
                  <a:pt x="f402" y="f395"/>
                </a:lnTo>
                <a:lnTo>
                  <a:pt x="f401" y="f396"/>
                </a:lnTo>
                <a:lnTo>
                  <a:pt x="f369" y="f396"/>
                </a:lnTo>
                <a:lnTo>
                  <a:pt x="f371" y="f395"/>
                </a:lnTo>
                <a:lnTo>
                  <a:pt x="f371" y="f394"/>
                </a:lnTo>
                <a:close/>
                <a:moveTo>
                  <a:pt x="f372" y="f393"/>
                </a:moveTo>
                <a:lnTo>
                  <a:pt x="f403" y="f393"/>
                </a:lnTo>
                <a:lnTo>
                  <a:pt x="f404" y="f394"/>
                </a:lnTo>
                <a:lnTo>
                  <a:pt x="f404" y="f395"/>
                </a:lnTo>
                <a:lnTo>
                  <a:pt x="f403" y="f396"/>
                </a:lnTo>
                <a:lnTo>
                  <a:pt x="f372" y="f396"/>
                </a:lnTo>
                <a:lnTo>
                  <a:pt x="f405" y="f395"/>
                </a:lnTo>
                <a:lnTo>
                  <a:pt x="f405" y="f394"/>
                </a:lnTo>
                <a:close/>
                <a:moveTo>
                  <a:pt x="f406" y="f393"/>
                </a:moveTo>
                <a:lnTo>
                  <a:pt x="f407" y="f393"/>
                </a:lnTo>
                <a:lnTo>
                  <a:pt x="f375" y="f394"/>
                </a:lnTo>
                <a:lnTo>
                  <a:pt x="f375" y="f395"/>
                </a:lnTo>
                <a:lnTo>
                  <a:pt x="f407" y="f396"/>
                </a:lnTo>
                <a:lnTo>
                  <a:pt x="f406" y="f396"/>
                </a:lnTo>
                <a:lnTo>
                  <a:pt x="f408" y="f395"/>
                </a:lnTo>
                <a:lnTo>
                  <a:pt x="f408" y="f394"/>
                </a:lnTo>
                <a:close/>
                <a:moveTo>
                  <a:pt x="f323" y="f409"/>
                </a:moveTo>
                <a:lnTo>
                  <a:pt x="f295" y="f409"/>
                </a:lnTo>
                <a:lnTo>
                  <a:pt x="f410" y="f411"/>
                </a:lnTo>
                <a:lnTo>
                  <a:pt x="f410" y="f412"/>
                </a:lnTo>
                <a:lnTo>
                  <a:pt x="f295" y="f413"/>
                </a:lnTo>
                <a:lnTo>
                  <a:pt x="f323" y="f413"/>
                </a:lnTo>
                <a:lnTo>
                  <a:pt x="f381" y="f412"/>
                </a:lnTo>
                <a:lnTo>
                  <a:pt x="f381" y="f411"/>
                </a:lnTo>
                <a:close/>
                <a:moveTo>
                  <a:pt x="f414" y="f409"/>
                </a:moveTo>
                <a:lnTo>
                  <a:pt x="f382" y="f409"/>
                </a:lnTo>
                <a:lnTo>
                  <a:pt x="f329" y="f411"/>
                </a:lnTo>
                <a:lnTo>
                  <a:pt x="f329" y="f412"/>
                </a:lnTo>
                <a:lnTo>
                  <a:pt x="f382" y="f413"/>
                </a:lnTo>
                <a:lnTo>
                  <a:pt x="f414" y="f413"/>
                </a:lnTo>
                <a:lnTo>
                  <a:pt x="f299" y="f412"/>
                </a:lnTo>
                <a:lnTo>
                  <a:pt x="f299" y="f411"/>
                </a:lnTo>
                <a:close/>
                <a:moveTo>
                  <a:pt x="f383" y="f409"/>
                </a:moveTo>
                <a:lnTo>
                  <a:pt x="f415" y="f409"/>
                </a:lnTo>
                <a:lnTo>
                  <a:pt x="f416" y="f411"/>
                </a:lnTo>
                <a:lnTo>
                  <a:pt x="f416" y="f412"/>
                </a:lnTo>
                <a:lnTo>
                  <a:pt x="f415" y="f413"/>
                </a:lnTo>
                <a:lnTo>
                  <a:pt x="f383" y="f413"/>
                </a:lnTo>
                <a:lnTo>
                  <a:pt x="f417" y="f412"/>
                </a:lnTo>
                <a:lnTo>
                  <a:pt x="f417" y="f411"/>
                </a:lnTo>
                <a:close/>
                <a:moveTo>
                  <a:pt x="f418" y="f409"/>
                </a:moveTo>
                <a:lnTo>
                  <a:pt x="f419" y="f409"/>
                </a:lnTo>
                <a:lnTo>
                  <a:pt x="f385" y="f411"/>
                </a:lnTo>
                <a:lnTo>
                  <a:pt x="f385" y="f412"/>
                </a:lnTo>
                <a:lnTo>
                  <a:pt x="f419" y="f413"/>
                </a:lnTo>
                <a:lnTo>
                  <a:pt x="f418" y="f413"/>
                </a:lnTo>
                <a:lnTo>
                  <a:pt x="f386" y="f412"/>
                </a:lnTo>
                <a:lnTo>
                  <a:pt x="f386" y="f411"/>
                </a:lnTo>
                <a:close/>
                <a:moveTo>
                  <a:pt x="f387" y="f409"/>
                </a:moveTo>
                <a:lnTo>
                  <a:pt x="f420" y="f409"/>
                </a:lnTo>
                <a:lnTo>
                  <a:pt x="f421" y="f411"/>
                </a:lnTo>
                <a:lnTo>
                  <a:pt x="f421" y="f412"/>
                </a:lnTo>
                <a:lnTo>
                  <a:pt x="f420" y="f413"/>
                </a:lnTo>
                <a:lnTo>
                  <a:pt x="f387" y="f413"/>
                </a:lnTo>
                <a:lnTo>
                  <a:pt x="f390" y="f412"/>
                </a:lnTo>
                <a:lnTo>
                  <a:pt x="f390" y="f411"/>
                </a:lnTo>
                <a:close/>
                <a:moveTo>
                  <a:pt x="f422" y="f409"/>
                </a:moveTo>
                <a:lnTo>
                  <a:pt x="f423" y="f409"/>
                </a:lnTo>
                <a:lnTo>
                  <a:pt x="f391" y="f411"/>
                </a:lnTo>
                <a:lnTo>
                  <a:pt x="f391" y="f412"/>
                </a:lnTo>
                <a:lnTo>
                  <a:pt x="f423" y="f413"/>
                </a:lnTo>
                <a:lnTo>
                  <a:pt x="f422" y="f413"/>
                </a:lnTo>
                <a:lnTo>
                  <a:pt x="f424" y="f412"/>
                </a:lnTo>
                <a:lnTo>
                  <a:pt x="f424" y="f411"/>
                </a:lnTo>
                <a:close/>
                <a:moveTo>
                  <a:pt x="f35" y="f425"/>
                </a:moveTo>
                <a:lnTo>
                  <a:pt x="f37" y="f425"/>
                </a:lnTo>
                <a:lnTo>
                  <a:pt x="f6" y="f426"/>
                </a:lnTo>
                <a:lnTo>
                  <a:pt x="f6" y="f427"/>
                </a:lnTo>
                <a:lnTo>
                  <a:pt x="f37" y="f428"/>
                </a:lnTo>
                <a:lnTo>
                  <a:pt x="f35" y="f428"/>
                </a:lnTo>
                <a:lnTo>
                  <a:pt x="f41" y="f427"/>
                </a:lnTo>
                <a:lnTo>
                  <a:pt x="f41" y="f426"/>
                </a:lnTo>
                <a:close/>
                <a:moveTo>
                  <a:pt x="f42" y="f425"/>
                </a:moveTo>
                <a:lnTo>
                  <a:pt x="f43" y="f425"/>
                </a:lnTo>
                <a:lnTo>
                  <a:pt x="f44" y="f426"/>
                </a:lnTo>
                <a:lnTo>
                  <a:pt x="f44" y="f427"/>
                </a:lnTo>
                <a:lnTo>
                  <a:pt x="f43" y="f428"/>
                </a:lnTo>
                <a:lnTo>
                  <a:pt x="f42" y="f428"/>
                </a:lnTo>
                <a:lnTo>
                  <a:pt x="f45" y="f427"/>
                </a:lnTo>
                <a:lnTo>
                  <a:pt x="f45" y="f426"/>
                </a:lnTo>
                <a:close/>
                <a:moveTo>
                  <a:pt x="f46" y="f425"/>
                </a:moveTo>
                <a:lnTo>
                  <a:pt x="f47" y="f425"/>
                </a:lnTo>
                <a:lnTo>
                  <a:pt x="f48" y="f426"/>
                </a:lnTo>
                <a:lnTo>
                  <a:pt x="f48" y="f427"/>
                </a:lnTo>
                <a:lnTo>
                  <a:pt x="f47" y="f428"/>
                </a:lnTo>
                <a:lnTo>
                  <a:pt x="f46" y="f428"/>
                </a:lnTo>
                <a:lnTo>
                  <a:pt x="f49" y="f427"/>
                </a:lnTo>
                <a:lnTo>
                  <a:pt x="f49" y="f426"/>
                </a:lnTo>
                <a:close/>
                <a:moveTo>
                  <a:pt x="f50" y="f425"/>
                </a:moveTo>
                <a:lnTo>
                  <a:pt x="f51" y="f425"/>
                </a:lnTo>
                <a:lnTo>
                  <a:pt x="f52" y="f426"/>
                </a:lnTo>
                <a:lnTo>
                  <a:pt x="f52" y="f427"/>
                </a:lnTo>
                <a:lnTo>
                  <a:pt x="f51" y="f428"/>
                </a:lnTo>
                <a:lnTo>
                  <a:pt x="f50" y="f428"/>
                </a:lnTo>
                <a:lnTo>
                  <a:pt x="f53" y="f427"/>
                </a:lnTo>
                <a:lnTo>
                  <a:pt x="f53" y="f426"/>
                </a:lnTo>
                <a:close/>
                <a:moveTo>
                  <a:pt x="f54" y="f425"/>
                </a:moveTo>
                <a:lnTo>
                  <a:pt x="f55" y="f425"/>
                </a:lnTo>
                <a:lnTo>
                  <a:pt x="f56" y="f426"/>
                </a:lnTo>
                <a:lnTo>
                  <a:pt x="f56" y="f427"/>
                </a:lnTo>
                <a:lnTo>
                  <a:pt x="f55" y="f428"/>
                </a:lnTo>
                <a:lnTo>
                  <a:pt x="f54" y="f428"/>
                </a:lnTo>
                <a:lnTo>
                  <a:pt x="f57" y="f427"/>
                </a:lnTo>
                <a:lnTo>
                  <a:pt x="f57" y="f426"/>
                </a:lnTo>
                <a:close/>
                <a:moveTo>
                  <a:pt x="f58" y="f425"/>
                </a:moveTo>
                <a:lnTo>
                  <a:pt x="f59" y="f425"/>
                </a:lnTo>
                <a:lnTo>
                  <a:pt x="f60" y="f426"/>
                </a:lnTo>
                <a:lnTo>
                  <a:pt x="f60" y="f427"/>
                </a:lnTo>
                <a:lnTo>
                  <a:pt x="f59" y="f428"/>
                </a:lnTo>
                <a:lnTo>
                  <a:pt x="f58" y="f428"/>
                </a:lnTo>
                <a:lnTo>
                  <a:pt x="f61" y="f427"/>
                </a:lnTo>
                <a:lnTo>
                  <a:pt x="f61" y="f426"/>
                </a:lnTo>
                <a:close/>
                <a:moveTo>
                  <a:pt x="f62" y="f425"/>
                </a:moveTo>
                <a:lnTo>
                  <a:pt x="f63" y="f425"/>
                </a:lnTo>
                <a:lnTo>
                  <a:pt x="f64" y="f426"/>
                </a:lnTo>
                <a:lnTo>
                  <a:pt x="f64" y="f427"/>
                </a:lnTo>
                <a:lnTo>
                  <a:pt x="f63" y="f428"/>
                </a:lnTo>
                <a:lnTo>
                  <a:pt x="f62" y="f428"/>
                </a:lnTo>
                <a:lnTo>
                  <a:pt x="f65" y="f427"/>
                </a:lnTo>
                <a:lnTo>
                  <a:pt x="f65" y="f426"/>
                </a:lnTo>
                <a:close/>
                <a:moveTo>
                  <a:pt x="f66" y="f425"/>
                </a:moveTo>
                <a:lnTo>
                  <a:pt x="f67" y="f425"/>
                </a:lnTo>
                <a:lnTo>
                  <a:pt x="f68" y="f426"/>
                </a:lnTo>
                <a:lnTo>
                  <a:pt x="f68" y="f427"/>
                </a:lnTo>
                <a:lnTo>
                  <a:pt x="f67" y="f428"/>
                </a:lnTo>
                <a:lnTo>
                  <a:pt x="f66" y="f428"/>
                </a:lnTo>
                <a:lnTo>
                  <a:pt x="f69" y="f427"/>
                </a:lnTo>
                <a:lnTo>
                  <a:pt x="f69" y="f426"/>
                </a:lnTo>
                <a:close/>
                <a:moveTo>
                  <a:pt x="f70" y="f425"/>
                </a:moveTo>
                <a:lnTo>
                  <a:pt x="f71" y="f425"/>
                </a:lnTo>
                <a:lnTo>
                  <a:pt x="f72" y="f426"/>
                </a:lnTo>
                <a:lnTo>
                  <a:pt x="f72" y="f427"/>
                </a:lnTo>
                <a:lnTo>
                  <a:pt x="f71" y="f428"/>
                </a:lnTo>
                <a:lnTo>
                  <a:pt x="f70" y="f428"/>
                </a:lnTo>
                <a:lnTo>
                  <a:pt x="f73" y="f427"/>
                </a:lnTo>
                <a:lnTo>
                  <a:pt x="f73" y="f426"/>
                </a:lnTo>
                <a:close/>
                <a:moveTo>
                  <a:pt x="f74" y="f425"/>
                </a:moveTo>
                <a:lnTo>
                  <a:pt x="f75" y="f425"/>
                </a:lnTo>
                <a:lnTo>
                  <a:pt x="f76" y="f426"/>
                </a:lnTo>
                <a:lnTo>
                  <a:pt x="f76" y="f427"/>
                </a:lnTo>
                <a:lnTo>
                  <a:pt x="f75" y="f428"/>
                </a:lnTo>
                <a:lnTo>
                  <a:pt x="f74" y="f428"/>
                </a:lnTo>
                <a:lnTo>
                  <a:pt x="f77" y="f427"/>
                </a:lnTo>
                <a:lnTo>
                  <a:pt x="f77" y="f426"/>
                </a:lnTo>
                <a:close/>
                <a:moveTo>
                  <a:pt x="f78" y="f425"/>
                </a:moveTo>
                <a:lnTo>
                  <a:pt x="f79" y="f425"/>
                </a:lnTo>
                <a:lnTo>
                  <a:pt x="f80" y="f426"/>
                </a:lnTo>
                <a:lnTo>
                  <a:pt x="f80" y="f427"/>
                </a:lnTo>
                <a:lnTo>
                  <a:pt x="f79" y="f428"/>
                </a:lnTo>
                <a:lnTo>
                  <a:pt x="f78" y="f428"/>
                </a:lnTo>
                <a:lnTo>
                  <a:pt x="f81" y="f427"/>
                </a:lnTo>
                <a:lnTo>
                  <a:pt x="f81" y="f426"/>
                </a:lnTo>
                <a:close/>
                <a:moveTo>
                  <a:pt x="f82" y="f425"/>
                </a:moveTo>
                <a:lnTo>
                  <a:pt x="f83" y="f425"/>
                </a:lnTo>
                <a:lnTo>
                  <a:pt x="f84" y="f426"/>
                </a:lnTo>
                <a:lnTo>
                  <a:pt x="f84" y="f427"/>
                </a:lnTo>
                <a:lnTo>
                  <a:pt x="f83" y="f428"/>
                </a:lnTo>
                <a:lnTo>
                  <a:pt x="f82" y="f428"/>
                </a:lnTo>
                <a:lnTo>
                  <a:pt x="f85" y="f427"/>
                </a:lnTo>
                <a:lnTo>
                  <a:pt x="f85" y="f426"/>
                </a:lnTo>
                <a:close/>
                <a:moveTo>
                  <a:pt x="f86" y="f425"/>
                </a:moveTo>
                <a:lnTo>
                  <a:pt x="f87" y="f425"/>
                </a:lnTo>
                <a:lnTo>
                  <a:pt x="f88" y="f426"/>
                </a:lnTo>
                <a:lnTo>
                  <a:pt x="f88" y="f427"/>
                </a:lnTo>
                <a:lnTo>
                  <a:pt x="f87" y="f428"/>
                </a:lnTo>
                <a:lnTo>
                  <a:pt x="f86" y="f428"/>
                </a:lnTo>
                <a:lnTo>
                  <a:pt x="f89" y="f427"/>
                </a:lnTo>
                <a:lnTo>
                  <a:pt x="f89" y="f426"/>
                </a:lnTo>
                <a:close/>
                <a:moveTo>
                  <a:pt x="f90" y="f425"/>
                </a:moveTo>
                <a:lnTo>
                  <a:pt x="f91" y="f425"/>
                </a:lnTo>
                <a:lnTo>
                  <a:pt x="f92" y="f426"/>
                </a:lnTo>
                <a:lnTo>
                  <a:pt x="f92" y="f427"/>
                </a:lnTo>
                <a:lnTo>
                  <a:pt x="f91" y="f428"/>
                </a:lnTo>
                <a:lnTo>
                  <a:pt x="f90" y="f428"/>
                </a:lnTo>
                <a:lnTo>
                  <a:pt x="f93" y="f427"/>
                </a:lnTo>
                <a:lnTo>
                  <a:pt x="f93" y="f426"/>
                </a:lnTo>
                <a:close/>
                <a:moveTo>
                  <a:pt x="f94" y="f425"/>
                </a:moveTo>
                <a:lnTo>
                  <a:pt x="f95" y="f425"/>
                </a:lnTo>
                <a:lnTo>
                  <a:pt x="f96" y="f426"/>
                </a:lnTo>
                <a:lnTo>
                  <a:pt x="f96" y="f427"/>
                </a:lnTo>
                <a:lnTo>
                  <a:pt x="f95" y="f428"/>
                </a:lnTo>
                <a:lnTo>
                  <a:pt x="f94" y="f428"/>
                </a:lnTo>
                <a:lnTo>
                  <a:pt x="f97" y="f427"/>
                </a:lnTo>
                <a:lnTo>
                  <a:pt x="f97" y="f426"/>
                </a:lnTo>
                <a:close/>
                <a:moveTo>
                  <a:pt x="f98" y="f425"/>
                </a:moveTo>
                <a:lnTo>
                  <a:pt x="f99" y="f425"/>
                </a:lnTo>
                <a:lnTo>
                  <a:pt x="f100" y="f426"/>
                </a:lnTo>
                <a:lnTo>
                  <a:pt x="f100" y="f427"/>
                </a:lnTo>
                <a:lnTo>
                  <a:pt x="f99" y="f428"/>
                </a:lnTo>
                <a:lnTo>
                  <a:pt x="f98" y="f428"/>
                </a:lnTo>
                <a:lnTo>
                  <a:pt x="f101" y="f427"/>
                </a:lnTo>
                <a:lnTo>
                  <a:pt x="f101" y="f426"/>
                </a:lnTo>
                <a:close/>
                <a:moveTo>
                  <a:pt x="f102" y="f425"/>
                </a:moveTo>
                <a:lnTo>
                  <a:pt x="f103" y="f425"/>
                </a:lnTo>
                <a:lnTo>
                  <a:pt x="f104" y="f426"/>
                </a:lnTo>
                <a:lnTo>
                  <a:pt x="f104" y="f427"/>
                </a:lnTo>
                <a:lnTo>
                  <a:pt x="f103" y="f428"/>
                </a:lnTo>
                <a:lnTo>
                  <a:pt x="f102" y="f428"/>
                </a:lnTo>
                <a:lnTo>
                  <a:pt x="f105" y="f427"/>
                </a:lnTo>
                <a:lnTo>
                  <a:pt x="f105" y="f426"/>
                </a:lnTo>
                <a:close/>
                <a:moveTo>
                  <a:pt x="f106" y="f425"/>
                </a:moveTo>
                <a:lnTo>
                  <a:pt x="f107" y="f425"/>
                </a:lnTo>
                <a:lnTo>
                  <a:pt x="f108" y="f426"/>
                </a:lnTo>
                <a:lnTo>
                  <a:pt x="f108" y="f427"/>
                </a:lnTo>
                <a:lnTo>
                  <a:pt x="f107" y="f428"/>
                </a:lnTo>
                <a:lnTo>
                  <a:pt x="f106" y="f428"/>
                </a:lnTo>
                <a:lnTo>
                  <a:pt x="f109" y="f427"/>
                </a:lnTo>
                <a:lnTo>
                  <a:pt x="f109" y="f426"/>
                </a:lnTo>
                <a:close/>
                <a:moveTo>
                  <a:pt x="f110" y="f425"/>
                </a:moveTo>
                <a:lnTo>
                  <a:pt x="f111" y="f425"/>
                </a:lnTo>
                <a:lnTo>
                  <a:pt x="f112" y="f426"/>
                </a:lnTo>
                <a:lnTo>
                  <a:pt x="f112" y="f427"/>
                </a:lnTo>
                <a:lnTo>
                  <a:pt x="f111" y="f428"/>
                </a:lnTo>
                <a:lnTo>
                  <a:pt x="f110" y="f428"/>
                </a:lnTo>
                <a:lnTo>
                  <a:pt x="f113" y="f427"/>
                </a:lnTo>
                <a:lnTo>
                  <a:pt x="f113" y="f426"/>
                </a:lnTo>
                <a:close/>
                <a:moveTo>
                  <a:pt x="f114" y="f425"/>
                </a:moveTo>
                <a:lnTo>
                  <a:pt x="f115" y="f425"/>
                </a:lnTo>
                <a:lnTo>
                  <a:pt x="f116" y="f426"/>
                </a:lnTo>
                <a:lnTo>
                  <a:pt x="f116" y="f427"/>
                </a:lnTo>
                <a:lnTo>
                  <a:pt x="f115" y="f428"/>
                </a:lnTo>
                <a:lnTo>
                  <a:pt x="f114" y="f428"/>
                </a:lnTo>
                <a:lnTo>
                  <a:pt x="f117" y="f427"/>
                </a:lnTo>
                <a:lnTo>
                  <a:pt x="f117" y="f426"/>
                </a:lnTo>
                <a:close/>
                <a:moveTo>
                  <a:pt x="f118" y="f425"/>
                </a:moveTo>
                <a:lnTo>
                  <a:pt x="f119" y="f425"/>
                </a:lnTo>
                <a:lnTo>
                  <a:pt x="f120" y="f426"/>
                </a:lnTo>
                <a:lnTo>
                  <a:pt x="f120" y="f427"/>
                </a:lnTo>
                <a:lnTo>
                  <a:pt x="f119" y="f428"/>
                </a:lnTo>
                <a:lnTo>
                  <a:pt x="f118" y="f428"/>
                </a:lnTo>
                <a:lnTo>
                  <a:pt x="f121" y="f427"/>
                </a:lnTo>
                <a:lnTo>
                  <a:pt x="f121" y="f426"/>
                </a:lnTo>
                <a:close/>
                <a:moveTo>
                  <a:pt x="f122" y="f425"/>
                </a:moveTo>
                <a:lnTo>
                  <a:pt x="f123" y="f425"/>
                </a:lnTo>
                <a:lnTo>
                  <a:pt x="f124" y="f426"/>
                </a:lnTo>
                <a:lnTo>
                  <a:pt x="f124" y="f427"/>
                </a:lnTo>
                <a:lnTo>
                  <a:pt x="f123" y="f428"/>
                </a:lnTo>
                <a:lnTo>
                  <a:pt x="f122" y="f428"/>
                </a:lnTo>
                <a:lnTo>
                  <a:pt x="f125" y="f427"/>
                </a:lnTo>
                <a:lnTo>
                  <a:pt x="f125" y="f426"/>
                </a:lnTo>
                <a:close/>
                <a:moveTo>
                  <a:pt x="f126" y="f425"/>
                </a:moveTo>
                <a:lnTo>
                  <a:pt x="f127" y="f425"/>
                </a:lnTo>
                <a:lnTo>
                  <a:pt x="f128" y="f426"/>
                </a:lnTo>
                <a:lnTo>
                  <a:pt x="f128" y="f427"/>
                </a:lnTo>
                <a:lnTo>
                  <a:pt x="f127" y="f428"/>
                </a:lnTo>
                <a:lnTo>
                  <a:pt x="f126" y="f428"/>
                </a:lnTo>
                <a:lnTo>
                  <a:pt x="f129" y="f427"/>
                </a:lnTo>
                <a:lnTo>
                  <a:pt x="f129" y="f426"/>
                </a:lnTo>
                <a:close/>
                <a:moveTo>
                  <a:pt x="f130" y="f425"/>
                </a:moveTo>
                <a:lnTo>
                  <a:pt x="f131" y="f425"/>
                </a:lnTo>
                <a:lnTo>
                  <a:pt x="f132" y="f426"/>
                </a:lnTo>
                <a:lnTo>
                  <a:pt x="f132" y="f427"/>
                </a:lnTo>
                <a:lnTo>
                  <a:pt x="f131" y="f428"/>
                </a:lnTo>
                <a:lnTo>
                  <a:pt x="f130" y="f428"/>
                </a:lnTo>
                <a:lnTo>
                  <a:pt x="f133" y="f427"/>
                </a:lnTo>
                <a:lnTo>
                  <a:pt x="f133" y="f426"/>
                </a:lnTo>
                <a:close/>
                <a:moveTo>
                  <a:pt x="f134" y="f425"/>
                </a:moveTo>
                <a:lnTo>
                  <a:pt x="f135" y="f425"/>
                </a:lnTo>
                <a:lnTo>
                  <a:pt x="f136" y="f426"/>
                </a:lnTo>
                <a:lnTo>
                  <a:pt x="f136" y="f427"/>
                </a:lnTo>
                <a:lnTo>
                  <a:pt x="f135" y="f428"/>
                </a:lnTo>
                <a:lnTo>
                  <a:pt x="f134" y="f428"/>
                </a:lnTo>
                <a:lnTo>
                  <a:pt x="f137" y="f427"/>
                </a:lnTo>
                <a:lnTo>
                  <a:pt x="f137" y="f426"/>
                </a:lnTo>
                <a:close/>
                <a:moveTo>
                  <a:pt x="f138" y="f425"/>
                </a:moveTo>
                <a:lnTo>
                  <a:pt x="f139" y="f425"/>
                </a:lnTo>
                <a:lnTo>
                  <a:pt x="f140" y="f426"/>
                </a:lnTo>
                <a:lnTo>
                  <a:pt x="f140" y="f427"/>
                </a:lnTo>
                <a:lnTo>
                  <a:pt x="f139" y="f428"/>
                </a:lnTo>
                <a:lnTo>
                  <a:pt x="f138" y="f428"/>
                </a:lnTo>
                <a:lnTo>
                  <a:pt x="f141" y="f427"/>
                </a:lnTo>
                <a:lnTo>
                  <a:pt x="f141" y="f426"/>
                </a:lnTo>
                <a:close/>
                <a:moveTo>
                  <a:pt x="f142" y="f425"/>
                </a:moveTo>
                <a:lnTo>
                  <a:pt x="f143" y="f425"/>
                </a:lnTo>
                <a:lnTo>
                  <a:pt x="f144" y="f426"/>
                </a:lnTo>
                <a:lnTo>
                  <a:pt x="f144" y="f427"/>
                </a:lnTo>
                <a:lnTo>
                  <a:pt x="f143" y="f428"/>
                </a:lnTo>
                <a:lnTo>
                  <a:pt x="f142" y="f428"/>
                </a:lnTo>
                <a:lnTo>
                  <a:pt x="f145" y="f427"/>
                </a:lnTo>
                <a:lnTo>
                  <a:pt x="f145" y="f426"/>
                </a:lnTo>
                <a:close/>
                <a:moveTo>
                  <a:pt x="f146" y="f425"/>
                </a:moveTo>
                <a:lnTo>
                  <a:pt x="f147" y="f425"/>
                </a:lnTo>
                <a:lnTo>
                  <a:pt x="f148" y="f426"/>
                </a:lnTo>
                <a:lnTo>
                  <a:pt x="f148" y="f427"/>
                </a:lnTo>
                <a:lnTo>
                  <a:pt x="f147" y="f428"/>
                </a:lnTo>
                <a:lnTo>
                  <a:pt x="f146" y="f428"/>
                </a:lnTo>
                <a:lnTo>
                  <a:pt x="f149" y="f427"/>
                </a:lnTo>
                <a:lnTo>
                  <a:pt x="f149" y="f426"/>
                </a:lnTo>
                <a:close/>
                <a:moveTo>
                  <a:pt x="f150" y="f425"/>
                </a:moveTo>
                <a:lnTo>
                  <a:pt x="f151" y="f425"/>
                </a:lnTo>
                <a:lnTo>
                  <a:pt x="f152" y="f426"/>
                </a:lnTo>
                <a:lnTo>
                  <a:pt x="f152" y="f427"/>
                </a:lnTo>
                <a:lnTo>
                  <a:pt x="f151" y="f428"/>
                </a:lnTo>
                <a:lnTo>
                  <a:pt x="f150" y="f428"/>
                </a:lnTo>
                <a:lnTo>
                  <a:pt x="f153" y="f427"/>
                </a:lnTo>
                <a:lnTo>
                  <a:pt x="f153" y="f426"/>
                </a:lnTo>
                <a:close/>
                <a:moveTo>
                  <a:pt x="f154" y="f425"/>
                </a:moveTo>
                <a:lnTo>
                  <a:pt x="f155" y="f425"/>
                </a:lnTo>
                <a:lnTo>
                  <a:pt x="f156" y="f426"/>
                </a:lnTo>
                <a:lnTo>
                  <a:pt x="f156" y="f427"/>
                </a:lnTo>
                <a:lnTo>
                  <a:pt x="f155" y="f428"/>
                </a:lnTo>
                <a:lnTo>
                  <a:pt x="f154" y="f428"/>
                </a:lnTo>
                <a:lnTo>
                  <a:pt x="f157" y="f427"/>
                </a:lnTo>
                <a:lnTo>
                  <a:pt x="f157" y="f426"/>
                </a:lnTo>
                <a:close/>
                <a:moveTo>
                  <a:pt x="f158" y="f425"/>
                </a:moveTo>
                <a:lnTo>
                  <a:pt x="f159" y="f425"/>
                </a:lnTo>
                <a:lnTo>
                  <a:pt x="f160" y="f426"/>
                </a:lnTo>
                <a:lnTo>
                  <a:pt x="f160" y="f427"/>
                </a:lnTo>
                <a:lnTo>
                  <a:pt x="f159" y="f428"/>
                </a:lnTo>
                <a:lnTo>
                  <a:pt x="f158" y="f428"/>
                </a:lnTo>
                <a:lnTo>
                  <a:pt x="f161" y="f427"/>
                </a:lnTo>
                <a:lnTo>
                  <a:pt x="f161" y="f426"/>
                </a:lnTo>
                <a:close/>
                <a:moveTo>
                  <a:pt x="f429" y="f425"/>
                </a:moveTo>
                <a:lnTo>
                  <a:pt x="f398" y="f425"/>
                </a:lnTo>
                <a:lnTo>
                  <a:pt x="f399" y="f426"/>
                </a:lnTo>
                <a:lnTo>
                  <a:pt x="f399" y="f427"/>
                </a:lnTo>
                <a:lnTo>
                  <a:pt x="f398" y="f428"/>
                </a:lnTo>
                <a:lnTo>
                  <a:pt x="f429" y="f428"/>
                </a:lnTo>
                <a:lnTo>
                  <a:pt x="f400" y="f427"/>
                </a:lnTo>
                <a:lnTo>
                  <a:pt x="f400" y="f426"/>
                </a:lnTo>
                <a:close/>
                <a:moveTo>
                  <a:pt x="f430" y="f425"/>
                </a:moveTo>
                <a:lnTo>
                  <a:pt x="f401" y="f425"/>
                </a:lnTo>
                <a:lnTo>
                  <a:pt x="f402" y="f426"/>
                </a:lnTo>
                <a:lnTo>
                  <a:pt x="f402" y="f427"/>
                </a:lnTo>
                <a:lnTo>
                  <a:pt x="f401" y="f428"/>
                </a:lnTo>
                <a:lnTo>
                  <a:pt x="f430" y="f428"/>
                </a:lnTo>
                <a:lnTo>
                  <a:pt x="f431" y="f427"/>
                </a:lnTo>
                <a:lnTo>
                  <a:pt x="f431" y="f426"/>
                </a:lnTo>
                <a:close/>
                <a:moveTo>
                  <a:pt x="f432" y="f425"/>
                </a:moveTo>
                <a:lnTo>
                  <a:pt x="f433" y="f425"/>
                </a:lnTo>
                <a:lnTo>
                  <a:pt x="f434" y="f426"/>
                </a:lnTo>
                <a:lnTo>
                  <a:pt x="f434" y="f427"/>
                </a:lnTo>
                <a:lnTo>
                  <a:pt x="f433" y="f428"/>
                </a:lnTo>
                <a:lnTo>
                  <a:pt x="f432" y="f428"/>
                </a:lnTo>
                <a:lnTo>
                  <a:pt x="f435" y="f427"/>
                </a:lnTo>
                <a:lnTo>
                  <a:pt x="f435" y="f426"/>
                </a:lnTo>
                <a:close/>
                <a:moveTo>
                  <a:pt x="f406" y="f425"/>
                </a:moveTo>
                <a:lnTo>
                  <a:pt x="f436" y="f425"/>
                </a:lnTo>
                <a:lnTo>
                  <a:pt x="f437" y="f426"/>
                </a:lnTo>
                <a:lnTo>
                  <a:pt x="f437" y="f427"/>
                </a:lnTo>
                <a:lnTo>
                  <a:pt x="f436" y="f428"/>
                </a:lnTo>
                <a:lnTo>
                  <a:pt x="f406" y="f428"/>
                </a:lnTo>
                <a:lnTo>
                  <a:pt x="f438" y="f427"/>
                </a:lnTo>
                <a:lnTo>
                  <a:pt x="f438" y="f426"/>
                </a:lnTo>
                <a:close/>
                <a:moveTo>
                  <a:pt x="f35" y="f439"/>
                </a:moveTo>
                <a:lnTo>
                  <a:pt x="f37" y="f439"/>
                </a:lnTo>
                <a:lnTo>
                  <a:pt x="f6" y="f440"/>
                </a:lnTo>
                <a:lnTo>
                  <a:pt x="f6" y="f441"/>
                </a:lnTo>
                <a:lnTo>
                  <a:pt x="f37" y="f442"/>
                </a:lnTo>
                <a:lnTo>
                  <a:pt x="f35" y="f442"/>
                </a:lnTo>
                <a:lnTo>
                  <a:pt x="f41" y="f441"/>
                </a:lnTo>
                <a:lnTo>
                  <a:pt x="f41" y="f440"/>
                </a:lnTo>
                <a:close/>
                <a:moveTo>
                  <a:pt x="f42" y="f439"/>
                </a:moveTo>
                <a:lnTo>
                  <a:pt x="f43" y="f439"/>
                </a:lnTo>
                <a:lnTo>
                  <a:pt x="f44" y="f440"/>
                </a:lnTo>
                <a:lnTo>
                  <a:pt x="f44" y="f441"/>
                </a:lnTo>
                <a:lnTo>
                  <a:pt x="f43" y="f442"/>
                </a:lnTo>
                <a:lnTo>
                  <a:pt x="f42" y="f442"/>
                </a:lnTo>
                <a:lnTo>
                  <a:pt x="f45" y="f441"/>
                </a:lnTo>
                <a:lnTo>
                  <a:pt x="f45" y="f440"/>
                </a:lnTo>
                <a:close/>
                <a:moveTo>
                  <a:pt x="f46" y="f439"/>
                </a:moveTo>
                <a:lnTo>
                  <a:pt x="f47" y="f439"/>
                </a:lnTo>
                <a:lnTo>
                  <a:pt x="f48" y="f440"/>
                </a:lnTo>
                <a:lnTo>
                  <a:pt x="f48" y="f441"/>
                </a:lnTo>
                <a:lnTo>
                  <a:pt x="f47" y="f442"/>
                </a:lnTo>
                <a:lnTo>
                  <a:pt x="f46" y="f442"/>
                </a:lnTo>
                <a:lnTo>
                  <a:pt x="f49" y="f441"/>
                </a:lnTo>
                <a:lnTo>
                  <a:pt x="f49" y="f440"/>
                </a:lnTo>
                <a:close/>
                <a:moveTo>
                  <a:pt x="f50" y="f439"/>
                </a:moveTo>
                <a:lnTo>
                  <a:pt x="f51" y="f439"/>
                </a:lnTo>
                <a:lnTo>
                  <a:pt x="f52" y="f440"/>
                </a:lnTo>
                <a:lnTo>
                  <a:pt x="f52" y="f441"/>
                </a:lnTo>
                <a:lnTo>
                  <a:pt x="f51" y="f442"/>
                </a:lnTo>
                <a:lnTo>
                  <a:pt x="f50" y="f442"/>
                </a:lnTo>
                <a:lnTo>
                  <a:pt x="f53" y="f441"/>
                </a:lnTo>
                <a:lnTo>
                  <a:pt x="f53" y="f440"/>
                </a:lnTo>
                <a:close/>
                <a:moveTo>
                  <a:pt x="f54" y="f439"/>
                </a:moveTo>
                <a:lnTo>
                  <a:pt x="f55" y="f439"/>
                </a:lnTo>
                <a:lnTo>
                  <a:pt x="f56" y="f440"/>
                </a:lnTo>
                <a:lnTo>
                  <a:pt x="f56" y="f441"/>
                </a:lnTo>
                <a:lnTo>
                  <a:pt x="f55" y="f442"/>
                </a:lnTo>
                <a:lnTo>
                  <a:pt x="f54" y="f442"/>
                </a:lnTo>
                <a:lnTo>
                  <a:pt x="f57" y="f441"/>
                </a:lnTo>
                <a:lnTo>
                  <a:pt x="f57" y="f440"/>
                </a:lnTo>
                <a:close/>
                <a:moveTo>
                  <a:pt x="f58" y="f439"/>
                </a:moveTo>
                <a:lnTo>
                  <a:pt x="f59" y="f439"/>
                </a:lnTo>
                <a:lnTo>
                  <a:pt x="f60" y="f440"/>
                </a:lnTo>
                <a:lnTo>
                  <a:pt x="f60" y="f441"/>
                </a:lnTo>
                <a:lnTo>
                  <a:pt x="f59" y="f442"/>
                </a:lnTo>
                <a:lnTo>
                  <a:pt x="f58" y="f442"/>
                </a:lnTo>
                <a:lnTo>
                  <a:pt x="f61" y="f441"/>
                </a:lnTo>
                <a:lnTo>
                  <a:pt x="f61" y="f440"/>
                </a:lnTo>
                <a:close/>
                <a:moveTo>
                  <a:pt x="f62" y="f439"/>
                </a:moveTo>
                <a:lnTo>
                  <a:pt x="f63" y="f439"/>
                </a:lnTo>
                <a:lnTo>
                  <a:pt x="f64" y="f440"/>
                </a:lnTo>
                <a:lnTo>
                  <a:pt x="f64" y="f441"/>
                </a:lnTo>
                <a:lnTo>
                  <a:pt x="f63" y="f442"/>
                </a:lnTo>
                <a:lnTo>
                  <a:pt x="f62" y="f442"/>
                </a:lnTo>
                <a:lnTo>
                  <a:pt x="f65" y="f441"/>
                </a:lnTo>
                <a:lnTo>
                  <a:pt x="f65" y="f440"/>
                </a:lnTo>
                <a:close/>
                <a:moveTo>
                  <a:pt x="f66" y="f439"/>
                </a:moveTo>
                <a:lnTo>
                  <a:pt x="f67" y="f439"/>
                </a:lnTo>
                <a:lnTo>
                  <a:pt x="f68" y="f440"/>
                </a:lnTo>
                <a:lnTo>
                  <a:pt x="f68" y="f441"/>
                </a:lnTo>
                <a:lnTo>
                  <a:pt x="f67" y="f442"/>
                </a:lnTo>
                <a:lnTo>
                  <a:pt x="f66" y="f442"/>
                </a:lnTo>
                <a:lnTo>
                  <a:pt x="f69" y="f441"/>
                </a:lnTo>
                <a:lnTo>
                  <a:pt x="f69" y="f440"/>
                </a:lnTo>
                <a:close/>
                <a:moveTo>
                  <a:pt x="f70" y="f439"/>
                </a:moveTo>
                <a:lnTo>
                  <a:pt x="f71" y="f439"/>
                </a:lnTo>
                <a:lnTo>
                  <a:pt x="f72" y="f440"/>
                </a:lnTo>
                <a:lnTo>
                  <a:pt x="f72" y="f441"/>
                </a:lnTo>
                <a:lnTo>
                  <a:pt x="f71" y="f442"/>
                </a:lnTo>
                <a:lnTo>
                  <a:pt x="f70" y="f442"/>
                </a:lnTo>
                <a:lnTo>
                  <a:pt x="f73" y="f441"/>
                </a:lnTo>
                <a:lnTo>
                  <a:pt x="f73" y="f440"/>
                </a:lnTo>
                <a:close/>
                <a:moveTo>
                  <a:pt x="f74" y="f439"/>
                </a:moveTo>
                <a:lnTo>
                  <a:pt x="f75" y="f439"/>
                </a:lnTo>
                <a:lnTo>
                  <a:pt x="f76" y="f440"/>
                </a:lnTo>
                <a:lnTo>
                  <a:pt x="f76" y="f441"/>
                </a:lnTo>
                <a:lnTo>
                  <a:pt x="f75" y="f442"/>
                </a:lnTo>
                <a:lnTo>
                  <a:pt x="f74" y="f442"/>
                </a:lnTo>
                <a:lnTo>
                  <a:pt x="f77" y="f441"/>
                </a:lnTo>
                <a:lnTo>
                  <a:pt x="f77" y="f440"/>
                </a:lnTo>
                <a:close/>
                <a:moveTo>
                  <a:pt x="f78" y="f439"/>
                </a:moveTo>
                <a:lnTo>
                  <a:pt x="f79" y="f439"/>
                </a:lnTo>
                <a:lnTo>
                  <a:pt x="f80" y="f440"/>
                </a:lnTo>
                <a:lnTo>
                  <a:pt x="f80" y="f441"/>
                </a:lnTo>
                <a:lnTo>
                  <a:pt x="f79" y="f442"/>
                </a:lnTo>
                <a:lnTo>
                  <a:pt x="f78" y="f442"/>
                </a:lnTo>
                <a:lnTo>
                  <a:pt x="f81" y="f441"/>
                </a:lnTo>
                <a:lnTo>
                  <a:pt x="f81" y="f440"/>
                </a:lnTo>
                <a:close/>
                <a:moveTo>
                  <a:pt x="f82" y="f439"/>
                </a:moveTo>
                <a:lnTo>
                  <a:pt x="f83" y="f439"/>
                </a:lnTo>
                <a:lnTo>
                  <a:pt x="f84" y="f440"/>
                </a:lnTo>
                <a:lnTo>
                  <a:pt x="f84" y="f441"/>
                </a:lnTo>
                <a:lnTo>
                  <a:pt x="f83" y="f442"/>
                </a:lnTo>
                <a:lnTo>
                  <a:pt x="f82" y="f442"/>
                </a:lnTo>
                <a:lnTo>
                  <a:pt x="f85" y="f441"/>
                </a:lnTo>
                <a:lnTo>
                  <a:pt x="f85" y="f440"/>
                </a:lnTo>
                <a:close/>
                <a:moveTo>
                  <a:pt x="f86" y="f439"/>
                </a:moveTo>
                <a:lnTo>
                  <a:pt x="f87" y="f439"/>
                </a:lnTo>
                <a:lnTo>
                  <a:pt x="f88" y="f440"/>
                </a:lnTo>
                <a:lnTo>
                  <a:pt x="f88" y="f441"/>
                </a:lnTo>
                <a:lnTo>
                  <a:pt x="f87" y="f442"/>
                </a:lnTo>
                <a:lnTo>
                  <a:pt x="f86" y="f442"/>
                </a:lnTo>
                <a:lnTo>
                  <a:pt x="f89" y="f441"/>
                </a:lnTo>
                <a:lnTo>
                  <a:pt x="f89" y="f440"/>
                </a:lnTo>
                <a:close/>
                <a:moveTo>
                  <a:pt x="f90" y="f439"/>
                </a:moveTo>
                <a:lnTo>
                  <a:pt x="f91" y="f439"/>
                </a:lnTo>
                <a:lnTo>
                  <a:pt x="f92" y="f440"/>
                </a:lnTo>
                <a:lnTo>
                  <a:pt x="f92" y="f441"/>
                </a:lnTo>
                <a:lnTo>
                  <a:pt x="f91" y="f442"/>
                </a:lnTo>
                <a:lnTo>
                  <a:pt x="f90" y="f442"/>
                </a:lnTo>
                <a:lnTo>
                  <a:pt x="f93" y="f441"/>
                </a:lnTo>
                <a:lnTo>
                  <a:pt x="f93" y="f440"/>
                </a:lnTo>
                <a:close/>
                <a:moveTo>
                  <a:pt x="f94" y="f439"/>
                </a:moveTo>
                <a:lnTo>
                  <a:pt x="f95" y="f439"/>
                </a:lnTo>
                <a:lnTo>
                  <a:pt x="f96" y="f440"/>
                </a:lnTo>
                <a:lnTo>
                  <a:pt x="f96" y="f441"/>
                </a:lnTo>
                <a:lnTo>
                  <a:pt x="f95" y="f442"/>
                </a:lnTo>
                <a:lnTo>
                  <a:pt x="f94" y="f442"/>
                </a:lnTo>
                <a:lnTo>
                  <a:pt x="f97" y="f441"/>
                </a:lnTo>
                <a:lnTo>
                  <a:pt x="f97" y="f440"/>
                </a:lnTo>
                <a:close/>
                <a:moveTo>
                  <a:pt x="f98" y="f439"/>
                </a:moveTo>
                <a:lnTo>
                  <a:pt x="f99" y="f439"/>
                </a:lnTo>
                <a:lnTo>
                  <a:pt x="f100" y="f440"/>
                </a:lnTo>
                <a:lnTo>
                  <a:pt x="f100" y="f441"/>
                </a:lnTo>
                <a:lnTo>
                  <a:pt x="f99" y="f442"/>
                </a:lnTo>
                <a:lnTo>
                  <a:pt x="f98" y="f442"/>
                </a:lnTo>
                <a:lnTo>
                  <a:pt x="f101" y="f441"/>
                </a:lnTo>
                <a:lnTo>
                  <a:pt x="f101" y="f440"/>
                </a:lnTo>
                <a:close/>
                <a:moveTo>
                  <a:pt x="f102" y="f439"/>
                </a:moveTo>
                <a:lnTo>
                  <a:pt x="f103" y="f439"/>
                </a:lnTo>
                <a:lnTo>
                  <a:pt x="f104" y="f440"/>
                </a:lnTo>
                <a:lnTo>
                  <a:pt x="f104" y="f441"/>
                </a:lnTo>
                <a:lnTo>
                  <a:pt x="f103" y="f442"/>
                </a:lnTo>
                <a:lnTo>
                  <a:pt x="f102" y="f442"/>
                </a:lnTo>
                <a:lnTo>
                  <a:pt x="f105" y="f441"/>
                </a:lnTo>
                <a:lnTo>
                  <a:pt x="f105" y="f440"/>
                </a:lnTo>
                <a:close/>
                <a:moveTo>
                  <a:pt x="f106" y="f439"/>
                </a:moveTo>
                <a:lnTo>
                  <a:pt x="f107" y="f439"/>
                </a:lnTo>
                <a:lnTo>
                  <a:pt x="f108" y="f440"/>
                </a:lnTo>
                <a:lnTo>
                  <a:pt x="f108" y="f441"/>
                </a:lnTo>
                <a:lnTo>
                  <a:pt x="f107" y="f442"/>
                </a:lnTo>
                <a:lnTo>
                  <a:pt x="f106" y="f442"/>
                </a:lnTo>
                <a:lnTo>
                  <a:pt x="f109" y="f441"/>
                </a:lnTo>
                <a:lnTo>
                  <a:pt x="f109" y="f440"/>
                </a:lnTo>
                <a:close/>
                <a:moveTo>
                  <a:pt x="f110" y="f439"/>
                </a:moveTo>
                <a:lnTo>
                  <a:pt x="f111" y="f439"/>
                </a:lnTo>
                <a:lnTo>
                  <a:pt x="f112" y="f440"/>
                </a:lnTo>
                <a:lnTo>
                  <a:pt x="f112" y="f441"/>
                </a:lnTo>
                <a:lnTo>
                  <a:pt x="f111" y="f442"/>
                </a:lnTo>
                <a:lnTo>
                  <a:pt x="f110" y="f442"/>
                </a:lnTo>
                <a:lnTo>
                  <a:pt x="f113" y="f441"/>
                </a:lnTo>
                <a:lnTo>
                  <a:pt x="f113" y="f440"/>
                </a:lnTo>
                <a:close/>
                <a:moveTo>
                  <a:pt x="f114" y="f439"/>
                </a:moveTo>
                <a:lnTo>
                  <a:pt x="f115" y="f439"/>
                </a:lnTo>
                <a:lnTo>
                  <a:pt x="f116" y="f440"/>
                </a:lnTo>
                <a:lnTo>
                  <a:pt x="f116" y="f441"/>
                </a:lnTo>
                <a:lnTo>
                  <a:pt x="f115" y="f442"/>
                </a:lnTo>
                <a:lnTo>
                  <a:pt x="f114" y="f442"/>
                </a:lnTo>
                <a:lnTo>
                  <a:pt x="f117" y="f441"/>
                </a:lnTo>
                <a:lnTo>
                  <a:pt x="f117" y="f440"/>
                </a:lnTo>
                <a:close/>
                <a:moveTo>
                  <a:pt x="f118" y="f439"/>
                </a:moveTo>
                <a:lnTo>
                  <a:pt x="f119" y="f439"/>
                </a:lnTo>
                <a:lnTo>
                  <a:pt x="f120" y="f440"/>
                </a:lnTo>
                <a:lnTo>
                  <a:pt x="f120" y="f441"/>
                </a:lnTo>
                <a:lnTo>
                  <a:pt x="f119" y="f442"/>
                </a:lnTo>
                <a:lnTo>
                  <a:pt x="f118" y="f442"/>
                </a:lnTo>
                <a:lnTo>
                  <a:pt x="f121" y="f441"/>
                </a:lnTo>
                <a:lnTo>
                  <a:pt x="f121" y="f440"/>
                </a:lnTo>
                <a:close/>
                <a:moveTo>
                  <a:pt x="f122" y="f439"/>
                </a:moveTo>
                <a:lnTo>
                  <a:pt x="f123" y="f439"/>
                </a:lnTo>
                <a:lnTo>
                  <a:pt x="f124" y="f440"/>
                </a:lnTo>
                <a:lnTo>
                  <a:pt x="f124" y="f441"/>
                </a:lnTo>
                <a:lnTo>
                  <a:pt x="f123" y="f442"/>
                </a:lnTo>
                <a:lnTo>
                  <a:pt x="f122" y="f442"/>
                </a:lnTo>
                <a:lnTo>
                  <a:pt x="f125" y="f441"/>
                </a:lnTo>
                <a:lnTo>
                  <a:pt x="f125" y="f440"/>
                </a:lnTo>
                <a:close/>
                <a:moveTo>
                  <a:pt x="f126" y="f439"/>
                </a:moveTo>
                <a:lnTo>
                  <a:pt x="f127" y="f439"/>
                </a:lnTo>
                <a:lnTo>
                  <a:pt x="f128" y="f440"/>
                </a:lnTo>
                <a:lnTo>
                  <a:pt x="f128" y="f441"/>
                </a:lnTo>
                <a:lnTo>
                  <a:pt x="f127" y="f442"/>
                </a:lnTo>
                <a:lnTo>
                  <a:pt x="f126" y="f442"/>
                </a:lnTo>
                <a:lnTo>
                  <a:pt x="f129" y="f441"/>
                </a:lnTo>
                <a:lnTo>
                  <a:pt x="f129" y="f440"/>
                </a:lnTo>
                <a:close/>
                <a:moveTo>
                  <a:pt x="f130" y="f439"/>
                </a:moveTo>
                <a:lnTo>
                  <a:pt x="f131" y="f439"/>
                </a:lnTo>
                <a:lnTo>
                  <a:pt x="f132" y="f440"/>
                </a:lnTo>
                <a:lnTo>
                  <a:pt x="f132" y="f441"/>
                </a:lnTo>
                <a:lnTo>
                  <a:pt x="f131" y="f442"/>
                </a:lnTo>
                <a:lnTo>
                  <a:pt x="f130" y="f442"/>
                </a:lnTo>
                <a:lnTo>
                  <a:pt x="f133" y="f441"/>
                </a:lnTo>
                <a:lnTo>
                  <a:pt x="f133" y="f440"/>
                </a:lnTo>
                <a:close/>
                <a:moveTo>
                  <a:pt x="f134" y="f439"/>
                </a:moveTo>
                <a:lnTo>
                  <a:pt x="f135" y="f439"/>
                </a:lnTo>
                <a:lnTo>
                  <a:pt x="f136" y="f440"/>
                </a:lnTo>
                <a:lnTo>
                  <a:pt x="f136" y="f441"/>
                </a:lnTo>
                <a:lnTo>
                  <a:pt x="f135" y="f442"/>
                </a:lnTo>
                <a:lnTo>
                  <a:pt x="f134" y="f442"/>
                </a:lnTo>
                <a:lnTo>
                  <a:pt x="f137" y="f441"/>
                </a:lnTo>
                <a:lnTo>
                  <a:pt x="f137" y="f440"/>
                </a:lnTo>
                <a:close/>
                <a:moveTo>
                  <a:pt x="f138" y="f439"/>
                </a:moveTo>
                <a:lnTo>
                  <a:pt x="f139" y="f439"/>
                </a:lnTo>
                <a:lnTo>
                  <a:pt x="f140" y="f440"/>
                </a:lnTo>
                <a:lnTo>
                  <a:pt x="f140" y="f441"/>
                </a:lnTo>
                <a:lnTo>
                  <a:pt x="f139" y="f442"/>
                </a:lnTo>
                <a:lnTo>
                  <a:pt x="f138" y="f442"/>
                </a:lnTo>
                <a:lnTo>
                  <a:pt x="f141" y="f441"/>
                </a:lnTo>
                <a:lnTo>
                  <a:pt x="f141" y="f440"/>
                </a:lnTo>
                <a:close/>
                <a:moveTo>
                  <a:pt x="f142" y="f439"/>
                </a:moveTo>
                <a:lnTo>
                  <a:pt x="f143" y="f439"/>
                </a:lnTo>
                <a:lnTo>
                  <a:pt x="f144" y="f440"/>
                </a:lnTo>
                <a:lnTo>
                  <a:pt x="f144" y="f441"/>
                </a:lnTo>
                <a:lnTo>
                  <a:pt x="f143" y="f442"/>
                </a:lnTo>
                <a:lnTo>
                  <a:pt x="f142" y="f442"/>
                </a:lnTo>
                <a:lnTo>
                  <a:pt x="f145" y="f441"/>
                </a:lnTo>
                <a:lnTo>
                  <a:pt x="f145" y="f440"/>
                </a:lnTo>
                <a:close/>
                <a:moveTo>
                  <a:pt x="f146" y="f439"/>
                </a:moveTo>
                <a:lnTo>
                  <a:pt x="f147" y="f439"/>
                </a:lnTo>
                <a:lnTo>
                  <a:pt x="f148" y="f440"/>
                </a:lnTo>
                <a:lnTo>
                  <a:pt x="f148" y="f441"/>
                </a:lnTo>
                <a:lnTo>
                  <a:pt x="f147" y="f442"/>
                </a:lnTo>
                <a:lnTo>
                  <a:pt x="f146" y="f442"/>
                </a:lnTo>
                <a:lnTo>
                  <a:pt x="f149" y="f441"/>
                </a:lnTo>
                <a:lnTo>
                  <a:pt x="f149" y="f440"/>
                </a:lnTo>
                <a:close/>
                <a:moveTo>
                  <a:pt x="f150" y="f439"/>
                </a:moveTo>
                <a:lnTo>
                  <a:pt x="f151" y="f439"/>
                </a:lnTo>
                <a:lnTo>
                  <a:pt x="f152" y="f440"/>
                </a:lnTo>
                <a:lnTo>
                  <a:pt x="f152" y="f441"/>
                </a:lnTo>
                <a:lnTo>
                  <a:pt x="f151" y="f442"/>
                </a:lnTo>
                <a:lnTo>
                  <a:pt x="f150" y="f442"/>
                </a:lnTo>
                <a:lnTo>
                  <a:pt x="f153" y="f441"/>
                </a:lnTo>
                <a:lnTo>
                  <a:pt x="f153" y="f440"/>
                </a:lnTo>
                <a:close/>
                <a:moveTo>
                  <a:pt x="f154" y="f439"/>
                </a:moveTo>
                <a:lnTo>
                  <a:pt x="f155" y="f439"/>
                </a:lnTo>
                <a:lnTo>
                  <a:pt x="f156" y="f440"/>
                </a:lnTo>
                <a:lnTo>
                  <a:pt x="f156" y="f441"/>
                </a:lnTo>
                <a:lnTo>
                  <a:pt x="f155" y="f442"/>
                </a:lnTo>
                <a:lnTo>
                  <a:pt x="f154" y="f442"/>
                </a:lnTo>
                <a:lnTo>
                  <a:pt x="f157" y="f441"/>
                </a:lnTo>
                <a:lnTo>
                  <a:pt x="f157" y="f440"/>
                </a:lnTo>
                <a:close/>
                <a:moveTo>
                  <a:pt x="f158" y="f439"/>
                </a:moveTo>
                <a:lnTo>
                  <a:pt x="f159" y="f439"/>
                </a:lnTo>
                <a:lnTo>
                  <a:pt x="f160" y="f440"/>
                </a:lnTo>
                <a:lnTo>
                  <a:pt x="f160" y="f441"/>
                </a:lnTo>
                <a:lnTo>
                  <a:pt x="f159" y="f442"/>
                </a:lnTo>
                <a:lnTo>
                  <a:pt x="f158" y="f442"/>
                </a:lnTo>
                <a:lnTo>
                  <a:pt x="f161" y="f441"/>
                </a:lnTo>
                <a:lnTo>
                  <a:pt x="f161" y="f440"/>
                </a:lnTo>
                <a:close/>
                <a:moveTo>
                  <a:pt x="f323" y="f439"/>
                </a:moveTo>
                <a:lnTo>
                  <a:pt x="f295" y="f439"/>
                </a:lnTo>
                <a:lnTo>
                  <a:pt x="f410" y="f440"/>
                </a:lnTo>
                <a:lnTo>
                  <a:pt x="f410" y="f441"/>
                </a:lnTo>
                <a:lnTo>
                  <a:pt x="f295" y="f442"/>
                </a:lnTo>
                <a:lnTo>
                  <a:pt x="f323" y="f442"/>
                </a:lnTo>
                <a:lnTo>
                  <a:pt x="f381" y="f441"/>
                </a:lnTo>
                <a:lnTo>
                  <a:pt x="f381" y="f440"/>
                </a:lnTo>
                <a:close/>
                <a:moveTo>
                  <a:pt x="f414" y="f439"/>
                </a:moveTo>
                <a:lnTo>
                  <a:pt x="f382" y="f439"/>
                </a:lnTo>
                <a:lnTo>
                  <a:pt x="f329" y="f440"/>
                </a:lnTo>
                <a:lnTo>
                  <a:pt x="f329" y="f441"/>
                </a:lnTo>
                <a:lnTo>
                  <a:pt x="f382" y="f442"/>
                </a:lnTo>
                <a:lnTo>
                  <a:pt x="f414" y="f442"/>
                </a:lnTo>
                <a:lnTo>
                  <a:pt x="f299" y="f441"/>
                </a:lnTo>
                <a:lnTo>
                  <a:pt x="f299" y="f440"/>
                </a:lnTo>
                <a:close/>
                <a:moveTo>
                  <a:pt x="f443" y="f439"/>
                </a:moveTo>
                <a:lnTo>
                  <a:pt x="f415" y="f439"/>
                </a:lnTo>
                <a:lnTo>
                  <a:pt x="f444" y="f440"/>
                </a:lnTo>
                <a:lnTo>
                  <a:pt x="f444" y="f441"/>
                </a:lnTo>
                <a:lnTo>
                  <a:pt x="f415" y="f442"/>
                </a:lnTo>
                <a:lnTo>
                  <a:pt x="f443" y="f442"/>
                </a:lnTo>
                <a:lnTo>
                  <a:pt x="f445" y="f441"/>
                </a:lnTo>
                <a:lnTo>
                  <a:pt x="f445" y="f440"/>
                </a:lnTo>
                <a:close/>
                <a:moveTo>
                  <a:pt x="f418" y="f439"/>
                </a:moveTo>
                <a:lnTo>
                  <a:pt x="f446" y="f439"/>
                </a:lnTo>
                <a:lnTo>
                  <a:pt x="f447" y="f440"/>
                </a:lnTo>
                <a:lnTo>
                  <a:pt x="f447" y="f441"/>
                </a:lnTo>
                <a:lnTo>
                  <a:pt x="f446" y="f442"/>
                </a:lnTo>
                <a:lnTo>
                  <a:pt x="f418" y="f442"/>
                </a:lnTo>
                <a:lnTo>
                  <a:pt x="f448" y="f441"/>
                </a:lnTo>
                <a:lnTo>
                  <a:pt x="f448" y="f440"/>
                </a:lnTo>
                <a:close/>
                <a:moveTo>
                  <a:pt x="f449" y="f439"/>
                </a:moveTo>
                <a:lnTo>
                  <a:pt x="f420" y="f439"/>
                </a:lnTo>
                <a:lnTo>
                  <a:pt x="f421" y="f440"/>
                </a:lnTo>
                <a:lnTo>
                  <a:pt x="f421" y="f441"/>
                </a:lnTo>
                <a:lnTo>
                  <a:pt x="f420" y="f442"/>
                </a:lnTo>
                <a:lnTo>
                  <a:pt x="f449" y="f442"/>
                </a:lnTo>
                <a:lnTo>
                  <a:pt x="f450" y="f441"/>
                </a:lnTo>
                <a:lnTo>
                  <a:pt x="f450" y="f440"/>
                </a:lnTo>
                <a:close/>
                <a:moveTo>
                  <a:pt x="f422" y="f439"/>
                </a:moveTo>
                <a:lnTo>
                  <a:pt x="f451" y="f439"/>
                </a:lnTo>
                <a:lnTo>
                  <a:pt x="f452" y="f440"/>
                </a:lnTo>
                <a:lnTo>
                  <a:pt x="f452" y="f441"/>
                </a:lnTo>
                <a:lnTo>
                  <a:pt x="f451" y="f442"/>
                </a:lnTo>
                <a:lnTo>
                  <a:pt x="f422" y="f442"/>
                </a:lnTo>
                <a:lnTo>
                  <a:pt x="f424" y="f441"/>
                </a:lnTo>
                <a:lnTo>
                  <a:pt x="f424" y="f440"/>
                </a:lnTo>
                <a:close/>
                <a:moveTo>
                  <a:pt x="f429" y="f439"/>
                </a:moveTo>
                <a:lnTo>
                  <a:pt x="f453" y="f439"/>
                </a:lnTo>
                <a:lnTo>
                  <a:pt x="f454" y="f440"/>
                </a:lnTo>
                <a:lnTo>
                  <a:pt x="f454" y="f441"/>
                </a:lnTo>
                <a:lnTo>
                  <a:pt x="f453" y="f442"/>
                </a:lnTo>
                <a:lnTo>
                  <a:pt x="f429" y="f442"/>
                </a:lnTo>
                <a:lnTo>
                  <a:pt x="f455" y="f441"/>
                </a:lnTo>
                <a:lnTo>
                  <a:pt x="f455" y="f440"/>
                </a:lnTo>
                <a:close/>
                <a:moveTo>
                  <a:pt x="f456" y="f439"/>
                </a:moveTo>
                <a:lnTo>
                  <a:pt x="f457" y="f439"/>
                </a:lnTo>
                <a:lnTo>
                  <a:pt x="f458" y="f440"/>
                </a:lnTo>
                <a:lnTo>
                  <a:pt x="f458" y="f441"/>
                </a:lnTo>
                <a:lnTo>
                  <a:pt x="f457" y="f442"/>
                </a:lnTo>
                <a:lnTo>
                  <a:pt x="f456" y="f442"/>
                </a:lnTo>
                <a:lnTo>
                  <a:pt x="f459" y="f441"/>
                </a:lnTo>
                <a:lnTo>
                  <a:pt x="f459" y="f440"/>
                </a:lnTo>
                <a:close/>
                <a:moveTo>
                  <a:pt x="f432" y="f439"/>
                </a:moveTo>
                <a:lnTo>
                  <a:pt x="f460" y="f439"/>
                </a:lnTo>
                <a:lnTo>
                  <a:pt x="f461" y="f440"/>
                </a:lnTo>
                <a:lnTo>
                  <a:pt x="f461" y="f441"/>
                </a:lnTo>
                <a:lnTo>
                  <a:pt x="f460" y="f442"/>
                </a:lnTo>
                <a:lnTo>
                  <a:pt x="f432" y="f442"/>
                </a:lnTo>
                <a:lnTo>
                  <a:pt x="f435" y="f441"/>
                </a:lnTo>
                <a:lnTo>
                  <a:pt x="f435" y="f440"/>
                </a:lnTo>
                <a:close/>
                <a:moveTo>
                  <a:pt x="f462" y="f439"/>
                </a:moveTo>
                <a:lnTo>
                  <a:pt x="f436" y="f439"/>
                </a:lnTo>
                <a:lnTo>
                  <a:pt x="f463" y="f440"/>
                </a:lnTo>
                <a:lnTo>
                  <a:pt x="f463" y="f441"/>
                </a:lnTo>
                <a:lnTo>
                  <a:pt x="f436" y="f442"/>
                </a:lnTo>
                <a:lnTo>
                  <a:pt x="f462" y="f442"/>
                </a:lnTo>
                <a:lnTo>
                  <a:pt x="f438" y="f441"/>
                </a:lnTo>
                <a:lnTo>
                  <a:pt x="f438" y="f440"/>
                </a:lnTo>
                <a:close/>
                <a:moveTo>
                  <a:pt x="f464" y="f465"/>
                </a:moveTo>
                <a:lnTo>
                  <a:pt x="f466" y="f465"/>
                </a:lnTo>
                <a:lnTo>
                  <a:pt x="f410" y="f467"/>
                </a:lnTo>
                <a:lnTo>
                  <a:pt x="f410" y="f468"/>
                </a:lnTo>
                <a:lnTo>
                  <a:pt x="f466" y="f469"/>
                </a:lnTo>
                <a:lnTo>
                  <a:pt x="f464" y="f469"/>
                </a:lnTo>
                <a:lnTo>
                  <a:pt x="f381" y="f468"/>
                </a:lnTo>
                <a:lnTo>
                  <a:pt x="f381" y="f467"/>
                </a:lnTo>
                <a:close/>
                <a:moveTo>
                  <a:pt x="f414" y="f465"/>
                </a:moveTo>
                <a:lnTo>
                  <a:pt x="f382" y="f465"/>
                </a:lnTo>
                <a:lnTo>
                  <a:pt x="f329" y="f467"/>
                </a:lnTo>
                <a:lnTo>
                  <a:pt x="f329" y="f468"/>
                </a:lnTo>
                <a:lnTo>
                  <a:pt x="f382" y="f469"/>
                </a:lnTo>
                <a:lnTo>
                  <a:pt x="f414" y="f469"/>
                </a:lnTo>
                <a:lnTo>
                  <a:pt x="f470" y="f468"/>
                </a:lnTo>
                <a:lnTo>
                  <a:pt x="f470" y="f467"/>
                </a:lnTo>
                <a:close/>
                <a:moveTo>
                  <a:pt x="f471" y="f465"/>
                </a:moveTo>
                <a:lnTo>
                  <a:pt x="f472" y="f465"/>
                </a:lnTo>
                <a:lnTo>
                  <a:pt x="f444" y="f467"/>
                </a:lnTo>
                <a:lnTo>
                  <a:pt x="f444" y="f468"/>
                </a:lnTo>
                <a:lnTo>
                  <a:pt x="f472" y="f469"/>
                </a:lnTo>
                <a:lnTo>
                  <a:pt x="f471" y="f469"/>
                </a:lnTo>
                <a:lnTo>
                  <a:pt x="f445" y="f468"/>
                </a:lnTo>
                <a:lnTo>
                  <a:pt x="f445" y="f467"/>
                </a:lnTo>
                <a:close/>
                <a:moveTo>
                  <a:pt x="f473" y="f465"/>
                </a:moveTo>
                <a:lnTo>
                  <a:pt x="f446" y="f465"/>
                </a:lnTo>
                <a:lnTo>
                  <a:pt x="f447" y="f467"/>
                </a:lnTo>
                <a:lnTo>
                  <a:pt x="f447" y="f468"/>
                </a:lnTo>
                <a:lnTo>
                  <a:pt x="f446" y="f469"/>
                </a:lnTo>
                <a:lnTo>
                  <a:pt x="f473" y="f469"/>
                </a:lnTo>
                <a:lnTo>
                  <a:pt x="f474" y="f468"/>
                </a:lnTo>
                <a:lnTo>
                  <a:pt x="f474" y="f467"/>
                </a:lnTo>
                <a:close/>
                <a:moveTo>
                  <a:pt x="f475" y="f465"/>
                </a:moveTo>
                <a:lnTo>
                  <a:pt x="f476" y="f465"/>
                </a:lnTo>
                <a:lnTo>
                  <a:pt x="f477" y="f467"/>
                </a:lnTo>
                <a:lnTo>
                  <a:pt x="f477" y="f468"/>
                </a:lnTo>
                <a:lnTo>
                  <a:pt x="f476" y="f469"/>
                </a:lnTo>
                <a:lnTo>
                  <a:pt x="f475" y="f469"/>
                </a:lnTo>
                <a:lnTo>
                  <a:pt x="f450" y="f468"/>
                </a:lnTo>
                <a:lnTo>
                  <a:pt x="f450" y="f467"/>
                </a:lnTo>
                <a:close/>
                <a:moveTo>
                  <a:pt x="f478" y="f465"/>
                </a:moveTo>
                <a:lnTo>
                  <a:pt x="f451" y="f465"/>
                </a:lnTo>
                <a:lnTo>
                  <a:pt x="f479" y="f467"/>
                </a:lnTo>
                <a:lnTo>
                  <a:pt x="f479" y="f468"/>
                </a:lnTo>
                <a:lnTo>
                  <a:pt x="f451" y="f469"/>
                </a:lnTo>
                <a:lnTo>
                  <a:pt x="f478" y="f469"/>
                </a:lnTo>
                <a:lnTo>
                  <a:pt x="f480" y="f468"/>
                </a:lnTo>
                <a:lnTo>
                  <a:pt x="f480" y="f467"/>
                </a:lnTo>
                <a:close/>
                <a:moveTo>
                  <a:pt x="f35" y="f481"/>
                </a:moveTo>
                <a:lnTo>
                  <a:pt x="f37" y="f481"/>
                </a:lnTo>
                <a:lnTo>
                  <a:pt x="f6" y="f482"/>
                </a:lnTo>
                <a:lnTo>
                  <a:pt x="f6" y="f136"/>
                </a:lnTo>
                <a:lnTo>
                  <a:pt x="f37" y="f483"/>
                </a:lnTo>
                <a:lnTo>
                  <a:pt x="f35" y="f483"/>
                </a:lnTo>
                <a:lnTo>
                  <a:pt x="f41" y="f136"/>
                </a:lnTo>
                <a:lnTo>
                  <a:pt x="f41" y="f482"/>
                </a:lnTo>
                <a:close/>
                <a:moveTo>
                  <a:pt x="f42" y="f481"/>
                </a:moveTo>
                <a:lnTo>
                  <a:pt x="f43" y="f481"/>
                </a:lnTo>
                <a:lnTo>
                  <a:pt x="f44" y="f482"/>
                </a:lnTo>
                <a:lnTo>
                  <a:pt x="f44" y="f136"/>
                </a:lnTo>
                <a:lnTo>
                  <a:pt x="f43" y="f483"/>
                </a:lnTo>
                <a:lnTo>
                  <a:pt x="f42" y="f483"/>
                </a:lnTo>
                <a:lnTo>
                  <a:pt x="f45" y="f136"/>
                </a:lnTo>
                <a:lnTo>
                  <a:pt x="f45" y="f482"/>
                </a:lnTo>
                <a:close/>
                <a:moveTo>
                  <a:pt x="f46" y="f481"/>
                </a:moveTo>
                <a:lnTo>
                  <a:pt x="f47" y="f481"/>
                </a:lnTo>
                <a:lnTo>
                  <a:pt x="f48" y="f482"/>
                </a:lnTo>
                <a:lnTo>
                  <a:pt x="f48" y="f136"/>
                </a:lnTo>
                <a:lnTo>
                  <a:pt x="f47" y="f483"/>
                </a:lnTo>
                <a:lnTo>
                  <a:pt x="f46" y="f483"/>
                </a:lnTo>
                <a:lnTo>
                  <a:pt x="f49" y="f136"/>
                </a:lnTo>
                <a:lnTo>
                  <a:pt x="f49" y="f482"/>
                </a:lnTo>
                <a:close/>
                <a:moveTo>
                  <a:pt x="f50" y="f481"/>
                </a:moveTo>
                <a:lnTo>
                  <a:pt x="f51" y="f481"/>
                </a:lnTo>
                <a:lnTo>
                  <a:pt x="f52" y="f482"/>
                </a:lnTo>
                <a:lnTo>
                  <a:pt x="f52" y="f136"/>
                </a:lnTo>
                <a:lnTo>
                  <a:pt x="f51" y="f483"/>
                </a:lnTo>
                <a:lnTo>
                  <a:pt x="f50" y="f483"/>
                </a:lnTo>
                <a:lnTo>
                  <a:pt x="f53" y="f136"/>
                </a:lnTo>
                <a:lnTo>
                  <a:pt x="f53" y="f482"/>
                </a:lnTo>
                <a:close/>
                <a:moveTo>
                  <a:pt x="f54" y="f481"/>
                </a:moveTo>
                <a:lnTo>
                  <a:pt x="f55" y="f481"/>
                </a:lnTo>
                <a:lnTo>
                  <a:pt x="f56" y="f482"/>
                </a:lnTo>
                <a:lnTo>
                  <a:pt x="f56" y="f136"/>
                </a:lnTo>
                <a:lnTo>
                  <a:pt x="f55" y="f483"/>
                </a:lnTo>
                <a:lnTo>
                  <a:pt x="f54" y="f483"/>
                </a:lnTo>
                <a:lnTo>
                  <a:pt x="f57" y="f136"/>
                </a:lnTo>
                <a:lnTo>
                  <a:pt x="f57" y="f482"/>
                </a:lnTo>
                <a:close/>
                <a:moveTo>
                  <a:pt x="f58" y="f481"/>
                </a:moveTo>
                <a:lnTo>
                  <a:pt x="f59" y="f481"/>
                </a:lnTo>
                <a:lnTo>
                  <a:pt x="f60" y="f482"/>
                </a:lnTo>
                <a:lnTo>
                  <a:pt x="f60" y="f136"/>
                </a:lnTo>
                <a:lnTo>
                  <a:pt x="f59" y="f483"/>
                </a:lnTo>
                <a:lnTo>
                  <a:pt x="f58" y="f483"/>
                </a:lnTo>
                <a:lnTo>
                  <a:pt x="f61" y="f136"/>
                </a:lnTo>
                <a:lnTo>
                  <a:pt x="f61" y="f482"/>
                </a:lnTo>
                <a:close/>
                <a:moveTo>
                  <a:pt x="f62" y="f481"/>
                </a:moveTo>
                <a:lnTo>
                  <a:pt x="f63" y="f481"/>
                </a:lnTo>
                <a:lnTo>
                  <a:pt x="f64" y="f482"/>
                </a:lnTo>
                <a:lnTo>
                  <a:pt x="f64" y="f136"/>
                </a:lnTo>
                <a:lnTo>
                  <a:pt x="f63" y="f483"/>
                </a:lnTo>
                <a:lnTo>
                  <a:pt x="f62" y="f483"/>
                </a:lnTo>
                <a:lnTo>
                  <a:pt x="f65" y="f136"/>
                </a:lnTo>
                <a:lnTo>
                  <a:pt x="f65" y="f482"/>
                </a:lnTo>
                <a:close/>
                <a:moveTo>
                  <a:pt x="f66" y="f481"/>
                </a:moveTo>
                <a:lnTo>
                  <a:pt x="f67" y="f481"/>
                </a:lnTo>
                <a:lnTo>
                  <a:pt x="f68" y="f482"/>
                </a:lnTo>
                <a:lnTo>
                  <a:pt x="f68" y="f136"/>
                </a:lnTo>
                <a:lnTo>
                  <a:pt x="f67" y="f483"/>
                </a:lnTo>
                <a:lnTo>
                  <a:pt x="f66" y="f483"/>
                </a:lnTo>
                <a:lnTo>
                  <a:pt x="f69" y="f136"/>
                </a:lnTo>
                <a:lnTo>
                  <a:pt x="f69" y="f482"/>
                </a:lnTo>
                <a:close/>
                <a:moveTo>
                  <a:pt x="f70" y="f481"/>
                </a:moveTo>
                <a:lnTo>
                  <a:pt x="f71" y="f481"/>
                </a:lnTo>
                <a:lnTo>
                  <a:pt x="f72" y="f482"/>
                </a:lnTo>
                <a:lnTo>
                  <a:pt x="f72" y="f136"/>
                </a:lnTo>
                <a:lnTo>
                  <a:pt x="f71" y="f483"/>
                </a:lnTo>
                <a:lnTo>
                  <a:pt x="f70" y="f483"/>
                </a:lnTo>
                <a:lnTo>
                  <a:pt x="f73" y="f136"/>
                </a:lnTo>
                <a:lnTo>
                  <a:pt x="f73" y="f482"/>
                </a:lnTo>
                <a:close/>
                <a:moveTo>
                  <a:pt x="f74" y="f481"/>
                </a:moveTo>
                <a:lnTo>
                  <a:pt x="f75" y="f481"/>
                </a:lnTo>
                <a:lnTo>
                  <a:pt x="f76" y="f482"/>
                </a:lnTo>
                <a:lnTo>
                  <a:pt x="f76" y="f136"/>
                </a:lnTo>
                <a:lnTo>
                  <a:pt x="f75" y="f483"/>
                </a:lnTo>
                <a:lnTo>
                  <a:pt x="f74" y="f483"/>
                </a:lnTo>
                <a:lnTo>
                  <a:pt x="f77" y="f136"/>
                </a:lnTo>
                <a:lnTo>
                  <a:pt x="f77" y="f482"/>
                </a:lnTo>
                <a:close/>
                <a:moveTo>
                  <a:pt x="f78" y="f481"/>
                </a:moveTo>
                <a:lnTo>
                  <a:pt x="f79" y="f481"/>
                </a:lnTo>
                <a:lnTo>
                  <a:pt x="f80" y="f482"/>
                </a:lnTo>
                <a:lnTo>
                  <a:pt x="f80" y="f136"/>
                </a:lnTo>
                <a:lnTo>
                  <a:pt x="f79" y="f483"/>
                </a:lnTo>
                <a:lnTo>
                  <a:pt x="f78" y="f483"/>
                </a:lnTo>
                <a:lnTo>
                  <a:pt x="f81" y="f136"/>
                </a:lnTo>
                <a:lnTo>
                  <a:pt x="f81" y="f482"/>
                </a:lnTo>
                <a:close/>
                <a:moveTo>
                  <a:pt x="f82" y="f481"/>
                </a:moveTo>
                <a:lnTo>
                  <a:pt x="f83" y="f481"/>
                </a:lnTo>
                <a:lnTo>
                  <a:pt x="f84" y="f482"/>
                </a:lnTo>
                <a:lnTo>
                  <a:pt x="f84" y="f136"/>
                </a:lnTo>
                <a:lnTo>
                  <a:pt x="f83" y="f483"/>
                </a:lnTo>
                <a:lnTo>
                  <a:pt x="f82" y="f483"/>
                </a:lnTo>
                <a:lnTo>
                  <a:pt x="f85" y="f136"/>
                </a:lnTo>
                <a:lnTo>
                  <a:pt x="f85" y="f482"/>
                </a:lnTo>
                <a:close/>
                <a:moveTo>
                  <a:pt x="f86" y="f481"/>
                </a:moveTo>
                <a:lnTo>
                  <a:pt x="f87" y="f481"/>
                </a:lnTo>
                <a:lnTo>
                  <a:pt x="f88" y="f482"/>
                </a:lnTo>
                <a:lnTo>
                  <a:pt x="f88" y="f136"/>
                </a:lnTo>
                <a:lnTo>
                  <a:pt x="f87" y="f483"/>
                </a:lnTo>
                <a:lnTo>
                  <a:pt x="f86" y="f483"/>
                </a:lnTo>
                <a:lnTo>
                  <a:pt x="f89" y="f136"/>
                </a:lnTo>
                <a:lnTo>
                  <a:pt x="f89" y="f482"/>
                </a:lnTo>
                <a:close/>
                <a:moveTo>
                  <a:pt x="f90" y="f481"/>
                </a:moveTo>
                <a:lnTo>
                  <a:pt x="f91" y="f481"/>
                </a:lnTo>
                <a:lnTo>
                  <a:pt x="f92" y="f482"/>
                </a:lnTo>
                <a:lnTo>
                  <a:pt x="f92" y="f136"/>
                </a:lnTo>
                <a:lnTo>
                  <a:pt x="f91" y="f483"/>
                </a:lnTo>
                <a:lnTo>
                  <a:pt x="f90" y="f483"/>
                </a:lnTo>
                <a:lnTo>
                  <a:pt x="f93" y="f136"/>
                </a:lnTo>
                <a:lnTo>
                  <a:pt x="f93" y="f482"/>
                </a:lnTo>
                <a:close/>
                <a:moveTo>
                  <a:pt x="f94" y="f481"/>
                </a:moveTo>
                <a:lnTo>
                  <a:pt x="f95" y="f481"/>
                </a:lnTo>
                <a:lnTo>
                  <a:pt x="f96" y="f482"/>
                </a:lnTo>
                <a:lnTo>
                  <a:pt x="f96" y="f136"/>
                </a:lnTo>
                <a:lnTo>
                  <a:pt x="f95" y="f483"/>
                </a:lnTo>
                <a:lnTo>
                  <a:pt x="f94" y="f483"/>
                </a:lnTo>
                <a:lnTo>
                  <a:pt x="f97" y="f136"/>
                </a:lnTo>
                <a:lnTo>
                  <a:pt x="f97" y="f482"/>
                </a:lnTo>
                <a:close/>
                <a:moveTo>
                  <a:pt x="f98" y="f481"/>
                </a:moveTo>
                <a:lnTo>
                  <a:pt x="f99" y="f481"/>
                </a:lnTo>
                <a:lnTo>
                  <a:pt x="f100" y="f482"/>
                </a:lnTo>
                <a:lnTo>
                  <a:pt x="f100" y="f136"/>
                </a:lnTo>
                <a:lnTo>
                  <a:pt x="f99" y="f483"/>
                </a:lnTo>
                <a:lnTo>
                  <a:pt x="f98" y="f483"/>
                </a:lnTo>
                <a:lnTo>
                  <a:pt x="f101" y="f136"/>
                </a:lnTo>
                <a:lnTo>
                  <a:pt x="f101" y="f482"/>
                </a:lnTo>
                <a:close/>
                <a:moveTo>
                  <a:pt x="f102" y="f481"/>
                </a:moveTo>
                <a:lnTo>
                  <a:pt x="f103" y="f481"/>
                </a:lnTo>
                <a:lnTo>
                  <a:pt x="f104" y="f482"/>
                </a:lnTo>
                <a:lnTo>
                  <a:pt x="f104" y="f136"/>
                </a:lnTo>
                <a:lnTo>
                  <a:pt x="f103" y="f483"/>
                </a:lnTo>
                <a:lnTo>
                  <a:pt x="f102" y="f483"/>
                </a:lnTo>
                <a:lnTo>
                  <a:pt x="f105" y="f136"/>
                </a:lnTo>
                <a:lnTo>
                  <a:pt x="f105" y="f482"/>
                </a:lnTo>
                <a:close/>
                <a:moveTo>
                  <a:pt x="f106" y="f481"/>
                </a:moveTo>
                <a:lnTo>
                  <a:pt x="f107" y="f481"/>
                </a:lnTo>
                <a:lnTo>
                  <a:pt x="f108" y="f482"/>
                </a:lnTo>
                <a:lnTo>
                  <a:pt x="f108" y="f136"/>
                </a:lnTo>
                <a:lnTo>
                  <a:pt x="f107" y="f483"/>
                </a:lnTo>
                <a:lnTo>
                  <a:pt x="f106" y="f483"/>
                </a:lnTo>
                <a:lnTo>
                  <a:pt x="f109" y="f136"/>
                </a:lnTo>
                <a:lnTo>
                  <a:pt x="f109" y="f482"/>
                </a:lnTo>
                <a:close/>
                <a:moveTo>
                  <a:pt x="f110" y="f481"/>
                </a:moveTo>
                <a:lnTo>
                  <a:pt x="f111" y="f481"/>
                </a:lnTo>
                <a:lnTo>
                  <a:pt x="f112" y="f482"/>
                </a:lnTo>
                <a:lnTo>
                  <a:pt x="f112" y="f136"/>
                </a:lnTo>
                <a:lnTo>
                  <a:pt x="f111" y="f483"/>
                </a:lnTo>
                <a:lnTo>
                  <a:pt x="f110" y="f483"/>
                </a:lnTo>
                <a:lnTo>
                  <a:pt x="f113" y="f136"/>
                </a:lnTo>
                <a:lnTo>
                  <a:pt x="f113" y="f482"/>
                </a:lnTo>
                <a:close/>
                <a:moveTo>
                  <a:pt x="f114" y="f481"/>
                </a:moveTo>
                <a:lnTo>
                  <a:pt x="f115" y="f481"/>
                </a:lnTo>
                <a:lnTo>
                  <a:pt x="f116" y="f482"/>
                </a:lnTo>
                <a:lnTo>
                  <a:pt x="f116" y="f136"/>
                </a:lnTo>
                <a:lnTo>
                  <a:pt x="f115" y="f483"/>
                </a:lnTo>
                <a:lnTo>
                  <a:pt x="f114" y="f483"/>
                </a:lnTo>
                <a:lnTo>
                  <a:pt x="f117" y="f136"/>
                </a:lnTo>
                <a:lnTo>
                  <a:pt x="f117" y="f482"/>
                </a:lnTo>
                <a:close/>
                <a:moveTo>
                  <a:pt x="f118" y="f481"/>
                </a:moveTo>
                <a:lnTo>
                  <a:pt x="f119" y="f481"/>
                </a:lnTo>
                <a:lnTo>
                  <a:pt x="f120" y="f482"/>
                </a:lnTo>
                <a:lnTo>
                  <a:pt x="f120" y="f136"/>
                </a:lnTo>
                <a:lnTo>
                  <a:pt x="f119" y="f483"/>
                </a:lnTo>
                <a:lnTo>
                  <a:pt x="f118" y="f483"/>
                </a:lnTo>
                <a:lnTo>
                  <a:pt x="f121" y="f136"/>
                </a:lnTo>
                <a:lnTo>
                  <a:pt x="f121" y="f482"/>
                </a:lnTo>
                <a:close/>
                <a:moveTo>
                  <a:pt x="f122" y="f481"/>
                </a:moveTo>
                <a:lnTo>
                  <a:pt x="f123" y="f481"/>
                </a:lnTo>
                <a:lnTo>
                  <a:pt x="f124" y="f482"/>
                </a:lnTo>
                <a:lnTo>
                  <a:pt x="f124" y="f136"/>
                </a:lnTo>
                <a:lnTo>
                  <a:pt x="f123" y="f483"/>
                </a:lnTo>
                <a:lnTo>
                  <a:pt x="f122" y="f483"/>
                </a:lnTo>
                <a:lnTo>
                  <a:pt x="f125" y="f136"/>
                </a:lnTo>
                <a:lnTo>
                  <a:pt x="f125" y="f482"/>
                </a:lnTo>
                <a:close/>
                <a:moveTo>
                  <a:pt x="f126" y="f481"/>
                </a:moveTo>
                <a:lnTo>
                  <a:pt x="f127" y="f481"/>
                </a:lnTo>
                <a:lnTo>
                  <a:pt x="f128" y="f482"/>
                </a:lnTo>
                <a:lnTo>
                  <a:pt x="f128" y="f136"/>
                </a:lnTo>
                <a:lnTo>
                  <a:pt x="f127" y="f483"/>
                </a:lnTo>
                <a:lnTo>
                  <a:pt x="f126" y="f483"/>
                </a:lnTo>
                <a:lnTo>
                  <a:pt x="f129" y="f136"/>
                </a:lnTo>
                <a:lnTo>
                  <a:pt x="f129" y="f482"/>
                </a:lnTo>
                <a:close/>
                <a:moveTo>
                  <a:pt x="f130" y="f481"/>
                </a:moveTo>
                <a:lnTo>
                  <a:pt x="f131" y="f481"/>
                </a:lnTo>
                <a:lnTo>
                  <a:pt x="f132" y="f482"/>
                </a:lnTo>
                <a:lnTo>
                  <a:pt x="f132" y="f136"/>
                </a:lnTo>
                <a:lnTo>
                  <a:pt x="f131" y="f483"/>
                </a:lnTo>
                <a:lnTo>
                  <a:pt x="f130" y="f483"/>
                </a:lnTo>
                <a:lnTo>
                  <a:pt x="f133" y="f136"/>
                </a:lnTo>
                <a:lnTo>
                  <a:pt x="f133" y="f482"/>
                </a:lnTo>
                <a:close/>
                <a:moveTo>
                  <a:pt x="f134" y="f481"/>
                </a:moveTo>
                <a:lnTo>
                  <a:pt x="f135" y="f481"/>
                </a:lnTo>
                <a:lnTo>
                  <a:pt x="f136" y="f482"/>
                </a:lnTo>
                <a:lnTo>
                  <a:pt x="f136" y="f136"/>
                </a:lnTo>
                <a:lnTo>
                  <a:pt x="f135" y="f483"/>
                </a:lnTo>
                <a:lnTo>
                  <a:pt x="f134" y="f483"/>
                </a:lnTo>
                <a:lnTo>
                  <a:pt x="f137" y="f136"/>
                </a:lnTo>
                <a:lnTo>
                  <a:pt x="f137" y="f482"/>
                </a:lnTo>
                <a:close/>
                <a:moveTo>
                  <a:pt x="f138" y="f481"/>
                </a:moveTo>
                <a:lnTo>
                  <a:pt x="f139" y="f481"/>
                </a:lnTo>
                <a:lnTo>
                  <a:pt x="f140" y="f482"/>
                </a:lnTo>
                <a:lnTo>
                  <a:pt x="f140" y="f136"/>
                </a:lnTo>
                <a:lnTo>
                  <a:pt x="f139" y="f483"/>
                </a:lnTo>
                <a:lnTo>
                  <a:pt x="f138" y="f483"/>
                </a:lnTo>
                <a:lnTo>
                  <a:pt x="f141" y="f136"/>
                </a:lnTo>
                <a:lnTo>
                  <a:pt x="f141" y="f482"/>
                </a:lnTo>
                <a:close/>
                <a:moveTo>
                  <a:pt x="f142" y="f481"/>
                </a:moveTo>
                <a:lnTo>
                  <a:pt x="f143" y="f481"/>
                </a:lnTo>
                <a:lnTo>
                  <a:pt x="f144" y="f482"/>
                </a:lnTo>
                <a:lnTo>
                  <a:pt x="f144" y="f136"/>
                </a:lnTo>
                <a:lnTo>
                  <a:pt x="f143" y="f483"/>
                </a:lnTo>
                <a:lnTo>
                  <a:pt x="f142" y="f483"/>
                </a:lnTo>
                <a:lnTo>
                  <a:pt x="f145" y="f136"/>
                </a:lnTo>
                <a:lnTo>
                  <a:pt x="f145" y="f482"/>
                </a:lnTo>
                <a:close/>
                <a:moveTo>
                  <a:pt x="f146" y="f481"/>
                </a:moveTo>
                <a:lnTo>
                  <a:pt x="f147" y="f481"/>
                </a:lnTo>
                <a:lnTo>
                  <a:pt x="f148" y="f482"/>
                </a:lnTo>
                <a:lnTo>
                  <a:pt x="f148" y="f136"/>
                </a:lnTo>
                <a:lnTo>
                  <a:pt x="f147" y="f483"/>
                </a:lnTo>
                <a:lnTo>
                  <a:pt x="f146" y="f483"/>
                </a:lnTo>
                <a:lnTo>
                  <a:pt x="f149" y="f136"/>
                </a:lnTo>
                <a:lnTo>
                  <a:pt x="f149" y="f482"/>
                </a:lnTo>
                <a:close/>
                <a:moveTo>
                  <a:pt x="f150" y="f481"/>
                </a:moveTo>
                <a:lnTo>
                  <a:pt x="f151" y="f481"/>
                </a:lnTo>
                <a:lnTo>
                  <a:pt x="f152" y="f482"/>
                </a:lnTo>
                <a:lnTo>
                  <a:pt x="f152" y="f136"/>
                </a:lnTo>
                <a:lnTo>
                  <a:pt x="f151" y="f483"/>
                </a:lnTo>
                <a:lnTo>
                  <a:pt x="f150" y="f483"/>
                </a:lnTo>
                <a:lnTo>
                  <a:pt x="f153" y="f136"/>
                </a:lnTo>
                <a:lnTo>
                  <a:pt x="f153" y="f482"/>
                </a:lnTo>
                <a:close/>
                <a:moveTo>
                  <a:pt x="f154" y="f481"/>
                </a:moveTo>
                <a:lnTo>
                  <a:pt x="f155" y="f481"/>
                </a:lnTo>
                <a:lnTo>
                  <a:pt x="f156" y="f482"/>
                </a:lnTo>
                <a:lnTo>
                  <a:pt x="f156" y="f136"/>
                </a:lnTo>
                <a:lnTo>
                  <a:pt x="f155" y="f483"/>
                </a:lnTo>
                <a:lnTo>
                  <a:pt x="f154" y="f483"/>
                </a:lnTo>
                <a:lnTo>
                  <a:pt x="f157" y="f136"/>
                </a:lnTo>
                <a:lnTo>
                  <a:pt x="f157" y="f482"/>
                </a:lnTo>
                <a:close/>
                <a:moveTo>
                  <a:pt x="f158" y="f481"/>
                </a:moveTo>
                <a:lnTo>
                  <a:pt x="f159" y="f481"/>
                </a:lnTo>
                <a:lnTo>
                  <a:pt x="f160" y="f482"/>
                </a:lnTo>
                <a:lnTo>
                  <a:pt x="f160" y="f136"/>
                </a:lnTo>
                <a:lnTo>
                  <a:pt x="f159" y="f483"/>
                </a:lnTo>
                <a:lnTo>
                  <a:pt x="f158" y="f483"/>
                </a:lnTo>
                <a:lnTo>
                  <a:pt x="f161" y="f136"/>
                </a:lnTo>
                <a:lnTo>
                  <a:pt x="f161" y="f482"/>
                </a:lnTo>
                <a:close/>
                <a:moveTo>
                  <a:pt x="f484" y="f481"/>
                </a:moveTo>
                <a:lnTo>
                  <a:pt x="f453" y="f481"/>
                </a:lnTo>
                <a:lnTo>
                  <a:pt x="f485" y="f482"/>
                </a:lnTo>
                <a:lnTo>
                  <a:pt x="f485" y="f136"/>
                </a:lnTo>
                <a:lnTo>
                  <a:pt x="f453" y="f483"/>
                </a:lnTo>
                <a:lnTo>
                  <a:pt x="f484" y="f483"/>
                </a:lnTo>
                <a:lnTo>
                  <a:pt x="f486" y="f136"/>
                </a:lnTo>
                <a:lnTo>
                  <a:pt x="f486" y="f482"/>
                </a:lnTo>
                <a:close/>
                <a:moveTo>
                  <a:pt x="f487" y="f481"/>
                </a:moveTo>
                <a:lnTo>
                  <a:pt x="f488" y="f481"/>
                </a:lnTo>
                <a:lnTo>
                  <a:pt x="f458" y="f482"/>
                </a:lnTo>
                <a:lnTo>
                  <a:pt x="f458" y="f136"/>
                </a:lnTo>
                <a:lnTo>
                  <a:pt x="f488" y="f483"/>
                </a:lnTo>
                <a:lnTo>
                  <a:pt x="f487" y="f483"/>
                </a:lnTo>
                <a:lnTo>
                  <a:pt x="f489" y="f136"/>
                </a:lnTo>
                <a:lnTo>
                  <a:pt x="f489" y="f482"/>
                </a:lnTo>
                <a:close/>
                <a:moveTo>
                  <a:pt x="f490" y="f481"/>
                </a:moveTo>
                <a:lnTo>
                  <a:pt x="f460" y="f481"/>
                </a:lnTo>
                <a:lnTo>
                  <a:pt x="f461" y="f482"/>
                </a:lnTo>
                <a:lnTo>
                  <a:pt x="f461" y="f136"/>
                </a:lnTo>
                <a:lnTo>
                  <a:pt x="f460" y="f483"/>
                </a:lnTo>
                <a:lnTo>
                  <a:pt x="f490" y="f483"/>
                </a:lnTo>
                <a:lnTo>
                  <a:pt x="f491" y="f136"/>
                </a:lnTo>
                <a:lnTo>
                  <a:pt x="f491" y="f482"/>
                </a:lnTo>
                <a:close/>
                <a:moveTo>
                  <a:pt x="f492" y="f481"/>
                </a:moveTo>
                <a:lnTo>
                  <a:pt x="f493" y="f481"/>
                </a:lnTo>
                <a:lnTo>
                  <a:pt x="f463" y="f482"/>
                </a:lnTo>
                <a:lnTo>
                  <a:pt x="f463" y="f136"/>
                </a:lnTo>
                <a:lnTo>
                  <a:pt x="f493" y="f483"/>
                </a:lnTo>
                <a:lnTo>
                  <a:pt x="f492" y="f483"/>
                </a:lnTo>
                <a:lnTo>
                  <a:pt x="f494" y="f136"/>
                </a:lnTo>
                <a:lnTo>
                  <a:pt x="f494" y="f482"/>
                </a:lnTo>
                <a:close/>
                <a:moveTo>
                  <a:pt x="f464" y="f495"/>
                </a:moveTo>
                <a:lnTo>
                  <a:pt x="f466" y="f495"/>
                </a:lnTo>
                <a:lnTo>
                  <a:pt x="f410" y="f496"/>
                </a:lnTo>
                <a:lnTo>
                  <a:pt x="f410" y="f497"/>
                </a:lnTo>
                <a:lnTo>
                  <a:pt x="f466" y="f498"/>
                </a:lnTo>
                <a:lnTo>
                  <a:pt x="f464" y="f498"/>
                </a:lnTo>
                <a:lnTo>
                  <a:pt x="f381" y="f497"/>
                </a:lnTo>
                <a:lnTo>
                  <a:pt x="f381" y="f496"/>
                </a:lnTo>
                <a:close/>
                <a:moveTo>
                  <a:pt x="f414" y="f495"/>
                </a:moveTo>
                <a:lnTo>
                  <a:pt x="f382" y="f495"/>
                </a:lnTo>
                <a:lnTo>
                  <a:pt x="f499" y="f496"/>
                </a:lnTo>
                <a:lnTo>
                  <a:pt x="f499" y="f497"/>
                </a:lnTo>
                <a:lnTo>
                  <a:pt x="f382" y="f498"/>
                </a:lnTo>
                <a:lnTo>
                  <a:pt x="f414" y="f498"/>
                </a:lnTo>
                <a:lnTo>
                  <a:pt x="f470" y="f497"/>
                </a:lnTo>
                <a:lnTo>
                  <a:pt x="f470" y="f496"/>
                </a:lnTo>
                <a:close/>
                <a:moveTo>
                  <a:pt x="f471" y="f495"/>
                </a:moveTo>
                <a:lnTo>
                  <a:pt x="f472" y="f495"/>
                </a:lnTo>
                <a:lnTo>
                  <a:pt x="f500" y="f496"/>
                </a:lnTo>
                <a:lnTo>
                  <a:pt x="f500" y="f497"/>
                </a:lnTo>
                <a:lnTo>
                  <a:pt x="f472" y="f498"/>
                </a:lnTo>
                <a:lnTo>
                  <a:pt x="f471" y="f498"/>
                </a:lnTo>
                <a:lnTo>
                  <a:pt x="f501" y="f497"/>
                </a:lnTo>
                <a:lnTo>
                  <a:pt x="f501" y="f496"/>
                </a:lnTo>
                <a:close/>
                <a:moveTo>
                  <a:pt x="f473" y="f495"/>
                </a:moveTo>
                <a:lnTo>
                  <a:pt x="f502" y="f495"/>
                </a:lnTo>
                <a:lnTo>
                  <a:pt x="f503" y="f496"/>
                </a:lnTo>
                <a:lnTo>
                  <a:pt x="f503" y="f497"/>
                </a:lnTo>
                <a:lnTo>
                  <a:pt x="f502" y="f498"/>
                </a:lnTo>
                <a:lnTo>
                  <a:pt x="f473" y="f498"/>
                </a:lnTo>
                <a:lnTo>
                  <a:pt x="f474" y="f497"/>
                </a:lnTo>
                <a:lnTo>
                  <a:pt x="f474" y="f496"/>
                </a:lnTo>
                <a:close/>
                <a:moveTo>
                  <a:pt x="f475" y="f495"/>
                </a:moveTo>
                <a:lnTo>
                  <a:pt x="f504" y="f495"/>
                </a:lnTo>
                <a:lnTo>
                  <a:pt x="f477" y="f496"/>
                </a:lnTo>
                <a:lnTo>
                  <a:pt x="f477" y="f497"/>
                </a:lnTo>
                <a:lnTo>
                  <a:pt x="f504" y="f498"/>
                </a:lnTo>
                <a:lnTo>
                  <a:pt x="f475" y="f498"/>
                </a:lnTo>
                <a:lnTo>
                  <a:pt x="f505" y="f497"/>
                </a:lnTo>
                <a:lnTo>
                  <a:pt x="f505" y="f496"/>
                </a:lnTo>
                <a:close/>
                <a:moveTo>
                  <a:pt x="f506" y="f495"/>
                </a:moveTo>
                <a:lnTo>
                  <a:pt x="f507" y="f495"/>
                </a:lnTo>
                <a:lnTo>
                  <a:pt x="f479" y="f496"/>
                </a:lnTo>
                <a:lnTo>
                  <a:pt x="f479" y="f497"/>
                </a:lnTo>
                <a:lnTo>
                  <a:pt x="f507" y="f498"/>
                </a:lnTo>
                <a:lnTo>
                  <a:pt x="f506" y="f498"/>
                </a:lnTo>
                <a:lnTo>
                  <a:pt x="f508" y="f497"/>
                </a:lnTo>
                <a:lnTo>
                  <a:pt x="f508" y="f496"/>
                </a:lnTo>
                <a:close/>
                <a:moveTo>
                  <a:pt x="f35" y="f509"/>
                </a:moveTo>
                <a:lnTo>
                  <a:pt x="f37" y="f509"/>
                </a:lnTo>
                <a:lnTo>
                  <a:pt x="f6" y="f510"/>
                </a:lnTo>
                <a:lnTo>
                  <a:pt x="f6" y="f511"/>
                </a:lnTo>
                <a:lnTo>
                  <a:pt x="f37" y="f512"/>
                </a:lnTo>
                <a:lnTo>
                  <a:pt x="f35" y="f512"/>
                </a:lnTo>
                <a:lnTo>
                  <a:pt x="f41" y="f511"/>
                </a:lnTo>
                <a:lnTo>
                  <a:pt x="f41" y="f510"/>
                </a:lnTo>
                <a:close/>
                <a:moveTo>
                  <a:pt x="f42" y="f509"/>
                </a:moveTo>
                <a:lnTo>
                  <a:pt x="f43" y="f509"/>
                </a:lnTo>
                <a:lnTo>
                  <a:pt x="f44" y="f510"/>
                </a:lnTo>
                <a:lnTo>
                  <a:pt x="f44" y="f511"/>
                </a:lnTo>
                <a:lnTo>
                  <a:pt x="f43" y="f512"/>
                </a:lnTo>
                <a:lnTo>
                  <a:pt x="f42" y="f512"/>
                </a:lnTo>
                <a:lnTo>
                  <a:pt x="f45" y="f511"/>
                </a:lnTo>
                <a:lnTo>
                  <a:pt x="f45" y="f510"/>
                </a:lnTo>
                <a:close/>
                <a:moveTo>
                  <a:pt x="f46" y="f509"/>
                </a:moveTo>
                <a:lnTo>
                  <a:pt x="f47" y="f509"/>
                </a:lnTo>
                <a:lnTo>
                  <a:pt x="f48" y="f510"/>
                </a:lnTo>
                <a:lnTo>
                  <a:pt x="f48" y="f511"/>
                </a:lnTo>
                <a:lnTo>
                  <a:pt x="f47" y="f512"/>
                </a:lnTo>
                <a:lnTo>
                  <a:pt x="f46" y="f512"/>
                </a:lnTo>
                <a:lnTo>
                  <a:pt x="f49" y="f511"/>
                </a:lnTo>
                <a:lnTo>
                  <a:pt x="f49" y="f510"/>
                </a:lnTo>
                <a:close/>
                <a:moveTo>
                  <a:pt x="f50" y="f509"/>
                </a:moveTo>
                <a:lnTo>
                  <a:pt x="f51" y="f509"/>
                </a:lnTo>
                <a:lnTo>
                  <a:pt x="f52" y="f510"/>
                </a:lnTo>
                <a:lnTo>
                  <a:pt x="f52" y="f511"/>
                </a:lnTo>
                <a:lnTo>
                  <a:pt x="f51" y="f512"/>
                </a:lnTo>
                <a:lnTo>
                  <a:pt x="f50" y="f512"/>
                </a:lnTo>
                <a:lnTo>
                  <a:pt x="f53" y="f511"/>
                </a:lnTo>
                <a:lnTo>
                  <a:pt x="f53" y="f510"/>
                </a:lnTo>
                <a:close/>
                <a:moveTo>
                  <a:pt x="f54" y="f509"/>
                </a:moveTo>
                <a:lnTo>
                  <a:pt x="f55" y="f509"/>
                </a:lnTo>
                <a:lnTo>
                  <a:pt x="f56" y="f510"/>
                </a:lnTo>
                <a:lnTo>
                  <a:pt x="f56" y="f511"/>
                </a:lnTo>
                <a:lnTo>
                  <a:pt x="f55" y="f512"/>
                </a:lnTo>
                <a:lnTo>
                  <a:pt x="f54" y="f512"/>
                </a:lnTo>
                <a:lnTo>
                  <a:pt x="f57" y="f511"/>
                </a:lnTo>
                <a:lnTo>
                  <a:pt x="f57" y="f510"/>
                </a:lnTo>
                <a:close/>
                <a:moveTo>
                  <a:pt x="f58" y="f509"/>
                </a:moveTo>
                <a:lnTo>
                  <a:pt x="f59" y="f509"/>
                </a:lnTo>
                <a:lnTo>
                  <a:pt x="f60" y="f510"/>
                </a:lnTo>
                <a:lnTo>
                  <a:pt x="f60" y="f511"/>
                </a:lnTo>
                <a:lnTo>
                  <a:pt x="f59" y="f512"/>
                </a:lnTo>
                <a:lnTo>
                  <a:pt x="f58" y="f512"/>
                </a:lnTo>
                <a:lnTo>
                  <a:pt x="f61" y="f511"/>
                </a:lnTo>
                <a:lnTo>
                  <a:pt x="f61" y="f510"/>
                </a:lnTo>
                <a:close/>
                <a:moveTo>
                  <a:pt x="f62" y="f509"/>
                </a:moveTo>
                <a:lnTo>
                  <a:pt x="f63" y="f509"/>
                </a:lnTo>
                <a:lnTo>
                  <a:pt x="f64" y="f510"/>
                </a:lnTo>
                <a:lnTo>
                  <a:pt x="f64" y="f511"/>
                </a:lnTo>
                <a:lnTo>
                  <a:pt x="f63" y="f512"/>
                </a:lnTo>
                <a:lnTo>
                  <a:pt x="f62" y="f512"/>
                </a:lnTo>
                <a:lnTo>
                  <a:pt x="f65" y="f511"/>
                </a:lnTo>
                <a:lnTo>
                  <a:pt x="f65" y="f510"/>
                </a:lnTo>
                <a:close/>
                <a:moveTo>
                  <a:pt x="f66" y="f509"/>
                </a:moveTo>
                <a:lnTo>
                  <a:pt x="f67" y="f509"/>
                </a:lnTo>
                <a:lnTo>
                  <a:pt x="f68" y="f510"/>
                </a:lnTo>
                <a:lnTo>
                  <a:pt x="f68" y="f511"/>
                </a:lnTo>
                <a:lnTo>
                  <a:pt x="f67" y="f512"/>
                </a:lnTo>
                <a:lnTo>
                  <a:pt x="f66" y="f512"/>
                </a:lnTo>
                <a:lnTo>
                  <a:pt x="f69" y="f511"/>
                </a:lnTo>
                <a:lnTo>
                  <a:pt x="f69" y="f510"/>
                </a:lnTo>
                <a:close/>
                <a:moveTo>
                  <a:pt x="f70" y="f509"/>
                </a:moveTo>
                <a:lnTo>
                  <a:pt x="f71" y="f509"/>
                </a:lnTo>
                <a:lnTo>
                  <a:pt x="f72" y="f510"/>
                </a:lnTo>
                <a:lnTo>
                  <a:pt x="f72" y="f511"/>
                </a:lnTo>
                <a:lnTo>
                  <a:pt x="f71" y="f512"/>
                </a:lnTo>
                <a:lnTo>
                  <a:pt x="f70" y="f512"/>
                </a:lnTo>
                <a:lnTo>
                  <a:pt x="f73" y="f511"/>
                </a:lnTo>
                <a:lnTo>
                  <a:pt x="f73" y="f510"/>
                </a:lnTo>
                <a:close/>
                <a:moveTo>
                  <a:pt x="f74" y="f509"/>
                </a:moveTo>
                <a:lnTo>
                  <a:pt x="f75" y="f509"/>
                </a:lnTo>
                <a:lnTo>
                  <a:pt x="f76" y="f510"/>
                </a:lnTo>
                <a:lnTo>
                  <a:pt x="f76" y="f511"/>
                </a:lnTo>
                <a:lnTo>
                  <a:pt x="f75" y="f512"/>
                </a:lnTo>
                <a:lnTo>
                  <a:pt x="f74" y="f512"/>
                </a:lnTo>
                <a:lnTo>
                  <a:pt x="f77" y="f511"/>
                </a:lnTo>
                <a:lnTo>
                  <a:pt x="f77" y="f510"/>
                </a:lnTo>
                <a:close/>
                <a:moveTo>
                  <a:pt x="f78" y="f509"/>
                </a:moveTo>
                <a:lnTo>
                  <a:pt x="f79" y="f509"/>
                </a:lnTo>
                <a:lnTo>
                  <a:pt x="f80" y="f510"/>
                </a:lnTo>
                <a:lnTo>
                  <a:pt x="f80" y="f511"/>
                </a:lnTo>
                <a:lnTo>
                  <a:pt x="f79" y="f512"/>
                </a:lnTo>
                <a:lnTo>
                  <a:pt x="f78" y="f512"/>
                </a:lnTo>
                <a:lnTo>
                  <a:pt x="f81" y="f511"/>
                </a:lnTo>
                <a:lnTo>
                  <a:pt x="f81" y="f510"/>
                </a:lnTo>
                <a:close/>
                <a:moveTo>
                  <a:pt x="f82" y="f509"/>
                </a:moveTo>
                <a:lnTo>
                  <a:pt x="f83" y="f509"/>
                </a:lnTo>
                <a:lnTo>
                  <a:pt x="f84" y="f510"/>
                </a:lnTo>
                <a:lnTo>
                  <a:pt x="f84" y="f511"/>
                </a:lnTo>
                <a:lnTo>
                  <a:pt x="f83" y="f512"/>
                </a:lnTo>
                <a:lnTo>
                  <a:pt x="f82" y="f512"/>
                </a:lnTo>
                <a:lnTo>
                  <a:pt x="f85" y="f511"/>
                </a:lnTo>
                <a:lnTo>
                  <a:pt x="f85" y="f510"/>
                </a:lnTo>
                <a:close/>
                <a:moveTo>
                  <a:pt x="f86" y="f509"/>
                </a:moveTo>
                <a:lnTo>
                  <a:pt x="f87" y="f509"/>
                </a:lnTo>
                <a:lnTo>
                  <a:pt x="f88" y="f510"/>
                </a:lnTo>
                <a:lnTo>
                  <a:pt x="f88" y="f511"/>
                </a:lnTo>
                <a:lnTo>
                  <a:pt x="f87" y="f512"/>
                </a:lnTo>
                <a:lnTo>
                  <a:pt x="f86" y="f512"/>
                </a:lnTo>
                <a:lnTo>
                  <a:pt x="f89" y="f511"/>
                </a:lnTo>
                <a:lnTo>
                  <a:pt x="f89" y="f510"/>
                </a:lnTo>
                <a:close/>
                <a:moveTo>
                  <a:pt x="f90" y="f509"/>
                </a:moveTo>
                <a:lnTo>
                  <a:pt x="f91" y="f509"/>
                </a:lnTo>
                <a:lnTo>
                  <a:pt x="f92" y="f510"/>
                </a:lnTo>
                <a:lnTo>
                  <a:pt x="f92" y="f511"/>
                </a:lnTo>
                <a:lnTo>
                  <a:pt x="f91" y="f512"/>
                </a:lnTo>
                <a:lnTo>
                  <a:pt x="f90" y="f512"/>
                </a:lnTo>
                <a:lnTo>
                  <a:pt x="f93" y="f511"/>
                </a:lnTo>
                <a:lnTo>
                  <a:pt x="f93" y="f510"/>
                </a:lnTo>
                <a:close/>
                <a:moveTo>
                  <a:pt x="f94" y="f509"/>
                </a:moveTo>
                <a:lnTo>
                  <a:pt x="f95" y="f509"/>
                </a:lnTo>
                <a:lnTo>
                  <a:pt x="f96" y="f510"/>
                </a:lnTo>
                <a:lnTo>
                  <a:pt x="f96" y="f511"/>
                </a:lnTo>
                <a:lnTo>
                  <a:pt x="f95" y="f512"/>
                </a:lnTo>
                <a:lnTo>
                  <a:pt x="f94" y="f512"/>
                </a:lnTo>
                <a:lnTo>
                  <a:pt x="f97" y="f511"/>
                </a:lnTo>
                <a:lnTo>
                  <a:pt x="f97" y="f510"/>
                </a:lnTo>
                <a:close/>
                <a:moveTo>
                  <a:pt x="f98" y="f509"/>
                </a:moveTo>
                <a:lnTo>
                  <a:pt x="f99" y="f509"/>
                </a:lnTo>
                <a:lnTo>
                  <a:pt x="f100" y="f510"/>
                </a:lnTo>
                <a:lnTo>
                  <a:pt x="f100" y="f511"/>
                </a:lnTo>
                <a:lnTo>
                  <a:pt x="f99" y="f512"/>
                </a:lnTo>
                <a:lnTo>
                  <a:pt x="f98" y="f512"/>
                </a:lnTo>
                <a:lnTo>
                  <a:pt x="f101" y="f511"/>
                </a:lnTo>
                <a:lnTo>
                  <a:pt x="f101" y="f510"/>
                </a:lnTo>
                <a:close/>
                <a:moveTo>
                  <a:pt x="f102" y="f509"/>
                </a:moveTo>
                <a:lnTo>
                  <a:pt x="f103" y="f509"/>
                </a:lnTo>
                <a:lnTo>
                  <a:pt x="f104" y="f510"/>
                </a:lnTo>
                <a:lnTo>
                  <a:pt x="f104" y="f511"/>
                </a:lnTo>
                <a:lnTo>
                  <a:pt x="f103" y="f512"/>
                </a:lnTo>
                <a:lnTo>
                  <a:pt x="f102" y="f512"/>
                </a:lnTo>
                <a:lnTo>
                  <a:pt x="f105" y="f511"/>
                </a:lnTo>
                <a:lnTo>
                  <a:pt x="f105" y="f510"/>
                </a:lnTo>
                <a:close/>
                <a:moveTo>
                  <a:pt x="f106" y="f509"/>
                </a:moveTo>
                <a:lnTo>
                  <a:pt x="f107" y="f509"/>
                </a:lnTo>
                <a:lnTo>
                  <a:pt x="f108" y="f510"/>
                </a:lnTo>
                <a:lnTo>
                  <a:pt x="f108" y="f511"/>
                </a:lnTo>
                <a:lnTo>
                  <a:pt x="f107" y="f512"/>
                </a:lnTo>
                <a:lnTo>
                  <a:pt x="f106" y="f512"/>
                </a:lnTo>
                <a:lnTo>
                  <a:pt x="f109" y="f511"/>
                </a:lnTo>
                <a:lnTo>
                  <a:pt x="f109" y="f510"/>
                </a:lnTo>
                <a:close/>
                <a:moveTo>
                  <a:pt x="f110" y="f509"/>
                </a:moveTo>
                <a:lnTo>
                  <a:pt x="f111" y="f509"/>
                </a:lnTo>
                <a:lnTo>
                  <a:pt x="f112" y="f510"/>
                </a:lnTo>
                <a:lnTo>
                  <a:pt x="f112" y="f511"/>
                </a:lnTo>
                <a:lnTo>
                  <a:pt x="f111" y="f512"/>
                </a:lnTo>
                <a:lnTo>
                  <a:pt x="f110" y="f512"/>
                </a:lnTo>
                <a:lnTo>
                  <a:pt x="f113" y="f511"/>
                </a:lnTo>
                <a:lnTo>
                  <a:pt x="f113" y="f510"/>
                </a:lnTo>
                <a:close/>
                <a:moveTo>
                  <a:pt x="f114" y="f509"/>
                </a:moveTo>
                <a:lnTo>
                  <a:pt x="f115" y="f509"/>
                </a:lnTo>
                <a:lnTo>
                  <a:pt x="f116" y="f510"/>
                </a:lnTo>
                <a:lnTo>
                  <a:pt x="f116" y="f511"/>
                </a:lnTo>
                <a:lnTo>
                  <a:pt x="f115" y="f512"/>
                </a:lnTo>
                <a:lnTo>
                  <a:pt x="f114" y="f512"/>
                </a:lnTo>
                <a:lnTo>
                  <a:pt x="f117" y="f511"/>
                </a:lnTo>
                <a:lnTo>
                  <a:pt x="f117" y="f510"/>
                </a:lnTo>
                <a:close/>
                <a:moveTo>
                  <a:pt x="f118" y="f509"/>
                </a:moveTo>
                <a:lnTo>
                  <a:pt x="f119" y="f509"/>
                </a:lnTo>
                <a:lnTo>
                  <a:pt x="f120" y="f510"/>
                </a:lnTo>
                <a:lnTo>
                  <a:pt x="f120" y="f511"/>
                </a:lnTo>
                <a:lnTo>
                  <a:pt x="f119" y="f512"/>
                </a:lnTo>
                <a:lnTo>
                  <a:pt x="f118" y="f512"/>
                </a:lnTo>
                <a:lnTo>
                  <a:pt x="f121" y="f511"/>
                </a:lnTo>
                <a:lnTo>
                  <a:pt x="f121" y="f510"/>
                </a:lnTo>
                <a:close/>
                <a:moveTo>
                  <a:pt x="f122" y="f509"/>
                </a:moveTo>
                <a:lnTo>
                  <a:pt x="f123" y="f509"/>
                </a:lnTo>
                <a:lnTo>
                  <a:pt x="f124" y="f510"/>
                </a:lnTo>
                <a:lnTo>
                  <a:pt x="f124" y="f511"/>
                </a:lnTo>
                <a:lnTo>
                  <a:pt x="f123" y="f512"/>
                </a:lnTo>
                <a:lnTo>
                  <a:pt x="f122" y="f512"/>
                </a:lnTo>
                <a:lnTo>
                  <a:pt x="f125" y="f511"/>
                </a:lnTo>
                <a:lnTo>
                  <a:pt x="f125" y="f510"/>
                </a:lnTo>
                <a:close/>
                <a:moveTo>
                  <a:pt x="f126" y="f509"/>
                </a:moveTo>
                <a:lnTo>
                  <a:pt x="f127" y="f509"/>
                </a:lnTo>
                <a:lnTo>
                  <a:pt x="f128" y="f510"/>
                </a:lnTo>
                <a:lnTo>
                  <a:pt x="f128" y="f511"/>
                </a:lnTo>
                <a:lnTo>
                  <a:pt x="f127" y="f512"/>
                </a:lnTo>
                <a:lnTo>
                  <a:pt x="f126" y="f512"/>
                </a:lnTo>
                <a:lnTo>
                  <a:pt x="f129" y="f511"/>
                </a:lnTo>
                <a:lnTo>
                  <a:pt x="f129" y="f510"/>
                </a:lnTo>
                <a:close/>
                <a:moveTo>
                  <a:pt x="f130" y="f509"/>
                </a:moveTo>
                <a:lnTo>
                  <a:pt x="f131" y="f509"/>
                </a:lnTo>
                <a:lnTo>
                  <a:pt x="f132" y="f510"/>
                </a:lnTo>
                <a:lnTo>
                  <a:pt x="f132" y="f511"/>
                </a:lnTo>
                <a:lnTo>
                  <a:pt x="f131" y="f512"/>
                </a:lnTo>
                <a:lnTo>
                  <a:pt x="f130" y="f512"/>
                </a:lnTo>
                <a:lnTo>
                  <a:pt x="f133" y="f511"/>
                </a:lnTo>
                <a:lnTo>
                  <a:pt x="f133" y="f510"/>
                </a:lnTo>
                <a:close/>
                <a:moveTo>
                  <a:pt x="f134" y="f509"/>
                </a:moveTo>
                <a:lnTo>
                  <a:pt x="f135" y="f509"/>
                </a:lnTo>
                <a:lnTo>
                  <a:pt x="f136" y="f510"/>
                </a:lnTo>
                <a:lnTo>
                  <a:pt x="f136" y="f511"/>
                </a:lnTo>
                <a:lnTo>
                  <a:pt x="f135" y="f512"/>
                </a:lnTo>
                <a:lnTo>
                  <a:pt x="f134" y="f512"/>
                </a:lnTo>
                <a:lnTo>
                  <a:pt x="f137" y="f511"/>
                </a:lnTo>
                <a:lnTo>
                  <a:pt x="f137" y="f510"/>
                </a:lnTo>
                <a:close/>
                <a:moveTo>
                  <a:pt x="f138" y="f509"/>
                </a:moveTo>
                <a:lnTo>
                  <a:pt x="f139" y="f509"/>
                </a:lnTo>
                <a:lnTo>
                  <a:pt x="f140" y="f510"/>
                </a:lnTo>
                <a:lnTo>
                  <a:pt x="f140" y="f511"/>
                </a:lnTo>
                <a:lnTo>
                  <a:pt x="f139" y="f512"/>
                </a:lnTo>
                <a:lnTo>
                  <a:pt x="f138" y="f512"/>
                </a:lnTo>
                <a:lnTo>
                  <a:pt x="f141" y="f511"/>
                </a:lnTo>
                <a:lnTo>
                  <a:pt x="f141" y="f510"/>
                </a:lnTo>
                <a:close/>
                <a:moveTo>
                  <a:pt x="f142" y="f509"/>
                </a:moveTo>
                <a:lnTo>
                  <a:pt x="f143" y="f509"/>
                </a:lnTo>
                <a:lnTo>
                  <a:pt x="f144" y="f510"/>
                </a:lnTo>
                <a:lnTo>
                  <a:pt x="f144" y="f511"/>
                </a:lnTo>
                <a:lnTo>
                  <a:pt x="f143" y="f512"/>
                </a:lnTo>
                <a:lnTo>
                  <a:pt x="f142" y="f512"/>
                </a:lnTo>
                <a:lnTo>
                  <a:pt x="f145" y="f511"/>
                </a:lnTo>
                <a:lnTo>
                  <a:pt x="f145" y="f510"/>
                </a:lnTo>
                <a:close/>
                <a:moveTo>
                  <a:pt x="f146" y="f509"/>
                </a:moveTo>
                <a:lnTo>
                  <a:pt x="f147" y="f509"/>
                </a:lnTo>
                <a:lnTo>
                  <a:pt x="f148" y="f510"/>
                </a:lnTo>
                <a:lnTo>
                  <a:pt x="f148" y="f511"/>
                </a:lnTo>
                <a:lnTo>
                  <a:pt x="f147" y="f512"/>
                </a:lnTo>
                <a:lnTo>
                  <a:pt x="f146" y="f512"/>
                </a:lnTo>
                <a:lnTo>
                  <a:pt x="f149" y="f511"/>
                </a:lnTo>
                <a:lnTo>
                  <a:pt x="f149" y="f510"/>
                </a:lnTo>
                <a:close/>
                <a:moveTo>
                  <a:pt x="f150" y="f509"/>
                </a:moveTo>
                <a:lnTo>
                  <a:pt x="f151" y="f509"/>
                </a:lnTo>
                <a:lnTo>
                  <a:pt x="f152" y="f510"/>
                </a:lnTo>
                <a:lnTo>
                  <a:pt x="f152" y="f511"/>
                </a:lnTo>
                <a:lnTo>
                  <a:pt x="f151" y="f512"/>
                </a:lnTo>
                <a:lnTo>
                  <a:pt x="f150" y="f512"/>
                </a:lnTo>
                <a:lnTo>
                  <a:pt x="f153" y="f511"/>
                </a:lnTo>
                <a:lnTo>
                  <a:pt x="f153" y="f510"/>
                </a:lnTo>
                <a:close/>
                <a:moveTo>
                  <a:pt x="f154" y="f509"/>
                </a:moveTo>
                <a:lnTo>
                  <a:pt x="f155" y="f509"/>
                </a:lnTo>
                <a:lnTo>
                  <a:pt x="f156" y="f510"/>
                </a:lnTo>
                <a:lnTo>
                  <a:pt x="f156" y="f511"/>
                </a:lnTo>
                <a:lnTo>
                  <a:pt x="f155" y="f512"/>
                </a:lnTo>
                <a:lnTo>
                  <a:pt x="f154" y="f512"/>
                </a:lnTo>
                <a:lnTo>
                  <a:pt x="f157" y="f511"/>
                </a:lnTo>
                <a:lnTo>
                  <a:pt x="f157" y="f510"/>
                </a:lnTo>
                <a:close/>
                <a:moveTo>
                  <a:pt x="f158" y="f509"/>
                </a:moveTo>
                <a:lnTo>
                  <a:pt x="f159" y="f509"/>
                </a:lnTo>
                <a:lnTo>
                  <a:pt x="f160" y="f510"/>
                </a:lnTo>
                <a:lnTo>
                  <a:pt x="f160" y="f511"/>
                </a:lnTo>
                <a:lnTo>
                  <a:pt x="f159" y="f512"/>
                </a:lnTo>
                <a:lnTo>
                  <a:pt x="f158" y="f512"/>
                </a:lnTo>
                <a:lnTo>
                  <a:pt x="f161" y="f511"/>
                </a:lnTo>
                <a:lnTo>
                  <a:pt x="f161" y="f510"/>
                </a:lnTo>
                <a:close/>
                <a:moveTo>
                  <a:pt x="f484" y="f509"/>
                </a:moveTo>
                <a:lnTo>
                  <a:pt x="f513" y="f509"/>
                </a:lnTo>
                <a:lnTo>
                  <a:pt x="f514" y="f510"/>
                </a:lnTo>
                <a:lnTo>
                  <a:pt x="f514" y="f511"/>
                </a:lnTo>
                <a:lnTo>
                  <a:pt x="f513" y="f512"/>
                </a:lnTo>
                <a:lnTo>
                  <a:pt x="f484" y="f512"/>
                </a:lnTo>
                <a:lnTo>
                  <a:pt x="f515" y="f511"/>
                </a:lnTo>
                <a:lnTo>
                  <a:pt x="f515" y="f510"/>
                </a:lnTo>
                <a:close/>
                <a:moveTo>
                  <a:pt x="f487" y="f509"/>
                </a:moveTo>
                <a:lnTo>
                  <a:pt x="f516" y="f509"/>
                </a:lnTo>
                <a:lnTo>
                  <a:pt x="f517" y="f510"/>
                </a:lnTo>
                <a:lnTo>
                  <a:pt x="f517" y="f511"/>
                </a:lnTo>
                <a:lnTo>
                  <a:pt x="f516" y="f512"/>
                </a:lnTo>
                <a:lnTo>
                  <a:pt x="f487" y="f512"/>
                </a:lnTo>
                <a:lnTo>
                  <a:pt x="f489" y="f511"/>
                </a:lnTo>
                <a:lnTo>
                  <a:pt x="f489" y="f510"/>
                </a:lnTo>
                <a:close/>
                <a:moveTo>
                  <a:pt x="f518" y="f509"/>
                </a:moveTo>
                <a:lnTo>
                  <a:pt x="f519" y="f509"/>
                </a:lnTo>
                <a:lnTo>
                  <a:pt x="f520" y="f510"/>
                </a:lnTo>
                <a:lnTo>
                  <a:pt x="f520" y="f511"/>
                </a:lnTo>
                <a:lnTo>
                  <a:pt x="f519" y="f512"/>
                </a:lnTo>
                <a:lnTo>
                  <a:pt x="f518" y="f512"/>
                </a:lnTo>
                <a:lnTo>
                  <a:pt x="f491" y="f511"/>
                </a:lnTo>
                <a:lnTo>
                  <a:pt x="f491" y="f510"/>
                </a:lnTo>
                <a:close/>
                <a:moveTo>
                  <a:pt x="f492" y="f509"/>
                </a:moveTo>
                <a:lnTo>
                  <a:pt x="f521" y="f509"/>
                </a:lnTo>
                <a:lnTo>
                  <a:pt x="f522" y="f510"/>
                </a:lnTo>
                <a:lnTo>
                  <a:pt x="f522" y="f511"/>
                </a:lnTo>
                <a:lnTo>
                  <a:pt x="f521" y="f512"/>
                </a:lnTo>
                <a:lnTo>
                  <a:pt x="f492" y="f512"/>
                </a:lnTo>
                <a:lnTo>
                  <a:pt x="f494" y="f511"/>
                </a:lnTo>
                <a:lnTo>
                  <a:pt x="f494" y="f510"/>
                </a:lnTo>
                <a:close/>
                <a:moveTo>
                  <a:pt x="f35" y="f523"/>
                </a:moveTo>
                <a:lnTo>
                  <a:pt x="f37" y="f523"/>
                </a:lnTo>
                <a:lnTo>
                  <a:pt x="f6" y="f524"/>
                </a:lnTo>
                <a:lnTo>
                  <a:pt x="f6" y="f525"/>
                </a:lnTo>
                <a:lnTo>
                  <a:pt x="f37" y="f526"/>
                </a:lnTo>
                <a:lnTo>
                  <a:pt x="f35" y="f526"/>
                </a:lnTo>
                <a:lnTo>
                  <a:pt x="f41" y="f525"/>
                </a:lnTo>
                <a:lnTo>
                  <a:pt x="f41" y="f524"/>
                </a:lnTo>
                <a:close/>
                <a:moveTo>
                  <a:pt x="f42" y="f523"/>
                </a:moveTo>
                <a:lnTo>
                  <a:pt x="f43" y="f523"/>
                </a:lnTo>
                <a:lnTo>
                  <a:pt x="f44" y="f524"/>
                </a:lnTo>
                <a:lnTo>
                  <a:pt x="f44" y="f525"/>
                </a:lnTo>
                <a:lnTo>
                  <a:pt x="f43" y="f526"/>
                </a:lnTo>
                <a:lnTo>
                  <a:pt x="f42" y="f526"/>
                </a:lnTo>
                <a:lnTo>
                  <a:pt x="f45" y="f525"/>
                </a:lnTo>
                <a:lnTo>
                  <a:pt x="f45" y="f524"/>
                </a:lnTo>
                <a:close/>
                <a:moveTo>
                  <a:pt x="f46" y="f523"/>
                </a:moveTo>
                <a:lnTo>
                  <a:pt x="f47" y="f523"/>
                </a:lnTo>
                <a:lnTo>
                  <a:pt x="f48" y="f524"/>
                </a:lnTo>
                <a:lnTo>
                  <a:pt x="f48" y="f525"/>
                </a:lnTo>
                <a:lnTo>
                  <a:pt x="f47" y="f526"/>
                </a:lnTo>
                <a:lnTo>
                  <a:pt x="f46" y="f526"/>
                </a:lnTo>
                <a:lnTo>
                  <a:pt x="f49" y="f525"/>
                </a:lnTo>
                <a:lnTo>
                  <a:pt x="f49" y="f524"/>
                </a:lnTo>
                <a:close/>
                <a:moveTo>
                  <a:pt x="f50" y="f523"/>
                </a:moveTo>
                <a:lnTo>
                  <a:pt x="f51" y="f523"/>
                </a:lnTo>
                <a:lnTo>
                  <a:pt x="f52" y="f524"/>
                </a:lnTo>
                <a:lnTo>
                  <a:pt x="f52" y="f525"/>
                </a:lnTo>
                <a:lnTo>
                  <a:pt x="f51" y="f526"/>
                </a:lnTo>
                <a:lnTo>
                  <a:pt x="f50" y="f526"/>
                </a:lnTo>
                <a:lnTo>
                  <a:pt x="f53" y="f525"/>
                </a:lnTo>
                <a:lnTo>
                  <a:pt x="f53" y="f524"/>
                </a:lnTo>
                <a:close/>
                <a:moveTo>
                  <a:pt x="f54" y="f523"/>
                </a:moveTo>
                <a:lnTo>
                  <a:pt x="f55" y="f523"/>
                </a:lnTo>
                <a:lnTo>
                  <a:pt x="f56" y="f524"/>
                </a:lnTo>
                <a:lnTo>
                  <a:pt x="f56" y="f525"/>
                </a:lnTo>
                <a:lnTo>
                  <a:pt x="f55" y="f526"/>
                </a:lnTo>
                <a:lnTo>
                  <a:pt x="f54" y="f526"/>
                </a:lnTo>
                <a:lnTo>
                  <a:pt x="f57" y="f525"/>
                </a:lnTo>
                <a:lnTo>
                  <a:pt x="f57" y="f524"/>
                </a:lnTo>
                <a:close/>
                <a:moveTo>
                  <a:pt x="f58" y="f523"/>
                </a:moveTo>
                <a:lnTo>
                  <a:pt x="f59" y="f523"/>
                </a:lnTo>
                <a:lnTo>
                  <a:pt x="f60" y="f524"/>
                </a:lnTo>
                <a:lnTo>
                  <a:pt x="f60" y="f525"/>
                </a:lnTo>
                <a:lnTo>
                  <a:pt x="f59" y="f526"/>
                </a:lnTo>
                <a:lnTo>
                  <a:pt x="f58" y="f526"/>
                </a:lnTo>
                <a:lnTo>
                  <a:pt x="f61" y="f525"/>
                </a:lnTo>
                <a:lnTo>
                  <a:pt x="f61" y="f524"/>
                </a:lnTo>
                <a:close/>
                <a:moveTo>
                  <a:pt x="f62" y="f523"/>
                </a:moveTo>
                <a:lnTo>
                  <a:pt x="f63" y="f523"/>
                </a:lnTo>
                <a:lnTo>
                  <a:pt x="f64" y="f524"/>
                </a:lnTo>
                <a:lnTo>
                  <a:pt x="f64" y="f525"/>
                </a:lnTo>
                <a:lnTo>
                  <a:pt x="f63" y="f526"/>
                </a:lnTo>
                <a:lnTo>
                  <a:pt x="f62" y="f526"/>
                </a:lnTo>
                <a:lnTo>
                  <a:pt x="f65" y="f525"/>
                </a:lnTo>
                <a:lnTo>
                  <a:pt x="f65" y="f524"/>
                </a:lnTo>
                <a:close/>
                <a:moveTo>
                  <a:pt x="f66" y="f523"/>
                </a:moveTo>
                <a:lnTo>
                  <a:pt x="f67" y="f523"/>
                </a:lnTo>
                <a:lnTo>
                  <a:pt x="f68" y="f524"/>
                </a:lnTo>
                <a:lnTo>
                  <a:pt x="f68" y="f525"/>
                </a:lnTo>
                <a:lnTo>
                  <a:pt x="f67" y="f526"/>
                </a:lnTo>
                <a:lnTo>
                  <a:pt x="f66" y="f526"/>
                </a:lnTo>
                <a:lnTo>
                  <a:pt x="f69" y="f525"/>
                </a:lnTo>
                <a:lnTo>
                  <a:pt x="f69" y="f524"/>
                </a:lnTo>
                <a:close/>
                <a:moveTo>
                  <a:pt x="f70" y="f523"/>
                </a:moveTo>
                <a:lnTo>
                  <a:pt x="f71" y="f523"/>
                </a:lnTo>
                <a:lnTo>
                  <a:pt x="f72" y="f524"/>
                </a:lnTo>
                <a:lnTo>
                  <a:pt x="f72" y="f525"/>
                </a:lnTo>
                <a:lnTo>
                  <a:pt x="f71" y="f526"/>
                </a:lnTo>
                <a:lnTo>
                  <a:pt x="f70" y="f526"/>
                </a:lnTo>
                <a:lnTo>
                  <a:pt x="f73" y="f525"/>
                </a:lnTo>
                <a:lnTo>
                  <a:pt x="f73" y="f524"/>
                </a:lnTo>
                <a:close/>
                <a:moveTo>
                  <a:pt x="f74" y="f523"/>
                </a:moveTo>
                <a:lnTo>
                  <a:pt x="f75" y="f523"/>
                </a:lnTo>
                <a:lnTo>
                  <a:pt x="f76" y="f524"/>
                </a:lnTo>
                <a:lnTo>
                  <a:pt x="f76" y="f525"/>
                </a:lnTo>
                <a:lnTo>
                  <a:pt x="f75" y="f526"/>
                </a:lnTo>
                <a:lnTo>
                  <a:pt x="f74" y="f526"/>
                </a:lnTo>
                <a:lnTo>
                  <a:pt x="f77" y="f525"/>
                </a:lnTo>
                <a:lnTo>
                  <a:pt x="f77" y="f524"/>
                </a:lnTo>
                <a:close/>
                <a:moveTo>
                  <a:pt x="f78" y="f523"/>
                </a:moveTo>
                <a:lnTo>
                  <a:pt x="f79" y="f523"/>
                </a:lnTo>
                <a:lnTo>
                  <a:pt x="f80" y="f524"/>
                </a:lnTo>
                <a:lnTo>
                  <a:pt x="f80" y="f525"/>
                </a:lnTo>
                <a:lnTo>
                  <a:pt x="f79" y="f526"/>
                </a:lnTo>
                <a:lnTo>
                  <a:pt x="f78" y="f526"/>
                </a:lnTo>
                <a:lnTo>
                  <a:pt x="f81" y="f525"/>
                </a:lnTo>
                <a:lnTo>
                  <a:pt x="f81" y="f524"/>
                </a:lnTo>
                <a:close/>
                <a:moveTo>
                  <a:pt x="f82" y="f523"/>
                </a:moveTo>
                <a:lnTo>
                  <a:pt x="f83" y="f523"/>
                </a:lnTo>
                <a:lnTo>
                  <a:pt x="f84" y="f524"/>
                </a:lnTo>
                <a:lnTo>
                  <a:pt x="f84" y="f525"/>
                </a:lnTo>
                <a:lnTo>
                  <a:pt x="f83" y="f526"/>
                </a:lnTo>
                <a:lnTo>
                  <a:pt x="f82" y="f526"/>
                </a:lnTo>
                <a:lnTo>
                  <a:pt x="f85" y="f525"/>
                </a:lnTo>
                <a:lnTo>
                  <a:pt x="f85" y="f524"/>
                </a:lnTo>
                <a:close/>
                <a:moveTo>
                  <a:pt x="f86" y="f523"/>
                </a:moveTo>
                <a:lnTo>
                  <a:pt x="f87" y="f523"/>
                </a:lnTo>
                <a:lnTo>
                  <a:pt x="f88" y="f524"/>
                </a:lnTo>
                <a:lnTo>
                  <a:pt x="f88" y="f525"/>
                </a:lnTo>
                <a:lnTo>
                  <a:pt x="f87" y="f526"/>
                </a:lnTo>
                <a:lnTo>
                  <a:pt x="f86" y="f526"/>
                </a:lnTo>
                <a:lnTo>
                  <a:pt x="f89" y="f525"/>
                </a:lnTo>
                <a:lnTo>
                  <a:pt x="f89" y="f524"/>
                </a:lnTo>
                <a:close/>
                <a:moveTo>
                  <a:pt x="f90" y="f523"/>
                </a:moveTo>
                <a:lnTo>
                  <a:pt x="f91" y="f523"/>
                </a:lnTo>
                <a:lnTo>
                  <a:pt x="f92" y="f524"/>
                </a:lnTo>
                <a:lnTo>
                  <a:pt x="f92" y="f525"/>
                </a:lnTo>
                <a:lnTo>
                  <a:pt x="f91" y="f526"/>
                </a:lnTo>
                <a:lnTo>
                  <a:pt x="f90" y="f526"/>
                </a:lnTo>
                <a:lnTo>
                  <a:pt x="f93" y="f525"/>
                </a:lnTo>
                <a:lnTo>
                  <a:pt x="f93" y="f524"/>
                </a:lnTo>
                <a:close/>
                <a:moveTo>
                  <a:pt x="f94" y="f523"/>
                </a:moveTo>
                <a:lnTo>
                  <a:pt x="f95" y="f523"/>
                </a:lnTo>
                <a:lnTo>
                  <a:pt x="f96" y="f524"/>
                </a:lnTo>
                <a:lnTo>
                  <a:pt x="f96" y="f525"/>
                </a:lnTo>
                <a:lnTo>
                  <a:pt x="f95" y="f526"/>
                </a:lnTo>
                <a:lnTo>
                  <a:pt x="f94" y="f526"/>
                </a:lnTo>
                <a:lnTo>
                  <a:pt x="f97" y="f525"/>
                </a:lnTo>
                <a:lnTo>
                  <a:pt x="f97" y="f524"/>
                </a:lnTo>
                <a:close/>
                <a:moveTo>
                  <a:pt x="f98" y="f523"/>
                </a:moveTo>
                <a:lnTo>
                  <a:pt x="f99" y="f523"/>
                </a:lnTo>
                <a:lnTo>
                  <a:pt x="f100" y="f524"/>
                </a:lnTo>
                <a:lnTo>
                  <a:pt x="f100" y="f525"/>
                </a:lnTo>
                <a:lnTo>
                  <a:pt x="f99" y="f526"/>
                </a:lnTo>
                <a:lnTo>
                  <a:pt x="f98" y="f526"/>
                </a:lnTo>
                <a:lnTo>
                  <a:pt x="f101" y="f525"/>
                </a:lnTo>
                <a:lnTo>
                  <a:pt x="f101" y="f524"/>
                </a:lnTo>
                <a:close/>
                <a:moveTo>
                  <a:pt x="f102" y="f523"/>
                </a:moveTo>
                <a:lnTo>
                  <a:pt x="f103" y="f523"/>
                </a:lnTo>
                <a:lnTo>
                  <a:pt x="f104" y="f524"/>
                </a:lnTo>
                <a:lnTo>
                  <a:pt x="f104" y="f525"/>
                </a:lnTo>
                <a:lnTo>
                  <a:pt x="f103" y="f526"/>
                </a:lnTo>
                <a:lnTo>
                  <a:pt x="f102" y="f526"/>
                </a:lnTo>
                <a:lnTo>
                  <a:pt x="f105" y="f525"/>
                </a:lnTo>
                <a:lnTo>
                  <a:pt x="f105" y="f524"/>
                </a:lnTo>
                <a:close/>
                <a:moveTo>
                  <a:pt x="f106" y="f523"/>
                </a:moveTo>
                <a:lnTo>
                  <a:pt x="f107" y="f523"/>
                </a:lnTo>
                <a:lnTo>
                  <a:pt x="f108" y="f524"/>
                </a:lnTo>
                <a:lnTo>
                  <a:pt x="f108" y="f525"/>
                </a:lnTo>
                <a:lnTo>
                  <a:pt x="f107" y="f526"/>
                </a:lnTo>
                <a:lnTo>
                  <a:pt x="f106" y="f526"/>
                </a:lnTo>
                <a:lnTo>
                  <a:pt x="f109" y="f525"/>
                </a:lnTo>
                <a:lnTo>
                  <a:pt x="f109" y="f524"/>
                </a:lnTo>
                <a:close/>
                <a:moveTo>
                  <a:pt x="f110" y="f523"/>
                </a:moveTo>
                <a:lnTo>
                  <a:pt x="f111" y="f523"/>
                </a:lnTo>
                <a:lnTo>
                  <a:pt x="f112" y="f524"/>
                </a:lnTo>
                <a:lnTo>
                  <a:pt x="f112" y="f525"/>
                </a:lnTo>
                <a:lnTo>
                  <a:pt x="f111" y="f526"/>
                </a:lnTo>
                <a:lnTo>
                  <a:pt x="f110" y="f526"/>
                </a:lnTo>
                <a:lnTo>
                  <a:pt x="f113" y="f525"/>
                </a:lnTo>
                <a:lnTo>
                  <a:pt x="f113" y="f524"/>
                </a:lnTo>
                <a:close/>
                <a:moveTo>
                  <a:pt x="f114" y="f523"/>
                </a:moveTo>
                <a:lnTo>
                  <a:pt x="f115" y="f523"/>
                </a:lnTo>
                <a:lnTo>
                  <a:pt x="f116" y="f524"/>
                </a:lnTo>
                <a:lnTo>
                  <a:pt x="f116" y="f525"/>
                </a:lnTo>
                <a:lnTo>
                  <a:pt x="f115" y="f526"/>
                </a:lnTo>
                <a:lnTo>
                  <a:pt x="f114" y="f526"/>
                </a:lnTo>
                <a:lnTo>
                  <a:pt x="f117" y="f525"/>
                </a:lnTo>
                <a:lnTo>
                  <a:pt x="f117" y="f524"/>
                </a:lnTo>
                <a:close/>
                <a:moveTo>
                  <a:pt x="f118" y="f523"/>
                </a:moveTo>
                <a:lnTo>
                  <a:pt x="f119" y="f523"/>
                </a:lnTo>
                <a:lnTo>
                  <a:pt x="f120" y="f524"/>
                </a:lnTo>
                <a:lnTo>
                  <a:pt x="f120" y="f525"/>
                </a:lnTo>
                <a:lnTo>
                  <a:pt x="f119" y="f526"/>
                </a:lnTo>
                <a:lnTo>
                  <a:pt x="f118" y="f526"/>
                </a:lnTo>
                <a:lnTo>
                  <a:pt x="f121" y="f525"/>
                </a:lnTo>
                <a:lnTo>
                  <a:pt x="f121" y="f524"/>
                </a:lnTo>
                <a:close/>
                <a:moveTo>
                  <a:pt x="f122" y="f523"/>
                </a:moveTo>
                <a:lnTo>
                  <a:pt x="f123" y="f523"/>
                </a:lnTo>
                <a:lnTo>
                  <a:pt x="f124" y="f524"/>
                </a:lnTo>
                <a:lnTo>
                  <a:pt x="f124" y="f525"/>
                </a:lnTo>
                <a:lnTo>
                  <a:pt x="f123" y="f526"/>
                </a:lnTo>
                <a:lnTo>
                  <a:pt x="f122" y="f526"/>
                </a:lnTo>
                <a:lnTo>
                  <a:pt x="f125" y="f525"/>
                </a:lnTo>
                <a:lnTo>
                  <a:pt x="f125" y="f524"/>
                </a:lnTo>
                <a:close/>
                <a:moveTo>
                  <a:pt x="f126" y="f523"/>
                </a:moveTo>
                <a:lnTo>
                  <a:pt x="f127" y="f523"/>
                </a:lnTo>
                <a:lnTo>
                  <a:pt x="f128" y="f524"/>
                </a:lnTo>
                <a:lnTo>
                  <a:pt x="f128" y="f525"/>
                </a:lnTo>
                <a:lnTo>
                  <a:pt x="f127" y="f526"/>
                </a:lnTo>
                <a:lnTo>
                  <a:pt x="f126" y="f526"/>
                </a:lnTo>
                <a:lnTo>
                  <a:pt x="f129" y="f525"/>
                </a:lnTo>
                <a:lnTo>
                  <a:pt x="f129" y="f524"/>
                </a:lnTo>
                <a:close/>
                <a:moveTo>
                  <a:pt x="f130" y="f523"/>
                </a:moveTo>
                <a:lnTo>
                  <a:pt x="f131" y="f523"/>
                </a:lnTo>
                <a:lnTo>
                  <a:pt x="f132" y="f524"/>
                </a:lnTo>
                <a:lnTo>
                  <a:pt x="f132" y="f525"/>
                </a:lnTo>
                <a:lnTo>
                  <a:pt x="f131" y="f526"/>
                </a:lnTo>
                <a:lnTo>
                  <a:pt x="f130" y="f526"/>
                </a:lnTo>
                <a:lnTo>
                  <a:pt x="f133" y="f525"/>
                </a:lnTo>
                <a:lnTo>
                  <a:pt x="f133" y="f524"/>
                </a:lnTo>
                <a:close/>
                <a:moveTo>
                  <a:pt x="f134" y="f523"/>
                </a:moveTo>
                <a:lnTo>
                  <a:pt x="f135" y="f523"/>
                </a:lnTo>
                <a:lnTo>
                  <a:pt x="f136" y="f524"/>
                </a:lnTo>
                <a:lnTo>
                  <a:pt x="f136" y="f525"/>
                </a:lnTo>
                <a:lnTo>
                  <a:pt x="f135" y="f526"/>
                </a:lnTo>
                <a:lnTo>
                  <a:pt x="f134" y="f526"/>
                </a:lnTo>
                <a:lnTo>
                  <a:pt x="f137" y="f525"/>
                </a:lnTo>
                <a:lnTo>
                  <a:pt x="f137" y="f524"/>
                </a:lnTo>
                <a:close/>
                <a:moveTo>
                  <a:pt x="f138" y="f523"/>
                </a:moveTo>
                <a:lnTo>
                  <a:pt x="f139" y="f523"/>
                </a:lnTo>
                <a:lnTo>
                  <a:pt x="f140" y="f524"/>
                </a:lnTo>
                <a:lnTo>
                  <a:pt x="f140" y="f525"/>
                </a:lnTo>
                <a:lnTo>
                  <a:pt x="f139" y="f526"/>
                </a:lnTo>
                <a:lnTo>
                  <a:pt x="f138" y="f526"/>
                </a:lnTo>
                <a:lnTo>
                  <a:pt x="f141" y="f525"/>
                </a:lnTo>
                <a:lnTo>
                  <a:pt x="f141" y="f524"/>
                </a:lnTo>
                <a:close/>
                <a:moveTo>
                  <a:pt x="f142" y="f523"/>
                </a:moveTo>
                <a:lnTo>
                  <a:pt x="f143" y="f523"/>
                </a:lnTo>
                <a:lnTo>
                  <a:pt x="f144" y="f524"/>
                </a:lnTo>
                <a:lnTo>
                  <a:pt x="f144" y="f525"/>
                </a:lnTo>
                <a:lnTo>
                  <a:pt x="f143" y="f526"/>
                </a:lnTo>
                <a:lnTo>
                  <a:pt x="f142" y="f526"/>
                </a:lnTo>
                <a:lnTo>
                  <a:pt x="f145" y="f525"/>
                </a:lnTo>
                <a:lnTo>
                  <a:pt x="f145" y="f524"/>
                </a:lnTo>
                <a:close/>
                <a:moveTo>
                  <a:pt x="f146" y="f523"/>
                </a:moveTo>
                <a:lnTo>
                  <a:pt x="f147" y="f523"/>
                </a:lnTo>
                <a:lnTo>
                  <a:pt x="f148" y="f524"/>
                </a:lnTo>
                <a:lnTo>
                  <a:pt x="f148" y="f525"/>
                </a:lnTo>
                <a:lnTo>
                  <a:pt x="f147" y="f526"/>
                </a:lnTo>
                <a:lnTo>
                  <a:pt x="f146" y="f526"/>
                </a:lnTo>
                <a:lnTo>
                  <a:pt x="f149" y="f525"/>
                </a:lnTo>
                <a:lnTo>
                  <a:pt x="f149" y="f524"/>
                </a:lnTo>
                <a:close/>
                <a:moveTo>
                  <a:pt x="f150" y="f523"/>
                </a:moveTo>
                <a:lnTo>
                  <a:pt x="f151" y="f523"/>
                </a:lnTo>
                <a:lnTo>
                  <a:pt x="f152" y="f524"/>
                </a:lnTo>
                <a:lnTo>
                  <a:pt x="f152" y="f525"/>
                </a:lnTo>
                <a:lnTo>
                  <a:pt x="f151" y="f526"/>
                </a:lnTo>
                <a:lnTo>
                  <a:pt x="f150" y="f526"/>
                </a:lnTo>
                <a:lnTo>
                  <a:pt x="f153" y="f525"/>
                </a:lnTo>
                <a:lnTo>
                  <a:pt x="f153" y="f524"/>
                </a:lnTo>
                <a:close/>
                <a:moveTo>
                  <a:pt x="f154" y="f523"/>
                </a:moveTo>
                <a:lnTo>
                  <a:pt x="f155" y="f523"/>
                </a:lnTo>
                <a:lnTo>
                  <a:pt x="f156" y="f524"/>
                </a:lnTo>
                <a:lnTo>
                  <a:pt x="f156" y="f525"/>
                </a:lnTo>
                <a:lnTo>
                  <a:pt x="f155" y="f526"/>
                </a:lnTo>
                <a:lnTo>
                  <a:pt x="f154" y="f526"/>
                </a:lnTo>
                <a:lnTo>
                  <a:pt x="f157" y="f525"/>
                </a:lnTo>
                <a:lnTo>
                  <a:pt x="f157" y="f524"/>
                </a:lnTo>
                <a:close/>
                <a:moveTo>
                  <a:pt x="f158" y="f523"/>
                </a:moveTo>
                <a:lnTo>
                  <a:pt x="f159" y="f523"/>
                </a:lnTo>
                <a:lnTo>
                  <a:pt x="f160" y="f524"/>
                </a:lnTo>
                <a:lnTo>
                  <a:pt x="f160" y="f525"/>
                </a:lnTo>
                <a:lnTo>
                  <a:pt x="f159" y="f526"/>
                </a:lnTo>
                <a:lnTo>
                  <a:pt x="f158" y="f526"/>
                </a:lnTo>
                <a:lnTo>
                  <a:pt x="f161" y="f525"/>
                </a:lnTo>
                <a:lnTo>
                  <a:pt x="f161" y="f524"/>
                </a:lnTo>
                <a:close/>
                <a:moveTo>
                  <a:pt x="f464" y="f523"/>
                </a:moveTo>
                <a:lnTo>
                  <a:pt x="f466" y="f523"/>
                </a:lnTo>
                <a:lnTo>
                  <a:pt x="f410" y="f524"/>
                </a:lnTo>
                <a:lnTo>
                  <a:pt x="f410" y="f525"/>
                </a:lnTo>
                <a:lnTo>
                  <a:pt x="f466" y="f526"/>
                </a:lnTo>
                <a:lnTo>
                  <a:pt x="f464" y="f526"/>
                </a:lnTo>
                <a:lnTo>
                  <a:pt x="f527" y="f525"/>
                </a:lnTo>
                <a:lnTo>
                  <a:pt x="f527" y="f524"/>
                </a:lnTo>
                <a:close/>
                <a:moveTo>
                  <a:pt x="f414" y="f523"/>
                </a:moveTo>
                <a:lnTo>
                  <a:pt x="f528" y="f523"/>
                </a:lnTo>
                <a:lnTo>
                  <a:pt x="f499" y="f524"/>
                </a:lnTo>
                <a:lnTo>
                  <a:pt x="f499" y="f525"/>
                </a:lnTo>
                <a:lnTo>
                  <a:pt x="f528" y="f526"/>
                </a:lnTo>
                <a:lnTo>
                  <a:pt x="f414" y="f526"/>
                </a:lnTo>
                <a:lnTo>
                  <a:pt x="f470" y="f525"/>
                </a:lnTo>
                <a:lnTo>
                  <a:pt x="f470" y="f524"/>
                </a:lnTo>
                <a:close/>
                <a:moveTo>
                  <a:pt x="f529" y="f523"/>
                </a:moveTo>
                <a:lnTo>
                  <a:pt x="f530" y="f523"/>
                </a:lnTo>
                <a:lnTo>
                  <a:pt x="f500" y="f524"/>
                </a:lnTo>
                <a:lnTo>
                  <a:pt x="f500" y="f525"/>
                </a:lnTo>
                <a:lnTo>
                  <a:pt x="f530" y="f526"/>
                </a:lnTo>
                <a:lnTo>
                  <a:pt x="f529" y="f526"/>
                </a:lnTo>
                <a:lnTo>
                  <a:pt x="f531" y="f525"/>
                </a:lnTo>
                <a:lnTo>
                  <a:pt x="f531" y="f524"/>
                </a:lnTo>
                <a:close/>
                <a:moveTo>
                  <a:pt x="f532" y="f523"/>
                </a:moveTo>
                <a:lnTo>
                  <a:pt x="f502" y="f523"/>
                </a:lnTo>
                <a:lnTo>
                  <a:pt x="f533" y="f524"/>
                </a:lnTo>
                <a:lnTo>
                  <a:pt x="f533" y="f525"/>
                </a:lnTo>
                <a:lnTo>
                  <a:pt x="f502" y="f526"/>
                </a:lnTo>
                <a:lnTo>
                  <a:pt x="f532" y="f526"/>
                </a:lnTo>
                <a:lnTo>
                  <a:pt x="f534" y="f525"/>
                </a:lnTo>
                <a:lnTo>
                  <a:pt x="f534" y="f524"/>
                </a:lnTo>
                <a:close/>
                <a:moveTo>
                  <a:pt x="f535" y="f523"/>
                </a:moveTo>
                <a:lnTo>
                  <a:pt x="f504" y="f523"/>
                </a:lnTo>
                <a:lnTo>
                  <a:pt x="f536" y="f524"/>
                </a:lnTo>
                <a:lnTo>
                  <a:pt x="f536" y="f525"/>
                </a:lnTo>
                <a:lnTo>
                  <a:pt x="f504" y="f526"/>
                </a:lnTo>
                <a:lnTo>
                  <a:pt x="f535" y="f526"/>
                </a:lnTo>
                <a:lnTo>
                  <a:pt x="f505" y="f525"/>
                </a:lnTo>
                <a:lnTo>
                  <a:pt x="f505" y="f524"/>
                </a:lnTo>
                <a:close/>
                <a:moveTo>
                  <a:pt x="f506" y="f523"/>
                </a:moveTo>
                <a:lnTo>
                  <a:pt x="f537" y="f523"/>
                </a:lnTo>
                <a:lnTo>
                  <a:pt x="f538" y="f524"/>
                </a:lnTo>
                <a:lnTo>
                  <a:pt x="f538" y="f525"/>
                </a:lnTo>
                <a:lnTo>
                  <a:pt x="f537" y="f526"/>
                </a:lnTo>
                <a:lnTo>
                  <a:pt x="f506" y="f526"/>
                </a:lnTo>
                <a:lnTo>
                  <a:pt x="f508" y="f525"/>
                </a:lnTo>
                <a:lnTo>
                  <a:pt x="f508" y="f524"/>
                </a:lnTo>
                <a:close/>
                <a:moveTo>
                  <a:pt x="f539" y="f523"/>
                </a:moveTo>
                <a:lnTo>
                  <a:pt x="f513" y="f523"/>
                </a:lnTo>
                <a:lnTo>
                  <a:pt x="f514" y="f524"/>
                </a:lnTo>
                <a:lnTo>
                  <a:pt x="f514" y="f525"/>
                </a:lnTo>
                <a:lnTo>
                  <a:pt x="f513" y="f526"/>
                </a:lnTo>
                <a:lnTo>
                  <a:pt x="f539" y="f526"/>
                </a:lnTo>
                <a:lnTo>
                  <a:pt x="f540" y="f525"/>
                </a:lnTo>
                <a:lnTo>
                  <a:pt x="f540" y="f524"/>
                </a:lnTo>
                <a:close/>
                <a:moveTo>
                  <a:pt x="f541" y="f523"/>
                </a:moveTo>
                <a:lnTo>
                  <a:pt x="f516" y="f523"/>
                </a:lnTo>
                <a:lnTo>
                  <a:pt x="f517" y="f524"/>
                </a:lnTo>
                <a:lnTo>
                  <a:pt x="f517" y="f525"/>
                </a:lnTo>
                <a:lnTo>
                  <a:pt x="f516" y="f526"/>
                </a:lnTo>
                <a:lnTo>
                  <a:pt x="f541" y="f526"/>
                </a:lnTo>
                <a:lnTo>
                  <a:pt x="f542" y="f525"/>
                </a:lnTo>
                <a:lnTo>
                  <a:pt x="f542" y="f524"/>
                </a:lnTo>
                <a:close/>
                <a:moveTo>
                  <a:pt x="f518" y="f523"/>
                </a:moveTo>
                <a:lnTo>
                  <a:pt x="f543" y="f523"/>
                </a:lnTo>
                <a:lnTo>
                  <a:pt x="f544" y="f524"/>
                </a:lnTo>
                <a:lnTo>
                  <a:pt x="f544" y="f525"/>
                </a:lnTo>
                <a:lnTo>
                  <a:pt x="f543" y="f526"/>
                </a:lnTo>
                <a:lnTo>
                  <a:pt x="f518" y="f526"/>
                </a:lnTo>
                <a:lnTo>
                  <a:pt x="f545" y="f525"/>
                </a:lnTo>
                <a:lnTo>
                  <a:pt x="f545" y="f524"/>
                </a:lnTo>
                <a:close/>
                <a:moveTo>
                  <a:pt x="f546" y="f523"/>
                </a:moveTo>
                <a:lnTo>
                  <a:pt x="f521" y="f523"/>
                </a:lnTo>
                <a:lnTo>
                  <a:pt x="f522" y="f524"/>
                </a:lnTo>
                <a:lnTo>
                  <a:pt x="f522" y="f525"/>
                </a:lnTo>
                <a:lnTo>
                  <a:pt x="f521" y="f526"/>
                </a:lnTo>
                <a:lnTo>
                  <a:pt x="f546" y="f526"/>
                </a:lnTo>
                <a:lnTo>
                  <a:pt x="f547" y="f525"/>
                </a:lnTo>
                <a:lnTo>
                  <a:pt x="f547" y="f524"/>
                </a:lnTo>
                <a:close/>
                <a:moveTo>
                  <a:pt x="f464" y="f548"/>
                </a:moveTo>
                <a:lnTo>
                  <a:pt x="f466" y="f548"/>
                </a:lnTo>
                <a:lnTo>
                  <a:pt x="f549" y="f550"/>
                </a:lnTo>
                <a:lnTo>
                  <a:pt x="f549" y="f551"/>
                </a:lnTo>
                <a:lnTo>
                  <a:pt x="f466" y="f552"/>
                </a:lnTo>
                <a:lnTo>
                  <a:pt x="f464" y="f552"/>
                </a:lnTo>
                <a:lnTo>
                  <a:pt x="f527" y="f551"/>
                </a:lnTo>
                <a:lnTo>
                  <a:pt x="f527" y="f550"/>
                </a:lnTo>
                <a:close/>
                <a:moveTo>
                  <a:pt x="f553" y="f548"/>
                </a:moveTo>
                <a:lnTo>
                  <a:pt x="f528" y="f548"/>
                </a:lnTo>
                <a:lnTo>
                  <a:pt x="f499" y="f550"/>
                </a:lnTo>
                <a:lnTo>
                  <a:pt x="f499" y="f551"/>
                </a:lnTo>
                <a:lnTo>
                  <a:pt x="f528" y="f552"/>
                </a:lnTo>
                <a:lnTo>
                  <a:pt x="f553" y="f552"/>
                </a:lnTo>
                <a:lnTo>
                  <a:pt x="f470" y="f551"/>
                </a:lnTo>
                <a:lnTo>
                  <a:pt x="f470" y="f550"/>
                </a:lnTo>
                <a:close/>
                <a:moveTo>
                  <a:pt x="f554" y="f548"/>
                </a:moveTo>
                <a:lnTo>
                  <a:pt x="f555" y="f548"/>
                </a:lnTo>
                <a:lnTo>
                  <a:pt x="f556" y="f550"/>
                </a:lnTo>
                <a:lnTo>
                  <a:pt x="f556" y="f551"/>
                </a:lnTo>
                <a:lnTo>
                  <a:pt x="f555" y="f552"/>
                </a:lnTo>
                <a:lnTo>
                  <a:pt x="f554" y="f552"/>
                </a:lnTo>
                <a:lnTo>
                  <a:pt x="f531" y="f551"/>
                </a:lnTo>
                <a:lnTo>
                  <a:pt x="f531" y="f550"/>
                </a:lnTo>
                <a:close/>
                <a:moveTo>
                  <a:pt x="f557" y="f548"/>
                </a:moveTo>
                <a:lnTo>
                  <a:pt x="f558" y="f548"/>
                </a:lnTo>
                <a:lnTo>
                  <a:pt x="f533" y="f550"/>
                </a:lnTo>
                <a:lnTo>
                  <a:pt x="f533" y="f551"/>
                </a:lnTo>
                <a:lnTo>
                  <a:pt x="f558" y="f552"/>
                </a:lnTo>
                <a:lnTo>
                  <a:pt x="f557" y="f552"/>
                </a:lnTo>
                <a:lnTo>
                  <a:pt x="f534" y="f551"/>
                </a:lnTo>
                <a:lnTo>
                  <a:pt x="f534" y="f550"/>
                </a:lnTo>
                <a:close/>
                <a:moveTo>
                  <a:pt x="f535" y="f548"/>
                </a:moveTo>
                <a:lnTo>
                  <a:pt x="f559" y="f548"/>
                </a:lnTo>
                <a:lnTo>
                  <a:pt x="f536" y="f550"/>
                </a:lnTo>
                <a:lnTo>
                  <a:pt x="f536" y="f551"/>
                </a:lnTo>
                <a:lnTo>
                  <a:pt x="f559" y="f552"/>
                </a:lnTo>
                <a:lnTo>
                  <a:pt x="f535" y="f552"/>
                </a:lnTo>
                <a:lnTo>
                  <a:pt x="f560" y="f551"/>
                </a:lnTo>
                <a:lnTo>
                  <a:pt x="f560" y="f550"/>
                </a:lnTo>
                <a:close/>
                <a:moveTo>
                  <a:pt x="f561" y="f548"/>
                </a:moveTo>
                <a:lnTo>
                  <a:pt x="f537" y="f548"/>
                </a:lnTo>
                <a:lnTo>
                  <a:pt x="f562" y="f550"/>
                </a:lnTo>
                <a:lnTo>
                  <a:pt x="f562" y="f551"/>
                </a:lnTo>
                <a:lnTo>
                  <a:pt x="f537" y="f552"/>
                </a:lnTo>
                <a:lnTo>
                  <a:pt x="f561" y="f552"/>
                </a:lnTo>
                <a:lnTo>
                  <a:pt x="f563" y="f551"/>
                </a:lnTo>
                <a:lnTo>
                  <a:pt x="f563" y="f550"/>
                </a:lnTo>
                <a:close/>
                <a:moveTo>
                  <a:pt x="f35" y="f564"/>
                </a:moveTo>
                <a:lnTo>
                  <a:pt x="f37" y="f564"/>
                </a:lnTo>
                <a:lnTo>
                  <a:pt x="f6" y="f565"/>
                </a:lnTo>
                <a:lnTo>
                  <a:pt x="f6" y="f566"/>
                </a:lnTo>
                <a:lnTo>
                  <a:pt x="f37" y="f567"/>
                </a:lnTo>
                <a:lnTo>
                  <a:pt x="f35" y="f567"/>
                </a:lnTo>
                <a:lnTo>
                  <a:pt x="f41" y="f566"/>
                </a:lnTo>
                <a:lnTo>
                  <a:pt x="f41" y="f565"/>
                </a:lnTo>
                <a:close/>
                <a:moveTo>
                  <a:pt x="f42" y="f564"/>
                </a:moveTo>
                <a:lnTo>
                  <a:pt x="f43" y="f564"/>
                </a:lnTo>
                <a:lnTo>
                  <a:pt x="f44" y="f565"/>
                </a:lnTo>
                <a:lnTo>
                  <a:pt x="f44" y="f566"/>
                </a:lnTo>
                <a:lnTo>
                  <a:pt x="f43" y="f567"/>
                </a:lnTo>
                <a:lnTo>
                  <a:pt x="f42" y="f567"/>
                </a:lnTo>
                <a:lnTo>
                  <a:pt x="f45" y="f566"/>
                </a:lnTo>
                <a:lnTo>
                  <a:pt x="f45" y="f565"/>
                </a:lnTo>
                <a:close/>
                <a:moveTo>
                  <a:pt x="f46" y="f564"/>
                </a:moveTo>
                <a:lnTo>
                  <a:pt x="f47" y="f564"/>
                </a:lnTo>
                <a:lnTo>
                  <a:pt x="f48" y="f565"/>
                </a:lnTo>
                <a:lnTo>
                  <a:pt x="f48" y="f566"/>
                </a:lnTo>
                <a:lnTo>
                  <a:pt x="f47" y="f567"/>
                </a:lnTo>
                <a:lnTo>
                  <a:pt x="f46" y="f567"/>
                </a:lnTo>
                <a:lnTo>
                  <a:pt x="f49" y="f566"/>
                </a:lnTo>
                <a:lnTo>
                  <a:pt x="f49" y="f565"/>
                </a:lnTo>
                <a:close/>
                <a:moveTo>
                  <a:pt x="f50" y="f564"/>
                </a:moveTo>
                <a:lnTo>
                  <a:pt x="f51" y="f564"/>
                </a:lnTo>
                <a:lnTo>
                  <a:pt x="f52" y="f565"/>
                </a:lnTo>
                <a:lnTo>
                  <a:pt x="f52" y="f566"/>
                </a:lnTo>
                <a:lnTo>
                  <a:pt x="f51" y="f567"/>
                </a:lnTo>
                <a:lnTo>
                  <a:pt x="f50" y="f567"/>
                </a:lnTo>
                <a:lnTo>
                  <a:pt x="f53" y="f566"/>
                </a:lnTo>
                <a:lnTo>
                  <a:pt x="f53" y="f565"/>
                </a:lnTo>
                <a:close/>
                <a:moveTo>
                  <a:pt x="f54" y="f564"/>
                </a:moveTo>
                <a:lnTo>
                  <a:pt x="f55" y="f564"/>
                </a:lnTo>
                <a:lnTo>
                  <a:pt x="f56" y="f565"/>
                </a:lnTo>
                <a:lnTo>
                  <a:pt x="f56" y="f566"/>
                </a:lnTo>
                <a:lnTo>
                  <a:pt x="f55" y="f567"/>
                </a:lnTo>
                <a:lnTo>
                  <a:pt x="f54" y="f567"/>
                </a:lnTo>
                <a:lnTo>
                  <a:pt x="f57" y="f566"/>
                </a:lnTo>
                <a:lnTo>
                  <a:pt x="f57" y="f565"/>
                </a:lnTo>
                <a:close/>
                <a:moveTo>
                  <a:pt x="f58" y="f564"/>
                </a:moveTo>
                <a:lnTo>
                  <a:pt x="f59" y="f564"/>
                </a:lnTo>
                <a:lnTo>
                  <a:pt x="f60" y="f565"/>
                </a:lnTo>
                <a:lnTo>
                  <a:pt x="f60" y="f566"/>
                </a:lnTo>
                <a:lnTo>
                  <a:pt x="f59" y="f567"/>
                </a:lnTo>
                <a:lnTo>
                  <a:pt x="f58" y="f567"/>
                </a:lnTo>
                <a:lnTo>
                  <a:pt x="f61" y="f566"/>
                </a:lnTo>
                <a:lnTo>
                  <a:pt x="f61" y="f565"/>
                </a:lnTo>
                <a:close/>
                <a:moveTo>
                  <a:pt x="f62" y="f564"/>
                </a:moveTo>
                <a:lnTo>
                  <a:pt x="f63" y="f564"/>
                </a:lnTo>
                <a:lnTo>
                  <a:pt x="f64" y="f565"/>
                </a:lnTo>
                <a:lnTo>
                  <a:pt x="f64" y="f566"/>
                </a:lnTo>
                <a:lnTo>
                  <a:pt x="f63" y="f567"/>
                </a:lnTo>
                <a:lnTo>
                  <a:pt x="f62" y="f567"/>
                </a:lnTo>
                <a:lnTo>
                  <a:pt x="f65" y="f566"/>
                </a:lnTo>
                <a:lnTo>
                  <a:pt x="f65" y="f565"/>
                </a:lnTo>
                <a:close/>
                <a:moveTo>
                  <a:pt x="f66" y="f564"/>
                </a:moveTo>
                <a:lnTo>
                  <a:pt x="f67" y="f564"/>
                </a:lnTo>
                <a:lnTo>
                  <a:pt x="f68" y="f565"/>
                </a:lnTo>
                <a:lnTo>
                  <a:pt x="f68" y="f566"/>
                </a:lnTo>
                <a:lnTo>
                  <a:pt x="f67" y="f567"/>
                </a:lnTo>
                <a:lnTo>
                  <a:pt x="f66" y="f567"/>
                </a:lnTo>
                <a:lnTo>
                  <a:pt x="f69" y="f566"/>
                </a:lnTo>
                <a:lnTo>
                  <a:pt x="f69" y="f565"/>
                </a:lnTo>
                <a:close/>
                <a:moveTo>
                  <a:pt x="f70" y="f564"/>
                </a:moveTo>
                <a:lnTo>
                  <a:pt x="f71" y="f564"/>
                </a:lnTo>
                <a:lnTo>
                  <a:pt x="f72" y="f565"/>
                </a:lnTo>
                <a:lnTo>
                  <a:pt x="f72" y="f566"/>
                </a:lnTo>
                <a:lnTo>
                  <a:pt x="f71" y="f567"/>
                </a:lnTo>
                <a:lnTo>
                  <a:pt x="f70" y="f567"/>
                </a:lnTo>
                <a:lnTo>
                  <a:pt x="f73" y="f566"/>
                </a:lnTo>
                <a:lnTo>
                  <a:pt x="f73" y="f565"/>
                </a:lnTo>
                <a:close/>
                <a:moveTo>
                  <a:pt x="f74" y="f564"/>
                </a:moveTo>
                <a:lnTo>
                  <a:pt x="f75" y="f564"/>
                </a:lnTo>
                <a:lnTo>
                  <a:pt x="f76" y="f565"/>
                </a:lnTo>
                <a:lnTo>
                  <a:pt x="f76" y="f566"/>
                </a:lnTo>
                <a:lnTo>
                  <a:pt x="f75" y="f567"/>
                </a:lnTo>
                <a:lnTo>
                  <a:pt x="f74" y="f567"/>
                </a:lnTo>
                <a:lnTo>
                  <a:pt x="f77" y="f566"/>
                </a:lnTo>
                <a:lnTo>
                  <a:pt x="f77" y="f565"/>
                </a:lnTo>
                <a:close/>
                <a:moveTo>
                  <a:pt x="f78" y="f564"/>
                </a:moveTo>
                <a:lnTo>
                  <a:pt x="f79" y="f564"/>
                </a:lnTo>
                <a:lnTo>
                  <a:pt x="f80" y="f565"/>
                </a:lnTo>
                <a:lnTo>
                  <a:pt x="f80" y="f566"/>
                </a:lnTo>
                <a:lnTo>
                  <a:pt x="f79" y="f567"/>
                </a:lnTo>
                <a:lnTo>
                  <a:pt x="f78" y="f567"/>
                </a:lnTo>
                <a:lnTo>
                  <a:pt x="f81" y="f566"/>
                </a:lnTo>
                <a:lnTo>
                  <a:pt x="f81" y="f565"/>
                </a:lnTo>
                <a:close/>
                <a:moveTo>
                  <a:pt x="f82" y="f564"/>
                </a:moveTo>
                <a:lnTo>
                  <a:pt x="f83" y="f564"/>
                </a:lnTo>
                <a:lnTo>
                  <a:pt x="f84" y="f565"/>
                </a:lnTo>
                <a:lnTo>
                  <a:pt x="f84" y="f566"/>
                </a:lnTo>
                <a:lnTo>
                  <a:pt x="f83" y="f567"/>
                </a:lnTo>
                <a:lnTo>
                  <a:pt x="f82" y="f567"/>
                </a:lnTo>
                <a:lnTo>
                  <a:pt x="f85" y="f566"/>
                </a:lnTo>
                <a:lnTo>
                  <a:pt x="f85" y="f565"/>
                </a:lnTo>
                <a:close/>
                <a:moveTo>
                  <a:pt x="f86" y="f564"/>
                </a:moveTo>
                <a:lnTo>
                  <a:pt x="f87" y="f564"/>
                </a:lnTo>
                <a:lnTo>
                  <a:pt x="f88" y="f565"/>
                </a:lnTo>
                <a:lnTo>
                  <a:pt x="f88" y="f566"/>
                </a:lnTo>
                <a:lnTo>
                  <a:pt x="f87" y="f567"/>
                </a:lnTo>
                <a:lnTo>
                  <a:pt x="f86" y="f567"/>
                </a:lnTo>
                <a:lnTo>
                  <a:pt x="f89" y="f566"/>
                </a:lnTo>
                <a:lnTo>
                  <a:pt x="f89" y="f565"/>
                </a:lnTo>
                <a:close/>
                <a:moveTo>
                  <a:pt x="f90" y="f564"/>
                </a:moveTo>
                <a:lnTo>
                  <a:pt x="f91" y="f564"/>
                </a:lnTo>
                <a:lnTo>
                  <a:pt x="f92" y="f565"/>
                </a:lnTo>
                <a:lnTo>
                  <a:pt x="f92" y="f566"/>
                </a:lnTo>
                <a:lnTo>
                  <a:pt x="f91" y="f567"/>
                </a:lnTo>
                <a:lnTo>
                  <a:pt x="f90" y="f567"/>
                </a:lnTo>
                <a:lnTo>
                  <a:pt x="f93" y="f566"/>
                </a:lnTo>
                <a:lnTo>
                  <a:pt x="f93" y="f565"/>
                </a:lnTo>
                <a:close/>
                <a:moveTo>
                  <a:pt x="f94" y="f564"/>
                </a:moveTo>
                <a:lnTo>
                  <a:pt x="f95" y="f564"/>
                </a:lnTo>
                <a:lnTo>
                  <a:pt x="f96" y="f565"/>
                </a:lnTo>
                <a:lnTo>
                  <a:pt x="f96" y="f566"/>
                </a:lnTo>
                <a:lnTo>
                  <a:pt x="f95" y="f567"/>
                </a:lnTo>
                <a:lnTo>
                  <a:pt x="f94" y="f567"/>
                </a:lnTo>
                <a:lnTo>
                  <a:pt x="f97" y="f566"/>
                </a:lnTo>
                <a:lnTo>
                  <a:pt x="f97" y="f565"/>
                </a:lnTo>
                <a:close/>
                <a:moveTo>
                  <a:pt x="f98" y="f564"/>
                </a:moveTo>
                <a:lnTo>
                  <a:pt x="f99" y="f564"/>
                </a:lnTo>
                <a:lnTo>
                  <a:pt x="f100" y="f565"/>
                </a:lnTo>
                <a:lnTo>
                  <a:pt x="f100" y="f566"/>
                </a:lnTo>
                <a:lnTo>
                  <a:pt x="f99" y="f567"/>
                </a:lnTo>
                <a:lnTo>
                  <a:pt x="f98" y="f567"/>
                </a:lnTo>
                <a:lnTo>
                  <a:pt x="f101" y="f566"/>
                </a:lnTo>
                <a:lnTo>
                  <a:pt x="f101" y="f565"/>
                </a:lnTo>
                <a:close/>
                <a:moveTo>
                  <a:pt x="f102" y="f564"/>
                </a:moveTo>
                <a:lnTo>
                  <a:pt x="f103" y="f564"/>
                </a:lnTo>
                <a:lnTo>
                  <a:pt x="f104" y="f565"/>
                </a:lnTo>
                <a:lnTo>
                  <a:pt x="f104" y="f566"/>
                </a:lnTo>
                <a:lnTo>
                  <a:pt x="f103" y="f567"/>
                </a:lnTo>
                <a:lnTo>
                  <a:pt x="f102" y="f567"/>
                </a:lnTo>
                <a:lnTo>
                  <a:pt x="f105" y="f566"/>
                </a:lnTo>
                <a:lnTo>
                  <a:pt x="f105" y="f565"/>
                </a:lnTo>
                <a:close/>
                <a:moveTo>
                  <a:pt x="f106" y="f564"/>
                </a:moveTo>
                <a:lnTo>
                  <a:pt x="f107" y="f564"/>
                </a:lnTo>
                <a:lnTo>
                  <a:pt x="f108" y="f565"/>
                </a:lnTo>
                <a:lnTo>
                  <a:pt x="f108" y="f566"/>
                </a:lnTo>
                <a:lnTo>
                  <a:pt x="f107" y="f567"/>
                </a:lnTo>
                <a:lnTo>
                  <a:pt x="f106" y="f567"/>
                </a:lnTo>
                <a:lnTo>
                  <a:pt x="f109" y="f566"/>
                </a:lnTo>
                <a:lnTo>
                  <a:pt x="f109" y="f565"/>
                </a:lnTo>
                <a:close/>
                <a:moveTo>
                  <a:pt x="f110" y="f564"/>
                </a:moveTo>
                <a:lnTo>
                  <a:pt x="f111" y="f564"/>
                </a:lnTo>
                <a:lnTo>
                  <a:pt x="f112" y="f565"/>
                </a:lnTo>
                <a:lnTo>
                  <a:pt x="f112" y="f566"/>
                </a:lnTo>
                <a:lnTo>
                  <a:pt x="f111" y="f567"/>
                </a:lnTo>
                <a:lnTo>
                  <a:pt x="f110" y="f567"/>
                </a:lnTo>
                <a:lnTo>
                  <a:pt x="f113" y="f566"/>
                </a:lnTo>
                <a:lnTo>
                  <a:pt x="f113" y="f565"/>
                </a:lnTo>
                <a:close/>
                <a:moveTo>
                  <a:pt x="f114" y="f564"/>
                </a:moveTo>
                <a:lnTo>
                  <a:pt x="f115" y="f564"/>
                </a:lnTo>
                <a:lnTo>
                  <a:pt x="f116" y="f565"/>
                </a:lnTo>
                <a:lnTo>
                  <a:pt x="f116" y="f566"/>
                </a:lnTo>
                <a:lnTo>
                  <a:pt x="f115" y="f567"/>
                </a:lnTo>
                <a:lnTo>
                  <a:pt x="f114" y="f567"/>
                </a:lnTo>
                <a:lnTo>
                  <a:pt x="f117" y="f566"/>
                </a:lnTo>
                <a:lnTo>
                  <a:pt x="f117" y="f565"/>
                </a:lnTo>
                <a:close/>
                <a:moveTo>
                  <a:pt x="f118" y="f564"/>
                </a:moveTo>
                <a:lnTo>
                  <a:pt x="f119" y="f564"/>
                </a:lnTo>
                <a:lnTo>
                  <a:pt x="f120" y="f565"/>
                </a:lnTo>
                <a:lnTo>
                  <a:pt x="f120" y="f566"/>
                </a:lnTo>
                <a:lnTo>
                  <a:pt x="f119" y="f567"/>
                </a:lnTo>
                <a:lnTo>
                  <a:pt x="f118" y="f567"/>
                </a:lnTo>
                <a:lnTo>
                  <a:pt x="f121" y="f566"/>
                </a:lnTo>
                <a:lnTo>
                  <a:pt x="f121" y="f565"/>
                </a:lnTo>
                <a:close/>
                <a:moveTo>
                  <a:pt x="f122" y="f564"/>
                </a:moveTo>
                <a:lnTo>
                  <a:pt x="f123" y="f564"/>
                </a:lnTo>
                <a:lnTo>
                  <a:pt x="f124" y="f565"/>
                </a:lnTo>
                <a:lnTo>
                  <a:pt x="f124" y="f566"/>
                </a:lnTo>
                <a:lnTo>
                  <a:pt x="f123" y="f567"/>
                </a:lnTo>
                <a:lnTo>
                  <a:pt x="f122" y="f567"/>
                </a:lnTo>
                <a:lnTo>
                  <a:pt x="f125" y="f566"/>
                </a:lnTo>
                <a:lnTo>
                  <a:pt x="f125" y="f565"/>
                </a:lnTo>
                <a:close/>
                <a:moveTo>
                  <a:pt x="f126" y="f564"/>
                </a:moveTo>
                <a:lnTo>
                  <a:pt x="f127" y="f564"/>
                </a:lnTo>
                <a:lnTo>
                  <a:pt x="f128" y="f565"/>
                </a:lnTo>
                <a:lnTo>
                  <a:pt x="f128" y="f566"/>
                </a:lnTo>
                <a:lnTo>
                  <a:pt x="f127" y="f567"/>
                </a:lnTo>
                <a:lnTo>
                  <a:pt x="f126" y="f567"/>
                </a:lnTo>
                <a:lnTo>
                  <a:pt x="f129" y="f566"/>
                </a:lnTo>
                <a:lnTo>
                  <a:pt x="f129" y="f565"/>
                </a:lnTo>
                <a:close/>
                <a:moveTo>
                  <a:pt x="f130" y="f564"/>
                </a:moveTo>
                <a:lnTo>
                  <a:pt x="f131" y="f564"/>
                </a:lnTo>
                <a:lnTo>
                  <a:pt x="f132" y="f565"/>
                </a:lnTo>
                <a:lnTo>
                  <a:pt x="f132" y="f566"/>
                </a:lnTo>
                <a:lnTo>
                  <a:pt x="f131" y="f567"/>
                </a:lnTo>
                <a:lnTo>
                  <a:pt x="f130" y="f567"/>
                </a:lnTo>
                <a:lnTo>
                  <a:pt x="f133" y="f566"/>
                </a:lnTo>
                <a:lnTo>
                  <a:pt x="f133" y="f565"/>
                </a:lnTo>
                <a:close/>
                <a:moveTo>
                  <a:pt x="f134" y="f564"/>
                </a:moveTo>
                <a:lnTo>
                  <a:pt x="f135" y="f564"/>
                </a:lnTo>
                <a:lnTo>
                  <a:pt x="f136" y="f565"/>
                </a:lnTo>
                <a:lnTo>
                  <a:pt x="f136" y="f566"/>
                </a:lnTo>
                <a:lnTo>
                  <a:pt x="f135" y="f567"/>
                </a:lnTo>
                <a:lnTo>
                  <a:pt x="f134" y="f567"/>
                </a:lnTo>
                <a:lnTo>
                  <a:pt x="f137" y="f566"/>
                </a:lnTo>
                <a:lnTo>
                  <a:pt x="f137" y="f565"/>
                </a:lnTo>
                <a:close/>
                <a:moveTo>
                  <a:pt x="f138" y="f564"/>
                </a:moveTo>
                <a:lnTo>
                  <a:pt x="f139" y="f564"/>
                </a:lnTo>
                <a:lnTo>
                  <a:pt x="f140" y="f565"/>
                </a:lnTo>
                <a:lnTo>
                  <a:pt x="f140" y="f566"/>
                </a:lnTo>
                <a:lnTo>
                  <a:pt x="f139" y="f567"/>
                </a:lnTo>
                <a:lnTo>
                  <a:pt x="f138" y="f567"/>
                </a:lnTo>
                <a:lnTo>
                  <a:pt x="f141" y="f566"/>
                </a:lnTo>
                <a:lnTo>
                  <a:pt x="f141" y="f565"/>
                </a:lnTo>
                <a:close/>
                <a:moveTo>
                  <a:pt x="f142" y="f564"/>
                </a:moveTo>
                <a:lnTo>
                  <a:pt x="f143" y="f564"/>
                </a:lnTo>
                <a:lnTo>
                  <a:pt x="f144" y="f565"/>
                </a:lnTo>
                <a:lnTo>
                  <a:pt x="f144" y="f566"/>
                </a:lnTo>
                <a:lnTo>
                  <a:pt x="f143" y="f567"/>
                </a:lnTo>
                <a:lnTo>
                  <a:pt x="f142" y="f567"/>
                </a:lnTo>
                <a:lnTo>
                  <a:pt x="f145" y="f566"/>
                </a:lnTo>
                <a:lnTo>
                  <a:pt x="f145" y="f565"/>
                </a:lnTo>
                <a:close/>
                <a:moveTo>
                  <a:pt x="f146" y="f564"/>
                </a:moveTo>
                <a:lnTo>
                  <a:pt x="f147" y="f564"/>
                </a:lnTo>
                <a:lnTo>
                  <a:pt x="f148" y="f565"/>
                </a:lnTo>
                <a:lnTo>
                  <a:pt x="f148" y="f566"/>
                </a:lnTo>
                <a:lnTo>
                  <a:pt x="f147" y="f567"/>
                </a:lnTo>
                <a:lnTo>
                  <a:pt x="f146" y="f567"/>
                </a:lnTo>
                <a:lnTo>
                  <a:pt x="f149" y="f566"/>
                </a:lnTo>
                <a:lnTo>
                  <a:pt x="f149" y="f565"/>
                </a:lnTo>
                <a:close/>
                <a:moveTo>
                  <a:pt x="f150" y="f564"/>
                </a:moveTo>
                <a:lnTo>
                  <a:pt x="f151" y="f564"/>
                </a:lnTo>
                <a:lnTo>
                  <a:pt x="f152" y="f565"/>
                </a:lnTo>
                <a:lnTo>
                  <a:pt x="f152" y="f566"/>
                </a:lnTo>
                <a:lnTo>
                  <a:pt x="f151" y="f567"/>
                </a:lnTo>
                <a:lnTo>
                  <a:pt x="f150" y="f567"/>
                </a:lnTo>
                <a:lnTo>
                  <a:pt x="f153" y="f566"/>
                </a:lnTo>
                <a:lnTo>
                  <a:pt x="f153" y="f565"/>
                </a:lnTo>
                <a:close/>
                <a:moveTo>
                  <a:pt x="f154" y="f564"/>
                </a:moveTo>
                <a:lnTo>
                  <a:pt x="f155" y="f564"/>
                </a:lnTo>
                <a:lnTo>
                  <a:pt x="f156" y="f565"/>
                </a:lnTo>
                <a:lnTo>
                  <a:pt x="f156" y="f566"/>
                </a:lnTo>
                <a:lnTo>
                  <a:pt x="f155" y="f567"/>
                </a:lnTo>
                <a:lnTo>
                  <a:pt x="f154" y="f567"/>
                </a:lnTo>
                <a:lnTo>
                  <a:pt x="f157" y="f566"/>
                </a:lnTo>
                <a:lnTo>
                  <a:pt x="f157" y="f565"/>
                </a:lnTo>
                <a:close/>
                <a:moveTo>
                  <a:pt x="f158" y="f564"/>
                </a:moveTo>
                <a:lnTo>
                  <a:pt x="f159" y="f564"/>
                </a:lnTo>
                <a:lnTo>
                  <a:pt x="f160" y="f565"/>
                </a:lnTo>
                <a:lnTo>
                  <a:pt x="f160" y="f566"/>
                </a:lnTo>
                <a:lnTo>
                  <a:pt x="f159" y="f567"/>
                </a:lnTo>
                <a:lnTo>
                  <a:pt x="f158" y="f567"/>
                </a:lnTo>
                <a:lnTo>
                  <a:pt x="f161" y="f566"/>
                </a:lnTo>
                <a:lnTo>
                  <a:pt x="f161" y="f565"/>
                </a:lnTo>
                <a:close/>
                <a:moveTo>
                  <a:pt x="f568" y="f564"/>
                </a:moveTo>
                <a:lnTo>
                  <a:pt x="f569" y="f564"/>
                </a:lnTo>
                <a:lnTo>
                  <a:pt x="f570" y="f565"/>
                </a:lnTo>
                <a:lnTo>
                  <a:pt x="f570" y="f566"/>
                </a:lnTo>
                <a:lnTo>
                  <a:pt x="f569" y="f567"/>
                </a:lnTo>
                <a:lnTo>
                  <a:pt x="f568" y="f567"/>
                </a:lnTo>
                <a:lnTo>
                  <a:pt x="f540" y="f566"/>
                </a:lnTo>
                <a:lnTo>
                  <a:pt x="f540" y="f565"/>
                </a:lnTo>
                <a:close/>
                <a:moveTo>
                  <a:pt x="f571" y="f564"/>
                </a:moveTo>
                <a:lnTo>
                  <a:pt x="f572" y="f564"/>
                </a:lnTo>
                <a:lnTo>
                  <a:pt x="f573" y="f565"/>
                </a:lnTo>
                <a:lnTo>
                  <a:pt x="f573" y="f566"/>
                </a:lnTo>
                <a:lnTo>
                  <a:pt x="f572" y="f567"/>
                </a:lnTo>
                <a:lnTo>
                  <a:pt x="f571" y="f567"/>
                </a:lnTo>
                <a:lnTo>
                  <a:pt x="f574" y="f566"/>
                </a:lnTo>
                <a:lnTo>
                  <a:pt x="f574" y="f565"/>
                </a:lnTo>
                <a:close/>
                <a:moveTo>
                  <a:pt x="f575" y="f564"/>
                </a:moveTo>
                <a:lnTo>
                  <a:pt x="f543" y="f564"/>
                </a:lnTo>
                <a:lnTo>
                  <a:pt x="f544" y="f565"/>
                </a:lnTo>
                <a:lnTo>
                  <a:pt x="f544" y="f566"/>
                </a:lnTo>
                <a:lnTo>
                  <a:pt x="f543" y="f567"/>
                </a:lnTo>
                <a:lnTo>
                  <a:pt x="f575" y="f567"/>
                </a:lnTo>
                <a:lnTo>
                  <a:pt x="f576" y="f566"/>
                </a:lnTo>
                <a:lnTo>
                  <a:pt x="f576" y="f565"/>
                </a:lnTo>
                <a:close/>
                <a:moveTo>
                  <a:pt x="f546" y="f564"/>
                </a:moveTo>
                <a:lnTo>
                  <a:pt x="f577" y="f564"/>
                </a:lnTo>
                <a:lnTo>
                  <a:pt x="f578" y="f565"/>
                </a:lnTo>
                <a:lnTo>
                  <a:pt x="f578" y="f566"/>
                </a:lnTo>
                <a:lnTo>
                  <a:pt x="f577" y="f567"/>
                </a:lnTo>
                <a:lnTo>
                  <a:pt x="f546" y="f567"/>
                </a:lnTo>
                <a:lnTo>
                  <a:pt x="f579" y="f566"/>
                </a:lnTo>
                <a:lnTo>
                  <a:pt x="f579" y="f565"/>
                </a:lnTo>
                <a:close/>
                <a:moveTo>
                  <a:pt x="f464" y="f580"/>
                </a:moveTo>
                <a:lnTo>
                  <a:pt x="f581" y="f580"/>
                </a:lnTo>
                <a:lnTo>
                  <a:pt x="f549" y="f582"/>
                </a:lnTo>
                <a:lnTo>
                  <a:pt x="f549" y="f583"/>
                </a:lnTo>
                <a:lnTo>
                  <a:pt x="f581" y="f584"/>
                </a:lnTo>
                <a:lnTo>
                  <a:pt x="f464" y="f584"/>
                </a:lnTo>
                <a:lnTo>
                  <a:pt x="f527" y="f583"/>
                </a:lnTo>
                <a:lnTo>
                  <a:pt x="f527" y="f582"/>
                </a:lnTo>
                <a:close/>
                <a:moveTo>
                  <a:pt x="f553" y="f580"/>
                </a:moveTo>
                <a:lnTo>
                  <a:pt x="f528" y="f580"/>
                </a:lnTo>
                <a:lnTo>
                  <a:pt x="f499" y="f582"/>
                </a:lnTo>
                <a:lnTo>
                  <a:pt x="f499" y="f583"/>
                </a:lnTo>
                <a:lnTo>
                  <a:pt x="f528" y="f584"/>
                </a:lnTo>
                <a:lnTo>
                  <a:pt x="f553" y="f584"/>
                </a:lnTo>
                <a:lnTo>
                  <a:pt x="f470" y="f583"/>
                </a:lnTo>
                <a:lnTo>
                  <a:pt x="f470" y="f582"/>
                </a:lnTo>
                <a:close/>
                <a:moveTo>
                  <a:pt x="f554" y="f580"/>
                </a:moveTo>
                <a:lnTo>
                  <a:pt x="f555" y="f580"/>
                </a:lnTo>
                <a:lnTo>
                  <a:pt x="f585" y="f582"/>
                </a:lnTo>
                <a:lnTo>
                  <a:pt x="f585" y="f583"/>
                </a:lnTo>
                <a:lnTo>
                  <a:pt x="f555" y="f584"/>
                </a:lnTo>
                <a:lnTo>
                  <a:pt x="f554" y="f584"/>
                </a:lnTo>
                <a:lnTo>
                  <a:pt x="f586" y="f583"/>
                </a:lnTo>
                <a:lnTo>
                  <a:pt x="f586" y="f582"/>
                </a:lnTo>
                <a:close/>
                <a:moveTo>
                  <a:pt x="f557" y="f580"/>
                </a:moveTo>
                <a:lnTo>
                  <a:pt x="f558" y="f580"/>
                </a:lnTo>
                <a:lnTo>
                  <a:pt x="f587" y="f582"/>
                </a:lnTo>
                <a:lnTo>
                  <a:pt x="f587" y="f583"/>
                </a:lnTo>
                <a:lnTo>
                  <a:pt x="f558" y="f584"/>
                </a:lnTo>
                <a:lnTo>
                  <a:pt x="f557" y="f584"/>
                </a:lnTo>
                <a:lnTo>
                  <a:pt x="f588" y="f583"/>
                </a:lnTo>
                <a:lnTo>
                  <a:pt x="f588" y="f582"/>
                </a:lnTo>
                <a:close/>
                <a:moveTo>
                  <a:pt x="f589" y="f580"/>
                </a:moveTo>
                <a:lnTo>
                  <a:pt x="f559" y="f580"/>
                </a:lnTo>
                <a:lnTo>
                  <a:pt x="f590" y="f582"/>
                </a:lnTo>
                <a:lnTo>
                  <a:pt x="f590" y="f583"/>
                </a:lnTo>
                <a:lnTo>
                  <a:pt x="f559" y="f584"/>
                </a:lnTo>
                <a:lnTo>
                  <a:pt x="f589" y="f584"/>
                </a:lnTo>
                <a:lnTo>
                  <a:pt x="f560" y="f583"/>
                </a:lnTo>
                <a:lnTo>
                  <a:pt x="f560" y="f582"/>
                </a:lnTo>
                <a:close/>
                <a:moveTo>
                  <a:pt x="f591" y="f580"/>
                </a:moveTo>
                <a:lnTo>
                  <a:pt x="f592" y="f580"/>
                </a:lnTo>
                <a:lnTo>
                  <a:pt x="f562" y="f582"/>
                </a:lnTo>
                <a:lnTo>
                  <a:pt x="f562" y="f583"/>
                </a:lnTo>
                <a:lnTo>
                  <a:pt x="f592" y="f584"/>
                </a:lnTo>
                <a:lnTo>
                  <a:pt x="f591" y="f584"/>
                </a:lnTo>
                <a:lnTo>
                  <a:pt x="f563" y="f583"/>
                </a:lnTo>
                <a:lnTo>
                  <a:pt x="f563" y="f582"/>
                </a:lnTo>
                <a:close/>
                <a:moveTo>
                  <a:pt x="f35" y="f593"/>
                </a:moveTo>
                <a:lnTo>
                  <a:pt x="f37" y="f593"/>
                </a:lnTo>
                <a:lnTo>
                  <a:pt x="f6" y="f594"/>
                </a:lnTo>
                <a:lnTo>
                  <a:pt x="f6" y="f595"/>
                </a:lnTo>
                <a:lnTo>
                  <a:pt x="f37" y="f596"/>
                </a:lnTo>
                <a:lnTo>
                  <a:pt x="f35" y="f596"/>
                </a:lnTo>
                <a:lnTo>
                  <a:pt x="f41" y="f595"/>
                </a:lnTo>
                <a:lnTo>
                  <a:pt x="f41" y="f594"/>
                </a:lnTo>
                <a:close/>
                <a:moveTo>
                  <a:pt x="f42" y="f593"/>
                </a:moveTo>
                <a:lnTo>
                  <a:pt x="f43" y="f593"/>
                </a:lnTo>
                <a:lnTo>
                  <a:pt x="f44" y="f594"/>
                </a:lnTo>
                <a:lnTo>
                  <a:pt x="f44" y="f595"/>
                </a:lnTo>
                <a:lnTo>
                  <a:pt x="f43" y="f596"/>
                </a:lnTo>
                <a:lnTo>
                  <a:pt x="f42" y="f596"/>
                </a:lnTo>
                <a:lnTo>
                  <a:pt x="f45" y="f595"/>
                </a:lnTo>
                <a:lnTo>
                  <a:pt x="f45" y="f594"/>
                </a:lnTo>
                <a:close/>
                <a:moveTo>
                  <a:pt x="f46" y="f593"/>
                </a:moveTo>
                <a:lnTo>
                  <a:pt x="f47" y="f593"/>
                </a:lnTo>
                <a:lnTo>
                  <a:pt x="f48" y="f594"/>
                </a:lnTo>
                <a:lnTo>
                  <a:pt x="f48" y="f595"/>
                </a:lnTo>
                <a:lnTo>
                  <a:pt x="f47" y="f596"/>
                </a:lnTo>
                <a:lnTo>
                  <a:pt x="f46" y="f596"/>
                </a:lnTo>
                <a:lnTo>
                  <a:pt x="f49" y="f595"/>
                </a:lnTo>
                <a:lnTo>
                  <a:pt x="f49" y="f594"/>
                </a:lnTo>
                <a:close/>
                <a:moveTo>
                  <a:pt x="f50" y="f593"/>
                </a:moveTo>
                <a:lnTo>
                  <a:pt x="f51" y="f593"/>
                </a:lnTo>
                <a:lnTo>
                  <a:pt x="f52" y="f594"/>
                </a:lnTo>
                <a:lnTo>
                  <a:pt x="f52" y="f595"/>
                </a:lnTo>
                <a:lnTo>
                  <a:pt x="f51" y="f596"/>
                </a:lnTo>
                <a:lnTo>
                  <a:pt x="f50" y="f596"/>
                </a:lnTo>
                <a:lnTo>
                  <a:pt x="f53" y="f595"/>
                </a:lnTo>
                <a:lnTo>
                  <a:pt x="f53" y="f594"/>
                </a:lnTo>
                <a:close/>
                <a:moveTo>
                  <a:pt x="f54" y="f593"/>
                </a:moveTo>
                <a:lnTo>
                  <a:pt x="f55" y="f593"/>
                </a:lnTo>
                <a:lnTo>
                  <a:pt x="f56" y="f594"/>
                </a:lnTo>
                <a:lnTo>
                  <a:pt x="f56" y="f595"/>
                </a:lnTo>
                <a:lnTo>
                  <a:pt x="f55" y="f596"/>
                </a:lnTo>
                <a:lnTo>
                  <a:pt x="f54" y="f596"/>
                </a:lnTo>
                <a:lnTo>
                  <a:pt x="f57" y="f595"/>
                </a:lnTo>
                <a:lnTo>
                  <a:pt x="f57" y="f594"/>
                </a:lnTo>
                <a:close/>
                <a:moveTo>
                  <a:pt x="f58" y="f593"/>
                </a:moveTo>
                <a:lnTo>
                  <a:pt x="f59" y="f593"/>
                </a:lnTo>
                <a:lnTo>
                  <a:pt x="f60" y="f594"/>
                </a:lnTo>
                <a:lnTo>
                  <a:pt x="f60" y="f595"/>
                </a:lnTo>
                <a:lnTo>
                  <a:pt x="f59" y="f596"/>
                </a:lnTo>
                <a:lnTo>
                  <a:pt x="f58" y="f596"/>
                </a:lnTo>
                <a:lnTo>
                  <a:pt x="f61" y="f595"/>
                </a:lnTo>
                <a:lnTo>
                  <a:pt x="f61" y="f594"/>
                </a:lnTo>
                <a:close/>
                <a:moveTo>
                  <a:pt x="f62" y="f593"/>
                </a:moveTo>
                <a:lnTo>
                  <a:pt x="f63" y="f593"/>
                </a:lnTo>
                <a:lnTo>
                  <a:pt x="f64" y="f594"/>
                </a:lnTo>
                <a:lnTo>
                  <a:pt x="f64" y="f595"/>
                </a:lnTo>
                <a:lnTo>
                  <a:pt x="f63" y="f596"/>
                </a:lnTo>
                <a:lnTo>
                  <a:pt x="f62" y="f596"/>
                </a:lnTo>
                <a:lnTo>
                  <a:pt x="f65" y="f595"/>
                </a:lnTo>
                <a:lnTo>
                  <a:pt x="f65" y="f594"/>
                </a:lnTo>
                <a:close/>
                <a:moveTo>
                  <a:pt x="f66" y="f593"/>
                </a:moveTo>
                <a:lnTo>
                  <a:pt x="f67" y="f593"/>
                </a:lnTo>
                <a:lnTo>
                  <a:pt x="f68" y="f594"/>
                </a:lnTo>
                <a:lnTo>
                  <a:pt x="f68" y="f595"/>
                </a:lnTo>
                <a:lnTo>
                  <a:pt x="f67" y="f596"/>
                </a:lnTo>
                <a:lnTo>
                  <a:pt x="f66" y="f596"/>
                </a:lnTo>
                <a:lnTo>
                  <a:pt x="f69" y="f595"/>
                </a:lnTo>
                <a:lnTo>
                  <a:pt x="f69" y="f594"/>
                </a:lnTo>
                <a:close/>
                <a:moveTo>
                  <a:pt x="f70" y="f593"/>
                </a:moveTo>
                <a:lnTo>
                  <a:pt x="f71" y="f593"/>
                </a:lnTo>
                <a:lnTo>
                  <a:pt x="f72" y="f594"/>
                </a:lnTo>
                <a:lnTo>
                  <a:pt x="f72" y="f595"/>
                </a:lnTo>
                <a:lnTo>
                  <a:pt x="f71" y="f596"/>
                </a:lnTo>
                <a:lnTo>
                  <a:pt x="f70" y="f596"/>
                </a:lnTo>
                <a:lnTo>
                  <a:pt x="f73" y="f595"/>
                </a:lnTo>
                <a:lnTo>
                  <a:pt x="f73" y="f594"/>
                </a:lnTo>
                <a:close/>
                <a:moveTo>
                  <a:pt x="f74" y="f593"/>
                </a:moveTo>
                <a:lnTo>
                  <a:pt x="f75" y="f593"/>
                </a:lnTo>
                <a:lnTo>
                  <a:pt x="f76" y="f594"/>
                </a:lnTo>
                <a:lnTo>
                  <a:pt x="f76" y="f595"/>
                </a:lnTo>
                <a:lnTo>
                  <a:pt x="f75" y="f596"/>
                </a:lnTo>
                <a:lnTo>
                  <a:pt x="f74" y="f596"/>
                </a:lnTo>
                <a:lnTo>
                  <a:pt x="f77" y="f595"/>
                </a:lnTo>
                <a:lnTo>
                  <a:pt x="f77" y="f594"/>
                </a:lnTo>
                <a:close/>
                <a:moveTo>
                  <a:pt x="f78" y="f593"/>
                </a:moveTo>
                <a:lnTo>
                  <a:pt x="f79" y="f593"/>
                </a:lnTo>
                <a:lnTo>
                  <a:pt x="f80" y="f594"/>
                </a:lnTo>
                <a:lnTo>
                  <a:pt x="f80" y="f595"/>
                </a:lnTo>
                <a:lnTo>
                  <a:pt x="f79" y="f596"/>
                </a:lnTo>
                <a:lnTo>
                  <a:pt x="f78" y="f596"/>
                </a:lnTo>
                <a:lnTo>
                  <a:pt x="f81" y="f595"/>
                </a:lnTo>
                <a:lnTo>
                  <a:pt x="f81" y="f594"/>
                </a:lnTo>
                <a:close/>
                <a:moveTo>
                  <a:pt x="f82" y="f593"/>
                </a:moveTo>
                <a:lnTo>
                  <a:pt x="f83" y="f593"/>
                </a:lnTo>
                <a:lnTo>
                  <a:pt x="f84" y="f594"/>
                </a:lnTo>
                <a:lnTo>
                  <a:pt x="f84" y="f595"/>
                </a:lnTo>
                <a:lnTo>
                  <a:pt x="f83" y="f596"/>
                </a:lnTo>
                <a:lnTo>
                  <a:pt x="f82" y="f596"/>
                </a:lnTo>
                <a:lnTo>
                  <a:pt x="f85" y="f595"/>
                </a:lnTo>
                <a:lnTo>
                  <a:pt x="f85" y="f594"/>
                </a:lnTo>
                <a:close/>
                <a:moveTo>
                  <a:pt x="f86" y="f593"/>
                </a:moveTo>
                <a:lnTo>
                  <a:pt x="f87" y="f593"/>
                </a:lnTo>
                <a:lnTo>
                  <a:pt x="f88" y="f594"/>
                </a:lnTo>
                <a:lnTo>
                  <a:pt x="f88" y="f595"/>
                </a:lnTo>
                <a:lnTo>
                  <a:pt x="f87" y="f596"/>
                </a:lnTo>
                <a:lnTo>
                  <a:pt x="f86" y="f596"/>
                </a:lnTo>
                <a:lnTo>
                  <a:pt x="f89" y="f595"/>
                </a:lnTo>
                <a:lnTo>
                  <a:pt x="f89" y="f594"/>
                </a:lnTo>
                <a:close/>
                <a:moveTo>
                  <a:pt x="f90" y="f593"/>
                </a:moveTo>
                <a:lnTo>
                  <a:pt x="f91" y="f593"/>
                </a:lnTo>
                <a:lnTo>
                  <a:pt x="f92" y="f594"/>
                </a:lnTo>
                <a:lnTo>
                  <a:pt x="f92" y="f595"/>
                </a:lnTo>
                <a:lnTo>
                  <a:pt x="f91" y="f596"/>
                </a:lnTo>
                <a:lnTo>
                  <a:pt x="f90" y="f596"/>
                </a:lnTo>
                <a:lnTo>
                  <a:pt x="f93" y="f595"/>
                </a:lnTo>
                <a:lnTo>
                  <a:pt x="f93" y="f594"/>
                </a:lnTo>
                <a:close/>
                <a:moveTo>
                  <a:pt x="f94" y="f593"/>
                </a:moveTo>
                <a:lnTo>
                  <a:pt x="f95" y="f593"/>
                </a:lnTo>
                <a:lnTo>
                  <a:pt x="f96" y="f594"/>
                </a:lnTo>
                <a:lnTo>
                  <a:pt x="f96" y="f595"/>
                </a:lnTo>
                <a:lnTo>
                  <a:pt x="f95" y="f596"/>
                </a:lnTo>
                <a:lnTo>
                  <a:pt x="f94" y="f596"/>
                </a:lnTo>
                <a:lnTo>
                  <a:pt x="f97" y="f595"/>
                </a:lnTo>
                <a:lnTo>
                  <a:pt x="f97" y="f594"/>
                </a:lnTo>
                <a:close/>
                <a:moveTo>
                  <a:pt x="f98" y="f593"/>
                </a:moveTo>
                <a:lnTo>
                  <a:pt x="f99" y="f593"/>
                </a:lnTo>
                <a:lnTo>
                  <a:pt x="f100" y="f594"/>
                </a:lnTo>
                <a:lnTo>
                  <a:pt x="f100" y="f595"/>
                </a:lnTo>
                <a:lnTo>
                  <a:pt x="f99" y="f596"/>
                </a:lnTo>
                <a:lnTo>
                  <a:pt x="f98" y="f596"/>
                </a:lnTo>
                <a:lnTo>
                  <a:pt x="f101" y="f595"/>
                </a:lnTo>
                <a:lnTo>
                  <a:pt x="f101" y="f594"/>
                </a:lnTo>
                <a:close/>
                <a:moveTo>
                  <a:pt x="f102" y="f593"/>
                </a:moveTo>
                <a:lnTo>
                  <a:pt x="f103" y="f593"/>
                </a:lnTo>
                <a:lnTo>
                  <a:pt x="f104" y="f594"/>
                </a:lnTo>
                <a:lnTo>
                  <a:pt x="f104" y="f595"/>
                </a:lnTo>
                <a:lnTo>
                  <a:pt x="f103" y="f596"/>
                </a:lnTo>
                <a:lnTo>
                  <a:pt x="f102" y="f596"/>
                </a:lnTo>
                <a:lnTo>
                  <a:pt x="f105" y="f595"/>
                </a:lnTo>
                <a:lnTo>
                  <a:pt x="f105" y="f594"/>
                </a:lnTo>
                <a:close/>
                <a:moveTo>
                  <a:pt x="f106" y="f593"/>
                </a:moveTo>
                <a:lnTo>
                  <a:pt x="f107" y="f593"/>
                </a:lnTo>
                <a:lnTo>
                  <a:pt x="f108" y="f594"/>
                </a:lnTo>
                <a:lnTo>
                  <a:pt x="f108" y="f595"/>
                </a:lnTo>
                <a:lnTo>
                  <a:pt x="f107" y="f596"/>
                </a:lnTo>
                <a:lnTo>
                  <a:pt x="f106" y="f596"/>
                </a:lnTo>
                <a:lnTo>
                  <a:pt x="f109" y="f595"/>
                </a:lnTo>
                <a:lnTo>
                  <a:pt x="f109" y="f594"/>
                </a:lnTo>
                <a:close/>
                <a:moveTo>
                  <a:pt x="f110" y="f593"/>
                </a:moveTo>
                <a:lnTo>
                  <a:pt x="f111" y="f593"/>
                </a:lnTo>
                <a:lnTo>
                  <a:pt x="f112" y="f594"/>
                </a:lnTo>
                <a:lnTo>
                  <a:pt x="f112" y="f595"/>
                </a:lnTo>
                <a:lnTo>
                  <a:pt x="f111" y="f596"/>
                </a:lnTo>
                <a:lnTo>
                  <a:pt x="f110" y="f596"/>
                </a:lnTo>
                <a:lnTo>
                  <a:pt x="f113" y="f595"/>
                </a:lnTo>
                <a:lnTo>
                  <a:pt x="f113" y="f594"/>
                </a:lnTo>
                <a:close/>
                <a:moveTo>
                  <a:pt x="f114" y="f593"/>
                </a:moveTo>
                <a:lnTo>
                  <a:pt x="f115" y="f593"/>
                </a:lnTo>
                <a:lnTo>
                  <a:pt x="f116" y="f594"/>
                </a:lnTo>
                <a:lnTo>
                  <a:pt x="f116" y="f595"/>
                </a:lnTo>
                <a:lnTo>
                  <a:pt x="f115" y="f596"/>
                </a:lnTo>
                <a:lnTo>
                  <a:pt x="f114" y="f596"/>
                </a:lnTo>
                <a:lnTo>
                  <a:pt x="f117" y="f595"/>
                </a:lnTo>
                <a:lnTo>
                  <a:pt x="f117" y="f594"/>
                </a:lnTo>
                <a:close/>
                <a:moveTo>
                  <a:pt x="f118" y="f593"/>
                </a:moveTo>
                <a:lnTo>
                  <a:pt x="f119" y="f593"/>
                </a:lnTo>
                <a:lnTo>
                  <a:pt x="f120" y="f594"/>
                </a:lnTo>
                <a:lnTo>
                  <a:pt x="f120" y="f595"/>
                </a:lnTo>
                <a:lnTo>
                  <a:pt x="f119" y="f596"/>
                </a:lnTo>
                <a:lnTo>
                  <a:pt x="f118" y="f596"/>
                </a:lnTo>
                <a:lnTo>
                  <a:pt x="f121" y="f595"/>
                </a:lnTo>
                <a:lnTo>
                  <a:pt x="f121" y="f594"/>
                </a:lnTo>
                <a:close/>
                <a:moveTo>
                  <a:pt x="f122" y="f593"/>
                </a:moveTo>
                <a:lnTo>
                  <a:pt x="f123" y="f593"/>
                </a:lnTo>
                <a:lnTo>
                  <a:pt x="f124" y="f594"/>
                </a:lnTo>
                <a:lnTo>
                  <a:pt x="f124" y="f595"/>
                </a:lnTo>
                <a:lnTo>
                  <a:pt x="f123" y="f596"/>
                </a:lnTo>
                <a:lnTo>
                  <a:pt x="f122" y="f596"/>
                </a:lnTo>
                <a:lnTo>
                  <a:pt x="f125" y="f595"/>
                </a:lnTo>
                <a:lnTo>
                  <a:pt x="f125" y="f594"/>
                </a:lnTo>
                <a:close/>
                <a:moveTo>
                  <a:pt x="f126" y="f593"/>
                </a:moveTo>
                <a:lnTo>
                  <a:pt x="f127" y="f593"/>
                </a:lnTo>
                <a:lnTo>
                  <a:pt x="f128" y="f594"/>
                </a:lnTo>
                <a:lnTo>
                  <a:pt x="f128" y="f595"/>
                </a:lnTo>
                <a:lnTo>
                  <a:pt x="f127" y="f596"/>
                </a:lnTo>
                <a:lnTo>
                  <a:pt x="f126" y="f596"/>
                </a:lnTo>
                <a:lnTo>
                  <a:pt x="f129" y="f595"/>
                </a:lnTo>
                <a:lnTo>
                  <a:pt x="f129" y="f594"/>
                </a:lnTo>
                <a:close/>
                <a:moveTo>
                  <a:pt x="f130" y="f593"/>
                </a:moveTo>
                <a:lnTo>
                  <a:pt x="f131" y="f593"/>
                </a:lnTo>
                <a:lnTo>
                  <a:pt x="f132" y="f594"/>
                </a:lnTo>
                <a:lnTo>
                  <a:pt x="f132" y="f595"/>
                </a:lnTo>
                <a:lnTo>
                  <a:pt x="f131" y="f596"/>
                </a:lnTo>
                <a:lnTo>
                  <a:pt x="f130" y="f596"/>
                </a:lnTo>
                <a:lnTo>
                  <a:pt x="f133" y="f595"/>
                </a:lnTo>
                <a:lnTo>
                  <a:pt x="f133" y="f594"/>
                </a:lnTo>
                <a:close/>
                <a:moveTo>
                  <a:pt x="f134" y="f593"/>
                </a:moveTo>
                <a:lnTo>
                  <a:pt x="f135" y="f593"/>
                </a:lnTo>
                <a:lnTo>
                  <a:pt x="f136" y="f594"/>
                </a:lnTo>
                <a:lnTo>
                  <a:pt x="f136" y="f595"/>
                </a:lnTo>
                <a:lnTo>
                  <a:pt x="f135" y="f596"/>
                </a:lnTo>
                <a:lnTo>
                  <a:pt x="f134" y="f596"/>
                </a:lnTo>
                <a:lnTo>
                  <a:pt x="f137" y="f595"/>
                </a:lnTo>
                <a:lnTo>
                  <a:pt x="f137" y="f594"/>
                </a:lnTo>
                <a:close/>
                <a:moveTo>
                  <a:pt x="f138" y="f593"/>
                </a:moveTo>
                <a:lnTo>
                  <a:pt x="f139" y="f593"/>
                </a:lnTo>
                <a:lnTo>
                  <a:pt x="f140" y="f594"/>
                </a:lnTo>
                <a:lnTo>
                  <a:pt x="f140" y="f595"/>
                </a:lnTo>
                <a:lnTo>
                  <a:pt x="f139" y="f596"/>
                </a:lnTo>
                <a:lnTo>
                  <a:pt x="f138" y="f596"/>
                </a:lnTo>
                <a:lnTo>
                  <a:pt x="f141" y="f595"/>
                </a:lnTo>
                <a:lnTo>
                  <a:pt x="f141" y="f594"/>
                </a:lnTo>
                <a:close/>
                <a:moveTo>
                  <a:pt x="f142" y="f593"/>
                </a:moveTo>
                <a:lnTo>
                  <a:pt x="f143" y="f593"/>
                </a:lnTo>
                <a:lnTo>
                  <a:pt x="f144" y="f594"/>
                </a:lnTo>
                <a:lnTo>
                  <a:pt x="f144" y="f595"/>
                </a:lnTo>
                <a:lnTo>
                  <a:pt x="f143" y="f596"/>
                </a:lnTo>
                <a:lnTo>
                  <a:pt x="f142" y="f596"/>
                </a:lnTo>
                <a:lnTo>
                  <a:pt x="f145" y="f595"/>
                </a:lnTo>
                <a:lnTo>
                  <a:pt x="f145" y="f594"/>
                </a:lnTo>
                <a:close/>
                <a:moveTo>
                  <a:pt x="f146" y="f593"/>
                </a:moveTo>
                <a:lnTo>
                  <a:pt x="f147" y="f593"/>
                </a:lnTo>
                <a:lnTo>
                  <a:pt x="f148" y="f594"/>
                </a:lnTo>
                <a:lnTo>
                  <a:pt x="f148" y="f595"/>
                </a:lnTo>
                <a:lnTo>
                  <a:pt x="f147" y="f596"/>
                </a:lnTo>
                <a:lnTo>
                  <a:pt x="f146" y="f596"/>
                </a:lnTo>
                <a:lnTo>
                  <a:pt x="f149" y="f595"/>
                </a:lnTo>
                <a:lnTo>
                  <a:pt x="f149" y="f594"/>
                </a:lnTo>
                <a:close/>
                <a:moveTo>
                  <a:pt x="f150" y="f593"/>
                </a:moveTo>
                <a:lnTo>
                  <a:pt x="f151" y="f593"/>
                </a:lnTo>
                <a:lnTo>
                  <a:pt x="f152" y="f594"/>
                </a:lnTo>
                <a:lnTo>
                  <a:pt x="f152" y="f595"/>
                </a:lnTo>
                <a:lnTo>
                  <a:pt x="f151" y="f596"/>
                </a:lnTo>
                <a:lnTo>
                  <a:pt x="f150" y="f596"/>
                </a:lnTo>
                <a:lnTo>
                  <a:pt x="f153" y="f595"/>
                </a:lnTo>
                <a:lnTo>
                  <a:pt x="f153" y="f594"/>
                </a:lnTo>
                <a:close/>
                <a:moveTo>
                  <a:pt x="f154" y="f593"/>
                </a:moveTo>
                <a:lnTo>
                  <a:pt x="f155" y="f593"/>
                </a:lnTo>
                <a:lnTo>
                  <a:pt x="f156" y="f594"/>
                </a:lnTo>
                <a:lnTo>
                  <a:pt x="f156" y="f595"/>
                </a:lnTo>
                <a:lnTo>
                  <a:pt x="f155" y="f596"/>
                </a:lnTo>
                <a:lnTo>
                  <a:pt x="f154" y="f596"/>
                </a:lnTo>
                <a:lnTo>
                  <a:pt x="f157" y="f595"/>
                </a:lnTo>
                <a:lnTo>
                  <a:pt x="f157" y="f594"/>
                </a:lnTo>
                <a:close/>
                <a:moveTo>
                  <a:pt x="f158" y="f593"/>
                </a:moveTo>
                <a:lnTo>
                  <a:pt x="f159" y="f593"/>
                </a:lnTo>
                <a:lnTo>
                  <a:pt x="f160" y="f594"/>
                </a:lnTo>
                <a:lnTo>
                  <a:pt x="f160" y="f595"/>
                </a:lnTo>
                <a:lnTo>
                  <a:pt x="f159" y="f596"/>
                </a:lnTo>
                <a:lnTo>
                  <a:pt x="f158" y="f596"/>
                </a:lnTo>
                <a:lnTo>
                  <a:pt x="f161" y="f595"/>
                </a:lnTo>
                <a:lnTo>
                  <a:pt x="f161" y="f594"/>
                </a:lnTo>
                <a:close/>
                <a:moveTo>
                  <a:pt x="f597" y="f593"/>
                </a:moveTo>
                <a:lnTo>
                  <a:pt x="f598" y="f593"/>
                </a:lnTo>
                <a:lnTo>
                  <a:pt x="f599" y="f594"/>
                </a:lnTo>
                <a:lnTo>
                  <a:pt x="f599" y="f595"/>
                </a:lnTo>
                <a:lnTo>
                  <a:pt x="f598" y="f596"/>
                </a:lnTo>
                <a:lnTo>
                  <a:pt x="f597" y="f596"/>
                </a:lnTo>
                <a:lnTo>
                  <a:pt x="f600" y="f595"/>
                </a:lnTo>
                <a:lnTo>
                  <a:pt x="f600" y="f594"/>
                </a:lnTo>
                <a:close/>
                <a:moveTo>
                  <a:pt x="f571" y="f593"/>
                </a:moveTo>
                <a:lnTo>
                  <a:pt x="f601" y="f593"/>
                </a:lnTo>
                <a:lnTo>
                  <a:pt x="f602" y="f594"/>
                </a:lnTo>
                <a:lnTo>
                  <a:pt x="f602" y="f595"/>
                </a:lnTo>
                <a:lnTo>
                  <a:pt x="f601" y="f596"/>
                </a:lnTo>
                <a:lnTo>
                  <a:pt x="f571" y="f596"/>
                </a:lnTo>
                <a:lnTo>
                  <a:pt x="f574" y="f595"/>
                </a:lnTo>
                <a:lnTo>
                  <a:pt x="f574" y="f594"/>
                </a:lnTo>
                <a:close/>
                <a:moveTo>
                  <a:pt x="f603" y="f593"/>
                </a:moveTo>
                <a:lnTo>
                  <a:pt x="f604" y="f593"/>
                </a:lnTo>
                <a:lnTo>
                  <a:pt x="f605" y="f594"/>
                </a:lnTo>
                <a:lnTo>
                  <a:pt x="f605" y="f595"/>
                </a:lnTo>
                <a:lnTo>
                  <a:pt x="f604" y="f596"/>
                </a:lnTo>
                <a:lnTo>
                  <a:pt x="f603" y="f596"/>
                </a:lnTo>
                <a:lnTo>
                  <a:pt x="f606" y="f595"/>
                </a:lnTo>
                <a:lnTo>
                  <a:pt x="f606" y="f594"/>
                </a:lnTo>
                <a:close/>
                <a:moveTo>
                  <a:pt x="f607" y="f593"/>
                </a:moveTo>
                <a:lnTo>
                  <a:pt x="f608" y="f593"/>
                </a:lnTo>
                <a:lnTo>
                  <a:pt x="f578" y="f594"/>
                </a:lnTo>
                <a:lnTo>
                  <a:pt x="f578" y="f595"/>
                </a:lnTo>
                <a:lnTo>
                  <a:pt x="f608" y="f596"/>
                </a:lnTo>
                <a:lnTo>
                  <a:pt x="f607" y="f596"/>
                </a:lnTo>
                <a:lnTo>
                  <a:pt x="f609" y="f595"/>
                </a:lnTo>
                <a:lnTo>
                  <a:pt x="f609" y="f594"/>
                </a:lnTo>
                <a:close/>
                <a:moveTo>
                  <a:pt x="f35" y="f610"/>
                </a:moveTo>
                <a:lnTo>
                  <a:pt x="f37" y="f610"/>
                </a:lnTo>
                <a:lnTo>
                  <a:pt x="f6" y="f611"/>
                </a:lnTo>
                <a:lnTo>
                  <a:pt x="f6" y="f612"/>
                </a:lnTo>
                <a:lnTo>
                  <a:pt x="f37" y="f613"/>
                </a:lnTo>
                <a:lnTo>
                  <a:pt x="f35" y="f613"/>
                </a:lnTo>
                <a:lnTo>
                  <a:pt x="f41" y="f612"/>
                </a:lnTo>
                <a:lnTo>
                  <a:pt x="f41" y="f611"/>
                </a:lnTo>
                <a:close/>
                <a:moveTo>
                  <a:pt x="f42" y="f610"/>
                </a:moveTo>
                <a:lnTo>
                  <a:pt x="f43" y="f610"/>
                </a:lnTo>
                <a:lnTo>
                  <a:pt x="f44" y="f611"/>
                </a:lnTo>
                <a:lnTo>
                  <a:pt x="f44" y="f612"/>
                </a:lnTo>
                <a:lnTo>
                  <a:pt x="f43" y="f613"/>
                </a:lnTo>
                <a:lnTo>
                  <a:pt x="f42" y="f613"/>
                </a:lnTo>
                <a:lnTo>
                  <a:pt x="f45" y="f612"/>
                </a:lnTo>
                <a:lnTo>
                  <a:pt x="f45" y="f611"/>
                </a:lnTo>
                <a:close/>
                <a:moveTo>
                  <a:pt x="f46" y="f610"/>
                </a:moveTo>
                <a:lnTo>
                  <a:pt x="f47" y="f610"/>
                </a:lnTo>
                <a:lnTo>
                  <a:pt x="f48" y="f611"/>
                </a:lnTo>
                <a:lnTo>
                  <a:pt x="f48" y="f612"/>
                </a:lnTo>
                <a:lnTo>
                  <a:pt x="f47" y="f613"/>
                </a:lnTo>
                <a:lnTo>
                  <a:pt x="f46" y="f613"/>
                </a:lnTo>
                <a:lnTo>
                  <a:pt x="f49" y="f612"/>
                </a:lnTo>
                <a:lnTo>
                  <a:pt x="f49" y="f611"/>
                </a:lnTo>
                <a:close/>
                <a:moveTo>
                  <a:pt x="f50" y="f610"/>
                </a:moveTo>
                <a:lnTo>
                  <a:pt x="f51" y="f610"/>
                </a:lnTo>
                <a:lnTo>
                  <a:pt x="f52" y="f611"/>
                </a:lnTo>
                <a:lnTo>
                  <a:pt x="f52" y="f612"/>
                </a:lnTo>
                <a:lnTo>
                  <a:pt x="f51" y="f613"/>
                </a:lnTo>
                <a:lnTo>
                  <a:pt x="f50" y="f613"/>
                </a:lnTo>
                <a:lnTo>
                  <a:pt x="f53" y="f612"/>
                </a:lnTo>
                <a:lnTo>
                  <a:pt x="f53" y="f611"/>
                </a:lnTo>
                <a:close/>
                <a:moveTo>
                  <a:pt x="f54" y="f610"/>
                </a:moveTo>
                <a:lnTo>
                  <a:pt x="f55" y="f610"/>
                </a:lnTo>
                <a:lnTo>
                  <a:pt x="f56" y="f611"/>
                </a:lnTo>
                <a:lnTo>
                  <a:pt x="f56" y="f612"/>
                </a:lnTo>
                <a:lnTo>
                  <a:pt x="f55" y="f613"/>
                </a:lnTo>
                <a:lnTo>
                  <a:pt x="f54" y="f613"/>
                </a:lnTo>
                <a:lnTo>
                  <a:pt x="f57" y="f612"/>
                </a:lnTo>
                <a:lnTo>
                  <a:pt x="f57" y="f611"/>
                </a:lnTo>
                <a:close/>
                <a:moveTo>
                  <a:pt x="f58" y="f610"/>
                </a:moveTo>
                <a:lnTo>
                  <a:pt x="f59" y="f610"/>
                </a:lnTo>
                <a:lnTo>
                  <a:pt x="f60" y="f611"/>
                </a:lnTo>
                <a:lnTo>
                  <a:pt x="f60" y="f612"/>
                </a:lnTo>
                <a:lnTo>
                  <a:pt x="f59" y="f613"/>
                </a:lnTo>
                <a:lnTo>
                  <a:pt x="f58" y="f613"/>
                </a:lnTo>
                <a:lnTo>
                  <a:pt x="f61" y="f612"/>
                </a:lnTo>
                <a:lnTo>
                  <a:pt x="f61" y="f611"/>
                </a:lnTo>
                <a:close/>
                <a:moveTo>
                  <a:pt x="f62" y="f610"/>
                </a:moveTo>
                <a:lnTo>
                  <a:pt x="f63" y="f610"/>
                </a:lnTo>
                <a:lnTo>
                  <a:pt x="f64" y="f611"/>
                </a:lnTo>
                <a:lnTo>
                  <a:pt x="f64" y="f612"/>
                </a:lnTo>
                <a:lnTo>
                  <a:pt x="f63" y="f613"/>
                </a:lnTo>
                <a:lnTo>
                  <a:pt x="f62" y="f613"/>
                </a:lnTo>
                <a:lnTo>
                  <a:pt x="f65" y="f612"/>
                </a:lnTo>
                <a:lnTo>
                  <a:pt x="f65" y="f611"/>
                </a:lnTo>
                <a:close/>
                <a:moveTo>
                  <a:pt x="f66" y="f610"/>
                </a:moveTo>
                <a:lnTo>
                  <a:pt x="f67" y="f610"/>
                </a:lnTo>
                <a:lnTo>
                  <a:pt x="f68" y="f611"/>
                </a:lnTo>
                <a:lnTo>
                  <a:pt x="f68" y="f612"/>
                </a:lnTo>
                <a:lnTo>
                  <a:pt x="f67" y="f613"/>
                </a:lnTo>
                <a:lnTo>
                  <a:pt x="f66" y="f613"/>
                </a:lnTo>
                <a:lnTo>
                  <a:pt x="f69" y="f612"/>
                </a:lnTo>
                <a:lnTo>
                  <a:pt x="f69" y="f611"/>
                </a:lnTo>
                <a:close/>
                <a:moveTo>
                  <a:pt x="f70" y="f610"/>
                </a:moveTo>
                <a:lnTo>
                  <a:pt x="f71" y="f610"/>
                </a:lnTo>
                <a:lnTo>
                  <a:pt x="f72" y="f611"/>
                </a:lnTo>
                <a:lnTo>
                  <a:pt x="f72" y="f612"/>
                </a:lnTo>
                <a:lnTo>
                  <a:pt x="f71" y="f613"/>
                </a:lnTo>
                <a:lnTo>
                  <a:pt x="f70" y="f613"/>
                </a:lnTo>
                <a:lnTo>
                  <a:pt x="f73" y="f612"/>
                </a:lnTo>
                <a:lnTo>
                  <a:pt x="f73" y="f611"/>
                </a:lnTo>
                <a:close/>
                <a:moveTo>
                  <a:pt x="f74" y="f610"/>
                </a:moveTo>
                <a:lnTo>
                  <a:pt x="f75" y="f610"/>
                </a:lnTo>
                <a:lnTo>
                  <a:pt x="f76" y="f611"/>
                </a:lnTo>
                <a:lnTo>
                  <a:pt x="f76" y="f612"/>
                </a:lnTo>
                <a:lnTo>
                  <a:pt x="f75" y="f613"/>
                </a:lnTo>
                <a:lnTo>
                  <a:pt x="f74" y="f613"/>
                </a:lnTo>
                <a:lnTo>
                  <a:pt x="f77" y="f612"/>
                </a:lnTo>
                <a:lnTo>
                  <a:pt x="f77" y="f611"/>
                </a:lnTo>
                <a:close/>
                <a:moveTo>
                  <a:pt x="f78" y="f610"/>
                </a:moveTo>
                <a:lnTo>
                  <a:pt x="f79" y="f610"/>
                </a:lnTo>
                <a:lnTo>
                  <a:pt x="f80" y="f611"/>
                </a:lnTo>
                <a:lnTo>
                  <a:pt x="f80" y="f612"/>
                </a:lnTo>
                <a:lnTo>
                  <a:pt x="f79" y="f613"/>
                </a:lnTo>
                <a:lnTo>
                  <a:pt x="f78" y="f613"/>
                </a:lnTo>
                <a:lnTo>
                  <a:pt x="f81" y="f612"/>
                </a:lnTo>
                <a:lnTo>
                  <a:pt x="f81" y="f611"/>
                </a:lnTo>
                <a:close/>
                <a:moveTo>
                  <a:pt x="f82" y="f610"/>
                </a:moveTo>
                <a:lnTo>
                  <a:pt x="f83" y="f610"/>
                </a:lnTo>
                <a:lnTo>
                  <a:pt x="f84" y="f611"/>
                </a:lnTo>
                <a:lnTo>
                  <a:pt x="f84" y="f612"/>
                </a:lnTo>
                <a:lnTo>
                  <a:pt x="f83" y="f613"/>
                </a:lnTo>
                <a:lnTo>
                  <a:pt x="f82" y="f613"/>
                </a:lnTo>
                <a:lnTo>
                  <a:pt x="f85" y="f612"/>
                </a:lnTo>
                <a:lnTo>
                  <a:pt x="f85" y="f611"/>
                </a:lnTo>
                <a:close/>
                <a:moveTo>
                  <a:pt x="f86" y="f610"/>
                </a:moveTo>
                <a:lnTo>
                  <a:pt x="f87" y="f610"/>
                </a:lnTo>
                <a:lnTo>
                  <a:pt x="f88" y="f611"/>
                </a:lnTo>
                <a:lnTo>
                  <a:pt x="f88" y="f612"/>
                </a:lnTo>
                <a:lnTo>
                  <a:pt x="f87" y="f613"/>
                </a:lnTo>
                <a:lnTo>
                  <a:pt x="f86" y="f613"/>
                </a:lnTo>
                <a:lnTo>
                  <a:pt x="f89" y="f612"/>
                </a:lnTo>
                <a:lnTo>
                  <a:pt x="f89" y="f611"/>
                </a:lnTo>
                <a:close/>
                <a:moveTo>
                  <a:pt x="f90" y="f610"/>
                </a:moveTo>
                <a:lnTo>
                  <a:pt x="f91" y="f610"/>
                </a:lnTo>
                <a:lnTo>
                  <a:pt x="f92" y="f611"/>
                </a:lnTo>
                <a:lnTo>
                  <a:pt x="f92" y="f612"/>
                </a:lnTo>
                <a:lnTo>
                  <a:pt x="f91" y="f613"/>
                </a:lnTo>
                <a:lnTo>
                  <a:pt x="f90" y="f613"/>
                </a:lnTo>
                <a:lnTo>
                  <a:pt x="f93" y="f612"/>
                </a:lnTo>
                <a:lnTo>
                  <a:pt x="f93" y="f611"/>
                </a:lnTo>
                <a:close/>
                <a:moveTo>
                  <a:pt x="f94" y="f610"/>
                </a:moveTo>
                <a:lnTo>
                  <a:pt x="f95" y="f610"/>
                </a:lnTo>
                <a:lnTo>
                  <a:pt x="f96" y="f611"/>
                </a:lnTo>
                <a:lnTo>
                  <a:pt x="f96" y="f612"/>
                </a:lnTo>
                <a:lnTo>
                  <a:pt x="f95" y="f613"/>
                </a:lnTo>
                <a:lnTo>
                  <a:pt x="f94" y="f613"/>
                </a:lnTo>
                <a:lnTo>
                  <a:pt x="f97" y="f612"/>
                </a:lnTo>
                <a:lnTo>
                  <a:pt x="f97" y="f611"/>
                </a:lnTo>
                <a:close/>
                <a:moveTo>
                  <a:pt x="f98" y="f610"/>
                </a:moveTo>
                <a:lnTo>
                  <a:pt x="f99" y="f610"/>
                </a:lnTo>
                <a:lnTo>
                  <a:pt x="f100" y="f611"/>
                </a:lnTo>
                <a:lnTo>
                  <a:pt x="f100" y="f612"/>
                </a:lnTo>
                <a:lnTo>
                  <a:pt x="f99" y="f613"/>
                </a:lnTo>
                <a:lnTo>
                  <a:pt x="f98" y="f613"/>
                </a:lnTo>
                <a:lnTo>
                  <a:pt x="f101" y="f612"/>
                </a:lnTo>
                <a:lnTo>
                  <a:pt x="f101" y="f611"/>
                </a:lnTo>
                <a:close/>
                <a:moveTo>
                  <a:pt x="f102" y="f610"/>
                </a:moveTo>
                <a:lnTo>
                  <a:pt x="f103" y="f610"/>
                </a:lnTo>
                <a:lnTo>
                  <a:pt x="f104" y="f611"/>
                </a:lnTo>
                <a:lnTo>
                  <a:pt x="f104" y="f612"/>
                </a:lnTo>
                <a:lnTo>
                  <a:pt x="f103" y="f613"/>
                </a:lnTo>
                <a:lnTo>
                  <a:pt x="f102" y="f613"/>
                </a:lnTo>
                <a:lnTo>
                  <a:pt x="f105" y="f612"/>
                </a:lnTo>
                <a:lnTo>
                  <a:pt x="f105" y="f611"/>
                </a:lnTo>
                <a:close/>
                <a:moveTo>
                  <a:pt x="f106" y="f610"/>
                </a:moveTo>
                <a:lnTo>
                  <a:pt x="f107" y="f610"/>
                </a:lnTo>
                <a:lnTo>
                  <a:pt x="f108" y="f611"/>
                </a:lnTo>
                <a:lnTo>
                  <a:pt x="f108" y="f612"/>
                </a:lnTo>
                <a:lnTo>
                  <a:pt x="f107" y="f613"/>
                </a:lnTo>
                <a:lnTo>
                  <a:pt x="f106" y="f613"/>
                </a:lnTo>
                <a:lnTo>
                  <a:pt x="f109" y="f612"/>
                </a:lnTo>
                <a:lnTo>
                  <a:pt x="f109" y="f611"/>
                </a:lnTo>
                <a:close/>
                <a:moveTo>
                  <a:pt x="f110" y="f610"/>
                </a:moveTo>
                <a:lnTo>
                  <a:pt x="f111" y="f610"/>
                </a:lnTo>
                <a:lnTo>
                  <a:pt x="f112" y="f611"/>
                </a:lnTo>
                <a:lnTo>
                  <a:pt x="f112" y="f612"/>
                </a:lnTo>
                <a:lnTo>
                  <a:pt x="f111" y="f613"/>
                </a:lnTo>
                <a:lnTo>
                  <a:pt x="f110" y="f613"/>
                </a:lnTo>
                <a:lnTo>
                  <a:pt x="f113" y="f612"/>
                </a:lnTo>
                <a:lnTo>
                  <a:pt x="f113" y="f611"/>
                </a:lnTo>
                <a:close/>
                <a:moveTo>
                  <a:pt x="f114" y="f610"/>
                </a:moveTo>
                <a:lnTo>
                  <a:pt x="f115" y="f610"/>
                </a:lnTo>
                <a:lnTo>
                  <a:pt x="f116" y="f611"/>
                </a:lnTo>
                <a:lnTo>
                  <a:pt x="f116" y="f612"/>
                </a:lnTo>
                <a:lnTo>
                  <a:pt x="f115" y="f613"/>
                </a:lnTo>
                <a:lnTo>
                  <a:pt x="f114" y="f613"/>
                </a:lnTo>
                <a:lnTo>
                  <a:pt x="f117" y="f612"/>
                </a:lnTo>
                <a:lnTo>
                  <a:pt x="f117" y="f611"/>
                </a:lnTo>
                <a:close/>
                <a:moveTo>
                  <a:pt x="f118" y="f610"/>
                </a:moveTo>
                <a:lnTo>
                  <a:pt x="f119" y="f610"/>
                </a:lnTo>
                <a:lnTo>
                  <a:pt x="f120" y="f611"/>
                </a:lnTo>
                <a:lnTo>
                  <a:pt x="f120" y="f612"/>
                </a:lnTo>
                <a:lnTo>
                  <a:pt x="f119" y="f613"/>
                </a:lnTo>
                <a:lnTo>
                  <a:pt x="f118" y="f613"/>
                </a:lnTo>
                <a:lnTo>
                  <a:pt x="f121" y="f612"/>
                </a:lnTo>
                <a:lnTo>
                  <a:pt x="f121" y="f611"/>
                </a:lnTo>
                <a:close/>
                <a:moveTo>
                  <a:pt x="f122" y="f610"/>
                </a:moveTo>
                <a:lnTo>
                  <a:pt x="f123" y="f610"/>
                </a:lnTo>
                <a:lnTo>
                  <a:pt x="f124" y="f611"/>
                </a:lnTo>
                <a:lnTo>
                  <a:pt x="f124" y="f612"/>
                </a:lnTo>
                <a:lnTo>
                  <a:pt x="f123" y="f613"/>
                </a:lnTo>
                <a:lnTo>
                  <a:pt x="f122" y="f613"/>
                </a:lnTo>
                <a:lnTo>
                  <a:pt x="f125" y="f612"/>
                </a:lnTo>
                <a:lnTo>
                  <a:pt x="f125" y="f611"/>
                </a:lnTo>
                <a:close/>
                <a:moveTo>
                  <a:pt x="f126" y="f610"/>
                </a:moveTo>
                <a:lnTo>
                  <a:pt x="f127" y="f610"/>
                </a:lnTo>
                <a:lnTo>
                  <a:pt x="f128" y="f611"/>
                </a:lnTo>
                <a:lnTo>
                  <a:pt x="f128" y="f612"/>
                </a:lnTo>
                <a:lnTo>
                  <a:pt x="f127" y="f613"/>
                </a:lnTo>
                <a:lnTo>
                  <a:pt x="f126" y="f613"/>
                </a:lnTo>
                <a:lnTo>
                  <a:pt x="f129" y="f612"/>
                </a:lnTo>
                <a:lnTo>
                  <a:pt x="f129" y="f611"/>
                </a:lnTo>
                <a:close/>
                <a:moveTo>
                  <a:pt x="f130" y="f610"/>
                </a:moveTo>
                <a:lnTo>
                  <a:pt x="f131" y="f610"/>
                </a:lnTo>
                <a:lnTo>
                  <a:pt x="f132" y="f611"/>
                </a:lnTo>
                <a:lnTo>
                  <a:pt x="f132" y="f612"/>
                </a:lnTo>
                <a:lnTo>
                  <a:pt x="f131" y="f613"/>
                </a:lnTo>
                <a:lnTo>
                  <a:pt x="f130" y="f613"/>
                </a:lnTo>
                <a:lnTo>
                  <a:pt x="f133" y="f612"/>
                </a:lnTo>
                <a:lnTo>
                  <a:pt x="f133" y="f611"/>
                </a:lnTo>
                <a:close/>
                <a:moveTo>
                  <a:pt x="f134" y="f610"/>
                </a:moveTo>
                <a:lnTo>
                  <a:pt x="f135" y="f610"/>
                </a:lnTo>
                <a:lnTo>
                  <a:pt x="f136" y="f611"/>
                </a:lnTo>
                <a:lnTo>
                  <a:pt x="f136" y="f612"/>
                </a:lnTo>
                <a:lnTo>
                  <a:pt x="f135" y="f613"/>
                </a:lnTo>
                <a:lnTo>
                  <a:pt x="f134" y="f613"/>
                </a:lnTo>
                <a:lnTo>
                  <a:pt x="f137" y="f612"/>
                </a:lnTo>
                <a:lnTo>
                  <a:pt x="f137" y="f611"/>
                </a:lnTo>
                <a:close/>
                <a:moveTo>
                  <a:pt x="f138" y="f610"/>
                </a:moveTo>
                <a:lnTo>
                  <a:pt x="f139" y="f610"/>
                </a:lnTo>
                <a:lnTo>
                  <a:pt x="f140" y="f611"/>
                </a:lnTo>
                <a:lnTo>
                  <a:pt x="f140" y="f612"/>
                </a:lnTo>
                <a:lnTo>
                  <a:pt x="f139" y="f613"/>
                </a:lnTo>
                <a:lnTo>
                  <a:pt x="f138" y="f613"/>
                </a:lnTo>
                <a:lnTo>
                  <a:pt x="f141" y="f612"/>
                </a:lnTo>
                <a:lnTo>
                  <a:pt x="f141" y="f611"/>
                </a:lnTo>
                <a:close/>
                <a:moveTo>
                  <a:pt x="f142" y="f610"/>
                </a:moveTo>
                <a:lnTo>
                  <a:pt x="f143" y="f610"/>
                </a:lnTo>
                <a:lnTo>
                  <a:pt x="f144" y="f611"/>
                </a:lnTo>
                <a:lnTo>
                  <a:pt x="f144" y="f612"/>
                </a:lnTo>
                <a:lnTo>
                  <a:pt x="f143" y="f613"/>
                </a:lnTo>
                <a:lnTo>
                  <a:pt x="f142" y="f613"/>
                </a:lnTo>
                <a:lnTo>
                  <a:pt x="f145" y="f612"/>
                </a:lnTo>
                <a:lnTo>
                  <a:pt x="f145" y="f611"/>
                </a:lnTo>
                <a:close/>
                <a:moveTo>
                  <a:pt x="f146" y="f610"/>
                </a:moveTo>
                <a:lnTo>
                  <a:pt x="f147" y="f610"/>
                </a:lnTo>
                <a:lnTo>
                  <a:pt x="f148" y="f611"/>
                </a:lnTo>
                <a:lnTo>
                  <a:pt x="f148" y="f612"/>
                </a:lnTo>
                <a:lnTo>
                  <a:pt x="f147" y="f613"/>
                </a:lnTo>
                <a:lnTo>
                  <a:pt x="f146" y="f613"/>
                </a:lnTo>
                <a:lnTo>
                  <a:pt x="f149" y="f612"/>
                </a:lnTo>
                <a:lnTo>
                  <a:pt x="f149" y="f611"/>
                </a:lnTo>
                <a:close/>
                <a:moveTo>
                  <a:pt x="f150" y="f610"/>
                </a:moveTo>
                <a:lnTo>
                  <a:pt x="f151" y="f610"/>
                </a:lnTo>
                <a:lnTo>
                  <a:pt x="f152" y="f611"/>
                </a:lnTo>
                <a:lnTo>
                  <a:pt x="f152" y="f612"/>
                </a:lnTo>
                <a:lnTo>
                  <a:pt x="f151" y="f613"/>
                </a:lnTo>
                <a:lnTo>
                  <a:pt x="f150" y="f613"/>
                </a:lnTo>
                <a:lnTo>
                  <a:pt x="f153" y="f612"/>
                </a:lnTo>
                <a:lnTo>
                  <a:pt x="f153" y="f611"/>
                </a:lnTo>
                <a:close/>
                <a:moveTo>
                  <a:pt x="f154" y="f610"/>
                </a:moveTo>
                <a:lnTo>
                  <a:pt x="f155" y="f610"/>
                </a:lnTo>
                <a:lnTo>
                  <a:pt x="f156" y="f611"/>
                </a:lnTo>
                <a:lnTo>
                  <a:pt x="f156" y="f612"/>
                </a:lnTo>
                <a:lnTo>
                  <a:pt x="f155" y="f613"/>
                </a:lnTo>
                <a:lnTo>
                  <a:pt x="f154" y="f613"/>
                </a:lnTo>
                <a:lnTo>
                  <a:pt x="f157" y="f612"/>
                </a:lnTo>
                <a:lnTo>
                  <a:pt x="f157" y="f611"/>
                </a:lnTo>
                <a:close/>
                <a:moveTo>
                  <a:pt x="f158" y="f610"/>
                </a:moveTo>
                <a:lnTo>
                  <a:pt x="f159" y="f610"/>
                </a:lnTo>
                <a:lnTo>
                  <a:pt x="f160" y="f611"/>
                </a:lnTo>
                <a:lnTo>
                  <a:pt x="f160" y="f612"/>
                </a:lnTo>
                <a:lnTo>
                  <a:pt x="f159" y="f613"/>
                </a:lnTo>
                <a:lnTo>
                  <a:pt x="f158" y="f613"/>
                </a:lnTo>
                <a:lnTo>
                  <a:pt x="f161" y="f612"/>
                </a:lnTo>
                <a:lnTo>
                  <a:pt x="f161" y="f611"/>
                </a:lnTo>
                <a:close/>
                <a:moveTo>
                  <a:pt x="f614" y="f610"/>
                </a:moveTo>
                <a:lnTo>
                  <a:pt x="f581" y="f610"/>
                </a:lnTo>
                <a:lnTo>
                  <a:pt x="f549" y="f611"/>
                </a:lnTo>
                <a:lnTo>
                  <a:pt x="f549" y="f612"/>
                </a:lnTo>
                <a:lnTo>
                  <a:pt x="f581" y="f613"/>
                </a:lnTo>
                <a:lnTo>
                  <a:pt x="f614" y="f613"/>
                </a:lnTo>
                <a:lnTo>
                  <a:pt x="f527" y="f612"/>
                </a:lnTo>
                <a:lnTo>
                  <a:pt x="f527" y="f611"/>
                </a:lnTo>
                <a:close/>
                <a:moveTo>
                  <a:pt x="f553" y="f610"/>
                </a:moveTo>
                <a:lnTo>
                  <a:pt x="f528" y="f610"/>
                </a:lnTo>
                <a:lnTo>
                  <a:pt x="f499" y="f611"/>
                </a:lnTo>
                <a:lnTo>
                  <a:pt x="f499" y="f612"/>
                </a:lnTo>
                <a:lnTo>
                  <a:pt x="f528" y="f613"/>
                </a:lnTo>
                <a:lnTo>
                  <a:pt x="f553" y="f613"/>
                </a:lnTo>
                <a:lnTo>
                  <a:pt x="f615" y="f612"/>
                </a:lnTo>
                <a:lnTo>
                  <a:pt x="f615" y="f611"/>
                </a:lnTo>
                <a:close/>
                <a:moveTo>
                  <a:pt x="f616" y="f610"/>
                </a:moveTo>
                <a:lnTo>
                  <a:pt x="f617" y="f610"/>
                </a:lnTo>
                <a:lnTo>
                  <a:pt x="f585" y="f611"/>
                </a:lnTo>
                <a:lnTo>
                  <a:pt x="f585" y="f612"/>
                </a:lnTo>
                <a:lnTo>
                  <a:pt x="f617" y="f613"/>
                </a:lnTo>
                <a:lnTo>
                  <a:pt x="f616" y="f613"/>
                </a:lnTo>
                <a:lnTo>
                  <a:pt x="f586" y="f612"/>
                </a:lnTo>
                <a:lnTo>
                  <a:pt x="f586" y="f611"/>
                </a:lnTo>
                <a:close/>
                <a:moveTo>
                  <a:pt x="f618" y="f610"/>
                </a:moveTo>
                <a:lnTo>
                  <a:pt x="f619" y="f610"/>
                </a:lnTo>
                <a:lnTo>
                  <a:pt x="f587" y="f611"/>
                </a:lnTo>
                <a:lnTo>
                  <a:pt x="f587" y="f612"/>
                </a:lnTo>
                <a:lnTo>
                  <a:pt x="f619" y="f613"/>
                </a:lnTo>
                <a:lnTo>
                  <a:pt x="f618" y="f613"/>
                </a:lnTo>
                <a:lnTo>
                  <a:pt x="f588" y="f612"/>
                </a:lnTo>
                <a:lnTo>
                  <a:pt x="f588" y="f611"/>
                </a:lnTo>
                <a:close/>
                <a:moveTo>
                  <a:pt x="f620" y="f610"/>
                </a:moveTo>
                <a:lnTo>
                  <a:pt x="f621" y="f610"/>
                </a:lnTo>
                <a:lnTo>
                  <a:pt x="f590" y="f611"/>
                </a:lnTo>
                <a:lnTo>
                  <a:pt x="f590" y="f612"/>
                </a:lnTo>
                <a:lnTo>
                  <a:pt x="f621" y="f613"/>
                </a:lnTo>
                <a:lnTo>
                  <a:pt x="f620" y="f613"/>
                </a:lnTo>
                <a:lnTo>
                  <a:pt x="f622" y="f612"/>
                </a:lnTo>
                <a:lnTo>
                  <a:pt x="f622" y="f611"/>
                </a:lnTo>
                <a:close/>
                <a:moveTo>
                  <a:pt x="f591" y="f610"/>
                </a:moveTo>
                <a:lnTo>
                  <a:pt x="f623" y="f610"/>
                </a:lnTo>
                <a:lnTo>
                  <a:pt x="f624" y="f611"/>
                </a:lnTo>
                <a:lnTo>
                  <a:pt x="f624" y="f612"/>
                </a:lnTo>
                <a:lnTo>
                  <a:pt x="f623" y="f613"/>
                </a:lnTo>
                <a:lnTo>
                  <a:pt x="f591" y="f613"/>
                </a:lnTo>
                <a:lnTo>
                  <a:pt x="f625" y="f612"/>
                </a:lnTo>
                <a:lnTo>
                  <a:pt x="f625" y="f611"/>
                </a:lnTo>
                <a:close/>
                <a:moveTo>
                  <a:pt x="f626" y="f610"/>
                </a:moveTo>
                <a:lnTo>
                  <a:pt x="f598" y="f610"/>
                </a:lnTo>
                <a:lnTo>
                  <a:pt x="f599" y="f611"/>
                </a:lnTo>
                <a:lnTo>
                  <a:pt x="f599" y="f612"/>
                </a:lnTo>
                <a:lnTo>
                  <a:pt x="f598" y="f613"/>
                </a:lnTo>
                <a:lnTo>
                  <a:pt x="f626" y="f613"/>
                </a:lnTo>
                <a:lnTo>
                  <a:pt x="f627" y="f612"/>
                </a:lnTo>
                <a:lnTo>
                  <a:pt x="f627" y="f611"/>
                </a:lnTo>
                <a:close/>
                <a:moveTo>
                  <a:pt x="f628" y="f610"/>
                </a:moveTo>
                <a:lnTo>
                  <a:pt x="f601" y="f610"/>
                </a:lnTo>
                <a:lnTo>
                  <a:pt x="f602" y="f611"/>
                </a:lnTo>
                <a:lnTo>
                  <a:pt x="f602" y="f612"/>
                </a:lnTo>
                <a:lnTo>
                  <a:pt x="f601" y="f613"/>
                </a:lnTo>
                <a:lnTo>
                  <a:pt x="f628" y="f613"/>
                </a:lnTo>
                <a:lnTo>
                  <a:pt x="f629" y="f612"/>
                </a:lnTo>
                <a:lnTo>
                  <a:pt x="f629" y="f611"/>
                </a:lnTo>
                <a:close/>
                <a:moveTo>
                  <a:pt x="f630" y="f610"/>
                </a:moveTo>
                <a:lnTo>
                  <a:pt x="f631" y="f610"/>
                </a:lnTo>
                <a:lnTo>
                  <a:pt x="f632" y="f611"/>
                </a:lnTo>
                <a:lnTo>
                  <a:pt x="f632" y="f612"/>
                </a:lnTo>
                <a:lnTo>
                  <a:pt x="f631" y="f613"/>
                </a:lnTo>
                <a:lnTo>
                  <a:pt x="f630" y="f613"/>
                </a:lnTo>
                <a:lnTo>
                  <a:pt x="f633" y="f612"/>
                </a:lnTo>
                <a:lnTo>
                  <a:pt x="f633" y="f611"/>
                </a:lnTo>
                <a:close/>
                <a:moveTo>
                  <a:pt x="f607" y="f610"/>
                </a:moveTo>
                <a:lnTo>
                  <a:pt x="f634" y="f610"/>
                </a:lnTo>
                <a:lnTo>
                  <a:pt x="f635" y="f611"/>
                </a:lnTo>
                <a:lnTo>
                  <a:pt x="f635" y="f612"/>
                </a:lnTo>
                <a:lnTo>
                  <a:pt x="f634" y="f613"/>
                </a:lnTo>
                <a:lnTo>
                  <a:pt x="f607" y="f613"/>
                </a:lnTo>
                <a:lnTo>
                  <a:pt x="f609" y="f612"/>
                </a:lnTo>
                <a:lnTo>
                  <a:pt x="f609" y="f611"/>
                </a:lnTo>
                <a:close/>
                <a:moveTo>
                  <a:pt x="f614" y="f636"/>
                </a:moveTo>
                <a:lnTo>
                  <a:pt x="f581" y="f636"/>
                </a:lnTo>
                <a:lnTo>
                  <a:pt x="f549" y="f637"/>
                </a:lnTo>
                <a:lnTo>
                  <a:pt x="f549" y="f638"/>
                </a:lnTo>
                <a:lnTo>
                  <a:pt x="f581" y="f639"/>
                </a:lnTo>
                <a:lnTo>
                  <a:pt x="f614" y="f639"/>
                </a:lnTo>
                <a:lnTo>
                  <a:pt x="f527" y="f638"/>
                </a:lnTo>
                <a:lnTo>
                  <a:pt x="f527" y="f637"/>
                </a:lnTo>
                <a:close/>
                <a:moveTo>
                  <a:pt x="f553" y="f636"/>
                </a:moveTo>
                <a:lnTo>
                  <a:pt x="f528" y="f636"/>
                </a:lnTo>
                <a:lnTo>
                  <a:pt x="f640" y="f637"/>
                </a:lnTo>
                <a:lnTo>
                  <a:pt x="f640" y="f638"/>
                </a:lnTo>
                <a:lnTo>
                  <a:pt x="f528" y="f639"/>
                </a:lnTo>
                <a:lnTo>
                  <a:pt x="f553" y="f639"/>
                </a:lnTo>
                <a:lnTo>
                  <a:pt x="f615" y="f638"/>
                </a:lnTo>
                <a:lnTo>
                  <a:pt x="f615" y="f637"/>
                </a:lnTo>
                <a:close/>
                <a:moveTo>
                  <a:pt x="f616" y="f636"/>
                </a:moveTo>
                <a:lnTo>
                  <a:pt x="f641" y="f636"/>
                </a:lnTo>
                <a:lnTo>
                  <a:pt x="f642" y="f637"/>
                </a:lnTo>
                <a:lnTo>
                  <a:pt x="f642" y="f638"/>
                </a:lnTo>
                <a:lnTo>
                  <a:pt x="f641" y="f639"/>
                </a:lnTo>
                <a:lnTo>
                  <a:pt x="f616" y="f639"/>
                </a:lnTo>
                <a:lnTo>
                  <a:pt x="f643" y="f638"/>
                </a:lnTo>
                <a:lnTo>
                  <a:pt x="f643" y="f637"/>
                </a:lnTo>
                <a:close/>
                <a:moveTo>
                  <a:pt x="f618" y="f636"/>
                </a:moveTo>
                <a:lnTo>
                  <a:pt x="f619" y="f636"/>
                </a:lnTo>
                <a:lnTo>
                  <a:pt x="f644" y="f637"/>
                </a:lnTo>
                <a:lnTo>
                  <a:pt x="f644" y="f638"/>
                </a:lnTo>
                <a:lnTo>
                  <a:pt x="f619" y="f639"/>
                </a:lnTo>
                <a:lnTo>
                  <a:pt x="f618" y="f639"/>
                </a:lnTo>
                <a:lnTo>
                  <a:pt x="f645" y="f638"/>
                </a:lnTo>
                <a:lnTo>
                  <a:pt x="f645" y="f637"/>
                </a:lnTo>
                <a:close/>
                <a:moveTo>
                  <a:pt x="f620" y="f636"/>
                </a:moveTo>
                <a:lnTo>
                  <a:pt x="f646" y="f636"/>
                </a:lnTo>
                <a:lnTo>
                  <a:pt x="f647" y="f637"/>
                </a:lnTo>
                <a:lnTo>
                  <a:pt x="f647" y="f638"/>
                </a:lnTo>
                <a:lnTo>
                  <a:pt x="f646" y="f639"/>
                </a:lnTo>
                <a:lnTo>
                  <a:pt x="f620" y="f639"/>
                </a:lnTo>
                <a:lnTo>
                  <a:pt x="f648" y="f638"/>
                </a:lnTo>
                <a:lnTo>
                  <a:pt x="f648" y="f637"/>
                </a:lnTo>
                <a:close/>
                <a:moveTo>
                  <a:pt x="f649" y="f636"/>
                </a:moveTo>
                <a:lnTo>
                  <a:pt x="f623" y="f636"/>
                </a:lnTo>
                <a:lnTo>
                  <a:pt x="f624" y="f637"/>
                </a:lnTo>
                <a:lnTo>
                  <a:pt x="f624" y="f638"/>
                </a:lnTo>
                <a:lnTo>
                  <a:pt x="f623" y="f639"/>
                </a:lnTo>
                <a:lnTo>
                  <a:pt x="f649" y="f639"/>
                </a:lnTo>
                <a:lnTo>
                  <a:pt x="f625" y="f638"/>
                </a:lnTo>
                <a:lnTo>
                  <a:pt x="f625" y="f637"/>
                </a:lnTo>
                <a:close/>
                <a:moveTo>
                  <a:pt x="f35" y="f650"/>
                </a:moveTo>
                <a:lnTo>
                  <a:pt x="f37" y="f650"/>
                </a:lnTo>
                <a:lnTo>
                  <a:pt x="f6" y="f651"/>
                </a:lnTo>
                <a:lnTo>
                  <a:pt x="f6" y="f652"/>
                </a:lnTo>
                <a:lnTo>
                  <a:pt x="f37" y="f653"/>
                </a:lnTo>
                <a:lnTo>
                  <a:pt x="f35" y="f653"/>
                </a:lnTo>
                <a:lnTo>
                  <a:pt x="f41" y="f652"/>
                </a:lnTo>
                <a:lnTo>
                  <a:pt x="f41" y="f651"/>
                </a:lnTo>
                <a:close/>
                <a:moveTo>
                  <a:pt x="f42" y="f650"/>
                </a:moveTo>
                <a:lnTo>
                  <a:pt x="f43" y="f650"/>
                </a:lnTo>
                <a:lnTo>
                  <a:pt x="f44" y="f651"/>
                </a:lnTo>
                <a:lnTo>
                  <a:pt x="f44" y="f652"/>
                </a:lnTo>
                <a:lnTo>
                  <a:pt x="f43" y="f653"/>
                </a:lnTo>
                <a:lnTo>
                  <a:pt x="f42" y="f653"/>
                </a:lnTo>
                <a:lnTo>
                  <a:pt x="f45" y="f652"/>
                </a:lnTo>
                <a:lnTo>
                  <a:pt x="f45" y="f651"/>
                </a:lnTo>
                <a:close/>
                <a:moveTo>
                  <a:pt x="f46" y="f650"/>
                </a:moveTo>
                <a:lnTo>
                  <a:pt x="f47" y="f650"/>
                </a:lnTo>
                <a:lnTo>
                  <a:pt x="f48" y="f651"/>
                </a:lnTo>
                <a:lnTo>
                  <a:pt x="f48" y="f652"/>
                </a:lnTo>
                <a:lnTo>
                  <a:pt x="f47" y="f653"/>
                </a:lnTo>
                <a:lnTo>
                  <a:pt x="f46" y="f653"/>
                </a:lnTo>
                <a:lnTo>
                  <a:pt x="f49" y="f652"/>
                </a:lnTo>
                <a:lnTo>
                  <a:pt x="f49" y="f651"/>
                </a:lnTo>
                <a:close/>
                <a:moveTo>
                  <a:pt x="f50" y="f650"/>
                </a:moveTo>
                <a:lnTo>
                  <a:pt x="f51" y="f650"/>
                </a:lnTo>
                <a:lnTo>
                  <a:pt x="f52" y="f651"/>
                </a:lnTo>
                <a:lnTo>
                  <a:pt x="f52" y="f652"/>
                </a:lnTo>
                <a:lnTo>
                  <a:pt x="f51" y="f653"/>
                </a:lnTo>
                <a:lnTo>
                  <a:pt x="f50" y="f653"/>
                </a:lnTo>
                <a:lnTo>
                  <a:pt x="f53" y="f652"/>
                </a:lnTo>
                <a:lnTo>
                  <a:pt x="f53" y="f651"/>
                </a:lnTo>
                <a:close/>
                <a:moveTo>
                  <a:pt x="f54" y="f650"/>
                </a:moveTo>
                <a:lnTo>
                  <a:pt x="f55" y="f650"/>
                </a:lnTo>
                <a:lnTo>
                  <a:pt x="f56" y="f651"/>
                </a:lnTo>
                <a:lnTo>
                  <a:pt x="f56" y="f652"/>
                </a:lnTo>
                <a:lnTo>
                  <a:pt x="f55" y="f653"/>
                </a:lnTo>
                <a:lnTo>
                  <a:pt x="f54" y="f653"/>
                </a:lnTo>
                <a:lnTo>
                  <a:pt x="f57" y="f652"/>
                </a:lnTo>
                <a:lnTo>
                  <a:pt x="f57" y="f651"/>
                </a:lnTo>
                <a:close/>
                <a:moveTo>
                  <a:pt x="f58" y="f650"/>
                </a:moveTo>
                <a:lnTo>
                  <a:pt x="f59" y="f650"/>
                </a:lnTo>
                <a:lnTo>
                  <a:pt x="f60" y="f651"/>
                </a:lnTo>
                <a:lnTo>
                  <a:pt x="f60" y="f652"/>
                </a:lnTo>
                <a:lnTo>
                  <a:pt x="f59" y="f653"/>
                </a:lnTo>
                <a:lnTo>
                  <a:pt x="f58" y="f653"/>
                </a:lnTo>
                <a:lnTo>
                  <a:pt x="f61" y="f652"/>
                </a:lnTo>
                <a:lnTo>
                  <a:pt x="f61" y="f651"/>
                </a:lnTo>
                <a:close/>
                <a:moveTo>
                  <a:pt x="f62" y="f650"/>
                </a:moveTo>
                <a:lnTo>
                  <a:pt x="f63" y="f650"/>
                </a:lnTo>
                <a:lnTo>
                  <a:pt x="f64" y="f651"/>
                </a:lnTo>
                <a:lnTo>
                  <a:pt x="f64" y="f652"/>
                </a:lnTo>
                <a:lnTo>
                  <a:pt x="f63" y="f653"/>
                </a:lnTo>
                <a:lnTo>
                  <a:pt x="f62" y="f653"/>
                </a:lnTo>
                <a:lnTo>
                  <a:pt x="f65" y="f652"/>
                </a:lnTo>
                <a:lnTo>
                  <a:pt x="f65" y="f651"/>
                </a:lnTo>
                <a:close/>
                <a:moveTo>
                  <a:pt x="f66" y="f650"/>
                </a:moveTo>
                <a:lnTo>
                  <a:pt x="f67" y="f650"/>
                </a:lnTo>
                <a:lnTo>
                  <a:pt x="f68" y="f651"/>
                </a:lnTo>
                <a:lnTo>
                  <a:pt x="f68" y="f652"/>
                </a:lnTo>
                <a:lnTo>
                  <a:pt x="f67" y="f653"/>
                </a:lnTo>
                <a:lnTo>
                  <a:pt x="f66" y="f653"/>
                </a:lnTo>
                <a:lnTo>
                  <a:pt x="f69" y="f652"/>
                </a:lnTo>
                <a:lnTo>
                  <a:pt x="f69" y="f651"/>
                </a:lnTo>
                <a:close/>
                <a:moveTo>
                  <a:pt x="f70" y="f650"/>
                </a:moveTo>
                <a:lnTo>
                  <a:pt x="f71" y="f650"/>
                </a:lnTo>
                <a:lnTo>
                  <a:pt x="f72" y="f651"/>
                </a:lnTo>
                <a:lnTo>
                  <a:pt x="f72" y="f652"/>
                </a:lnTo>
                <a:lnTo>
                  <a:pt x="f71" y="f653"/>
                </a:lnTo>
                <a:lnTo>
                  <a:pt x="f70" y="f653"/>
                </a:lnTo>
                <a:lnTo>
                  <a:pt x="f73" y="f652"/>
                </a:lnTo>
                <a:lnTo>
                  <a:pt x="f73" y="f651"/>
                </a:lnTo>
                <a:close/>
                <a:moveTo>
                  <a:pt x="f74" y="f650"/>
                </a:moveTo>
                <a:lnTo>
                  <a:pt x="f75" y="f650"/>
                </a:lnTo>
                <a:lnTo>
                  <a:pt x="f76" y="f651"/>
                </a:lnTo>
                <a:lnTo>
                  <a:pt x="f76" y="f652"/>
                </a:lnTo>
                <a:lnTo>
                  <a:pt x="f75" y="f653"/>
                </a:lnTo>
                <a:lnTo>
                  <a:pt x="f74" y="f653"/>
                </a:lnTo>
                <a:lnTo>
                  <a:pt x="f77" y="f652"/>
                </a:lnTo>
                <a:lnTo>
                  <a:pt x="f77" y="f651"/>
                </a:lnTo>
                <a:close/>
                <a:moveTo>
                  <a:pt x="f78" y="f650"/>
                </a:moveTo>
                <a:lnTo>
                  <a:pt x="f79" y="f650"/>
                </a:lnTo>
                <a:lnTo>
                  <a:pt x="f80" y="f651"/>
                </a:lnTo>
                <a:lnTo>
                  <a:pt x="f80" y="f652"/>
                </a:lnTo>
                <a:lnTo>
                  <a:pt x="f79" y="f653"/>
                </a:lnTo>
                <a:lnTo>
                  <a:pt x="f78" y="f653"/>
                </a:lnTo>
                <a:lnTo>
                  <a:pt x="f81" y="f652"/>
                </a:lnTo>
                <a:lnTo>
                  <a:pt x="f81" y="f651"/>
                </a:lnTo>
                <a:close/>
                <a:moveTo>
                  <a:pt x="f82" y="f650"/>
                </a:moveTo>
                <a:lnTo>
                  <a:pt x="f83" y="f650"/>
                </a:lnTo>
                <a:lnTo>
                  <a:pt x="f84" y="f651"/>
                </a:lnTo>
                <a:lnTo>
                  <a:pt x="f84" y="f652"/>
                </a:lnTo>
                <a:lnTo>
                  <a:pt x="f83" y="f653"/>
                </a:lnTo>
                <a:lnTo>
                  <a:pt x="f82" y="f653"/>
                </a:lnTo>
                <a:lnTo>
                  <a:pt x="f85" y="f652"/>
                </a:lnTo>
                <a:lnTo>
                  <a:pt x="f85" y="f651"/>
                </a:lnTo>
                <a:close/>
                <a:moveTo>
                  <a:pt x="f86" y="f650"/>
                </a:moveTo>
                <a:lnTo>
                  <a:pt x="f87" y="f650"/>
                </a:lnTo>
                <a:lnTo>
                  <a:pt x="f88" y="f651"/>
                </a:lnTo>
                <a:lnTo>
                  <a:pt x="f88" y="f652"/>
                </a:lnTo>
                <a:lnTo>
                  <a:pt x="f87" y="f653"/>
                </a:lnTo>
                <a:lnTo>
                  <a:pt x="f86" y="f653"/>
                </a:lnTo>
                <a:lnTo>
                  <a:pt x="f89" y="f652"/>
                </a:lnTo>
                <a:lnTo>
                  <a:pt x="f89" y="f651"/>
                </a:lnTo>
                <a:close/>
                <a:moveTo>
                  <a:pt x="f90" y="f650"/>
                </a:moveTo>
                <a:lnTo>
                  <a:pt x="f91" y="f650"/>
                </a:lnTo>
                <a:lnTo>
                  <a:pt x="f92" y="f651"/>
                </a:lnTo>
                <a:lnTo>
                  <a:pt x="f92" y="f652"/>
                </a:lnTo>
                <a:lnTo>
                  <a:pt x="f91" y="f653"/>
                </a:lnTo>
                <a:lnTo>
                  <a:pt x="f90" y="f653"/>
                </a:lnTo>
                <a:lnTo>
                  <a:pt x="f93" y="f652"/>
                </a:lnTo>
                <a:lnTo>
                  <a:pt x="f93" y="f651"/>
                </a:lnTo>
                <a:close/>
                <a:moveTo>
                  <a:pt x="f94" y="f650"/>
                </a:moveTo>
                <a:lnTo>
                  <a:pt x="f95" y="f650"/>
                </a:lnTo>
                <a:lnTo>
                  <a:pt x="f96" y="f651"/>
                </a:lnTo>
                <a:lnTo>
                  <a:pt x="f96" y="f652"/>
                </a:lnTo>
                <a:lnTo>
                  <a:pt x="f95" y="f653"/>
                </a:lnTo>
                <a:lnTo>
                  <a:pt x="f94" y="f653"/>
                </a:lnTo>
                <a:lnTo>
                  <a:pt x="f97" y="f652"/>
                </a:lnTo>
                <a:lnTo>
                  <a:pt x="f97" y="f651"/>
                </a:lnTo>
                <a:close/>
                <a:moveTo>
                  <a:pt x="f98" y="f650"/>
                </a:moveTo>
                <a:lnTo>
                  <a:pt x="f99" y="f650"/>
                </a:lnTo>
                <a:lnTo>
                  <a:pt x="f100" y="f651"/>
                </a:lnTo>
                <a:lnTo>
                  <a:pt x="f100" y="f652"/>
                </a:lnTo>
                <a:lnTo>
                  <a:pt x="f99" y="f653"/>
                </a:lnTo>
                <a:lnTo>
                  <a:pt x="f98" y="f653"/>
                </a:lnTo>
                <a:lnTo>
                  <a:pt x="f101" y="f652"/>
                </a:lnTo>
                <a:lnTo>
                  <a:pt x="f101" y="f651"/>
                </a:lnTo>
                <a:close/>
                <a:moveTo>
                  <a:pt x="f102" y="f650"/>
                </a:moveTo>
                <a:lnTo>
                  <a:pt x="f103" y="f650"/>
                </a:lnTo>
                <a:lnTo>
                  <a:pt x="f104" y="f651"/>
                </a:lnTo>
                <a:lnTo>
                  <a:pt x="f104" y="f652"/>
                </a:lnTo>
                <a:lnTo>
                  <a:pt x="f103" y="f653"/>
                </a:lnTo>
                <a:lnTo>
                  <a:pt x="f102" y="f653"/>
                </a:lnTo>
                <a:lnTo>
                  <a:pt x="f105" y="f652"/>
                </a:lnTo>
                <a:lnTo>
                  <a:pt x="f105" y="f651"/>
                </a:lnTo>
                <a:close/>
                <a:moveTo>
                  <a:pt x="f106" y="f650"/>
                </a:moveTo>
                <a:lnTo>
                  <a:pt x="f107" y="f650"/>
                </a:lnTo>
                <a:lnTo>
                  <a:pt x="f108" y="f651"/>
                </a:lnTo>
                <a:lnTo>
                  <a:pt x="f108" y="f652"/>
                </a:lnTo>
                <a:lnTo>
                  <a:pt x="f107" y="f653"/>
                </a:lnTo>
                <a:lnTo>
                  <a:pt x="f106" y="f653"/>
                </a:lnTo>
                <a:lnTo>
                  <a:pt x="f109" y="f652"/>
                </a:lnTo>
                <a:lnTo>
                  <a:pt x="f109" y="f651"/>
                </a:lnTo>
                <a:close/>
                <a:moveTo>
                  <a:pt x="f110" y="f650"/>
                </a:moveTo>
                <a:lnTo>
                  <a:pt x="f111" y="f650"/>
                </a:lnTo>
                <a:lnTo>
                  <a:pt x="f112" y="f651"/>
                </a:lnTo>
                <a:lnTo>
                  <a:pt x="f112" y="f652"/>
                </a:lnTo>
                <a:lnTo>
                  <a:pt x="f111" y="f653"/>
                </a:lnTo>
                <a:lnTo>
                  <a:pt x="f110" y="f653"/>
                </a:lnTo>
                <a:lnTo>
                  <a:pt x="f113" y="f652"/>
                </a:lnTo>
                <a:lnTo>
                  <a:pt x="f113" y="f651"/>
                </a:lnTo>
                <a:close/>
                <a:moveTo>
                  <a:pt x="f114" y="f650"/>
                </a:moveTo>
                <a:lnTo>
                  <a:pt x="f115" y="f650"/>
                </a:lnTo>
                <a:lnTo>
                  <a:pt x="f116" y="f651"/>
                </a:lnTo>
                <a:lnTo>
                  <a:pt x="f116" y="f652"/>
                </a:lnTo>
                <a:lnTo>
                  <a:pt x="f115" y="f653"/>
                </a:lnTo>
                <a:lnTo>
                  <a:pt x="f114" y="f653"/>
                </a:lnTo>
                <a:lnTo>
                  <a:pt x="f117" y="f652"/>
                </a:lnTo>
                <a:lnTo>
                  <a:pt x="f117" y="f651"/>
                </a:lnTo>
                <a:close/>
                <a:moveTo>
                  <a:pt x="f118" y="f650"/>
                </a:moveTo>
                <a:lnTo>
                  <a:pt x="f119" y="f650"/>
                </a:lnTo>
                <a:lnTo>
                  <a:pt x="f120" y="f651"/>
                </a:lnTo>
                <a:lnTo>
                  <a:pt x="f120" y="f652"/>
                </a:lnTo>
                <a:lnTo>
                  <a:pt x="f119" y="f653"/>
                </a:lnTo>
                <a:lnTo>
                  <a:pt x="f118" y="f653"/>
                </a:lnTo>
                <a:lnTo>
                  <a:pt x="f121" y="f652"/>
                </a:lnTo>
                <a:lnTo>
                  <a:pt x="f121" y="f651"/>
                </a:lnTo>
                <a:close/>
                <a:moveTo>
                  <a:pt x="f122" y="f650"/>
                </a:moveTo>
                <a:lnTo>
                  <a:pt x="f123" y="f650"/>
                </a:lnTo>
                <a:lnTo>
                  <a:pt x="f124" y="f651"/>
                </a:lnTo>
                <a:lnTo>
                  <a:pt x="f124" y="f652"/>
                </a:lnTo>
                <a:lnTo>
                  <a:pt x="f123" y="f653"/>
                </a:lnTo>
                <a:lnTo>
                  <a:pt x="f122" y="f653"/>
                </a:lnTo>
                <a:lnTo>
                  <a:pt x="f125" y="f652"/>
                </a:lnTo>
                <a:lnTo>
                  <a:pt x="f125" y="f651"/>
                </a:lnTo>
                <a:close/>
                <a:moveTo>
                  <a:pt x="f126" y="f650"/>
                </a:moveTo>
                <a:lnTo>
                  <a:pt x="f127" y="f650"/>
                </a:lnTo>
                <a:lnTo>
                  <a:pt x="f128" y="f651"/>
                </a:lnTo>
                <a:lnTo>
                  <a:pt x="f128" y="f652"/>
                </a:lnTo>
                <a:lnTo>
                  <a:pt x="f127" y="f653"/>
                </a:lnTo>
                <a:lnTo>
                  <a:pt x="f126" y="f653"/>
                </a:lnTo>
                <a:lnTo>
                  <a:pt x="f129" y="f652"/>
                </a:lnTo>
                <a:lnTo>
                  <a:pt x="f129" y="f651"/>
                </a:lnTo>
                <a:close/>
                <a:moveTo>
                  <a:pt x="f130" y="f650"/>
                </a:moveTo>
                <a:lnTo>
                  <a:pt x="f131" y="f650"/>
                </a:lnTo>
                <a:lnTo>
                  <a:pt x="f132" y="f651"/>
                </a:lnTo>
                <a:lnTo>
                  <a:pt x="f132" y="f652"/>
                </a:lnTo>
                <a:lnTo>
                  <a:pt x="f131" y="f653"/>
                </a:lnTo>
                <a:lnTo>
                  <a:pt x="f130" y="f653"/>
                </a:lnTo>
                <a:lnTo>
                  <a:pt x="f133" y="f652"/>
                </a:lnTo>
                <a:lnTo>
                  <a:pt x="f133" y="f651"/>
                </a:lnTo>
                <a:close/>
                <a:moveTo>
                  <a:pt x="f134" y="f650"/>
                </a:moveTo>
                <a:lnTo>
                  <a:pt x="f135" y="f650"/>
                </a:lnTo>
                <a:lnTo>
                  <a:pt x="f136" y="f651"/>
                </a:lnTo>
                <a:lnTo>
                  <a:pt x="f136" y="f652"/>
                </a:lnTo>
                <a:lnTo>
                  <a:pt x="f135" y="f653"/>
                </a:lnTo>
                <a:lnTo>
                  <a:pt x="f134" y="f653"/>
                </a:lnTo>
                <a:lnTo>
                  <a:pt x="f137" y="f652"/>
                </a:lnTo>
                <a:lnTo>
                  <a:pt x="f137" y="f651"/>
                </a:lnTo>
                <a:close/>
                <a:moveTo>
                  <a:pt x="f138" y="f650"/>
                </a:moveTo>
                <a:lnTo>
                  <a:pt x="f139" y="f650"/>
                </a:lnTo>
                <a:lnTo>
                  <a:pt x="f140" y="f651"/>
                </a:lnTo>
                <a:lnTo>
                  <a:pt x="f140" y="f652"/>
                </a:lnTo>
                <a:lnTo>
                  <a:pt x="f139" y="f653"/>
                </a:lnTo>
                <a:lnTo>
                  <a:pt x="f138" y="f653"/>
                </a:lnTo>
                <a:lnTo>
                  <a:pt x="f141" y="f652"/>
                </a:lnTo>
                <a:lnTo>
                  <a:pt x="f141" y="f651"/>
                </a:lnTo>
                <a:close/>
                <a:moveTo>
                  <a:pt x="f142" y="f650"/>
                </a:moveTo>
                <a:lnTo>
                  <a:pt x="f143" y="f650"/>
                </a:lnTo>
                <a:lnTo>
                  <a:pt x="f144" y="f651"/>
                </a:lnTo>
                <a:lnTo>
                  <a:pt x="f144" y="f652"/>
                </a:lnTo>
                <a:lnTo>
                  <a:pt x="f143" y="f653"/>
                </a:lnTo>
                <a:lnTo>
                  <a:pt x="f142" y="f653"/>
                </a:lnTo>
                <a:lnTo>
                  <a:pt x="f145" y="f652"/>
                </a:lnTo>
                <a:lnTo>
                  <a:pt x="f145" y="f651"/>
                </a:lnTo>
                <a:close/>
                <a:moveTo>
                  <a:pt x="f146" y="f650"/>
                </a:moveTo>
                <a:lnTo>
                  <a:pt x="f147" y="f650"/>
                </a:lnTo>
                <a:lnTo>
                  <a:pt x="f148" y="f651"/>
                </a:lnTo>
                <a:lnTo>
                  <a:pt x="f148" y="f652"/>
                </a:lnTo>
                <a:lnTo>
                  <a:pt x="f147" y="f653"/>
                </a:lnTo>
                <a:lnTo>
                  <a:pt x="f146" y="f653"/>
                </a:lnTo>
                <a:lnTo>
                  <a:pt x="f149" y="f652"/>
                </a:lnTo>
                <a:lnTo>
                  <a:pt x="f149" y="f651"/>
                </a:lnTo>
                <a:close/>
                <a:moveTo>
                  <a:pt x="f150" y="f650"/>
                </a:moveTo>
                <a:lnTo>
                  <a:pt x="f151" y="f650"/>
                </a:lnTo>
                <a:lnTo>
                  <a:pt x="f152" y="f651"/>
                </a:lnTo>
                <a:lnTo>
                  <a:pt x="f152" y="f652"/>
                </a:lnTo>
                <a:lnTo>
                  <a:pt x="f151" y="f653"/>
                </a:lnTo>
                <a:lnTo>
                  <a:pt x="f150" y="f653"/>
                </a:lnTo>
                <a:lnTo>
                  <a:pt x="f153" y="f652"/>
                </a:lnTo>
                <a:lnTo>
                  <a:pt x="f153" y="f651"/>
                </a:lnTo>
                <a:close/>
                <a:moveTo>
                  <a:pt x="f154" y="f650"/>
                </a:moveTo>
                <a:lnTo>
                  <a:pt x="f155" y="f650"/>
                </a:lnTo>
                <a:lnTo>
                  <a:pt x="f156" y="f651"/>
                </a:lnTo>
                <a:lnTo>
                  <a:pt x="f156" y="f652"/>
                </a:lnTo>
                <a:lnTo>
                  <a:pt x="f155" y="f653"/>
                </a:lnTo>
                <a:lnTo>
                  <a:pt x="f154" y="f653"/>
                </a:lnTo>
                <a:lnTo>
                  <a:pt x="f157" y="f652"/>
                </a:lnTo>
                <a:lnTo>
                  <a:pt x="f157" y="f651"/>
                </a:lnTo>
                <a:close/>
                <a:moveTo>
                  <a:pt x="f158" y="f650"/>
                </a:moveTo>
                <a:lnTo>
                  <a:pt x="f159" y="f650"/>
                </a:lnTo>
                <a:lnTo>
                  <a:pt x="f160" y="f651"/>
                </a:lnTo>
                <a:lnTo>
                  <a:pt x="f160" y="f652"/>
                </a:lnTo>
                <a:lnTo>
                  <a:pt x="f159" y="f653"/>
                </a:lnTo>
                <a:lnTo>
                  <a:pt x="f158" y="f653"/>
                </a:lnTo>
                <a:lnTo>
                  <a:pt x="f161" y="f652"/>
                </a:lnTo>
                <a:lnTo>
                  <a:pt x="f161" y="f651"/>
                </a:lnTo>
                <a:close/>
                <a:moveTo>
                  <a:pt x="f626" y="f650"/>
                </a:moveTo>
                <a:lnTo>
                  <a:pt x="f654" y="f650"/>
                </a:lnTo>
                <a:lnTo>
                  <a:pt x="f655" y="f651"/>
                </a:lnTo>
                <a:lnTo>
                  <a:pt x="f655" y="f652"/>
                </a:lnTo>
                <a:lnTo>
                  <a:pt x="f654" y="f653"/>
                </a:lnTo>
                <a:lnTo>
                  <a:pt x="f626" y="f653"/>
                </a:lnTo>
                <a:lnTo>
                  <a:pt x="f627" y="f652"/>
                </a:lnTo>
                <a:lnTo>
                  <a:pt x="f627" y="f651"/>
                </a:lnTo>
                <a:close/>
                <a:moveTo>
                  <a:pt x="f656" y="f650"/>
                </a:moveTo>
                <a:lnTo>
                  <a:pt x="f657" y="f650"/>
                </a:lnTo>
                <a:lnTo>
                  <a:pt x="f658" y="f651"/>
                </a:lnTo>
                <a:lnTo>
                  <a:pt x="f658" y="f652"/>
                </a:lnTo>
                <a:lnTo>
                  <a:pt x="f657" y="f653"/>
                </a:lnTo>
                <a:lnTo>
                  <a:pt x="f656" y="f653"/>
                </a:lnTo>
                <a:lnTo>
                  <a:pt x="f659" y="f652"/>
                </a:lnTo>
                <a:lnTo>
                  <a:pt x="f659" y="f651"/>
                </a:lnTo>
                <a:close/>
                <a:moveTo>
                  <a:pt x="f630" y="f650"/>
                </a:moveTo>
                <a:lnTo>
                  <a:pt x="f660" y="f650"/>
                </a:lnTo>
                <a:lnTo>
                  <a:pt x="f661" y="f651"/>
                </a:lnTo>
                <a:lnTo>
                  <a:pt x="f661" y="f652"/>
                </a:lnTo>
                <a:lnTo>
                  <a:pt x="f660" y="f653"/>
                </a:lnTo>
                <a:lnTo>
                  <a:pt x="f630" y="f653"/>
                </a:lnTo>
                <a:lnTo>
                  <a:pt x="f633" y="f652"/>
                </a:lnTo>
                <a:lnTo>
                  <a:pt x="f633" y="f651"/>
                </a:lnTo>
                <a:close/>
                <a:moveTo>
                  <a:pt x="f662" y="f650"/>
                </a:moveTo>
                <a:lnTo>
                  <a:pt x="f634" y="f650"/>
                </a:lnTo>
                <a:lnTo>
                  <a:pt x="f663" y="f651"/>
                </a:lnTo>
                <a:lnTo>
                  <a:pt x="f663" y="f652"/>
                </a:lnTo>
                <a:lnTo>
                  <a:pt x="f634" y="f653"/>
                </a:lnTo>
                <a:lnTo>
                  <a:pt x="f662" y="f653"/>
                </a:lnTo>
                <a:lnTo>
                  <a:pt x="f664" y="f652"/>
                </a:lnTo>
                <a:lnTo>
                  <a:pt x="f664" y="f651"/>
                </a:lnTo>
                <a:close/>
                <a:moveTo>
                  <a:pt x="f146" y="f665"/>
                </a:moveTo>
                <a:lnTo>
                  <a:pt x="f147" y="f665"/>
                </a:lnTo>
                <a:lnTo>
                  <a:pt x="f148" y="f666"/>
                </a:lnTo>
                <a:lnTo>
                  <a:pt x="f148" y="f667"/>
                </a:lnTo>
                <a:lnTo>
                  <a:pt x="f147" y="f668"/>
                </a:lnTo>
                <a:lnTo>
                  <a:pt x="f146" y="f668"/>
                </a:lnTo>
                <a:lnTo>
                  <a:pt x="f149" y="f667"/>
                </a:lnTo>
                <a:lnTo>
                  <a:pt x="f149" y="f666"/>
                </a:lnTo>
                <a:close/>
                <a:moveTo>
                  <a:pt x="f150" y="f665"/>
                </a:moveTo>
                <a:lnTo>
                  <a:pt x="f151" y="f665"/>
                </a:lnTo>
                <a:lnTo>
                  <a:pt x="f152" y="f666"/>
                </a:lnTo>
                <a:lnTo>
                  <a:pt x="f152" y="f667"/>
                </a:lnTo>
                <a:lnTo>
                  <a:pt x="f151" y="f668"/>
                </a:lnTo>
                <a:lnTo>
                  <a:pt x="f150" y="f668"/>
                </a:lnTo>
                <a:lnTo>
                  <a:pt x="f153" y="f667"/>
                </a:lnTo>
                <a:lnTo>
                  <a:pt x="f153" y="f666"/>
                </a:lnTo>
                <a:close/>
                <a:moveTo>
                  <a:pt x="f154" y="f665"/>
                </a:moveTo>
                <a:lnTo>
                  <a:pt x="f155" y="f665"/>
                </a:lnTo>
                <a:lnTo>
                  <a:pt x="f156" y="f666"/>
                </a:lnTo>
                <a:lnTo>
                  <a:pt x="f156" y="f667"/>
                </a:lnTo>
                <a:lnTo>
                  <a:pt x="f155" y="f669"/>
                </a:lnTo>
                <a:lnTo>
                  <a:pt x="f154" y="f669"/>
                </a:lnTo>
                <a:lnTo>
                  <a:pt x="f157" y="f667"/>
                </a:lnTo>
                <a:lnTo>
                  <a:pt x="f157" y="f666"/>
                </a:lnTo>
                <a:close/>
                <a:moveTo>
                  <a:pt x="f158" y="f665"/>
                </a:moveTo>
                <a:lnTo>
                  <a:pt x="f159" y="f665"/>
                </a:lnTo>
                <a:lnTo>
                  <a:pt x="f160" y="f666"/>
                </a:lnTo>
                <a:lnTo>
                  <a:pt x="f160" y="f667"/>
                </a:lnTo>
                <a:lnTo>
                  <a:pt x="f159" y="f669"/>
                </a:lnTo>
                <a:lnTo>
                  <a:pt x="f158" y="f669"/>
                </a:lnTo>
                <a:lnTo>
                  <a:pt x="f161" y="f667"/>
                </a:lnTo>
                <a:lnTo>
                  <a:pt x="f161" y="f666"/>
                </a:lnTo>
                <a:close/>
                <a:moveTo>
                  <a:pt x="f142" y="f670"/>
                </a:moveTo>
                <a:lnTo>
                  <a:pt x="f143" y="f670"/>
                </a:lnTo>
                <a:lnTo>
                  <a:pt x="f144" y="f666"/>
                </a:lnTo>
                <a:lnTo>
                  <a:pt x="f144" y="f667"/>
                </a:lnTo>
                <a:lnTo>
                  <a:pt x="f143" y="f668"/>
                </a:lnTo>
                <a:lnTo>
                  <a:pt x="f142" y="f668"/>
                </a:lnTo>
                <a:lnTo>
                  <a:pt x="f145" y="f667"/>
                </a:lnTo>
                <a:lnTo>
                  <a:pt x="f145" y="f666"/>
                </a:lnTo>
                <a:close/>
                <a:moveTo>
                  <a:pt x="f122" y="f671"/>
                </a:moveTo>
                <a:lnTo>
                  <a:pt x="f123" y="f671"/>
                </a:lnTo>
                <a:lnTo>
                  <a:pt x="f124" y="f672"/>
                </a:lnTo>
                <a:lnTo>
                  <a:pt x="f124" y="f673"/>
                </a:lnTo>
                <a:lnTo>
                  <a:pt x="f123" y="f674"/>
                </a:lnTo>
                <a:lnTo>
                  <a:pt x="f122" y="f674"/>
                </a:lnTo>
                <a:lnTo>
                  <a:pt x="f125" y="f673"/>
                </a:lnTo>
                <a:lnTo>
                  <a:pt x="f125" y="f672"/>
                </a:lnTo>
                <a:close/>
                <a:moveTo>
                  <a:pt x="f126" y="f671"/>
                </a:moveTo>
                <a:lnTo>
                  <a:pt x="f127" y="f671"/>
                </a:lnTo>
                <a:lnTo>
                  <a:pt x="f128" y="f672"/>
                </a:lnTo>
                <a:lnTo>
                  <a:pt x="f128" y="f675"/>
                </a:lnTo>
                <a:lnTo>
                  <a:pt x="f127" y="f674"/>
                </a:lnTo>
                <a:lnTo>
                  <a:pt x="f126" y="f674"/>
                </a:lnTo>
                <a:lnTo>
                  <a:pt x="f129" y="f675"/>
                </a:lnTo>
                <a:lnTo>
                  <a:pt x="f129" y="f672"/>
                </a:lnTo>
                <a:close/>
                <a:moveTo>
                  <a:pt x="f130" y="f671"/>
                </a:moveTo>
                <a:lnTo>
                  <a:pt x="f131" y="f671"/>
                </a:lnTo>
                <a:lnTo>
                  <a:pt x="f132" y="f672"/>
                </a:lnTo>
                <a:lnTo>
                  <a:pt x="f132" y="f675"/>
                </a:lnTo>
                <a:lnTo>
                  <a:pt x="f131" y="f674"/>
                </a:lnTo>
                <a:lnTo>
                  <a:pt x="f130" y="f674"/>
                </a:lnTo>
                <a:lnTo>
                  <a:pt x="f133" y="f675"/>
                </a:lnTo>
                <a:lnTo>
                  <a:pt x="f133" y="f672"/>
                </a:lnTo>
                <a:close/>
                <a:moveTo>
                  <a:pt x="f134" y="f671"/>
                </a:moveTo>
                <a:lnTo>
                  <a:pt x="f135" y="f671"/>
                </a:lnTo>
                <a:lnTo>
                  <a:pt x="f136" y="f672"/>
                </a:lnTo>
                <a:lnTo>
                  <a:pt x="f136" y="f675"/>
                </a:lnTo>
                <a:lnTo>
                  <a:pt x="f135" y="f674"/>
                </a:lnTo>
                <a:lnTo>
                  <a:pt x="f134" y="f674"/>
                </a:lnTo>
                <a:lnTo>
                  <a:pt x="f137" y="f675"/>
                </a:lnTo>
                <a:lnTo>
                  <a:pt x="f137" y="f672"/>
                </a:lnTo>
                <a:close/>
                <a:moveTo>
                  <a:pt x="f138" y="f671"/>
                </a:moveTo>
                <a:lnTo>
                  <a:pt x="f139" y="f671"/>
                </a:lnTo>
                <a:lnTo>
                  <a:pt x="f140" y="f672"/>
                </a:lnTo>
                <a:lnTo>
                  <a:pt x="f140" y="f675"/>
                </a:lnTo>
                <a:lnTo>
                  <a:pt x="f139" y="f674"/>
                </a:lnTo>
                <a:lnTo>
                  <a:pt x="f138" y="f674"/>
                </a:lnTo>
                <a:lnTo>
                  <a:pt x="f141" y="f675"/>
                </a:lnTo>
                <a:lnTo>
                  <a:pt x="f141" y="f672"/>
                </a:lnTo>
                <a:close/>
                <a:moveTo>
                  <a:pt x="f106" y="f676"/>
                </a:moveTo>
                <a:lnTo>
                  <a:pt x="f107" y="f676"/>
                </a:lnTo>
                <a:lnTo>
                  <a:pt x="f108" y="f677"/>
                </a:lnTo>
                <a:lnTo>
                  <a:pt x="f108" y="f678"/>
                </a:lnTo>
                <a:lnTo>
                  <a:pt x="f107" y="f679"/>
                </a:lnTo>
                <a:lnTo>
                  <a:pt x="f106" y="f679"/>
                </a:lnTo>
                <a:lnTo>
                  <a:pt x="f109" y="f678"/>
                </a:lnTo>
                <a:lnTo>
                  <a:pt x="f109" y="f677"/>
                </a:lnTo>
                <a:close/>
                <a:moveTo>
                  <a:pt x="f110" y="f676"/>
                </a:moveTo>
                <a:lnTo>
                  <a:pt x="f111" y="f676"/>
                </a:lnTo>
                <a:lnTo>
                  <a:pt x="f112" y="f677"/>
                </a:lnTo>
                <a:lnTo>
                  <a:pt x="f112" y="f678"/>
                </a:lnTo>
                <a:lnTo>
                  <a:pt x="f111" y="f679"/>
                </a:lnTo>
                <a:lnTo>
                  <a:pt x="f110" y="f679"/>
                </a:lnTo>
                <a:lnTo>
                  <a:pt x="f113" y="f678"/>
                </a:lnTo>
                <a:lnTo>
                  <a:pt x="f113" y="f677"/>
                </a:lnTo>
                <a:close/>
                <a:moveTo>
                  <a:pt x="f114" y="f676"/>
                </a:moveTo>
                <a:lnTo>
                  <a:pt x="f115" y="f676"/>
                </a:lnTo>
                <a:lnTo>
                  <a:pt x="f116" y="f677"/>
                </a:lnTo>
                <a:lnTo>
                  <a:pt x="f116" y="f678"/>
                </a:lnTo>
                <a:lnTo>
                  <a:pt x="f115" y="f680"/>
                </a:lnTo>
                <a:lnTo>
                  <a:pt x="f114" y="f680"/>
                </a:lnTo>
                <a:lnTo>
                  <a:pt x="f117" y="f678"/>
                </a:lnTo>
                <a:lnTo>
                  <a:pt x="f117" y="f677"/>
                </a:lnTo>
                <a:close/>
                <a:moveTo>
                  <a:pt x="f118" y="f676"/>
                </a:moveTo>
                <a:lnTo>
                  <a:pt x="f119" y="f676"/>
                </a:lnTo>
                <a:lnTo>
                  <a:pt x="f120" y="f677"/>
                </a:lnTo>
                <a:lnTo>
                  <a:pt x="f120" y="f678"/>
                </a:lnTo>
                <a:lnTo>
                  <a:pt x="f119" y="f680"/>
                </a:lnTo>
                <a:lnTo>
                  <a:pt x="f118" y="f680"/>
                </a:lnTo>
                <a:lnTo>
                  <a:pt x="f121" y="f678"/>
                </a:lnTo>
                <a:lnTo>
                  <a:pt x="f121" y="f677"/>
                </a:lnTo>
                <a:close/>
                <a:moveTo>
                  <a:pt x="f102" y="f681"/>
                </a:moveTo>
                <a:lnTo>
                  <a:pt x="f103" y="f681"/>
                </a:lnTo>
                <a:lnTo>
                  <a:pt x="f104" y="f677"/>
                </a:lnTo>
                <a:lnTo>
                  <a:pt x="f104" y="f682"/>
                </a:lnTo>
                <a:lnTo>
                  <a:pt x="f103" y="f679"/>
                </a:lnTo>
                <a:lnTo>
                  <a:pt x="f102" y="f679"/>
                </a:lnTo>
                <a:lnTo>
                  <a:pt x="f105" y="f682"/>
                </a:lnTo>
                <a:lnTo>
                  <a:pt x="f105" y="f677"/>
                </a:lnTo>
                <a:close/>
                <a:moveTo>
                  <a:pt x="f94" y="f683"/>
                </a:moveTo>
                <a:lnTo>
                  <a:pt x="f95" y="f683"/>
                </a:lnTo>
                <a:lnTo>
                  <a:pt x="f96" y="f684"/>
                </a:lnTo>
                <a:lnTo>
                  <a:pt x="f96" y="f685"/>
                </a:lnTo>
                <a:lnTo>
                  <a:pt x="f95" y="f686"/>
                </a:lnTo>
                <a:lnTo>
                  <a:pt x="f94" y="f686"/>
                </a:lnTo>
                <a:lnTo>
                  <a:pt x="f97" y="f685"/>
                </a:lnTo>
                <a:lnTo>
                  <a:pt x="f97" y="f684"/>
                </a:lnTo>
                <a:close/>
                <a:moveTo>
                  <a:pt x="f98" y="f683"/>
                </a:moveTo>
                <a:lnTo>
                  <a:pt x="f99" y="f683"/>
                </a:lnTo>
                <a:lnTo>
                  <a:pt x="f100" y="f684"/>
                </a:lnTo>
                <a:lnTo>
                  <a:pt x="f100" y="f685"/>
                </a:lnTo>
                <a:lnTo>
                  <a:pt x="f99" y="f686"/>
                </a:lnTo>
                <a:lnTo>
                  <a:pt x="f98" y="f686"/>
                </a:lnTo>
                <a:lnTo>
                  <a:pt x="f101" y="f685"/>
                </a:lnTo>
                <a:lnTo>
                  <a:pt x="f101" y="f684"/>
                </a:lnTo>
                <a:close/>
                <a:moveTo>
                  <a:pt x="f82" y="f687"/>
                </a:moveTo>
                <a:lnTo>
                  <a:pt x="f83" y="f687"/>
                </a:lnTo>
                <a:lnTo>
                  <a:pt x="f84" y="f684"/>
                </a:lnTo>
                <a:lnTo>
                  <a:pt x="f84" y="f688"/>
                </a:lnTo>
                <a:lnTo>
                  <a:pt x="f83" y="f686"/>
                </a:lnTo>
                <a:lnTo>
                  <a:pt x="f82" y="f686"/>
                </a:lnTo>
                <a:lnTo>
                  <a:pt x="f85" y="f688"/>
                </a:lnTo>
                <a:lnTo>
                  <a:pt x="f85" y="f684"/>
                </a:lnTo>
                <a:close/>
                <a:moveTo>
                  <a:pt x="f86" y="f687"/>
                </a:moveTo>
                <a:lnTo>
                  <a:pt x="f87" y="f687"/>
                </a:lnTo>
                <a:lnTo>
                  <a:pt x="f88" y="f684"/>
                </a:lnTo>
                <a:lnTo>
                  <a:pt x="f88" y="f685"/>
                </a:lnTo>
                <a:lnTo>
                  <a:pt x="f87" y="f686"/>
                </a:lnTo>
                <a:lnTo>
                  <a:pt x="f86" y="f686"/>
                </a:lnTo>
                <a:lnTo>
                  <a:pt x="f89" y="f685"/>
                </a:lnTo>
                <a:lnTo>
                  <a:pt x="f89" y="f684"/>
                </a:lnTo>
                <a:close/>
                <a:moveTo>
                  <a:pt x="f90" y="f687"/>
                </a:moveTo>
                <a:lnTo>
                  <a:pt x="f91" y="f687"/>
                </a:lnTo>
                <a:lnTo>
                  <a:pt x="f92" y="f684"/>
                </a:lnTo>
                <a:lnTo>
                  <a:pt x="f92" y="f685"/>
                </a:lnTo>
                <a:lnTo>
                  <a:pt x="f91" y="f686"/>
                </a:lnTo>
                <a:lnTo>
                  <a:pt x="f90" y="f686"/>
                </a:lnTo>
                <a:lnTo>
                  <a:pt x="f93" y="f685"/>
                </a:lnTo>
                <a:lnTo>
                  <a:pt x="f93" y="f684"/>
                </a:lnTo>
                <a:close/>
                <a:moveTo>
                  <a:pt x="f74" y="f689"/>
                </a:moveTo>
                <a:lnTo>
                  <a:pt x="f75" y="f689"/>
                </a:lnTo>
                <a:lnTo>
                  <a:pt x="f76" y="f690"/>
                </a:lnTo>
                <a:lnTo>
                  <a:pt x="f76" y="f691"/>
                </a:lnTo>
                <a:lnTo>
                  <a:pt x="f75" y="f692"/>
                </a:lnTo>
                <a:lnTo>
                  <a:pt x="f74" y="f692"/>
                </a:lnTo>
                <a:lnTo>
                  <a:pt x="f77" y="f691"/>
                </a:lnTo>
                <a:lnTo>
                  <a:pt x="f77" y="f690"/>
                </a:lnTo>
                <a:close/>
                <a:moveTo>
                  <a:pt x="f78" y="f689"/>
                </a:moveTo>
                <a:lnTo>
                  <a:pt x="f79" y="f689"/>
                </a:lnTo>
                <a:lnTo>
                  <a:pt x="f80" y="f690"/>
                </a:lnTo>
                <a:lnTo>
                  <a:pt x="f80" y="f691"/>
                </a:lnTo>
                <a:lnTo>
                  <a:pt x="f79" y="f692"/>
                </a:lnTo>
                <a:lnTo>
                  <a:pt x="f78" y="f692"/>
                </a:lnTo>
                <a:lnTo>
                  <a:pt x="f81" y="f691"/>
                </a:lnTo>
                <a:lnTo>
                  <a:pt x="f81" y="f690"/>
                </a:lnTo>
                <a:close/>
                <a:moveTo>
                  <a:pt x="f62" y="f693"/>
                </a:moveTo>
                <a:lnTo>
                  <a:pt x="f63" y="f693"/>
                </a:lnTo>
                <a:lnTo>
                  <a:pt x="f64" y="f690"/>
                </a:lnTo>
                <a:lnTo>
                  <a:pt x="f64" y="f694"/>
                </a:lnTo>
                <a:lnTo>
                  <a:pt x="f63" y="f695"/>
                </a:lnTo>
                <a:lnTo>
                  <a:pt x="f62" y="f695"/>
                </a:lnTo>
                <a:lnTo>
                  <a:pt x="f65" y="f694"/>
                </a:lnTo>
                <a:lnTo>
                  <a:pt x="f65" y="f690"/>
                </a:lnTo>
                <a:close/>
                <a:moveTo>
                  <a:pt x="f66" y="f693"/>
                </a:moveTo>
                <a:lnTo>
                  <a:pt x="f67" y="f693"/>
                </a:lnTo>
                <a:lnTo>
                  <a:pt x="f68" y="f690"/>
                </a:lnTo>
                <a:lnTo>
                  <a:pt x="f68" y="f691"/>
                </a:lnTo>
                <a:lnTo>
                  <a:pt x="f67" y="f695"/>
                </a:lnTo>
                <a:lnTo>
                  <a:pt x="f66" y="f695"/>
                </a:lnTo>
                <a:lnTo>
                  <a:pt x="f69" y="f691"/>
                </a:lnTo>
                <a:lnTo>
                  <a:pt x="f69" y="f690"/>
                </a:lnTo>
                <a:close/>
                <a:moveTo>
                  <a:pt x="f70" y="f693"/>
                </a:moveTo>
                <a:lnTo>
                  <a:pt x="f71" y="f693"/>
                </a:lnTo>
                <a:lnTo>
                  <a:pt x="f72" y="f690"/>
                </a:lnTo>
                <a:lnTo>
                  <a:pt x="f72" y="f691"/>
                </a:lnTo>
                <a:lnTo>
                  <a:pt x="f71" y="f695"/>
                </a:lnTo>
                <a:lnTo>
                  <a:pt x="f70" y="f695"/>
                </a:lnTo>
                <a:lnTo>
                  <a:pt x="f73" y="f691"/>
                </a:lnTo>
                <a:lnTo>
                  <a:pt x="f73" y="f690"/>
                </a:lnTo>
                <a:close/>
                <a:moveTo>
                  <a:pt x="f54" y="f696"/>
                </a:moveTo>
                <a:lnTo>
                  <a:pt x="f55" y="f696"/>
                </a:lnTo>
                <a:lnTo>
                  <a:pt x="f56" y="f697"/>
                </a:lnTo>
                <a:lnTo>
                  <a:pt x="f56" y="f698"/>
                </a:lnTo>
                <a:lnTo>
                  <a:pt x="f55" y="f699"/>
                </a:lnTo>
                <a:lnTo>
                  <a:pt x="f54" y="f699"/>
                </a:lnTo>
                <a:lnTo>
                  <a:pt x="f57" y="f698"/>
                </a:lnTo>
                <a:lnTo>
                  <a:pt x="f57" y="f697"/>
                </a:lnTo>
                <a:close/>
                <a:moveTo>
                  <a:pt x="f58" y="f696"/>
                </a:moveTo>
                <a:lnTo>
                  <a:pt x="f59" y="f696"/>
                </a:lnTo>
                <a:lnTo>
                  <a:pt x="f60" y="f697"/>
                </a:lnTo>
                <a:lnTo>
                  <a:pt x="f60" y="f698"/>
                </a:lnTo>
                <a:lnTo>
                  <a:pt x="f59" y="f699"/>
                </a:lnTo>
                <a:lnTo>
                  <a:pt x="f58" y="f699"/>
                </a:lnTo>
                <a:lnTo>
                  <a:pt x="f61" y="f698"/>
                </a:lnTo>
                <a:lnTo>
                  <a:pt x="f61" y="f697"/>
                </a:lnTo>
                <a:close/>
                <a:moveTo>
                  <a:pt x="f42" y="f700"/>
                </a:moveTo>
                <a:lnTo>
                  <a:pt x="f43" y="f700"/>
                </a:lnTo>
                <a:lnTo>
                  <a:pt x="f44" y="f701"/>
                </a:lnTo>
                <a:lnTo>
                  <a:pt x="f44" y="f698"/>
                </a:lnTo>
                <a:lnTo>
                  <a:pt x="f43" y="f699"/>
                </a:lnTo>
                <a:lnTo>
                  <a:pt x="f42" y="f699"/>
                </a:lnTo>
                <a:lnTo>
                  <a:pt x="f45" y="f698"/>
                </a:lnTo>
                <a:lnTo>
                  <a:pt x="f45" y="f701"/>
                </a:lnTo>
                <a:close/>
                <a:moveTo>
                  <a:pt x="f46" y="f700"/>
                </a:moveTo>
                <a:lnTo>
                  <a:pt x="f47" y="f700"/>
                </a:lnTo>
                <a:lnTo>
                  <a:pt x="f48" y="f697"/>
                </a:lnTo>
                <a:lnTo>
                  <a:pt x="f48" y="f698"/>
                </a:lnTo>
                <a:lnTo>
                  <a:pt x="f47" y="f699"/>
                </a:lnTo>
                <a:lnTo>
                  <a:pt x="f46" y="f699"/>
                </a:lnTo>
                <a:lnTo>
                  <a:pt x="f49" y="f698"/>
                </a:lnTo>
                <a:lnTo>
                  <a:pt x="f49" y="f697"/>
                </a:lnTo>
                <a:close/>
                <a:moveTo>
                  <a:pt x="f50" y="f700"/>
                </a:moveTo>
                <a:lnTo>
                  <a:pt x="f51" y="f700"/>
                </a:lnTo>
                <a:lnTo>
                  <a:pt x="f52" y="f697"/>
                </a:lnTo>
                <a:lnTo>
                  <a:pt x="f52" y="f698"/>
                </a:lnTo>
                <a:lnTo>
                  <a:pt x="f51" y="f699"/>
                </a:lnTo>
                <a:lnTo>
                  <a:pt x="f50" y="f699"/>
                </a:lnTo>
                <a:lnTo>
                  <a:pt x="f53" y="f698"/>
                </a:lnTo>
                <a:lnTo>
                  <a:pt x="f53" y="f697"/>
                </a:lnTo>
                <a:close/>
                <a:moveTo>
                  <a:pt x="f35" y="f702"/>
                </a:moveTo>
                <a:lnTo>
                  <a:pt x="f37" y="f702"/>
                </a:lnTo>
                <a:lnTo>
                  <a:pt x="f6" y="f703"/>
                </a:lnTo>
                <a:lnTo>
                  <a:pt x="f6" y="f704"/>
                </a:lnTo>
                <a:lnTo>
                  <a:pt x="f37" y="f705"/>
                </a:lnTo>
                <a:lnTo>
                  <a:pt x="f35" y="f705"/>
                </a:lnTo>
                <a:lnTo>
                  <a:pt x="f41" y="f704"/>
                </a:lnTo>
                <a:lnTo>
                  <a:pt x="f41" y="f703"/>
                </a:lnTo>
                <a:close/>
                <a:moveTo>
                  <a:pt x="f706" y="f707"/>
                </a:moveTo>
                <a:lnTo>
                  <a:pt x="f646" y="f707"/>
                </a:lnTo>
                <a:lnTo>
                  <a:pt x="f647" y="f708"/>
                </a:lnTo>
                <a:lnTo>
                  <a:pt x="f647" y="f709"/>
                </a:lnTo>
                <a:lnTo>
                  <a:pt x="f646" y="f710"/>
                </a:lnTo>
                <a:lnTo>
                  <a:pt x="f706" y="f710"/>
                </a:lnTo>
                <a:lnTo>
                  <a:pt x="f648" y="f709"/>
                </a:lnTo>
                <a:lnTo>
                  <a:pt x="f648" y="f708"/>
                </a:lnTo>
                <a:close/>
                <a:moveTo>
                  <a:pt x="f649" y="f707"/>
                </a:moveTo>
                <a:lnTo>
                  <a:pt x="f711" y="f707"/>
                </a:lnTo>
                <a:lnTo>
                  <a:pt x="f712" y="f708"/>
                </a:lnTo>
                <a:lnTo>
                  <a:pt x="f712" y="f709"/>
                </a:lnTo>
                <a:lnTo>
                  <a:pt x="f711" y="f710"/>
                </a:lnTo>
                <a:lnTo>
                  <a:pt x="f649" y="f710"/>
                </a:lnTo>
                <a:lnTo>
                  <a:pt x="f713" y="f709"/>
                </a:lnTo>
                <a:lnTo>
                  <a:pt x="f713" y="f708"/>
                </a:lnTo>
                <a:close/>
                <a:moveTo>
                  <a:pt x="f714" y="f707"/>
                </a:moveTo>
                <a:lnTo>
                  <a:pt x="f641" y="f707"/>
                </a:lnTo>
                <a:lnTo>
                  <a:pt x="f715" y="f716"/>
                </a:lnTo>
                <a:lnTo>
                  <a:pt x="f715" y="f717"/>
                </a:lnTo>
                <a:lnTo>
                  <a:pt x="f641" y="f718"/>
                </a:lnTo>
                <a:lnTo>
                  <a:pt x="f714" y="f718"/>
                </a:lnTo>
                <a:lnTo>
                  <a:pt x="f719" y="f717"/>
                </a:lnTo>
                <a:lnTo>
                  <a:pt x="f719" y="f716"/>
                </a:lnTo>
                <a:close/>
                <a:moveTo>
                  <a:pt x="f720" y="f707"/>
                </a:moveTo>
                <a:lnTo>
                  <a:pt x="f721" y="f707"/>
                </a:lnTo>
                <a:lnTo>
                  <a:pt x="f644" y="f716"/>
                </a:lnTo>
                <a:lnTo>
                  <a:pt x="f644" y="f709"/>
                </a:lnTo>
                <a:lnTo>
                  <a:pt x="f721" y="f718"/>
                </a:lnTo>
                <a:lnTo>
                  <a:pt x="f720" y="f718"/>
                </a:lnTo>
                <a:lnTo>
                  <a:pt x="f645" y="f709"/>
                </a:lnTo>
                <a:lnTo>
                  <a:pt x="f645" y="f716"/>
                </a:lnTo>
                <a:close/>
                <a:moveTo>
                  <a:pt x="f553" y="f722"/>
                </a:moveTo>
                <a:lnTo>
                  <a:pt x="f528" y="f722"/>
                </a:lnTo>
                <a:lnTo>
                  <a:pt x="f640" y="f723"/>
                </a:lnTo>
                <a:lnTo>
                  <a:pt x="f640" y="f724"/>
                </a:lnTo>
                <a:lnTo>
                  <a:pt x="f528" y="f725"/>
                </a:lnTo>
                <a:lnTo>
                  <a:pt x="f553" y="f725"/>
                </a:lnTo>
                <a:lnTo>
                  <a:pt x="f615" y="f724"/>
                </a:lnTo>
                <a:lnTo>
                  <a:pt x="f615" y="f723"/>
                </a:lnTo>
                <a:close/>
                <a:moveTo>
                  <a:pt x="f614" y="f726"/>
                </a:moveTo>
                <a:lnTo>
                  <a:pt x="f581" y="f726"/>
                </a:lnTo>
                <a:lnTo>
                  <a:pt x="f549" y="f727"/>
                </a:lnTo>
                <a:lnTo>
                  <a:pt x="f549" y="f728"/>
                </a:lnTo>
                <a:lnTo>
                  <a:pt x="f581" y="f729"/>
                </a:lnTo>
                <a:lnTo>
                  <a:pt x="f614" y="f729"/>
                </a:lnTo>
                <a:lnTo>
                  <a:pt x="f730" y="f728"/>
                </a:lnTo>
                <a:lnTo>
                  <a:pt x="f730" y="f727"/>
                </a:lnTo>
                <a:close/>
                <a:moveTo>
                  <a:pt x="f731" y="f732"/>
                </a:moveTo>
                <a:lnTo>
                  <a:pt x="f733" y="f732"/>
                </a:lnTo>
                <a:lnTo>
                  <a:pt x="f663" y="f734"/>
                </a:lnTo>
                <a:lnTo>
                  <a:pt x="f663" y="f735"/>
                </a:lnTo>
                <a:lnTo>
                  <a:pt x="f733" y="f736"/>
                </a:lnTo>
                <a:lnTo>
                  <a:pt x="f731" y="f736"/>
                </a:lnTo>
                <a:lnTo>
                  <a:pt x="f737" y="f735"/>
                </a:lnTo>
                <a:lnTo>
                  <a:pt x="f737" y="f734"/>
                </a:lnTo>
                <a:close/>
                <a:moveTo>
                  <a:pt x="f738" y="f732"/>
                </a:moveTo>
                <a:lnTo>
                  <a:pt x="f654" y="f732"/>
                </a:lnTo>
                <a:lnTo>
                  <a:pt x="f739" y="f734"/>
                </a:lnTo>
                <a:lnTo>
                  <a:pt x="f739" y="f740"/>
                </a:lnTo>
                <a:lnTo>
                  <a:pt x="f654" y="f736"/>
                </a:lnTo>
                <a:lnTo>
                  <a:pt x="f738" y="f736"/>
                </a:lnTo>
                <a:lnTo>
                  <a:pt x="f741" y="f740"/>
                </a:lnTo>
                <a:lnTo>
                  <a:pt x="f741" y="f734"/>
                </a:lnTo>
                <a:close/>
                <a:moveTo>
                  <a:pt x="f742" y="f732"/>
                </a:moveTo>
                <a:lnTo>
                  <a:pt x="f743" y="f732"/>
                </a:lnTo>
                <a:lnTo>
                  <a:pt x="f658" y="f734"/>
                </a:lnTo>
                <a:lnTo>
                  <a:pt x="f658" y="f735"/>
                </a:lnTo>
                <a:lnTo>
                  <a:pt x="f743" y="f736"/>
                </a:lnTo>
                <a:lnTo>
                  <a:pt x="f742" y="f736"/>
                </a:lnTo>
                <a:lnTo>
                  <a:pt x="f744" y="f735"/>
                </a:lnTo>
                <a:lnTo>
                  <a:pt x="f744" y="f734"/>
                </a:lnTo>
                <a:close/>
                <a:moveTo>
                  <a:pt x="f745" y="f732"/>
                </a:moveTo>
                <a:lnTo>
                  <a:pt x="f660" y="f732"/>
                </a:lnTo>
                <a:lnTo>
                  <a:pt x="f661" y="f734"/>
                </a:lnTo>
                <a:lnTo>
                  <a:pt x="f661" y="f735"/>
                </a:lnTo>
                <a:lnTo>
                  <a:pt x="f660" y="f736"/>
                </a:lnTo>
                <a:lnTo>
                  <a:pt x="f745" y="f736"/>
                </a:lnTo>
                <a:lnTo>
                  <a:pt x="f746" y="f735"/>
                </a:lnTo>
                <a:lnTo>
                  <a:pt x="f746" y="f734"/>
                </a:lnTo>
                <a:close/>
                <a:moveTo>
                  <a:pt x="f158" y="f747"/>
                </a:moveTo>
                <a:lnTo>
                  <a:pt x="f159" y="f747"/>
                </a:lnTo>
                <a:lnTo>
                  <a:pt x="f160" y="f748"/>
                </a:lnTo>
                <a:lnTo>
                  <a:pt x="f160" y="f749"/>
                </a:lnTo>
                <a:lnTo>
                  <a:pt x="f159" y="f750"/>
                </a:lnTo>
                <a:lnTo>
                  <a:pt x="f158" y="f750"/>
                </a:lnTo>
                <a:lnTo>
                  <a:pt x="f161" y="f749"/>
                </a:lnTo>
                <a:lnTo>
                  <a:pt x="f161" y="f748"/>
                </a:lnTo>
                <a:close/>
                <a:moveTo>
                  <a:pt x="f142" y="f751"/>
                </a:moveTo>
                <a:lnTo>
                  <a:pt x="f143" y="f751"/>
                </a:lnTo>
                <a:lnTo>
                  <a:pt x="f144" y="f752"/>
                </a:lnTo>
                <a:lnTo>
                  <a:pt x="f144" y="f749"/>
                </a:lnTo>
                <a:lnTo>
                  <a:pt x="f143" y="f750"/>
                </a:lnTo>
                <a:lnTo>
                  <a:pt x="f142" y="f750"/>
                </a:lnTo>
                <a:lnTo>
                  <a:pt x="f145" y="f749"/>
                </a:lnTo>
                <a:lnTo>
                  <a:pt x="f145" y="f752"/>
                </a:lnTo>
                <a:close/>
                <a:moveTo>
                  <a:pt x="f146" y="f751"/>
                </a:moveTo>
                <a:lnTo>
                  <a:pt x="f147" y="f751"/>
                </a:lnTo>
                <a:lnTo>
                  <a:pt x="f148" y="f748"/>
                </a:lnTo>
                <a:lnTo>
                  <a:pt x="f148" y="f749"/>
                </a:lnTo>
                <a:lnTo>
                  <a:pt x="f147" y="f750"/>
                </a:lnTo>
                <a:lnTo>
                  <a:pt x="f146" y="f750"/>
                </a:lnTo>
                <a:lnTo>
                  <a:pt x="f149" y="f749"/>
                </a:lnTo>
                <a:lnTo>
                  <a:pt x="f149" y="f748"/>
                </a:lnTo>
                <a:close/>
                <a:moveTo>
                  <a:pt x="f150" y="f751"/>
                </a:moveTo>
                <a:lnTo>
                  <a:pt x="f151" y="f751"/>
                </a:lnTo>
                <a:lnTo>
                  <a:pt x="f152" y="f748"/>
                </a:lnTo>
                <a:lnTo>
                  <a:pt x="f152" y="f749"/>
                </a:lnTo>
                <a:lnTo>
                  <a:pt x="f151" y="f750"/>
                </a:lnTo>
                <a:lnTo>
                  <a:pt x="f150" y="f750"/>
                </a:lnTo>
                <a:lnTo>
                  <a:pt x="f153" y="f749"/>
                </a:lnTo>
                <a:lnTo>
                  <a:pt x="f153" y="f748"/>
                </a:lnTo>
                <a:close/>
                <a:moveTo>
                  <a:pt x="f154" y="f751"/>
                </a:moveTo>
                <a:lnTo>
                  <a:pt x="f155" y="f751"/>
                </a:lnTo>
                <a:lnTo>
                  <a:pt x="f156" y="f748"/>
                </a:lnTo>
                <a:lnTo>
                  <a:pt x="f156" y="f749"/>
                </a:lnTo>
                <a:lnTo>
                  <a:pt x="f155" y="f750"/>
                </a:lnTo>
                <a:lnTo>
                  <a:pt x="f154" y="f750"/>
                </a:lnTo>
                <a:lnTo>
                  <a:pt x="f157" y="f749"/>
                </a:lnTo>
                <a:lnTo>
                  <a:pt x="f157" y="f748"/>
                </a:lnTo>
                <a:close/>
                <a:moveTo>
                  <a:pt x="f138" y="f753"/>
                </a:moveTo>
                <a:lnTo>
                  <a:pt x="f139" y="f753"/>
                </a:lnTo>
                <a:lnTo>
                  <a:pt x="f140" y="f754"/>
                </a:lnTo>
                <a:lnTo>
                  <a:pt x="f140" y="f755"/>
                </a:lnTo>
                <a:lnTo>
                  <a:pt x="f139" y="f756"/>
                </a:lnTo>
                <a:lnTo>
                  <a:pt x="f138" y="f756"/>
                </a:lnTo>
                <a:lnTo>
                  <a:pt x="f141" y="f755"/>
                </a:lnTo>
                <a:lnTo>
                  <a:pt x="f141" y="f754"/>
                </a:lnTo>
                <a:close/>
                <a:moveTo>
                  <a:pt x="f122" y="f757"/>
                </a:moveTo>
                <a:lnTo>
                  <a:pt x="f123" y="f757"/>
                </a:lnTo>
                <a:lnTo>
                  <a:pt x="f124" y="f758"/>
                </a:lnTo>
                <a:lnTo>
                  <a:pt x="f124" y="f755"/>
                </a:lnTo>
                <a:lnTo>
                  <a:pt x="f123" y="f756"/>
                </a:lnTo>
                <a:lnTo>
                  <a:pt x="f122" y="f756"/>
                </a:lnTo>
                <a:lnTo>
                  <a:pt x="f125" y="f755"/>
                </a:lnTo>
                <a:lnTo>
                  <a:pt x="f125" y="f758"/>
                </a:lnTo>
                <a:close/>
                <a:moveTo>
                  <a:pt x="f126" y="f757"/>
                </a:moveTo>
                <a:lnTo>
                  <a:pt x="f127" y="f757"/>
                </a:lnTo>
                <a:lnTo>
                  <a:pt x="f128" y="f759"/>
                </a:lnTo>
                <a:lnTo>
                  <a:pt x="f128" y="f755"/>
                </a:lnTo>
                <a:lnTo>
                  <a:pt x="f127" y="f756"/>
                </a:lnTo>
                <a:lnTo>
                  <a:pt x="f126" y="f756"/>
                </a:lnTo>
                <a:lnTo>
                  <a:pt x="f129" y="f755"/>
                </a:lnTo>
                <a:lnTo>
                  <a:pt x="f129" y="f759"/>
                </a:lnTo>
                <a:close/>
                <a:moveTo>
                  <a:pt x="f130" y="f757"/>
                </a:moveTo>
                <a:lnTo>
                  <a:pt x="f131" y="f757"/>
                </a:lnTo>
                <a:lnTo>
                  <a:pt x="f132" y="f759"/>
                </a:lnTo>
                <a:lnTo>
                  <a:pt x="f132" y="f755"/>
                </a:lnTo>
                <a:lnTo>
                  <a:pt x="f131" y="f756"/>
                </a:lnTo>
                <a:lnTo>
                  <a:pt x="f130" y="f756"/>
                </a:lnTo>
                <a:lnTo>
                  <a:pt x="f133" y="f755"/>
                </a:lnTo>
                <a:lnTo>
                  <a:pt x="f133" y="f759"/>
                </a:lnTo>
                <a:close/>
                <a:moveTo>
                  <a:pt x="f134" y="f757"/>
                </a:moveTo>
                <a:lnTo>
                  <a:pt x="f135" y="f757"/>
                </a:lnTo>
                <a:lnTo>
                  <a:pt x="f136" y="f759"/>
                </a:lnTo>
                <a:lnTo>
                  <a:pt x="f136" y="f755"/>
                </a:lnTo>
                <a:lnTo>
                  <a:pt x="f135" y="f756"/>
                </a:lnTo>
                <a:lnTo>
                  <a:pt x="f134" y="f756"/>
                </a:lnTo>
                <a:lnTo>
                  <a:pt x="f137" y="f755"/>
                </a:lnTo>
                <a:lnTo>
                  <a:pt x="f137" y="f759"/>
                </a:lnTo>
                <a:close/>
                <a:moveTo>
                  <a:pt x="f118" y="f760"/>
                </a:moveTo>
                <a:lnTo>
                  <a:pt x="f119" y="f760"/>
                </a:lnTo>
                <a:lnTo>
                  <a:pt x="f120" y="f761"/>
                </a:lnTo>
                <a:lnTo>
                  <a:pt x="f120" y="f762"/>
                </a:lnTo>
                <a:lnTo>
                  <a:pt x="f119" y="f763"/>
                </a:lnTo>
                <a:lnTo>
                  <a:pt x="f118" y="f763"/>
                </a:lnTo>
                <a:lnTo>
                  <a:pt x="f121" y="f762"/>
                </a:lnTo>
                <a:lnTo>
                  <a:pt x="f121" y="f761"/>
                </a:lnTo>
                <a:close/>
                <a:moveTo>
                  <a:pt x="f106" y="f764"/>
                </a:moveTo>
                <a:lnTo>
                  <a:pt x="f107" y="f764"/>
                </a:lnTo>
                <a:lnTo>
                  <a:pt x="f108" y="f761"/>
                </a:lnTo>
                <a:lnTo>
                  <a:pt x="f108" y="f765"/>
                </a:lnTo>
                <a:lnTo>
                  <a:pt x="f107" y="f763"/>
                </a:lnTo>
                <a:lnTo>
                  <a:pt x="f106" y="f763"/>
                </a:lnTo>
                <a:lnTo>
                  <a:pt x="f109" y="f765"/>
                </a:lnTo>
                <a:lnTo>
                  <a:pt x="f109" y="f761"/>
                </a:lnTo>
                <a:close/>
                <a:moveTo>
                  <a:pt x="f110" y="f764"/>
                </a:moveTo>
                <a:lnTo>
                  <a:pt x="f111" y="f764"/>
                </a:lnTo>
                <a:lnTo>
                  <a:pt x="f112" y="f761"/>
                </a:lnTo>
                <a:lnTo>
                  <a:pt x="f112" y="f762"/>
                </a:lnTo>
                <a:lnTo>
                  <a:pt x="f111" y="f763"/>
                </a:lnTo>
                <a:lnTo>
                  <a:pt x="f110" y="f763"/>
                </a:lnTo>
                <a:lnTo>
                  <a:pt x="f113" y="f762"/>
                </a:lnTo>
                <a:lnTo>
                  <a:pt x="f113" y="f761"/>
                </a:lnTo>
                <a:close/>
                <a:moveTo>
                  <a:pt x="f114" y="f764"/>
                </a:moveTo>
                <a:lnTo>
                  <a:pt x="f115" y="f764"/>
                </a:lnTo>
                <a:lnTo>
                  <a:pt x="f116" y="f761"/>
                </a:lnTo>
                <a:lnTo>
                  <a:pt x="f116" y="f762"/>
                </a:lnTo>
                <a:lnTo>
                  <a:pt x="f115" y="f763"/>
                </a:lnTo>
                <a:lnTo>
                  <a:pt x="f114" y="f763"/>
                </a:lnTo>
                <a:lnTo>
                  <a:pt x="f117" y="f762"/>
                </a:lnTo>
                <a:lnTo>
                  <a:pt x="f117" y="f761"/>
                </a:lnTo>
                <a:close/>
                <a:moveTo>
                  <a:pt x="f102" y="f766"/>
                </a:moveTo>
                <a:lnTo>
                  <a:pt x="f103" y="f766"/>
                </a:lnTo>
                <a:lnTo>
                  <a:pt x="f104" y="f767"/>
                </a:lnTo>
                <a:lnTo>
                  <a:pt x="f104" y="f765"/>
                </a:lnTo>
                <a:lnTo>
                  <a:pt x="f103" y="f763"/>
                </a:lnTo>
                <a:lnTo>
                  <a:pt x="f102" y="f763"/>
                </a:lnTo>
                <a:lnTo>
                  <a:pt x="f105" y="f765"/>
                </a:lnTo>
                <a:lnTo>
                  <a:pt x="f105" y="f767"/>
                </a:lnTo>
                <a:close/>
                <a:moveTo>
                  <a:pt x="f98" y="f768"/>
                </a:moveTo>
                <a:lnTo>
                  <a:pt x="f99" y="f768"/>
                </a:lnTo>
                <a:lnTo>
                  <a:pt x="f100" y="f769"/>
                </a:lnTo>
                <a:lnTo>
                  <a:pt x="f100" y="f770"/>
                </a:lnTo>
                <a:lnTo>
                  <a:pt x="f99" y="f771"/>
                </a:lnTo>
                <a:lnTo>
                  <a:pt x="f98" y="f771"/>
                </a:lnTo>
                <a:lnTo>
                  <a:pt x="f101" y="f770"/>
                </a:lnTo>
                <a:lnTo>
                  <a:pt x="f101" y="f769"/>
                </a:lnTo>
                <a:close/>
                <a:moveTo>
                  <a:pt x="f82" y="f768"/>
                </a:moveTo>
                <a:lnTo>
                  <a:pt x="f83" y="f768"/>
                </a:lnTo>
                <a:lnTo>
                  <a:pt x="f84" y="f772"/>
                </a:lnTo>
                <a:lnTo>
                  <a:pt x="f84" y="f773"/>
                </a:lnTo>
                <a:lnTo>
                  <a:pt x="f83" y="f771"/>
                </a:lnTo>
                <a:lnTo>
                  <a:pt x="f82" y="f771"/>
                </a:lnTo>
                <a:lnTo>
                  <a:pt x="f85" y="f773"/>
                </a:lnTo>
                <a:lnTo>
                  <a:pt x="f85" y="f772"/>
                </a:lnTo>
                <a:close/>
                <a:moveTo>
                  <a:pt x="f86" y="f768"/>
                </a:moveTo>
                <a:lnTo>
                  <a:pt x="f87" y="f768"/>
                </a:lnTo>
                <a:lnTo>
                  <a:pt x="f88" y="f774"/>
                </a:lnTo>
                <a:lnTo>
                  <a:pt x="f88" y="f773"/>
                </a:lnTo>
                <a:lnTo>
                  <a:pt x="f87" y="f771"/>
                </a:lnTo>
                <a:lnTo>
                  <a:pt x="f86" y="f771"/>
                </a:lnTo>
                <a:lnTo>
                  <a:pt x="f89" y="f773"/>
                </a:lnTo>
                <a:lnTo>
                  <a:pt x="f89" y="f774"/>
                </a:lnTo>
                <a:close/>
                <a:moveTo>
                  <a:pt x="f90" y="f768"/>
                </a:moveTo>
                <a:lnTo>
                  <a:pt x="f91" y="f768"/>
                </a:lnTo>
                <a:lnTo>
                  <a:pt x="f92" y="f774"/>
                </a:lnTo>
                <a:lnTo>
                  <a:pt x="f92" y="f770"/>
                </a:lnTo>
                <a:lnTo>
                  <a:pt x="f91" y="f771"/>
                </a:lnTo>
                <a:lnTo>
                  <a:pt x="f90" y="f771"/>
                </a:lnTo>
                <a:lnTo>
                  <a:pt x="f93" y="f770"/>
                </a:lnTo>
                <a:lnTo>
                  <a:pt x="f93" y="f774"/>
                </a:lnTo>
                <a:close/>
                <a:moveTo>
                  <a:pt x="f94" y="f768"/>
                </a:moveTo>
                <a:lnTo>
                  <a:pt x="f95" y="f768"/>
                </a:lnTo>
                <a:lnTo>
                  <a:pt x="f96" y="f774"/>
                </a:lnTo>
                <a:lnTo>
                  <a:pt x="f96" y="f770"/>
                </a:lnTo>
                <a:lnTo>
                  <a:pt x="f95" y="f771"/>
                </a:lnTo>
                <a:lnTo>
                  <a:pt x="f94" y="f771"/>
                </a:lnTo>
                <a:lnTo>
                  <a:pt x="f97" y="f770"/>
                </a:lnTo>
                <a:lnTo>
                  <a:pt x="f97" y="f774"/>
                </a:lnTo>
                <a:close/>
                <a:moveTo>
                  <a:pt x="f78" y="f775"/>
                </a:moveTo>
                <a:lnTo>
                  <a:pt x="f79" y="f775"/>
                </a:lnTo>
                <a:lnTo>
                  <a:pt x="f80" y="f776"/>
                </a:lnTo>
                <a:lnTo>
                  <a:pt x="f80" y="f777"/>
                </a:lnTo>
                <a:lnTo>
                  <a:pt x="f79" y="f778"/>
                </a:lnTo>
                <a:lnTo>
                  <a:pt x="f78" y="f778"/>
                </a:lnTo>
                <a:lnTo>
                  <a:pt x="f81" y="f777"/>
                </a:lnTo>
                <a:lnTo>
                  <a:pt x="f81" y="f776"/>
                </a:lnTo>
                <a:close/>
                <a:moveTo>
                  <a:pt x="f66" y="f775"/>
                </a:moveTo>
                <a:lnTo>
                  <a:pt x="f67" y="f775"/>
                </a:lnTo>
                <a:lnTo>
                  <a:pt x="f68" y="f779"/>
                </a:lnTo>
                <a:lnTo>
                  <a:pt x="f68" y="f780"/>
                </a:lnTo>
                <a:lnTo>
                  <a:pt x="f67" y="f778"/>
                </a:lnTo>
                <a:lnTo>
                  <a:pt x="f66" y="f778"/>
                </a:lnTo>
                <a:lnTo>
                  <a:pt x="f69" y="f780"/>
                </a:lnTo>
                <a:lnTo>
                  <a:pt x="f69" y="f779"/>
                </a:lnTo>
                <a:close/>
                <a:moveTo>
                  <a:pt x="f70" y="f775"/>
                </a:moveTo>
                <a:lnTo>
                  <a:pt x="f71" y="f775"/>
                </a:lnTo>
                <a:lnTo>
                  <a:pt x="f72" y="f779"/>
                </a:lnTo>
                <a:lnTo>
                  <a:pt x="f72" y="f777"/>
                </a:lnTo>
                <a:lnTo>
                  <a:pt x="f71" y="f778"/>
                </a:lnTo>
                <a:lnTo>
                  <a:pt x="f70" y="f778"/>
                </a:lnTo>
                <a:lnTo>
                  <a:pt x="f73" y="f777"/>
                </a:lnTo>
                <a:lnTo>
                  <a:pt x="f73" y="f779"/>
                </a:lnTo>
                <a:close/>
                <a:moveTo>
                  <a:pt x="f74" y="f775"/>
                </a:moveTo>
                <a:lnTo>
                  <a:pt x="f75" y="f775"/>
                </a:lnTo>
                <a:lnTo>
                  <a:pt x="f76" y="f779"/>
                </a:lnTo>
                <a:lnTo>
                  <a:pt x="f76" y="f777"/>
                </a:lnTo>
                <a:lnTo>
                  <a:pt x="f75" y="f778"/>
                </a:lnTo>
                <a:lnTo>
                  <a:pt x="f74" y="f778"/>
                </a:lnTo>
                <a:lnTo>
                  <a:pt x="f77" y="f777"/>
                </a:lnTo>
                <a:lnTo>
                  <a:pt x="f77" y="f779"/>
                </a:lnTo>
                <a:close/>
                <a:moveTo>
                  <a:pt x="f62" y="f781"/>
                </a:moveTo>
                <a:lnTo>
                  <a:pt x="f63" y="f781"/>
                </a:lnTo>
                <a:lnTo>
                  <a:pt x="f64" y="f779"/>
                </a:lnTo>
                <a:lnTo>
                  <a:pt x="f64" y="f780"/>
                </a:lnTo>
                <a:lnTo>
                  <a:pt x="f63" y="f778"/>
                </a:lnTo>
                <a:lnTo>
                  <a:pt x="f62" y="f778"/>
                </a:lnTo>
                <a:lnTo>
                  <a:pt x="f65" y="f780"/>
                </a:lnTo>
                <a:lnTo>
                  <a:pt x="f65" y="f779"/>
                </a:lnTo>
                <a:close/>
                <a:moveTo>
                  <a:pt x="f58" y="f782"/>
                </a:moveTo>
                <a:lnTo>
                  <a:pt x="f59" y="f782"/>
                </a:lnTo>
                <a:lnTo>
                  <a:pt x="f60" y="f783"/>
                </a:lnTo>
                <a:lnTo>
                  <a:pt x="f60" y="f784"/>
                </a:lnTo>
                <a:lnTo>
                  <a:pt x="f59" y="f785"/>
                </a:lnTo>
                <a:lnTo>
                  <a:pt x="f58" y="f785"/>
                </a:lnTo>
                <a:lnTo>
                  <a:pt x="f61" y="f784"/>
                </a:lnTo>
                <a:lnTo>
                  <a:pt x="f61" y="f783"/>
                </a:lnTo>
                <a:close/>
                <a:moveTo>
                  <a:pt x="f42" y="f782"/>
                </a:moveTo>
                <a:lnTo>
                  <a:pt x="f43" y="f782"/>
                </a:lnTo>
                <a:lnTo>
                  <a:pt x="f44" y="f786"/>
                </a:lnTo>
                <a:lnTo>
                  <a:pt x="f44" y="f787"/>
                </a:lnTo>
                <a:lnTo>
                  <a:pt x="f43" y="f785"/>
                </a:lnTo>
                <a:lnTo>
                  <a:pt x="f42" y="f785"/>
                </a:lnTo>
                <a:lnTo>
                  <a:pt x="f45" y="f787"/>
                </a:lnTo>
                <a:lnTo>
                  <a:pt x="f45" y="f786"/>
                </a:lnTo>
                <a:close/>
                <a:moveTo>
                  <a:pt x="f46" y="f782"/>
                </a:moveTo>
                <a:lnTo>
                  <a:pt x="f47" y="f782"/>
                </a:lnTo>
                <a:lnTo>
                  <a:pt x="f48" y="f786"/>
                </a:lnTo>
                <a:lnTo>
                  <a:pt x="f48" y="f787"/>
                </a:lnTo>
                <a:lnTo>
                  <a:pt x="f47" y="f785"/>
                </a:lnTo>
                <a:lnTo>
                  <a:pt x="f46" y="f785"/>
                </a:lnTo>
                <a:lnTo>
                  <a:pt x="f49" y="f787"/>
                </a:lnTo>
                <a:lnTo>
                  <a:pt x="f49" y="f786"/>
                </a:lnTo>
                <a:close/>
                <a:moveTo>
                  <a:pt x="f50" y="f782"/>
                </a:moveTo>
                <a:lnTo>
                  <a:pt x="f51" y="f782"/>
                </a:lnTo>
                <a:lnTo>
                  <a:pt x="f52" y="f786"/>
                </a:lnTo>
                <a:lnTo>
                  <a:pt x="f52" y="f784"/>
                </a:lnTo>
                <a:lnTo>
                  <a:pt x="f51" y="f785"/>
                </a:lnTo>
                <a:lnTo>
                  <a:pt x="f50" y="f785"/>
                </a:lnTo>
                <a:lnTo>
                  <a:pt x="f53" y="f784"/>
                </a:lnTo>
                <a:lnTo>
                  <a:pt x="f53" y="f786"/>
                </a:lnTo>
                <a:close/>
                <a:moveTo>
                  <a:pt x="f54" y="f782"/>
                </a:moveTo>
                <a:lnTo>
                  <a:pt x="f55" y="f782"/>
                </a:lnTo>
                <a:lnTo>
                  <a:pt x="f56" y="f786"/>
                </a:lnTo>
                <a:lnTo>
                  <a:pt x="f56" y="f784"/>
                </a:lnTo>
                <a:lnTo>
                  <a:pt x="f55" y="f785"/>
                </a:lnTo>
                <a:lnTo>
                  <a:pt x="f54" y="f785"/>
                </a:lnTo>
                <a:lnTo>
                  <a:pt x="f57" y="f784"/>
                </a:lnTo>
                <a:lnTo>
                  <a:pt x="f57" y="f786"/>
                </a:lnTo>
                <a:close/>
                <a:moveTo>
                  <a:pt x="f35" y="f788"/>
                </a:moveTo>
                <a:lnTo>
                  <a:pt x="f37" y="f788"/>
                </a:lnTo>
                <a:lnTo>
                  <a:pt x="f6" y="f789"/>
                </a:lnTo>
                <a:lnTo>
                  <a:pt x="f6" y="f790"/>
                </a:lnTo>
                <a:lnTo>
                  <a:pt x="f37" y="f791"/>
                </a:lnTo>
                <a:lnTo>
                  <a:pt x="f35" y="f791"/>
                </a:lnTo>
                <a:lnTo>
                  <a:pt x="f41" y="f790"/>
                </a:lnTo>
                <a:lnTo>
                  <a:pt x="f41" y="f789"/>
                </a:lnTo>
                <a:close/>
                <a:moveTo>
                  <a:pt x="f792" y="f793"/>
                </a:moveTo>
                <a:lnTo>
                  <a:pt x="f794" y="f793"/>
                </a:lnTo>
                <a:lnTo>
                  <a:pt x="f795" y="f796"/>
                </a:lnTo>
                <a:lnTo>
                  <a:pt x="f795" y="f797"/>
                </a:lnTo>
                <a:lnTo>
                  <a:pt x="f794" y="f798"/>
                </a:lnTo>
                <a:lnTo>
                  <a:pt x="f792" y="f798"/>
                </a:lnTo>
                <a:lnTo>
                  <a:pt x="f799" y="f797"/>
                </a:lnTo>
                <a:lnTo>
                  <a:pt x="f799" y="f796"/>
                </a:lnTo>
                <a:close/>
                <a:moveTo>
                  <a:pt x="f731" y="f793"/>
                </a:moveTo>
                <a:lnTo>
                  <a:pt x="f800" y="f793"/>
                </a:lnTo>
                <a:lnTo>
                  <a:pt x="f801" y="f796"/>
                </a:lnTo>
                <a:lnTo>
                  <a:pt x="f801" y="f797"/>
                </a:lnTo>
                <a:lnTo>
                  <a:pt x="f800" y="f798"/>
                </a:lnTo>
                <a:lnTo>
                  <a:pt x="f731" y="f798"/>
                </a:lnTo>
                <a:lnTo>
                  <a:pt x="f737" y="f797"/>
                </a:lnTo>
                <a:lnTo>
                  <a:pt x="f737" y="f796"/>
                </a:lnTo>
                <a:close/>
                <a:moveTo>
                  <a:pt x="f738" y="f793"/>
                </a:moveTo>
                <a:lnTo>
                  <a:pt x="f802" y="f793"/>
                </a:lnTo>
                <a:lnTo>
                  <a:pt x="f803" y="f804"/>
                </a:lnTo>
                <a:lnTo>
                  <a:pt x="f803" y="f797"/>
                </a:lnTo>
                <a:lnTo>
                  <a:pt x="f802" y="f805"/>
                </a:lnTo>
                <a:lnTo>
                  <a:pt x="f738" y="f805"/>
                </a:lnTo>
                <a:lnTo>
                  <a:pt x="f806" y="f797"/>
                </a:lnTo>
                <a:lnTo>
                  <a:pt x="f806" y="f804"/>
                </a:lnTo>
                <a:close/>
                <a:moveTo>
                  <a:pt x="f807" y="f793"/>
                </a:moveTo>
                <a:lnTo>
                  <a:pt x="f808" y="f793"/>
                </a:lnTo>
                <a:lnTo>
                  <a:pt x="f809" y="f804"/>
                </a:lnTo>
                <a:lnTo>
                  <a:pt x="f809" y="f797"/>
                </a:lnTo>
                <a:lnTo>
                  <a:pt x="f808" y="f805"/>
                </a:lnTo>
                <a:lnTo>
                  <a:pt x="f807" y="f805"/>
                </a:lnTo>
                <a:lnTo>
                  <a:pt x="f744" y="f797"/>
                </a:lnTo>
                <a:lnTo>
                  <a:pt x="f744" y="f804"/>
                </a:lnTo>
                <a:close/>
                <a:moveTo>
                  <a:pt x="f810" y="f811"/>
                </a:moveTo>
                <a:lnTo>
                  <a:pt x="f812" y="f811"/>
                </a:lnTo>
                <a:lnTo>
                  <a:pt x="f715" y="f813"/>
                </a:lnTo>
                <a:lnTo>
                  <a:pt x="f715" y="f814"/>
                </a:lnTo>
                <a:lnTo>
                  <a:pt x="f812" y="f815"/>
                </a:lnTo>
                <a:lnTo>
                  <a:pt x="f810" y="f815"/>
                </a:lnTo>
                <a:lnTo>
                  <a:pt x="f719" y="f814"/>
                </a:lnTo>
                <a:lnTo>
                  <a:pt x="f719" y="f813"/>
                </a:lnTo>
                <a:close/>
                <a:moveTo>
                  <a:pt x="f720" y="f811"/>
                </a:moveTo>
                <a:lnTo>
                  <a:pt x="f816" y="f811"/>
                </a:lnTo>
                <a:lnTo>
                  <a:pt x="f817" y="f813"/>
                </a:lnTo>
                <a:lnTo>
                  <a:pt x="f817" y="f814"/>
                </a:lnTo>
                <a:lnTo>
                  <a:pt x="f816" y="f818"/>
                </a:lnTo>
                <a:lnTo>
                  <a:pt x="f720" y="f818"/>
                </a:lnTo>
                <a:lnTo>
                  <a:pt x="f819" y="f814"/>
                </a:lnTo>
                <a:lnTo>
                  <a:pt x="f819" y="f813"/>
                </a:lnTo>
                <a:close/>
                <a:moveTo>
                  <a:pt x="f706" y="f811"/>
                </a:moveTo>
                <a:lnTo>
                  <a:pt x="f820" y="f811"/>
                </a:lnTo>
                <a:lnTo>
                  <a:pt x="f821" y="f813"/>
                </a:lnTo>
                <a:lnTo>
                  <a:pt x="f821" y="f814"/>
                </a:lnTo>
                <a:lnTo>
                  <a:pt x="f820" y="f818"/>
                </a:lnTo>
                <a:lnTo>
                  <a:pt x="f706" y="f818"/>
                </a:lnTo>
                <a:lnTo>
                  <a:pt x="f822" y="f814"/>
                </a:lnTo>
                <a:lnTo>
                  <a:pt x="f822" y="f813"/>
                </a:lnTo>
                <a:close/>
                <a:moveTo>
                  <a:pt x="f823" y="f811"/>
                </a:moveTo>
                <a:lnTo>
                  <a:pt x="f711" y="f811"/>
                </a:lnTo>
                <a:lnTo>
                  <a:pt x="f712" y="f813"/>
                </a:lnTo>
                <a:lnTo>
                  <a:pt x="f712" y="f814"/>
                </a:lnTo>
                <a:lnTo>
                  <a:pt x="f711" y="f818"/>
                </a:lnTo>
                <a:lnTo>
                  <a:pt x="f823" y="f818"/>
                </a:lnTo>
                <a:lnTo>
                  <a:pt x="f713" y="f814"/>
                </a:lnTo>
                <a:lnTo>
                  <a:pt x="f713" y="f813"/>
                </a:lnTo>
                <a:close/>
                <a:moveTo>
                  <a:pt x="f553" y="f824"/>
                </a:moveTo>
                <a:lnTo>
                  <a:pt x="f825" y="f824"/>
                </a:lnTo>
                <a:lnTo>
                  <a:pt x="f640" y="f826"/>
                </a:lnTo>
                <a:lnTo>
                  <a:pt x="f640" y="f827"/>
                </a:lnTo>
                <a:lnTo>
                  <a:pt x="f825" y="f828"/>
                </a:lnTo>
                <a:lnTo>
                  <a:pt x="f553" y="f828"/>
                </a:lnTo>
                <a:lnTo>
                  <a:pt x="f615" y="f827"/>
                </a:lnTo>
                <a:lnTo>
                  <a:pt x="f615" y="f826"/>
                </a:lnTo>
                <a:close/>
                <a:moveTo>
                  <a:pt x="f614" y="f829"/>
                </a:moveTo>
                <a:lnTo>
                  <a:pt x="f581" y="f829"/>
                </a:lnTo>
                <a:lnTo>
                  <a:pt x="f830" y="f831"/>
                </a:lnTo>
                <a:lnTo>
                  <a:pt x="f830" y="f832"/>
                </a:lnTo>
                <a:lnTo>
                  <a:pt x="f581" y="f833"/>
                </a:lnTo>
                <a:lnTo>
                  <a:pt x="f614" y="f833"/>
                </a:lnTo>
                <a:lnTo>
                  <a:pt x="f730" y="f832"/>
                </a:lnTo>
                <a:lnTo>
                  <a:pt x="f730" y="f831"/>
                </a:lnTo>
                <a:close/>
                <a:moveTo>
                  <a:pt x="f150" y="f834"/>
                </a:moveTo>
                <a:lnTo>
                  <a:pt x="f151" y="f834"/>
                </a:lnTo>
                <a:lnTo>
                  <a:pt x="f152" y="f835"/>
                </a:lnTo>
                <a:lnTo>
                  <a:pt x="f152" y="f836"/>
                </a:lnTo>
                <a:lnTo>
                  <a:pt x="f151" y="f837"/>
                </a:lnTo>
                <a:lnTo>
                  <a:pt x="f150" y="f837"/>
                </a:lnTo>
                <a:lnTo>
                  <a:pt x="f153" y="f836"/>
                </a:lnTo>
                <a:lnTo>
                  <a:pt x="f153" y="f835"/>
                </a:lnTo>
                <a:close/>
                <a:moveTo>
                  <a:pt x="f154" y="f834"/>
                </a:moveTo>
                <a:lnTo>
                  <a:pt x="f155" y="f834"/>
                </a:lnTo>
                <a:lnTo>
                  <a:pt x="f156" y="f835"/>
                </a:lnTo>
                <a:lnTo>
                  <a:pt x="f156" y="f836"/>
                </a:lnTo>
                <a:lnTo>
                  <a:pt x="f155" y="f837"/>
                </a:lnTo>
                <a:lnTo>
                  <a:pt x="f154" y="f837"/>
                </a:lnTo>
                <a:lnTo>
                  <a:pt x="f157" y="f836"/>
                </a:lnTo>
                <a:lnTo>
                  <a:pt x="f157" y="f835"/>
                </a:lnTo>
                <a:close/>
                <a:moveTo>
                  <a:pt x="f158" y="f834"/>
                </a:moveTo>
                <a:lnTo>
                  <a:pt x="f159" y="f834"/>
                </a:lnTo>
                <a:lnTo>
                  <a:pt x="f160" y="f835"/>
                </a:lnTo>
                <a:lnTo>
                  <a:pt x="f160" y="f836"/>
                </a:lnTo>
                <a:lnTo>
                  <a:pt x="f159" y="f837"/>
                </a:lnTo>
                <a:lnTo>
                  <a:pt x="f158" y="f837"/>
                </a:lnTo>
                <a:lnTo>
                  <a:pt x="f161" y="f836"/>
                </a:lnTo>
                <a:lnTo>
                  <a:pt x="f161" y="f835"/>
                </a:lnTo>
                <a:close/>
                <a:moveTo>
                  <a:pt x="f142" y="f838"/>
                </a:moveTo>
                <a:lnTo>
                  <a:pt x="f143" y="f838"/>
                </a:lnTo>
                <a:lnTo>
                  <a:pt x="f144" y="f839"/>
                </a:lnTo>
                <a:lnTo>
                  <a:pt x="f144" y="f836"/>
                </a:lnTo>
                <a:lnTo>
                  <a:pt x="f143" y="f840"/>
                </a:lnTo>
                <a:lnTo>
                  <a:pt x="f142" y="f840"/>
                </a:lnTo>
                <a:lnTo>
                  <a:pt x="f145" y="f836"/>
                </a:lnTo>
                <a:lnTo>
                  <a:pt x="f145" y="f839"/>
                </a:lnTo>
                <a:close/>
                <a:moveTo>
                  <a:pt x="f146" y="f838"/>
                </a:moveTo>
                <a:lnTo>
                  <a:pt x="f147" y="f838"/>
                </a:lnTo>
                <a:lnTo>
                  <a:pt x="f148" y="f839"/>
                </a:lnTo>
                <a:lnTo>
                  <a:pt x="f148" y="f836"/>
                </a:lnTo>
                <a:lnTo>
                  <a:pt x="f147" y="f837"/>
                </a:lnTo>
                <a:lnTo>
                  <a:pt x="f146" y="f837"/>
                </a:lnTo>
                <a:lnTo>
                  <a:pt x="f149" y="f836"/>
                </a:lnTo>
                <a:lnTo>
                  <a:pt x="f149" y="f839"/>
                </a:lnTo>
                <a:close/>
                <a:moveTo>
                  <a:pt x="f130" y="f841"/>
                </a:moveTo>
                <a:lnTo>
                  <a:pt x="f131" y="f841"/>
                </a:lnTo>
                <a:lnTo>
                  <a:pt x="f132" y="f842"/>
                </a:lnTo>
                <a:lnTo>
                  <a:pt x="f132" y="f843"/>
                </a:lnTo>
                <a:lnTo>
                  <a:pt x="f131" y="f844"/>
                </a:lnTo>
                <a:lnTo>
                  <a:pt x="f130" y="f844"/>
                </a:lnTo>
                <a:lnTo>
                  <a:pt x="f133" y="f843"/>
                </a:lnTo>
                <a:lnTo>
                  <a:pt x="f133" y="f842"/>
                </a:lnTo>
                <a:close/>
                <a:moveTo>
                  <a:pt x="f134" y="f841"/>
                </a:moveTo>
                <a:lnTo>
                  <a:pt x="f135" y="f841"/>
                </a:lnTo>
                <a:lnTo>
                  <a:pt x="f136" y="f842"/>
                </a:lnTo>
                <a:lnTo>
                  <a:pt x="f136" y="f843"/>
                </a:lnTo>
                <a:lnTo>
                  <a:pt x="f135" y="f844"/>
                </a:lnTo>
                <a:lnTo>
                  <a:pt x="f134" y="f844"/>
                </a:lnTo>
                <a:lnTo>
                  <a:pt x="f137" y="f843"/>
                </a:lnTo>
                <a:lnTo>
                  <a:pt x="f137" y="f842"/>
                </a:lnTo>
                <a:close/>
                <a:moveTo>
                  <a:pt x="f138" y="f841"/>
                </a:moveTo>
                <a:lnTo>
                  <a:pt x="f139" y="f841"/>
                </a:lnTo>
                <a:lnTo>
                  <a:pt x="f140" y="f842"/>
                </a:lnTo>
                <a:lnTo>
                  <a:pt x="f140" y="f843"/>
                </a:lnTo>
                <a:lnTo>
                  <a:pt x="f139" y="f844"/>
                </a:lnTo>
                <a:lnTo>
                  <a:pt x="f138" y="f844"/>
                </a:lnTo>
                <a:lnTo>
                  <a:pt x="f141" y="f843"/>
                </a:lnTo>
                <a:lnTo>
                  <a:pt x="f141" y="f842"/>
                </a:lnTo>
                <a:close/>
                <a:moveTo>
                  <a:pt x="f122" y="f845"/>
                </a:moveTo>
                <a:lnTo>
                  <a:pt x="f123" y="f845"/>
                </a:lnTo>
                <a:lnTo>
                  <a:pt x="f124" y="f846"/>
                </a:lnTo>
                <a:lnTo>
                  <a:pt x="f124" y="f843"/>
                </a:lnTo>
                <a:lnTo>
                  <a:pt x="f123" y="f847"/>
                </a:lnTo>
                <a:lnTo>
                  <a:pt x="f122" y="f847"/>
                </a:lnTo>
                <a:lnTo>
                  <a:pt x="f125" y="f843"/>
                </a:lnTo>
                <a:lnTo>
                  <a:pt x="f125" y="f846"/>
                </a:lnTo>
                <a:close/>
                <a:moveTo>
                  <a:pt x="f126" y="f845"/>
                </a:moveTo>
                <a:lnTo>
                  <a:pt x="f127" y="f845"/>
                </a:lnTo>
                <a:lnTo>
                  <a:pt x="f128" y="f846"/>
                </a:lnTo>
                <a:lnTo>
                  <a:pt x="f128" y="f843"/>
                </a:lnTo>
                <a:lnTo>
                  <a:pt x="f127" y="f844"/>
                </a:lnTo>
                <a:lnTo>
                  <a:pt x="f126" y="f844"/>
                </a:lnTo>
                <a:lnTo>
                  <a:pt x="f129" y="f843"/>
                </a:lnTo>
                <a:lnTo>
                  <a:pt x="f129" y="f846"/>
                </a:lnTo>
                <a:close/>
                <a:moveTo>
                  <a:pt x="f110" y="f848"/>
                </a:moveTo>
                <a:lnTo>
                  <a:pt x="f111" y="f848"/>
                </a:lnTo>
                <a:lnTo>
                  <a:pt x="f112" y="f849"/>
                </a:lnTo>
                <a:lnTo>
                  <a:pt x="f112" y="f850"/>
                </a:lnTo>
                <a:lnTo>
                  <a:pt x="f111" y="f851"/>
                </a:lnTo>
                <a:lnTo>
                  <a:pt x="f110" y="f851"/>
                </a:lnTo>
                <a:lnTo>
                  <a:pt x="f113" y="f850"/>
                </a:lnTo>
                <a:lnTo>
                  <a:pt x="f113" y="f849"/>
                </a:lnTo>
                <a:close/>
                <a:moveTo>
                  <a:pt x="f114" y="f848"/>
                </a:moveTo>
                <a:lnTo>
                  <a:pt x="f115" y="f848"/>
                </a:lnTo>
                <a:lnTo>
                  <a:pt x="f116" y="f849"/>
                </a:lnTo>
                <a:lnTo>
                  <a:pt x="f116" y="f850"/>
                </a:lnTo>
                <a:lnTo>
                  <a:pt x="f115" y="f851"/>
                </a:lnTo>
                <a:lnTo>
                  <a:pt x="f114" y="f851"/>
                </a:lnTo>
                <a:lnTo>
                  <a:pt x="f117" y="f850"/>
                </a:lnTo>
                <a:lnTo>
                  <a:pt x="f117" y="f849"/>
                </a:lnTo>
                <a:close/>
                <a:moveTo>
                  <a:pt x="f118" y="f848"/>
                </a:moveTo>
                <a:lnTo>
                  <a:pt x="f119" y="f848"/>
                </a:lnTo>
                <a:lnTo>
                  <a:pt x="f120" y="f849"/>
                </a:lnTo>
                <a:lnTo>
                  <a:pt x="f120" y="f850"/>
                </a:lnTo>
                <a:lnTo>
                  <a:pt x="f119" y="f851"/>
                </a:lnTo>
                <a:lnTo>
                  <a:pt x="f118" y="f851"/>
                </a:lnTo>
                <a:lnTo>
                  <a:pt x="f121" y="f850"/>
                </a:lnTo>
                <a:lnTo>
                  <a:pt x="f121" y="f849"/>
                </a:lnTo>
                <a:close/>
                <a:moveTo>
                  <a:pt x="f102" y="f852"/>
                </a:moveTo>
                <a:lnTo>
                  <a:pt x="f103" y="f852"/>
                </a:lnTo>
                <a:lnTo>
                  <a:pt x="f104" y="f853"/>
                </a:lnTo>
                <a:lnTo>
                  <a:pt x="f104" y="f850"/>
                </a:lnTo>
                <a:lnTo>
                  <a:pt x="f103" y="f851"/>
                </a:lnTo>
                <a:lnTo>
                  <a:pt x="f102" y="f851"/>
                </a:lnTo>
                <a:lnTo>
                  <a:pt x="f105" y="f850"/>
                </a:lnTo>
                <a:lnTo>
                  <a:pt x="f105" y="f853"/>
                </a:lnTo>
                <a:close/>
                <a:moveTo>
                  <a:pt x="f106" y="f852"/>
                </a:moveTo>
                <a:lnTo>
                  <a:pt x="f107" y="f852"/>
                </a:lnTo>
                <a:lnTo>
                  <a:pt x="f108" y="f853"/>
                </a:lnTo>
                <a:lnTo>
                  <a:pt x="f108" y="f850"/>
                </a:lnTo>
                <a:lnTo>
                  <a:pt x="f107" y="f851"/>
                </a:lnTo>
                <a:lnTo>
                  <a:pt x="f106" y="f851"/>
                </a:lnTo>
                <a:lnTo>
                  <a:pt x="f109" y="f850"/>
                </a:lnTo>
                <a:lnTo>
                  <a:pt x="f109" y="f853"/>
                </a:lnTo>
                <a:close/>
                <a:moveTo>
                  <a:pt x="f90" y="f854"/>
                </a:moveTo>
                <a:lnTo>
                  <a:pt x="f91" y="f854"/>
                </a:lnTo>
                <a:lnTo>
                  <a:pt x="f92" y="f855"/>
                </a:lnTo>
                <a:lnTo>
                  <a:pt x="f92" y="f856"/>
                </a:lnTo>
                <a:lnTo>
                  <a:pt x="f91" y="f857"/>
                </a:lnTo>
                <a:lnTo>
                  <a:pt x="f90" y="f857"/>
                </a:lnTo>
                <a:lnTo>
                  <a:pt x="f93" y="f856"/>
                </a:lnTo>
                <a:lnTo>
                  <a:pt x="f93" y="f855"/>
                </a:lnTo>
                <a:close/>
                <a:moveTo>
                  <a:pt x="f94" y="f854"/>
                </a:moveTo>
                <a:lnTo>
                  <a:pt x="f95" y="f854"/>
                </a:lnTo>
                <a:lnTo>
                  <a:pt x="f96" y="f855"/>
                </a:lnTo>
                <a:lnTo>
                  <a:pt x="f96" y="f858"/>
                </a:lnTo>
                <a:lnTo>
                  <a:pt x="f95" y="f857"/>
                </a:lnTo>
                <a:lnTo>
                  <a:pt x="f94" y="f857"/>
                </a:lnTo>
                <a:lnTo>
                  <a:pt x="f97" y="f858"/>
                </a:lnTo>
                <a:lnTo>
                  <a:pt x="f97" y="f855"/>
                </a:lnTo>
                <a:close/>
                <a:moveTo>
                  <a:pt x="f98" y="f854"/>
                </a:moveTo>
                <a:lnTo>
                  <a:pt x="f99" y="f854"/>
                </a:lnTo>
                <a:lnTo>
                  <a:pt x="f100" y="f855"/>
                </a:lnTo>
                <a:lnTo>
                  <a:pt x="f100" y="f858"/>
                </a:lnTo>
                <a:lnTo>
                  <a:pt x="f99" y="f859"/>
                </a:lnTo>
                <a:lnTo>
                  <a:pt x="f98" y="f859"/>
                </a:lnTo>
                <a:lnTo>
                  <a:pt x="f101" y="f858"/>
                </a:lnTo>
                <a:lnTo>
                  <a:pt x="f101" y="f855"/>
                </a:lnTo>
                <a:close/>
                <a:moveTo>
                  <a:pt x="f82" y="f860"/>
                </a:moveTo>
                <a:lnTo>
                  <a:pt x="f83" y="f860"/>
                </a:lnTo>
                <a:lnTo>
                  <a:pt x="f84" y="f855"/>
                </a:lnTo>
                <a:lnTo>
                  <a:pt x="f84" y="f856"/>
                </a:lnTo>
                <a:lnTo>
                  <a:pt x="f83" y="f857"/>
                </a:lnTo>
                <a:lnTo>
                  <a:pt x="f82" y="f857"/>
                </a:lnTo>
                <a:lnTo>
                  <a:pt x="f85" y="f856"/>
                </a:lnTo>
                <a:lnTo>
                  <a:pt x="f85" y="f855"/>
                </a:lnTo>
                <a:close/>
                <a:moveTo>
                  <a:pt x="f86" y="f860"/>
                </a:moveTo>
                <a:lnTo>
                  <a:pt x="f87" y="f860"/>
                </a:lnTo>
                <a:lnTo>
                  <a:pt x="f88" y="f855"/>
                </a:lnTo>
                <a:lnTo>
                  <a:pt x="f88" y="f856"/>
                </a:lnTo>
                <a:lnTo>
                  <a:pt x="f87" y="f857"/>
                </a:lnTo>
                <a:lnTo>
                  <a:pt x="f86" y="f857"/>
                </a:lnTo>
                <a:lnTo>
                  <a:pt x="f89" y="f856"/>
                </a:lnTo>
                <a:lnTo>
                  <a:pt x="f89" y="f855"/>
                </a:lnTo>
                <a:close/>
                <a:moveTo>
                  <a:pt x="f62" y="f861"/>
                </a:moveTo>
                <a:lnTo>
                  <a:pt x="f63" y="f861"/>
                </a:lnTo>
                <a:lnTo>
                  <a:pt x="f64" y="f862"/>
                </a:lnTo>
                <a:lnTo>
                  <a:pt x="f64" y="f863"/>
                </a:lnTo>
                <a:lnTo>
                  <a:pt x="f63" y="f864"/>
                </a:lnTo>
                <a:lnTo>
                  <a:pt x="f62" y="f864"/>
                </a:lnTo>
                <a:lnTo>
                  <a:pt x="f65" y="f863"/>
                </a:lnTo>
                <a:lnTo>
                  <a:pt x="f65" y="f862"/>
                </a:lnTo>
                <a:close/>
                <a:moveTo>
                  <a:pt x="f66" y="f861"/>
                </a:moveTo>
                <a:lnTo>
                  <a:pt x="f67" y="f861"/>
                </a:lnTo>
                <a:lnTo>
                  <a:pt x="f68" y="f862"/>
                </a:lnTo>
                <a:lnTo>
                  <a:pt x="f68" y="f863"/>
                </a:lnTo>
                <a:lnTo>
                  <a:pt x="f67" y="f864"/>
                </a:lnTo>
                <a:lnTo>
                  <a:pt x="f66" y="f864"/>
                </a:lnTo>
                <a:lnTo>
                  <a:pt x="f69" y="f863"/>
                </a:lnTo>
                <a:lnTo>
                  <a:pt x="f69" y="f862"/>
                </a:lnTo>
                <a:close/>
                <a:moveTo>
                  <a:pt x="f70" y="f861"/>
                </a:moveTo>
                <a:lnTo>
                  <a:pt x="f71" y="f861"/>
                </a:lnTo>
                <a:lnTo>
                  <a:pt x="f72" y="f862"/>
                </a:lnTo>
                <a:lnTo>
                  <a:pt x="f72" y="f863"/>
                </a:lnTo>
                <a:lnTo>
                  <a:pt x="f71" y="f864"/>
                </a:lnTo>
                <a:lnTo>
                  <a:pt x="f70" y="f864"/>
                </a:lnTo>
                <a:lnTo>
                  <a:pt x="f73" y="f863"/>
                </a:lnTo>
                <a:lnTo>
                  <a:pt x="f73" y="f862"/>
                </a:lnTo>
                <a:close/>
                <a:moveTo>
                  <a:pt x="f74" y="f861"/>
                </a:moveTo>
                <a:lnTo>
                  <a:pt x="f75" y="f861"/>
                </a:lnTo>
                <a:lnTo>
                  <a:pt x="f76" y="f862"/>
                </a:lnTo>
                <a:lnTo>
                  <a:pt x="f76" y="f865"/>
                </a:lnTo>
                <a:lnTo>
                  <a:pt x="f75" y="f864"/>
                </a:lnTo>
                <a:lnTo>
                  <a:pt x="f74" y="f864"/>
                </a:lnTo>
                <a:lnTo>
                  <a:pt x="f77" y="f865"/>
                </a:lnTo>
                <a:lnTo>
                  <a:pt x="f77" y="f862"/>
                </a:lnTo>
                <a:close/>
                <a:moveTo>
                  <a:pt x="f78" y="f861"/>
                </a:moveTo>
                <a:lnTo>
                  <a:pt x="f79" y="f861"/>
                </a:lnTo>
                <a:lnTo>
                  <a:pt x="f80" y="f862"/>
                </a:lnTo>
                <a:lnTo>
                  <a:pt x="f80" y="f865"/>
                </a:lnTo>
                <a:lnTo>
                  <a:pt x="f79" y="f866"/>
                </a:lnTo>
                <a:lnTo>
                  <a:pt x="f78" y="f866"/>
                </a:lnTo>
                <a:lnTo>
                  <a:pt x="f81" y="f865"/>
                </a:lnTo>
                <a:lnTo>
                  <a:pt x="f81" y="f862"/>
                </a:lnTo>
                <a:close/>
                <a:moveTo>
                  <a:pt x="f42" y="f867"/>
                </a:moveTo>
                <a:lnTo>
                  <a:pt x="f43" y="f867"/>
                </a:lnTo>
                <a:lnTo>
                  <a:pt x="f44" y="f868"/>
                </a:lnTo>
                <a:lnTo>
                  <a:pt x="f44" y="f869"/>
                </a:lnTo>
                <a:lnTo>
                  <a:pt x="f43" y="f870"/>
                </a:lnTo>
                <a:lnTo>
                  <a:pt x="f42" y="f870"/>
                </a:lnTo>
                <a:lnTo>
                  <a:pt x="f45" y="f869"/>
                </a:lnTo>
                <a:lnTo>
                  <a:pt x="f45" y="f868"/>
                </a:lnTo>
                <a:close/>
                <a:moveTo>
                  <a:pt x="f46" y="f867"/>
                </a:moveTo>
                <a:lnTo>
                  <a:pt x="f47" y="f867"/>
                </a:lnTo>
                <a:lnTo>
                  <a:pt x="f48" y="f868"/>
                </a:lnTo>
                <a:lnTo>
                  <a:pt x="f48" y="f869"/>
                </a:lnTo>
                <a:lnTo>
                  <a:pt x="f47" y="f871"/>
                </a:lnTo>
                <a:lnTo>
                  <a:pt x="f46" y="f871"/>
                </a:lnTo>
                <a:lnTo>
                  <a:pt x="f49" y="f869"/>
                </a:lnTo>
                <a:lnTo>
                  <a:pt x="f49" y="f868"/>
                </a:lnTo>
                <a:close/>
                <a:moveTo>
                  <a:pt x="f50" y="f867"/>
                </a:moveTo>
                <a:lnTo>
                  <a:pt x="f51" y="f867"/>
                </a:lnTo>
                <a:lnTo>
                  <a:pt x="f52" y="f872"/>
                </a:lnTo>
                <a:lnTo>
                  <a:pt x="f52" y="f869"/>
                </a:lnTo>
                <a:lnTo>
                  <a:pt x="f51" y="f871"/>
                </a:lnTo>
                <a:lnTo>
                  <a:pt x="f50" y="f871"/>
                </a:lnTo>
                <a:lnTo>
                  <a:pt x="f53" y="f869"/>
                </a:lnTo>
                <a:lnTo>
                  <a:pt x="f53" y="f872"/>
                </a:lnTo>
                <a:close/>
                <a:moveTo>
                  <a:pt x="f54" y="f867"/>
                </a:moveTo>
                <a:lnTo>
                  <a:pt x="f55" y="f867"/>
                </a:lnTo>
                <a:lnTo>
                  <a:pt x="f56" y="f872"/>
                </a:lnTo>
                <a:lnTo>
                  <a:pt x="f56" y="f873"/>
                </a:lnTo>
                <a:lnTo>
                  <a:pt x="f55" y="f871"/>
                </a:lnTo>
                <a:lnTo>
                  <a:pt x="f54" y="f871"/>
                </a:lnTo>
                <a:lnTo>
                  <a:pt x="f57" y="f873"/>
                </a:lnTo>
                <a:lnTo>
                  <a:pt x="f57" y="f872"/>
                </a:lnTo>
                <a:close/>
                <a:moveTo>
                  <a:pt x="f58" y="f867"/>
                </a:moveTo>
                <a:lnTo>
                  <a:pt x="f59" y="f867"/>
                </a:lnTo>
                <a:lnTo>
                  <a:pt x="f60" y="f872"/>
                </a:lnTo>
                <a:lnTo>
                  <a:pt x="f60" y="f873"/>
                </a:lnTo>
                <a:lnTo>
                  <a:pt x="f59" y="f871"/>
                </a:lnTo>
                <a:lnTo>
                  <a:pt x="f58" y="f871"/>
                </a:lnTo>
                <a:lnTo>
                  <a:pt x="f61" y="f873"/>
                </a:lnTo>
                <a:lnTo>
                  <a:pt x="f61" y="f872"/>
                </a:lnTo>
                <a:close/>
                <a:moveTo>
                  <a:pt x="f874" y="f875"/>
                </a:moveTo>
                <a:lnTo>
                  <a:pt x="f876" y="f875"/>
                </a:lnTo>
                <a:lnTo>
                  <a:pt x="f877" y="f878"/>
                </a:lnTo>
                <a:lnTo>
                  <a:pt x="f877" y="f879"/>
                </a:lnTo>
                <a:lnTo>
                  <a:pt x="f876" y="f880"/>
                </a:lnTo>
                <a:lnTo>
                  <a:pt x="f874" y="f880"/>
                </a:lnTo>
                <a:lnTo>
                  <a:pt x="f881" y="f879"/>
                </a:lnTo>
                <a:lnTo>
                  <a:pt x="f881" y="f878"/>
                </a:lnTo>
                <a:close/>
                <a:moveTo>
                  <a:pt x="f810" y="f882"/>
                </a:moveTo>
                <a:lnTo>
                  <a:pt x="f883" y="f882"/>
                </a:lnTo>
                <a:lnTo>
                  <a:pt x="f884" y="f878"/>
                </a:lnTo>
                <a:lnTo>
                  <a:pt x="f884" y="f879"/>
                </a:lnTo>
                <a:lnTo>
                  <a:pt x="f883" y="f880"/>
                </a:lnTo>
                <a:lnTo>
                  <a:pt x="f810" y="f880"/>
                </a:lnTo>
                <a:lnTo>
                  <a:pt x="f885" y="f879"/>
                </a:lnTo>
                <a:lnTo>
                  <a:pt x="f885" y="f878"/>
                </a:lnTo>
                <a:close/>
                <a:moveTo>
                  <a:pt x="f886" y="f882"/>
                </a:moveTo>
                <a:lnTo>
                  <a:pt x="f816" y="f882"/>
                </a:lnTo>
                <a:lnTo>
                  <a:pt x="f887" y="f878"/>
                </a:lnTo>
                <a:lnTo>
                  <a:pt x="f887" y="f879"/>
                </a:lnTo>
                <a:lnTo>
                  <a:pt x="f816" y="f880"/>
                </a:lnTo>
                <a:lnTo>
                  <a:pt x="f886" y="f880"/>
                </a:lnTo>
                <a:lnTo>
                  <a:pt x="f888" y="f879"/>
                </a:lnTo>
                <a:lnTo>
                  <a:pt x="f888" y="f878"/>
                </a:lnTo>
                <a:close/>
                <a:moveTo>
                  <a:pt x="f889" y="f882"/>
                </a:moveTo>
                <a:lnTo>
                  <a:pt x="f890" y="f882"/>
                </a:lnTo>
                <a:lnTo>
                  <a:pt x="f821" y="f878"/>
                </a:lnTo>
                <a:lnTo>
                  <a:pt x="f821" y="f879"/>
                </a:lnTo>
                <a:lnTo>
                  <a:pt x="f890" y="f880"/>
                </a:lnTo>
                <a:lnTo>
                  <a:pt x="f889" y="f880"/>
                </a:lnTo>
                <a:lnTo>
                  <a:pt x="f891" y="f879"/>
                </a:lnTo>
                <a:lnTo>
                  <a:pt x="f891" y="f878"/>
                </a:lnTo>
                <a:close/>
                <a:moveTo>
                  <a:pt x="f35" y="f892"/>
                </a:moveTo>
                <a:lnTo>
                  <a:pt x="f37" y="f892"/>
                </a:lnTo>
                <a:lnTo>
                  <a:pt x="f6" y="f893"/>
                </a:lnTo>
                <a:lnTo>
                  <a:pt x="f6" y="f894"/>
                </a:lnTo>
                <a:lnTo>
                  <a:pt x="f37" y="f895"/>
                </a:lnTo>
                <a:lnTo>
                  <a:pt x="f35" y="f895"/>
                </a:lnTo>
                <a:lnTo>
                  <a:pt x="f41" y="f894"/>
                </a:lnTo>
                <a:lnTo>
                  <a:pt x="f41" y="f893"/>
                </a:lnTo>
                <a:close/>
                <a:moveTo>
                  <a:pt x="f896" y="f897"/>
                </a:moveTo>
                <a:lnTo>
                  <a:pt x="f825" y="f897"/>
                </a:lnTo>
                <a:lnTo>
                  <a:pt x="f640" y="f898"/>
                </a:lnTo>
                <a:lnTo>
                  <a:pt x="f640" y="f899"/>
                </a:lnTo>
                <a:lnTo>
                  <a:pt x="f825" y="f900"/>
                </a:lnTo>
                <a:lnTo>
                  <a:pt x="f896" y="f900"/>
                </a:lnTo>
                <a:lnTo>
                  <a:pt x="f615" y="f899"/>
                </a:lnTo>
                <a:lnTo>
                  <a:pt x="f615" y="f898"/>
                </a:lnTo>
                <a:close/>
                <a:moveTo>
                  <a:pt x="f614" y="f901"/>
                </a:moveTo>
                <a:lnTo>
                  <a:pt x="f581" y="f901"/>
                </a:lnTo>
                <a:lnTo>
                  <a:pt x="f830" y="f902"/>
                </a:lnTo>
                <a:lnTo>
                  <a:pt x="f830" y="f903"/>
                </a:lnTo>
                <a:lnTo>
                  <a:pt x="f581" y="f904"/>
                </a:lnTo>
                <a:lnTo>
                  <a:pt x="f614" y="f904"/>
                </a:lnTo>
                <a:lnTo>
                  <a:pt x="f730" y="f903"/>
                </a:lnTo>
                <a:lnTo>
                  <a:pt x="f730" y="f902"/>
                </a:lnTo>
                <a:close/>
                <a:moveTo>
                  <a:pt x="f792" y="f905"/>
                </a:moveTo>
                <a:lnTo>
                  <a:pt x="f906" y="f905"/>
                </a:lnTo>
                <a:lnTo>
                  <a:pt x="f907" y="f908"/>
                </a:lnTo>
                <a:lnTo>
                  <a:pt x="f907" y="f812"/>
                </a:lnTo>
                <a:lnTo>
                  <a:pt x="f906" y="f909"/>
                </a:lnTo>
                <a:lnTo>
                  <a:pt x="f792" y="f909"/>
                </a:lnTo>
                <a:lnTo>
                  <a:pt x="f799" y="f812"/>
                </a:lnTo>
                <a:lnTo>
                  <a:pt x="f799" y="f908"/>
                </a:lnTo>
                <a:close/>
                <a:moveTo>
                  <a:pt x="f910" y="f905"/>
                </a:moveTo>
                <a:lnTo>
                  <a:pt x="f800" y="f905"/>
                </a:lnTo>
                <a:lnTo>
                  <a:pt x="f801" y="f908"/>
                </a:lnTo>
                <a:lnTo>
                  <a:pt x="f801" y="f812"/>
                </a:lnTo>
                <a:lnTo>
                  <a:pt x="f800" y="f909"/>
                </a:lnTo>
                <a:lnTo>
                  <a:pt x="f910" y="f909"/>
                </a:lnTo>
                <a:lnTo>
                  <a:pt x="f911" y="f812"/>
                </a:lnTo>
                <a:lnTo>
                  <a:pt x="f911" y="f908"/>
                </a:lnTo>
                <a:close/>
                <a:moveTo>
                  <a:pt x="f912" y="f905"/>
                </a:moveTo>
                <a:lnTo>
                  <a:pt x="f802" y="f905"/>
                </a:lnTo>
                <a:lnTo>
                  <a:pt x="f913" y="f908"/>
                </a:lnTo>
                <a:lnTo>
                  <a:pt x="f913" y="f812"/>
                </a:lnTo>
                <a:lnTo>
                  <a:pt x="f802" y="f909"/>
                </a:lnTo>
                <a:lnTo>
                  <a:pt x="f912" y="f909"/>
                </a:lnTo>
                <a:lnTo>
                  <a:pt x="f914" y="f812"/>
                </a:lnTo>
                <a:lnTo>
                  <a:pt x="f914" y="f908"/>
                </a:lnTo>
                <a:close/>
                <a:moveTo>
                  <a:pt x="f807" y="f905"/>
                </a:moveTo>
                <a:lnTo>
                  <a:pt x="f915" y="f905"/>
                </a:lnTo>
                <a:lnTo>
                  <a:pt x="f809" y="f908"/>
                </a:lnTo>
                <a:lnTo>
                  <a:pt x="f809" y="f812"/>
                </a:lnTo>
                <a:lnTo>
                  <a:pt x="f915" y="f909"/>
                </a:lnTo>
                <a:lnTo>
                  <a:pt x="f807" y="f909"/>
                </a:lnTo>
                <a:lnTo>
                  <a:pt x="f916" y="f812"/>
                </a:lnTo>
                <a:lnTo>
                  <a:pt x="f916" y="f908"/>
                </a:lnTo>
                <a:close/>
                <a:moveTo>
                  <a:pt x="f158" y="f917"/>
                </a:moveTo>
                <a:lnTo>
                  <a:pt x="f159" y="f917"/>
                </a:lnTo>
                <a:lnTo>
                  <a:pt x="f160" y="f918"/>
                </a:lnTo>
                <a:lnTo>
                  <a:pt x="f160" y="f919"/>
                </a:lnTo>
                <a:lnTo>
                  <a:pt x="f159" y="f920"/>
                </a:lnTo>
                <a:lnTo>
                  <a:pt x="f158" y="f920"/>
                </a:lnTo>
                <a:lnTo>
                  <a:pt x="f161" y="f919"/>
                </a:lnTo>
                <a:lnTo>
                  <a:pt x="f161" y="f918"/>
                </a:lnTo>
                <a:close/>
                <a:moveTo>
                  <a:pt x="f142" y="f921"/>
                </a:moveTo>
                <a:lnTo>
                  <a:pt x="f143" y="f921"/>
                </a:lnTo>
                <a:lnTo>
                  <a:pt x="f144" y="f918"/>
                </a:lnTo>
                <a:lnTo>
                  <a:pt x="f144" y="f922"/>
                </a:lnTo>
                <a:lnTo>
                  <a:pt x="f143" y="f920"/>
                </a:lnTo>
                <a:lnTo>
                  <a:pt x="f142" y="f920"/>
                </a:lnTo>
                <a:lnTo>
                  <a:pt x="f145" y="f922"/>
                </a:lnTo>
                <a:lnTo>
                  <a:pt x="f145" y="f918"/>
                </a:lnTo>
                <a:close/>
                <a:moveTo>
                  <a:pt x="f146" y="f921"/>
                </a:moveTo>
                <a:lnTo>
                  <a:pt x="f147" y="f921"/>
                </a:lnTo>
                <a:lnTo>
                  <a:pt x="f148" y="f918"/>
                </a:lnTo>
                <a:lnTo>
                  <a:pt x="f148" y="f919"/>
                </a:lnTo>
                <a:lnTo>
                  <a:pt x="f147" y="f920"/>
                </a:lnTo>
                <a:lnTo>
                  <a:pt x="f146" y="f920"/>
                </a:lnTo>
                <a:lnTo>
                  <a:pt x="f149" y="f919"/>
                </a:lnTo>
                <a:lnTo>
                  <a:pt x="f149" y="f918"/>
                </a:lnTo>
                <a:close/>
                <a:moveTo>
                  <a:pt x="f150" y="f921"/>
                </a:moveTo>
                <a:lnTo>
                  <a:pt x="f151" y="f921"/>
                </a:lnTo>
                <a:lnTo>
                  <a:pt x="f152" y="f918"/>
                </a:lnTo>
                <a:lnTo>
                  <a:pt x="f152" y="f919"/>
                </a:lnTo>
                <a:lnTo>
                  <a:pt x="f151" y="f920"/>
                </a:lnTo>
                <a:lnTo>
                  <a:pt x="f150" y="f920"/>
                </a:lnTo>
                <a:lnTo>
                  <a:pt x="f153" y="f919"/>
                </a:lnTo>
                <a:lnTo>
                  <a:pt x="f153" y="f918"/>
                </a:lnTo>
                <a:close/>
                <a:moveTo>
                  <a:pt x="f154" y="f921"/>
                </a:moveTo>
                <a:lnTo>
                  <a:pt x="f155" y="f921"/>
                </a:lnTo>
                <a:lnTo>
                  <a:pt x="f156" y="f918"/>
                </a:lnTo>
                <a:lnTo>
                  <a:pt x="f156" y="f919"/>
                </a:lnTo>
                <a:lnTo>
                  <a:pt x="f155" y="f920"/>
                </a:lnTo>
                <a:lnTo>
                  <a:pt x="f154" y="f920"/>
                </a:lnTo>
                <a:lnTo>
                  <a:pt x="f157" y="f919"/>
                </a:lnTo>
                <a:lnTo>
                  <a:pt x="f157" y="f918"/>
                </a:lnTo>
                <a:close/>
                <a:moveTo>
                  <a:pt x="f138" y="f923"/>
                </a:moveTo>
                <a:lnTo>
                  <a:pt x="f139" y="f923"/>
                </a:lnTo>
                <a:lnTo>
                  <a:pt x="f140" y="f924"/>
                </a:lnTo>
                <a:lnTo>
                  <a:pt x="f140" y="f925"/>
                </a:lnTo>
                <a:lnTo>
                  <a:pt x="f139" y="f926"/>
                </a:lnTo>
                <a:lnTo>
                  <a:pt x="f138" y="f926"/>
                </a:lnTo>
                <a:lnTo>
                  <a:pt x="f141" y="f925"/>
                </a:lnTo>
                <a:lnTo>
                  <a:pt x="f141" y="f924"/>
                </a:lnTo>
                <a:close/>
                <a:moveTo>
                  <a:pt x="f122" y="f923"/>
                </a:moveTo>
                <a:lnTo>
                  <a:pt x="f123" y="f923"/>
                </a:lnTo>
                <a:lnTo>
                  <a:pt x="f124" y="f924"/>
                </a:lnTo>
                <a:lnTo>
                  <a:pt x="f124" y="f925"/>
                </a:lnTo>
                <a:lnTo>
                  <a:pt x="f123" y="f926"/>
                </a:lnTo>
                <a:lnTo>
                  <a:pt x="f122" y="f926"/>
                </a:lnTo>
                <a:lnTo>
                  <a:pt x="f125" y="f925"/>
                </a:lnTo>
                <a:lnTo>
                  <a:pt x="f125" y="f924"/>
                </a:lnTo>
                <a:close/>
                <a:moveTo>
                  <a:pt x="f126" y="f923"/>
                </a:moveTo>
                <a:lnTo>
                  <a:pt x="f127" y="f923"/>
                </a:lnTo>
                <a:lnTo>
                  <a:pt x="f128" y="f924"/>
                </a:lnTo>
                <a:lnTo>
                  <a:pt x="f128" y="f925"/>
                </a:lnTo>
                <a:lnTo>
                  <a:pt x="f127" y="f926"/>
                </a:lnTo>
                <a:lnTo>
                  <a:pt x="f126" y="f926"/>
                </a:lnTo>
                <a:lnTo>
                  <a:pt x="f129" y="f925"/>
                </a:lnTo>
                <a:lnTo>
                  <a:pt x="f129" y="f924"/>
                </a:lnTo>
                <a:close/>
                <a:moveTo>
                  <a:pt x="f130" y="f923"/>
                </a:moveTo>
                <a:lnTo>
                  <a:pt x="f131" y="f923"/>
                </a:lnTo>
                <a:lnTo>
                  <a:pt x="f132" y="f924"/>
                </a:lnTo>
                <a:lnTo>
                  <a:pt x="f132" y="f925"/>
                </a:lnTo>
                <a:lnTo>
                  <a:pt x="f131" y="f926"/>
                </a:lnTo>
                <a:lnTo>
                  <a:pt x="f130" y="f926"/>
                </a:lnTo>
                <a:lnTo>
                  <a:pt x="f133" y="f925"/>
                </a:lnTo>
                <a:lnTo>
                  <a:pt x="f133" y="f924"/>
                </a:lnTo>
                <a:close/>
                <a:moveTo>
                  <a:pt x="f134" y="f923"/>
                </a:moveTo>
                <a:lnTo>
                  <a:pt x="f135" y="f923"/>
                </a:lnTo>
                <a:lnTo>
                  <a:pt x="f136" y="f924"/>
                </a:lnTo>
                <a:lnTo>
                  <a:pt x="f136" y="f925"/>
                </a:lnTo>
                <a:lnTo>
                  <a:pt x="f135" y="f926"/>
                </a:lnTo>
                <a:lnTo>
                  <a:pt x="f134" y="f926"/>
                </a:lnTo>
                <a:lnTo>
                  <a:pt x="f137" y="f925"/>
                </a:lnTo>
                <a:lnTo>
                  <a:pt x="f137" y="f924"/>
                </a:lnTo>
                <a:close/>
                <a:moveTo>
                  <a:pt x="f118" y="f927"/>
                </a:moveTo>
                <a:lnTo>
                  <a:pt x="f119" y="f927"/>
                </a:lnTo>
                <a:lnTo>
                  <a:pt x="f120" y="f928"/>
                </a:lnTo>
                <a:lnTo>
                  <a:pt x="f120" y="f929"/>
                </a:lnTo>
                <a:lnTo>
                  <a:pt x="f119" y="f930"/>
                </a:lnTo>
                <a:lnTo>
                  <a:pt x="f118" y="f930"/>
                </a:lnTo>
                <a:lnTo>
                  <a:pt x="f121" y="f929"/>
                </a:lnTo>
                <a:lnTo>
                  <a:pt x="f121" y="f928"/>
                </a:lnTo>
                <a:close/>
                <a:moveTo>
                  <a:pt x="f102" y="f931"/>
                </a:moveTo>
                <a:lnTo>
                  <a:pt x="f103" y="f931"/>
                </a:lnTo>
                <a:lnTo>
                  <a:pt x="f104" y="f928"/>
                </a:lnTo>
                <a:lnTo>
                  <a:pt x="f104" y="f932"/>
                </a:lnTo>
                <a:lnTo>
                  <a:pt x="f103" y="f933"/>
                </a:lnTo>
                <a:lnTo>
                  <a:pt x="f102" y="f933"/>
                </a:lnTo>
                <a:lnTo>
                  <a:pt x="f105" y="f932"/>
                </a:lnTo>
                <a:lnTo>
                  <a:pt x="f105" y="f928"/>
                </a:lnTo>
                <a:close/>
                <a:moveTo>
                  <a:pt x="f106" y="f931"/>
                </a:moveTo>
                <a:lnTo>
                  <a:pt x="f107" y="f931"/>
                </a:lnTo>
                <a:lnTo>
                  <a:pt x="f108" y="f928"/>
                </a:lnTo>
                <a:lnTo>
                  <a:pt x="f108" y="f929"/>
                </a:lnTo>
                <a:lnTo>
                  <a:pt x="f107" y="f933"/>
                </a:lnTo>
                <a:lnTo>
                  <a:pt x="f106" y="f933"/>
                </a:lnTo>
                <a:lnTo>
                  <a:pt x="f109" y="f929"/>
                </a:lnTo>
                <a:lnTo>
                  <a:pt x="f109" y="f928"/>
                </a:lnTo>
                <a:close/>
                <a:moveTo>
                  <a:pt x="f110" y="f931"/>
                </a:moveTo>
                <a:lnTo>
                  <a:pt x="f111" y="f931"/>
                </a:lnTo>
                <a:lnTo>
                  <a:pt x="f112" y="f928"/>
                </a:lnTo>
                <a:lnTo>
                  <a:pt x="f112" y="f929"/>
                </a:lnTo>
                <a:lnTo>
                  <a:pt x="f111" y="f930"/>
                </a:lnTo>
                <a:lnTo>
                  <a:pt x="f110" y="f930"/>
                </a:lnTo>
                <a:lnTo>
                  <a:pt x="f113" y="f929"/>
                </a:lnTo>
                <a:lnTo>
                  <a:pt x="f113" y="f928"/>
                </a:lnTo>
                <a:close/>
                <a:moveTo>
                  <a:pt x="f114" y="f931"/>
                </a:moveTo>
                <a:lnTo>
                  <a:pt x="f115" y="f931"/>
                </a:lnTo>
                <a:lnTo>
                  <a:pt x="f116" y="f928"/>
                </a:lnTo>
                <a:lnTo>
                  <a:pt x="f116" y="f929"/>
                </a:lnTo>
                <a:lnTo>
                  <a:pt x="f115" y="f930"/>
                </a:lnTo>
                <a:lnTo>
                  <a:pt x="f114" y="f930"/>
                </a:lnTo>
                <a:lnTo>
                  <a:pt x="f117" y="f929"/>
                </a:lnTo>
                <a:lnTo>
                  <a:pt x="f117" y="f928"/>
                </a:lnTo>
                <a:close/>
                <a:moveTo>
                  <a:pt x="f98" y="f934"/>
                </a:moveTo>
                <a:lnTo>
                  <a:pt x="f99" y="f934"/>
                </a:lnTo>
                <a:lnTo>
                  <a:pt x="f100" y="f935"/>
                </a:lnTo>
                <a:lnTo>
                  <a:pt x="f100" y="f936"/>
                </a:lnTo>
                <a:lnTo>
                  <a:pt x="f99" y="f937"/>
                </a:lnTo>
                <a:lnTo>
                  <a:pt x="f98" y="f937"/>
                </a:lnTo>
                <a:lnTo>
                  <a:pt x="f101" y="f936"/>
                </a:lnTo>
                <a:lnTo>
                  <a:pt x="f101" y="f935"/>
                </a:lnTo>
                <a:close/>
                <a:moveTo>
                  <a:pt x="f82" y="f938"/>
                </a:moveTo>
                <a:lnTo>
                  <a:pt x="f83" y="f938"/>
                </a:lnTo>
                <a:lnTo>
                  <a:pt x="f84" y="f935"/>
                </a:lnTo>
                <a:lnTo>
                  <a:pt x="f84" y="f939"/>
                </a:lnTo>
                <a:lnTo>
                  <a:pt x="f83" y="f937"/>
                </a:lnTo>
                <a:lnTo>
                  <a:pt x="f82" y="f937"/>
                </a:lnTo>
                <a:lnTo>
                  <a:pt x="f85" y="f939"/>
                </a:lnTo>
                <a:lnTo>
                  <a:pt x="f85" y="f935"/>
                </a:lnTo>
                <a:close/>
                <a:moveTo>
                  <a:pt x="f86" y="f938"/>
                </a:moveTo>
                <a:lnTo>
                  <a:pt x="f87" y="f938"/>
                </a:lnTo>
                <a:lnTo>
                  <a:pt x="f88" y="f935"/>
                </a:lnTo>
                <a:lnTo>
                  <a:pt x="f88" y="f936"/>
                </a:lnTo>
                <a:lnTo>
                  <a:pt x="f87" y="f937"/>
                </a:lnTo>
                <a:lnTo>
                  <a:pt x="f86" y="f937"/>
                </a:lnTo>
                <a:lnTo>
                  <a:pt x="f89" y="f936"/>
                </a:lnTo>
                <a:lnTo>
                  <a:pt x="f89" y="f935"/>
                </a:lnTo>
                <a:close/>
                <a:moveTo>
                  <a:pt x="f90" y="f938"/>
                </a:moveTo>
                <a:lnTo>
                  <a:pt x="f91" y="f938"/>
                </a:lnTo>
                <a:lnTo>
                  <a:pt x="f92" y="f935"/>
                </a:lnTo>
                <a:lnTo>
                  <a:pt x="f92" y="f936"/>
                </a:lnTo>
                <a:lnTo>
                  <a:pt x="f91" y="f937"/>
                </a:lnTo>
                <a:lnTo>
                  <a:pt x="f90" y="f937"/>
                </a:lnTo>
                <a:lnTo>
                  <a:pt x="f93" y="f936"/>
                </a:lnTo>
                <a:lnTo>
                  <a:pt x="f93" y="f935"/>
                </a:lnTo>
                <a:close/>
                <a:moveTo>
                  <a:pt x="f94" y="f938"/>
                </a:moveTo>
                <a:lnTo>
                  <a:pt x="f95" y="f938"/>
                </a:lnTo>
                <a:lnTo>
                  <a:pt x="f96" y="f935"/>
                </a:lnTo>
                <a:lnTo>
                  <a:pt x="f96" y="f936"/>
                </a:lnTo>
                <a:lnTo>
                  <a:pt x="f95" y="f937"/>
                </a:lnTo>
                <a:lnTo>
                  <a:pt x="f94" y="f937"/>
                </a:lnTo>
                <a:lnTo>
                  <a:pt x="f97" y="f936"/>
                </a:lnTo>
                <a:lnTo>
                  <a:pt x="f97" y="f935"/>
                </a:lnTo>
                <a:close/>
                <a:moveTo>
                  <a:pt x="f78" y="f940"/>
                </a:moveTo>
                <a:lnTo>
                  <a:pt x="f79" y="f940"/>
                </a:lnTo>
                <a:lnTo>
                  <a:pt x="f80" y="f941"/>
                </a:lnTo>
                <a:lnTo>
                  <a:pt x="f80" y="f942"/>
                </a:lnTo>
                <a:lnTo>
                  <a:pt x="f79" y="f943"/>
                </a:lnTo>
                <a:lnTo>
                  <a:pt x="f78" y="f943"/>
                </a:lnTo>
                <a:lnTo>
                  <a:pt x="f81" y="f942"/>
                </a:lnTo>
                <a:lnTo>
                  <a:pt x="f81" y="f941"/>
                </a:lnTo>
                <a:close/>
                <a:moveTo>
                  <a:pt x="f62" y="f940"/>
                </a:moveTo>
                <a:lnTo>
                  <a:pt x="f63" y="f940"/>
                </a:lnTo>
                <a:lnTo>
                  <a:pt x="f64" y="f944"/>
                </a:lnTo>
                <a:lnTo>
                  <a:pt x="f64" y="f945"/>
                </a:lnTo>
                <a:lnTo>
                  <a:pt x="f63" y="f946"/>
                </a:lnTo>
                <a:lnTo>
                  <a:pt x="f62" y="f946"/>
                </a:lnTo>
                <a:lnTo>
                  <a:pt x="f65" y="f945"/>
                </a:lnTo>
                <a:lnTo>
                  <a:pt x="f65" y="f944"/>
                </a:lnTo>
                <a:close/>
                <a:moveTo>
                  <a:pt x="f66" y="f940"/>
                </a:moveTo>
                <a:lnTo>
                  <a:pt x="f67" y="f940"/>
                </a:lnTo>
                <a:lnTo>
                  <a:pt x="f68" y="f944"/>
                </a:lnTo>
                <a:lnTo>
                  <a:pt x="f68" y="f942"/>
                </a:lnTo>
                <a:lnTo>
                  <a:pt x="f67" y="f946"/>
                </a:lnTo>
                <a:lnTo>
                  <a:pt x="f66" y="f946"/>
                </a:lnTo>
                <a:lnTo>
                  <a:pt x="f69" y="f942"/>
                </a:lnTo>
                <a:lnTo>
                  <a:pt x="f69" y="f944"/>
                </a:lnTo>
                <a:close/>
                <a:moveTo>
                  <a:pt x="f70" y="f940"/>
                </a:moveTo>
                <a:lnTo>
                  <a:pt x="f71" y="f940"/>
                </a:lnTo>
                <a:lnTo>
                  <a:pt x="f72" y="f944"/>
                </a:lnTo>
                <a:lnTo>
                  <a:pt x="f72" y="f942"/>
                </a:lnTo>
                <a:lnTo>
                  <a:pt x="f71" y="f943"/>
                </a:lnTo>
                <a:lnTo>
                  <a:pt x="f70" y="f943"/>
                </a:lnTo>
                <a:lnTo>
                  <a:pt x="f73" y="f942"/>
                </a:lnTo>
                <a:lnTo>
                  <a:pt x="f73" y="f944"/>
                </a:lnTo>
                <a:close/>
                <a:moveTo>
                  <a:pt x="f74" y="f940"/>
                </a:moveTo>
                <a:lnTo>
                  <a:pt x="f75" y="f940"/>
                </a:lnTo>
                <a:lnTo>
                  <a:pt x="f76" y="f944"/>
                </a:lnTo>
                <a:lnTo>
                  <a:pt x="f76" y="f942"/>
                </a:lnTo>
                <a:lnTo>
                  <a:pt x="f75" y="f943"/>
                </a:lnTo>
                <a:lnTo>
                  <a:pt x="f74" y="f943"/>
                </a:lnTo>
                <a:lnTo>
                  <a:pt x="f77" y="f942"/>
                </a:lnTo>
                <a:lnTo>
                  <a:pt x="f77" y="f944"/>
                </a:lnTo>
                <a:close/>
                <a:moveTo>
                  <a:pt x="f58" y="f947"/>
                </a:moveTo>
                <a:lnTo>
                  <a:pt x="f59" y="f947"/>
                </a:lnTo>
                <a:lnTo>
                  <a:pt x="f60" y="f948"/>
                </a:lnTo>
                <a:lnTo>
                  <a:pt x="f60" y="f949"/>
                </a:lnTo>
                <a:lnTo>
                  <a:pt x="f59" y="f950"/>
                </a:lnTo>
                <a:lnTo>
                  <a:pt x="f58" y="f950"/>
                </a:lnTo>
                <a:lnTo>
                  <a:pt x="f61" y="f949"/>
                </a:lnTo>
                <a:lnTo>
                  <a:pt x="f61" y="f948"/>
                </a:lnTo>
                <a:close/>
                <a:moveTo>
                  <a:pt x="f42" y="f947"/>
                </a:moveTo>
                <a:lnTo>
                  <a:pt x="f43" y="f947"/>
                </a:lnTo>
                <a:lnTo>
                  <a:pt x="f44" y="f948"/>
                </a:lnTo>
                <a:lnTo>
                  <a:pt x="f44" y="f951"/>
                </a:lnTo>
                <a:lnTo>
                  <a:pt x="f43" y="f952"/>
                </a:lnTo>
                <a:lnTo>
                  <a:pt x="f42" y="f952"/>
                </a:lnTo>
                <a:lnTo>
                  <a:pt x="f45" y="f951"/>
                </a:lnTo>
                <a:lnTo>
                  <a:pt x="f45" y="f948"/>
                </a:lnTo>
                <a:close/>
                <a:moveTo>
                  <a:pt x="f46" y="f947"/>
                </a:moveTo>
                <a:lnTo>
                  <a:pt x="f47" y="f947"/>
                </a:lnTo>
                <a:lnTo>
                  <a:pt x="f48" y="f948"/>
                </a:lnTo>
                <a:lnTo>
                  <a:pt x="f48" y="f949"/>
                </a:lnTo>
                <a:lnTo>
                  <a:pt x="f47" y="f952"/>
                </a:lnTo>
                <a:lnTo>
                  <a:pt x="f46" y="f952"/>
                </a:lnTo>
                <a:lnTo>
                  <a:pt x="f49" y="f949"/>
                </a:lnTo>
                <a:lnTo>
                  <a:pt x="f49" y="f948"/>
                </a:lnTo>
                <a:close/>
                <a:moveTo>
                  <a:pt x="f50" y="f947"/>
                </a:moveTo>
                <a:lnTo>
                  <a:pt x="f51" y="f947"/>
                </a:lnTo>
                <a:lnTo>
                  <a:pt x="f52" y="f948"/>
                </a:lnTo>
                <a:lnTo>
                  <a:pt x="f52" y="f949"/>
                </a:lnTo>
                <a:lnTo>
                  <a:pt x="f51" y="f950"/>
                </a:lnTo>
                <a:lnTo>
                  <a:pt x="f50" y="f950"/>
                </a:lnTo>
                <a:lnTo>
                  <a:pt x="f53" y="f949"/>
                </a:lnTo>
                <a:lnTo>
                  <a:pt x="f53" y="f948"/>
                </a:lnTo>
                <a:close/>
                <a:moveTo>
                  <a:pt x="f54" y="f947"/>
                </a:moveTo>
                <a:lnTo>
                  <a:pt x="f55" y="f947"/>
                </a:lnTo>
                <a:lnTo>
                  <a:pt x="f56" y="f948"/>
                </a:lnTo>
                <a:lnTo>
                  <a:pt x="f56" y="f949"/>
                </a:lnTo>
                <a:lnTo>
                  <a:pt x="f55" y="f950"/>
                </a:lnTo>
                <a:lnTo>
                  <a:pt x="f54" y="f950"/>
                </a:lnTo>
                <a:lnTo>
                  <a:pt x="f57" y="f949"/>
                </a:lnTo>
                <a:lnTo>
                  <a:pt x="f57" y="f948"/>
                </a:lnTo>
                <a:close/>
                <a:moveTo>
                  <a:pt x="f953" y="f954"/>
                </a:moveTo>
                <a:lnTo>
                  <a:pt x="f883" y="f954"/>
                </a:lnTo>
                <a:lnTo>
                  <a:pt x="f955" y="f956"/>
                </a:lnTo>
                <a:lnTo>
                  <a:pt x="f955" y="f957"/>
                </a:lnTo>
                <a:lnTo>
                  <a:pt x="f883" y="f958"/>
                </a:lnTo>
                <a:lnTo>
                  <a:pt x="f953" y="f958"/>
                </a:lnTo>
                <a:lnTo>
                  <a:pt x="f959" y="f957"/>
                </a:lnTo>
                <a:lnTo>
                  <a:pt x="f959" y="f956"/>
                </a:lnTo>
                <a:close/>
                <a:moveTo>
                  <a:pt x="f960" y="f954"/>
                </a:moveTo>
                <a:lnTo>
                  <a:pt x="f961" y="f954"/>
                </a:lnTo>
                <a:lnTo>
                  <a:pt x="f887" y="f956"/>
                </a:lnTo>
                <a:lnTo>
                  <a:pt x="f887" y="f957"/>
                </a:lnTo>
                <a:lnTo>
                  <a:pt x="f961" y="f958"/>
                </a:lnTo>
                <a:lnTo>
                  <a:pt x="f960" y="f958"/>
                </a:lnTo>
                <a:lnTo>
                  <a:pt x="f888" y="f957"/>
                </a:lnTo>
                <a:lnTo>
                  <a:pt x="f888" y="f956"/>
                </a:lnTo>
                <a:close/>
                <a:moveTo>
                  <a:pt x="f889" y="f954"/>
                </a:moveTo>
                <a:lnTo>
                  <a:pt x="f890" y="f954"/>
                </a:lnTo>
                <a:lnTo>
                  <a:pt x="f962" y="f956"/>
                </a:lnTo>
                <a:lnTo>
                  <a:pt x="f962" y="f957"/>
                </a:lnTo>
                <a:lnTo>
                  <a:pt x="f890" y="f958"/>
                </a:lnTo>
                <a:lnTo>
                  <a:pt x="f889" y="f958"/>
                </a:lnTo>
                <a:lnTo>
                  <a:pt x="f891" y="f957"/>
                </a:lnTo>
                <a:lnTo>
                  <a:pt x="f891" y="f956"/>
                </a:lnTo>
                <a:close/>
                <a:moveTo>
                  <a:pt x="f874" y="f954"/>
                </a:moveTo>
                <a:lnTo>
                  <a:pt x="f963" y="f954"/>
                </a:lnTo>
                <a:lnTo>
                  <a:pt x="f964" y="f956"/>
                </a:lnTo>
                <a:lnTo>
                  <a:pt x="f964" y="f957"/>
                </a:lnTo>
                <a:lnTo>
                  <a:pt x="f963" y="f958"/>
                </a:lnTo>
                <a:lnTo>
                  <a:pt x="f874" y="f958"/>
                </a:lnTo>
                <a:lnTo>
                  <a:pt x="f965" y="f957"/>
                </a:lnTo>
                <a:lnTo>
                  <a:pt x="f965" y="f956"/>
                </a:lnTo>
                <a:close/>
                <a:moveTo>
                  <a:pt x="f35" y="f966"/>
                </a:moveTo>
                <a:lnTo>
                  <a:pt x="f37" y="f966"/>
                </a:lnTo>
                <a:lnTo>
                  <a:pt x="f6" y="f967"/>
                </a:lnTo>
                <a:lnTo>
                  <a:pt x="f6" y="f968"/>
                </a:lnTo>
                <a:lnTo>
                  <a:pt x="f37" y="f969"/>
                </a:lnTo>
                <a:lnTo>
                  <a:pt x="f35" y="f969"/>
                </a:lnTo>
                <a:lnTo>
                  <a:pt x="f41" y="f968"/>
                </a:lnTo>
                <a:lnTo>
                  <a:pt x="f41" y="f967"/>
                </a:lnTo>
                <a:close/>
                <a:moveTo>
                  <a:pt x="f896" y="f970"/>
                </a:moveTo>
                <a:lnTo>
                  <a:pt x="f825" y="f970"/>
                </a:lnTo>
                <a:lnTo>
                  <a:pt x="f640" y="f971"/>
                </a:lnTo>
                <a:lnTo>
                  <a:pt x="f640" y="f972"/>
                </a:lnTo>
                <a:lnTo>
                  <a:pt x="f825" y="f973"/>
                </a:lnTo>
                <a:lnTo>
                  <a:pt x="f896" y="f973"/>
                </a:lnTo>
                <a:lnTo>
                  <a:pt x="f615" y="f972"/>
                </a:lnTo>
                <a:lnTo>
                  <a:pt x="f615" y="f971"/>
                </a:lnTo>
                <a:close/>
                <a:moveTo>
                  <a:pt x="f974" y="f975"/>
                </a:moveTo>
                <a:lnTo>
                  <a:pt x="f976" y="f975"/>
                </a:lnTo>
                <a:lnTo>
                  <a:pt x="f830" y="f977"/>
                </a:lnTo>
                <a:lnTo>
                  <a:pt x="f830" y="f978"/>
                </a:lnTo>
                <a:lnTo>
                  <a:pt x="f976" y="f979"/>
                </a:lnTo>
                <a:lnTo>
                  <a:pt x="f974" y="f979"/>
                </a:lnTo>
                <a:lnTo>
                  <a:pt x="f730" y="f978"/>
                </a:lnTo>
                <a:lnTo>
                  <a:pt x="f730" y="f977"/>
                </a:lnTo>
                <a:close/>
                <a:moveTo>
                  <a:pt x="f980" y="f981"/>
                </a:moveTo>
                <a:lnTo>
                  <a:pt x="f906" y="f981"/>
                </a:lnTo>
                <a:lnTo>
                  <a:pt x="f907" y="f982"/>
                </a:lnTo>
                <a:lnTo>
                  <a:pt x="f907" y="f983"/>
                </a:lnTo>
                <a:lnTo>
                  <a:pt x="f906" y="f984"/>
                </a:lnTo>
                <a:lnTo>
                  <a:pt x="f980" y="f984"/>
                </a:lnTo>
                <a:lnTo>
                  <a:pt x="f985" y="f983"/>
                </a:lnTo>
                <a:lnTo>
                  <a:pt x="f985" y="f982"/>
                </a:lnTo>
                <a:close/>
                <a:moveTo>
                  <a:pt x="f910" y="f981"/>
                </a:moveTo>
                <a:lnTo>
                  <a:pt x="f986" y="f981"/>
                </a:lnTo>
                <a:lnTo>
                  <a:pt x="f987" y="f982"/>
                </a:lnTo>
                <a:lnTo>
                  <a:pt x="f987" y="f983"/>
                </a:lnTo>
                <a:lnTo>
                  <a:pt x="f986" y="f984"/>
                </a:lnTo>
                <a:lnTo>
                  <a:pt x="f910" y="f984"/>
                </a:lnTo>
                <a:lnTo>
                  <a:pt x="f988" y="f983"/>
                </a:lnTo>
                <a:lnTo>
                  <a:pt x="f988" y="f982"/>
                </a:lnTo>
                <a:close/>
                <a:moveTo>
                  <a:pt x="f989" y="f990"/>
                </a:moveTo>
                <a:lnTo>
                  <a:pt x="f991" y="f990"/>
                </a:lnTo>
                <a:lnTo>
                  <a:pt x="f913" y="f982"/>
                </a:lnTo>
                <a:lnTo>
                  <a:pt x="f913" y="f983"/>
                </a:lnTo>
                <a:lnTo>
                  <a:pt x="f991" y="f984"/>
                </a:lnTo>
                <a:lnTo>
                  <a:pt x="f989" y="f984"/>
                </a:lnTo>
                <a:lnTo>
                  <a:pt x="f914" y="f983"/>
                </a:lnTo>
                <a:lnTo>
                  <a:pt x="f914" y="f982"/>
                </a:lnTo>
                <a:close/>
                <a:moveTo>
                  <a:pt x="f992" y="f990"/>
                </a:moveTo>
                <a:lnTo>
                  <a:pt x="f915" y="f990"/>
                </a:lnTo>
                <a:lnTo>
                  <a:pt x="f993" y="f982"/>
                </a:lnTo>
                <a:lnTo>
                  <a:pt x="f993" y="f983"/>
                </a:lnTo>
                <a:lnTo>
                  <a:pt x="f915" y="f984"/>
                </a:lnTo>
                <a:lnTo>
                  <a:pt x="f992" y="f984"/>
                </a:lnTo>
                <a:lnTo>
                  <a:pt x="f994" y="f983"/>
                </a:lnTo>
                <a:lnTo>
                  <a:pt x="f994" y="f982"/>
                </a:lnTo>
                <a:close/>
                <a:moveTo>
                  <a:pt x="f142" y="f995"/>
                </a:moveTo>
                <a:lnTo>
                  <a:pt x="f143" y="f995"/>
                </a:lnTo>
                <a:lnTo>
                  <a:pt x="f144" y="f996"/>
                </a:lnTo>
                <a:lnTo>
                  <a:pt x="f144" y="f997"/>
                </a:lnTo>
                <a:lnTo>
                  <a:pt x="f143" y="f998"/>
                </a:lnTo>
                <a:lnTo>
                  <a:pt x="f142" y="f998"/>
                </a:lnTo>
                <a:lnTo>
                  <a:pt x="f145" y="f997"/>
                </a:lnTo>
                <a:lnTo>
                  <a:pt x="f145" y="f996"/>
                </a:lnTo>
                <a:close/>
                <a:moveTo>
                  <a:pt x="f146" y="f995"/>
                </a:moveTo>
                <a:lnTo>
                  <a:pt x="f147" y="f995"/>
                </a:lnTo>
                <a:lnTo>
                  <a:pt x="f148" y="f996"/>
                </a:lnTo>
                <a:lnTo>
                  <a:pt x="f148" y="f997"/>
                </a:lnTo>
                <a:lnTo>
                  <a:pt x="f147" y="f998"/>
                </a:lnTo>
                <a:lnTo>
                  <a:pt x="f146" y="f998"/>
                </a:lnTo>
                <a:lnTo>
                  <a:pt x="f149" y="f997"/>
                </a:lnTo>
                <a:lnTo>
                  <a:pt x="f149" y="f996"/>
                </a:lnTo>
                <a:close/>
                <a:moveTo>
                  <a:pt x="f150" y="f995"/>
                </a:moveTo>
                <a:lnTo>
                  <a:pt x="f151" y="f995"/>
                </a:lnTo>
                <a:lnTo>
                  <a:pt x="f152" y="f996"/>
                </a:lnTo>
                <a:lnTo>
                  <a:pt x="f152" y="f997"/>
                </a:lnTo>
                <a:lnTo>
                  <a:pt x="f151" y="f998"/>
                </a:lnTo>
                <a:lnTo>
                  <a:pt x="f150" y="f998"/>
                </a:lnTo>
                <a:lnTo>
                  <a:pt x="f153" y="f997"/>
                </a:lnTo>
                <a:lnTo>
                  <a:pt x="f153" y="f996"/>
                </a:lnTo>
                <a:close/>
                <a:moveTo>
                  <a:pt x="f154" y="f995"/>
                </a:moveTo>
                <a:lnTo>
                  <a:pt x="f155" y="f995"/>
                </a:lnTo>
                <a:lnTo>
                  <a:pt x="f156" y="f999"/>
                </a:lnTo>
                <a:lnTo>
                  <a:pt x="f156" y="f997"/>
                </a:lnTo>
                <a:lnTo>
                  <a:pt x="f155" y="f998"/>
                </a:lnTo>
                <a:lnTo>
                  <a:pt x="f154" y="f998"/>
                </a:lnTo>
                <a:lnTo>
                  <a:pt x="f157" y="f997"/>
                </a:lnTo>
                <a:lnTo>
                  <a:pt x="f157" y="f999"/>
                </a:lnTo>
                <a:close/>
                <a:moveTo>
                  <a:pt x="f158" y="f995"/>
                </a:moveTo>
                <a:lnTo>
                  <a:pt x="f159" y="f995"/>
                </a:lnTo>
                <a:lnTo>
                  <a:pt x="f160" y="f999"/>
                </a:lnTo>
                <a:lnTo>
                  <a:pt x="f160" y="f997"/>
                </a:lnTo>
                <a:lnTo>
                  <a:pt x="f159" y="f998"/>
                </a:lnTo>
                <a:lnTo>
                  <a:pt x="f158" y="f998"/>
                </a:lnTo>
                <a:lnTo>
                  <a:pt x="f161" y="f997"/>
                </a:lnTo>
                <a:lnTo>
                  <a:pt x="f161" y="f999"/>
                </a:lnTo>
                <a:close/>
                <a:moveTo>
                  <a:pt x="f122" y="f1000"/>
                </a:moveTo>
                <a:lnTo>
                  <a:pt x="f123" y="f1000"/>
                </a:lnTo>
                <a:lnTo>
                  <a:pt x="f124" y="f1001"/>
                </a:lnTo>
                <a:lnTo>
                  <a:pt x="f124" y="f1002"/>
                </a:lnTo>
                <a:lnTo>
                  <a:pt x="f123" y="f1003"/>
                </a:lnTo>
                <a:lnTo>
                  <a:pt x="f122" y="f1003"/>
                </a:lnTo>
                <a:lnTo>
                  <a:pt x="f125" y="f1002"/>
                </a:lnTo>
                <a:lnTo>
                  <a:pt x="f125" y="f1001"/>
                </a:lnTo>
                <a:close/>
                <a:moveTo>
                  <a:pt x="f126" y="f1000"/>
                </a:moveTo>
                <a:lnTo>
                  <a:pt x="f127" y="f1000"/>
                </a:lnTo>
                <a:lnTo>
                  <a:pt x="f128" y="f1001"/>
                </a:lnTo>
                <a:lnTo>
                  <a:pt x="f128" y="f1002"/>
                </a:lnTo>
                <a:lnTo>
                  <a:pt x="f127" y="f1003"/>
                </a:lnTo>
                <a:lnTo>
                  <a:pt x="f126" y="f1003"/>
                </a:lnTo>
                <a:lnTo>
                  <a:pt x="f129" y="f1002"/>
                </a:lnTo>
                <a:lnTo>
                  <a:pt x="f129" y="f1001"/>
                </a:lnTo>
                <a:close/>
                <a:moveTo>
                  <a:pt x="f130" y="f1000"/>
                </a:moveTo>
                <a:lnTo>
                  <a:pt x="f131" y="f1000"/>
                </a:lnTo>
                <a:lnTo>
                  <a:pt x="f132" y="f1001"/>
                </a:lnTo>
                <a:lnTo>
                  <a:pt x="f132" y="f1002"/>
                </a:lnTo>
                <a:lnTo>
                  <a:pt x="f131" y="f1003"/>
                </a:lnTo>
                <a:lnTo>
                  <a:pt x="f130" y="f1003"/>
                </a:lnTo>
                <a:lnTo>
                  <a:pt x="f133" y="f1002"/>
                </a:lnTo>
                <a:lnTo>
                  <a:pt x="f133" y="f1001"/>
                </a:lnTo>
                <a:close/>
                <a:moveTo>
                  <a:pt x="f134" y="f1000"/>
                </a:moveTo>
                <a:lnTo>
                  <a:pt x="f135" y="f1000"/>
                </a:lnTo>
                <a:lnTo>
                  <a:pt x="f136" y="f1004"/>
                </a:lnTo>
                <a:lnTo>
                  <a:pt x="f136" y="f1002"/>
                </a:lnTo>
                <a:lnTo>
                  <a:pt x="f135" y="f1003"/>
                </a:lnTo>
                <a:lnTo>
                  <a:pt x="f134" y="f1003"/>
                </a:lnTo>
                <a:lnTo>
                  <a:pt x="f137" y="f1002"/>
                </a:lnTo>
                <a:lnTo>
                  <a:pt x="f137" y="f1004"/>
                </a:lnTo>
                <a:close/>
                <a:moveTo>
                  <a:pt x="f138" y="f1000"/>
                </a:moveTo>
                <a:lnTo>
                  <a:pt x="f139" y="f1000"/>
                </a:lnTo>
                <a:lnTo>
                  <a:pt x="f140" y="f1004"/>
                </a:lnTo>
                <a:lnTo>
                  <a:pt x="f140" y="f1002"/>
                </a:lnTo>
                <a:lnTo>
                  <a:pt x="f139" y="f1003"/>
                </a:lnTo>
                <a:lnTo>
                  <a:pt x="f138" y="f1003"/>
                </a:lnTo>
                <a:lnTo>
                  <a:pt x="f141" y="f1002"/>
                </a:lnTo>
                <a:lnTo>
                  <a:pt x="f141" y="f1004"/>
                </a:lnTo>
                <a:close/>
                <a:moveTo>
                  <a:pt x="f102" y="f1005"/>
                </a:moveTo>
                <a:lnTo>
                  <a:pt x="f103" y="f1005"/>
                </a:lnTo>
                <a:lnTo>
                  <a:pt x="f104" y="f1006"/>
                </a:lnTo>
                <a:lnTo>
                  <a:pt x="f104" y="f1007"/>
                </a:lnTo>
                <a:lnTo>
                  <a:pt x="f103" y="f1008"/>
                </a:lnTo>
                <a:lnTo>
                  <a:pt x="f102" y="f1008"/>
                </a:lnTo>
                <a:lnTo>
                  <a:pt x="f105" y="f1007"/>
                </a:lnTo>
                <a:lnTo>
                  <a:pt x="f105" y="f1006"/>
                </a:lnTo>
                <a:close/>
                <a:moveTo>
                  <a:pt x="f106" y="f1005"/>
                </a:moveTo>
                <a:lnTo>
                  <a:pt x="f107" y="f1005"/>
                </a:lnTo>
                <a:lnTo>
                  <a:pt x="f108" y="f1006"/>
                </a:lnTo>
                <a:lnTo>
                  <a:pt x="f108" y="f1007"/>
                </a:lnTo>
                <a:lnTo>
                  <a:pt x="f107" y="f1008"/>
                </a:lnTo>
                <a:lnTo>
                  <a:pt x="f106" y="f1008"/>
                </a:lnTo>
                <a:lnTo>
                  <a:pt x="f109" y="f1007"/>
                </a:lnTo>
                <a:lnTo>
                  <a:pt x="f109" y="f1006"/>
                </a:lnTo>
                <a:close/>
                <a:moveTo>
                  <a:pt x="f110" y="f1005"/>
                </a:moveTo>
                <a:lnTo>
                  <a:pt x="f111" y="f1005"/>
                </a:lnTo>
                <a:lnTo>
                  <a:pt x="f112" y="f1006"/>
                </a:lnTo>
                <a:lnTo>
                  <a:pt x="f112" y="f1007"/>
                </a:lnTo>
                <a:lnTo>
                  <a:pt x="f111" y="f1008"/>
                </a:lnTo>
                <a:lnTo>
                  <a:pt x="f110" y="f1008"/>
                </a:lnTo>
                <a:lnTo>
                  <a:pt x="f113" y="f1007"/>
                </a:lnTo>
                <a:lnTo>
                  <a:pt x="f113" y="f1006"/>
                </a:lnTo>
                <a:close/>
                <a:moveTo>
                  <a:pt x="f114" y="f1005"/>
                </a:moveTo>
                <a:lnTo>
                  <a:pt x="f115" y="f1005"/>
                </a:lnTo>
                <a:lnTo>
                  <a:pt x="f116" y="f1009"/>
                </a:lnTo>
                <a:lnTo>
                  <a:pt x="f116" y="f1007"/>
                </a:lnTo>
                <a:lnTo>
                  <a:pt x="f115" y="f1008"/>
                </a:lnTo>
                <a:lnTo>
                  <a:pt x="f114" y="f1008"/>
                </a:lnTo>
                <a:lnTo>
                  <a:pt x="f117" y="f1007"/>
                </a:lnTo>
                <a:lnTo>
                  <a:pt x="f117" y="f1009"/>
                </a:lnTo>
                <a:close/>
                <a:moveTo>
                  <a:pt x="f118" y="f1005"/>
                </a:moveTo>
                <a:lnTo>
                  <a:pt x="f119" y="f1005"/>
                </a:lnTo>
                <a:lnTo>
                  <a:pt x="f120" y="f1009"/>
                </a:lnTo>
                <a:lnTo>
                  <a:pt x="f120" y="f1007"/>
                </a:lnTo>
                <a:lnTo>
                  <a:pt x="f119" y="f1008"/>
                </a:lnTo>
                <a:lnTo>
                  <a:pt x="f118" y="f1008"/>
                </a:lnTo>
                <a:lnTo>
                  <a:pt x="f121" y="f1007"/>
                </a:lnTo>
                <a:lnTo>
                  <a:pt x="f121" y="f1009"/>
                </a:lnTo>
                <a:close/>
                <a:moveTo>
                  <a:pt x="f94" y="f1010"/>
                </a:moveTo>
                <a:lnTo>
                  <a:pt x="f95" y="f1010"/>
                </a:lnTo>
                <a:lnTo>
                  <a:pt x="f96" y="f1011"/>
                </a:lnTo>
                <a:lnTo>
                  <a:pt x="f96" y="f1012"/>
                </a:lnTo>
                <a:lnTo>
                  <a:pt x="f95" y="f1013"/>
                </a:lnTo>
                <a:lnTo>
                  <a:pt x="f94" y="f1013"/>
                </a:lnTo>
                <a:lnTo>
                  <a:pt x="f97" y="f1012"/>
                </a:lnTo>
                <a:lnTo>
                  <a:pt x="f97" y="f1011"/>
                </a:lnTo>
                <a:close/>
                <a:moveTo>
                  <a:pt x="f98" y="f1010"/>
                </a:moveTo>
                <a:lnTo>
                  <a:pt x="f99" y="f1010"/>
                </a:lnTo>
                <a:lnTo>
                  <a:pt x="f100" y="f1011"/>
                </a:lnTo>
                <a:lnTo>
                  <a:pt x="f100" y="f1012"/>
                </a:lnTo>
                <a:lnTo>
                  <a:pt x="f99" y="f1013"/>
                </a:lnTo>
                <a:lnTo>
                  <a:pt x="f98" y="f1013"/>
                </a:lnTo>
                <a:lnTo>
                  <a:pt x="f101" y="f1012"/>
                </a:lnTo>
                <a:lnTo>
                  <a:pt x="f101" y="f1011"/>
                </a:lnTo>
                <a:close/>
                <a:moveTo>
                  <a:pt x="f82" y="f1010"/>
                </a:moveTo>
                <a:lnTo>
                  <a:pt x="f83" y="f1010"/>
                </a:lnTo>
                <a:lnTo>
                  <a:pt x="f84" y="f1014"/>
                </a:lnTo>
                <a:lnTo>
                  <a:pt x="f84" y="f1012"/>
                </a:lnTo>
                <a:lnTo>
                  <a:pt x="f83" y="f1013"/>
                </a:lnTo>
                <a:lnTo>
                  <a:pt x="f82" y="f1013"/>
                </a:lnTo>
                <a:lnTo>
                  <a:pt x="f85" y="f1012"/>
                </a:lnTo>
                <a:lnTo>
                  <a:pt x="f85" y="f1014"/>
                </a:lnTo>
                <a:close/>
                <a:moveTo>
                  <a:pt x="f86" y="f1010"/>
                </a:moveTo>
                <a:lnTo>
                  <a:pt x="f87" y="f1010"/>
                </a:lnTo>
                <a:lnTo>
                  <a:pt x="f88" y="f1014"/>
                </a:lnTo>
                <a:lnTo>
                  <a:pt x="f88" y="f1012"/>
                </a:lnTo>
                <a:lnTo>
                  <a:pt x="f87" y="f1013"/>
                </a:lnTo>
                <a:lnTo>
                  <a:pt x="f86" y="f1013"/>
                </a:lnTo>
                <a:lnTo>
                  <a:pt x="f89" y="f1012"/>
                </a:lnTo>
                <a:lnTo>
                  <a:pt x="f89" y="f1014"/>
                </a:lnTo>
                <a:close/>
                <a:moveTo>
                  <a:pt x="f90" y="f1010"/>
                </a:moveTo>
                <a:lnTo>
                  <a:pt x="f91" y="f1010"/>
                </a:lnTo>
                <a:lnTo>
                  <a:pt x="f92" y="f1014"/>
                </a:lnTo>
                <a:lnTo>
                  <a:pt x="f92" y="f1012"/>
                </a:lnTo>
                <a:lnTo>
                  <a:pt x="f91" y="f1013"/>
                </a:lnTo>
                <a:lnTo>
                  <a:pt x="f90" y="f1013"/>
                </a:lnTo>
                <a:lnTo>
                  <a:pt x="f93" y="f1012"/>
                </a:lnTo>
                <a:lnTo>
                  <a:pt x="f93" y="f1014"/>
                </a:lnTo>
                <a:close/>
                <a:moveTo>
                  <a:pt x="f74" y="f1015"/>
                </a:moveTo>
                <a:lnTo>
                  <a:pt x="f75" y="f1015"/>
                </a:lnTo>
                <a:lnTo>
                  <a:pt x="f76" y="f1016"/>
                </a:lnTo>
                <a:lnTo>
                  <a:pt x="f76" y="f1017"/>
                </a:lnTo>
                <a:lnTo>
                  <a:pt x="f75" y="f1018"/>
                </a:lnTo>
                <a:lnTo>
                  <a:pt x="f74" y="f1018"/>
                </a:lnTo>
                <a:lnTo>
                  <a:pt x="f77" y="f1017"/>
                </a:lnTo>
                <a:lnTo>
                  <a:pt x="f77" y="f1016"/>
                </a:lnTo>
                <a:close/>
                <a:moveTo>
                  <a:pt x="f78" y="f1015"/>
                </a:moveTo>
                <a:lnTo>
                  <a:pt x="f79" y="f1015"/>
                </a:lnTo>
                <a:lnTo>
                  <a:pt x="f80" y="f1016"/>
                </a:lnTo>
                <a:lnTo>
                  <a:pt x="f80" y="f1017"/>
                </a:lnTo>
                <a:lnTo>
                  <a:pt x="f79" y="f1018"/>
                </a:lnTo>
                <a:lnTo>
                  <a:pt x="f78" y="f1018"/>
                </a:lnTo>
                <a:lnTo>
                  <a:pt x="f81" y="f1017"/>
                </a:lnTo>
                <a:lnTo>
                  <a:pt x="f81" y="f1016"/>
                </a:lnTo>
                <a:close/>
                <a:moveTo>
                  <a:pt x="f62" y="f1019"/>
                </a:moveTo>
                <a:lnTo>
                  <a:pt x="f63" y="f1019"/>
                </a:lnTo>
                <a:lnTo>
                  <a:pt x="f64" y="f1020"/>
                </a:lnTo>
                <a:lnTo>
                  <a:pt x="f64" y="f1017"/>
                </a:lnTo>
                <a:lnTo>
                  <a:pt x="f63" y="f1018"/>
                </a:lnTo>
                <a:lnTo>
                  <a:pt x="f62" y="f1018"/>
                </a:lnTo>
                <a:lnTo>
                  <a:pt x="f65" y="f1017"/>
                </a:lnTo>
                <a:lnTo>
                  <a:pt x="f65" y="f1020"/>
                </a:lnTo>
                <a:close/>
                <a:moveTo>
                  <a:pt x="f66" y="f1019"/>
                </a:moveTo>
                <a:lnTo>
                  <a:pt x="f67" y="f1019"/>
                </a:lnTo>
                <a:lnTo>
                  <a:pt x="f68" y="f1020"/>
                </a:lnTo>
                <a:lnTo>
                  <a:pt x="f68" y="f1017"/>
                </a:lnTo>
                <a:lnTo>
                  <a:pt x="f67" y="f1018"/>
                </a:lnTo>
                <a:lnTo>
                  <a:pt x="f66" y="f1018"/>
                </a:lnTo>
                <a:lnTo>
                  <a:pt x="f69" y="f1017"/>
                </a:lnTo>
                <a:lnTo>
                  <a:pt x="f69" y="f1020"/>
                </a:lnTo>
                <a:close/>
                <a:moveTo>
                  <a:pt x="f70" y="f1019"/>
                </a:moveTo>
                <a:lnTo>
                  <a:pt x="f71" y="f1019"/>
                </a:lnTo>
                <a:lnTo>
                  <a:pt x="f72" y="f1020"/>
                </a:lnTo>
                <a:lnTo>
                  <a:pt x="f72" y="f1017"/>
                </a:lnTo>
                <a:lnTo>
                  <a:pt x="f71" y="f1018"/>
                </a:lnTo>
                <a:lnTo>
                  <a:pt x="f70" y="f1018"/>
                </a:lnTo>
                <a:lnTo>
                  <a:pt x="f73" y="f1017"/>
                </a:lnTo>
                <a:lnTo>
                  <a:pt x="f73" y="f1020"/>
                </a:lnTo>
                <a:close/>
                <a:moveTo>
                  <a:pt x="f54" y="f1021"/>
                </a:moveTo>
                <a:lnTo>
                  <a:pt x="f55" y="f1021"/>
                </a:lnTo>
                <a:lnTo>
                  <a:pt x="f56" y="f1022"/>
                </a:lnTo>
                <a:lnTo>
                  <a:pt x="f56" y="f1023"/>
                </a:lnTo>
                <a:lnTo>
                  <a:pt x="f55" y="f1024"/>
                </a:lnTo>
                <a:lnTo>
                  <a:pt x="f54" y="f1024"/>
                </a:lnTo>
                <a:lnTo>
                  <a:pt x="f57" y="f1023"/>
                </a:lnTo>
                <a:lnTo>
                  <a:pt x="f57" y="f1022"/>
                </a:lnTo>
                <a:close/>
                <a:moveTo>
                  <a:pt x="f58" y="f1021"/>
                </a:moveTo>
                <a:lnTo>
                  <a:pt x="f59" y="f1021"/>
                </a:lnTo>
                <a:lnTo>
                  <a:pt x="f60" y="f1022"/>
                </a:lnTo>
                <a:lnTo>
                  <a:pt x="f60" y="f1025"/>
                </a:lnTo>
                <a:lnTo>
                  <a:pt x="f59" y="f1024"/>
                </a:lnTo>
                <a:lnTo>
                  <a:pt x="f58" y="f1024"/>
                </a:lnTo>
                <a:lnTo>
                  <a:pt x="f61" y="f1025"/>
                </a:lnTo>
                <a:lnTo>
                  <a:pt x="f61" y="f1022"/>
                </a:lnTo>
                <a:close/>
                <a:moveTo>
                  <a:pt x="f42" y="f1021"/>
                </a:moveTo>
                <a:lnTo>
                  <a:pt x="f43" y="f1021"/>
                </a:lnTo>
                <a:lnTo>
                  <a:pt x="f44" y="f1026"/>
                </a:lnTo>
                <a:lnTo>
                  <a:pt x="f44" y="f1023"/>
                </a:lnTo>
                <a:lnTo>
                  <a:pt x="f43" y="f1024"/>
                </a:lnTo>
                <a:lnTo>
                  <a:pt x="f42" y="f1024"/>
                </a:lnTo>
                <a:lnTo>
                  <a:pt x="f45" y="f1023"/>
                </a:lnTo>
                <a:lnTo>
                  <a:pt x="f45" y="f1026"/>
                </a:lnTo>
                <a:close/>
                <a:moveTo>
                  <a:pt x="f46" y="f1021"/>
                </a:moveTo>
                <a:lnTo>
                  <a:pt x="f47" y="f1021"/>
                </a:lnTo>
                <a:lnTo>
                  <a:pt x="f48" y="f1026"/>
                </a:lnTo>
                <a:lnTo>
                  <a:pt x="f48" y="f1023"/>
                </a:lnTo>
                <a:lnTo>
                  <a:pt x="f47" y="f1024"/>
                </a:lnTo>
                <a:lnTo>
                  <a:pt x="f46" y="f1024"/>
                </a:lnTo>
                <a:lnTo>
                  <a:pt x="f49" y="f1023"/>
                </a:lnTo>
                <a:lnTo>
                  <a:pt x="f49" y="f1026"/>
                </a:lnTo>
                <a:close/>
                <a:moveTo>
                  <a:pt x="f50" y="f1021"/>
                </a:moveTo>
                <a:lnTo>
                  <a:pt x="f51" y="f1021"/>
                </a:lnTo>
                <a:lnTo>
                  <a:pt x="f52" y="f1026"/>
                </a:lnTo>
                <a:lnTo>
                  <a:pt x="f52" y="f1023"/>
                </a:lnTo>
                <a:lnTo>
                  <a:pt x="f51" y="f1024"/>
                </a:lnTo>
                <a:lnTo>
                  <a:pt x="f50" y="f1024"/>
                </a:lnTo>
                <a:lnTo>
                  <a:pt x="f53" y="f1023"/>
                </a:lnTo>
                <a:lnTo>
                  <a:pt x="f53" y="f1026"/>
                </a:lnTo>
                <a:close/>
                <a:moveTo>
                  <a:pt x="f35" y="f1027"/>
                </a:moveTo>
                <a:lnTo>
                  <a:pt x="f37" y="f1027"/>
                </a:lnTo>
                <a:lnTo>
                  <a:pt x="f6" y="f1028"/>
                </a:lnTo>
                <a:lnTo>
                  <a:pt x="f6" y="f1029"/>
                </a:lnTo>
                <a:lnTo>
                  <a:pt x="f37" y="f1030"/>
                </a:lnTo>
                <a:lnTo>
                  <a:pt x="f35" y="f1030"/>
                </a:lnTo>
                <a:lnTo>
                  <a:pt x="f41" y="f1029"/>
                </a:lnTo>
                <a:lnTo>
                  <a:pt x="f41" y="f1028"/>
                </a:lnTo>
                <a:close/>
                <a:moveTo>
                  <a:pt x="f1031" y="f1032"/>
                </a:moveTo>
                <a:lnTo>
                  <a:pt x="f1033" y="f1032"/>
                </a:lnTo>
                <a:lnTo>
                  <a:pt x="f987" y="f1034"/>
                </a:lnTo>
                <a:lnTo>
                  <a:pt x="f987" y="f1035"/>
                </a:lnTo>
                <a:lnTo>
                  <a:pt x="f1033" y="f1036"/>
                </a:lnTo>
                <a:lnTo>
                  <a:pt x="f1031" y="f1036"/>
                </a:lnTo>
                <a:lnTo>
                  <a:pt x="f1037" y="f1035"/>
                </a:lnTo>
                <a:lnTo>
                  <a:pt x="f1037" y="f1034"/>
                </a:lnTo>
                <a:close/>
                <a:moveTo>
                  <a:pt x="f1038" y="f1039"/>
                </a:moveTo>
                <a:lnTo>
                  <a:pt x="f1040" y="f1039"/>
                </a:lnTo>
                <a:lnTo>
                  <a:pt x="f1041" y="f1034"/>
                </a:lnTo>
                <a:lnTo>
                  <a:pt x="f1041" y="f1035"/>
                </a:lnTo>
                <a:lnTo>
                  <a:pt x="f1040" y="f1042"/>
                </a:lnTo>
                <a:lnTo>
                  <a:pt x="f1038" y="f1042"/>
                </a:lnTo>
                <a:lnTo>
                  <a:pt x="f1043" y="f1035"/>
                </a:lnTo>
                <a:lnTo>
                  <a:pt x="f1043" y="f1034"/>
                </a:lnTo>
                <a:close/>
                <a:moveTo>
                  <a:pt x="f992" y="f1039"/>
                </a:moveTo>
                <a:lnTo>
                  <a:pt x="f1044" y="f1039"/>
                </a:lnTo>
                <a:lnTo>
                  <a:pt x="f1045" y="f1034"/>
                </a:lnTo>
                <a:lnTo>
                  <a:pt x="f1045" y="f1035"/>
                </a:lnTo>
                <a:lnTo>
                  <a:pt x="f1044" y="f1036"/>
                </a:lnTo>
                <a:lnTo>
                  <a:pt x="f992" y="f1036"/>
                </a:lnTo>
                <a:lnTo>
                  <a:pt x="f994" y="f1035"/>
                </a:lnTo>
                <a:lnTo>
                  <a:pt x="f994" y="f1034"/>
                </a:lnTo>
                <a:close/>
                <a:moveTo>
                  <a:pt x="f1046" y="f1039"/>
                </a:moveTo>
                <a:lnTo>
                  <a:pt x="f1047" y="f1039"/>
                </a:lnTo>
                <a:lnTo>
                  <a:pt x="f1048" y="f1034"/>
                </a:lnTo>
                <a:lnTo>
                  <a:pt x="f1048" y="f1035"/>
                </a:lnTo>
                <a:lnTo>
                  <a:pt x="f1047" y="f1036"/>
                </a:lnTo>
                <a:lnTo>
                  <a:pt x="f1046" y="f1036"/>
                </a:lnTo>
                <a:lnTo>
                  <a:pt x="f1049" y="f1035"/>
                </a:lnTo>
                <a:lnTo>
                  <a:pt x="f1049" y="f1034"/>
                </a:lnTo>
                <a:close/>
                <a:moveTo>
                  <a:pt x="f960" y="f1050"/>
                </a:moveTo>
                <a:lnTo>
                  <a:pt x="f961" y="f1050"/>
                </a:lnTo>
                <a:lnTo>
                  <a:pt x="f1051" y="f1052"/>
                </a:lnTo>
                <a:lnTo>
                  <a:pt x="f1051" y="f1053"/>
                </a:lnTo>
                <a:lnTo>
                  <a:pt x="f961" y="f1054"/>
                </a:lnTo>
                <a:lnTo>
                  <a:pt x="f960" y="f1054"/>
                </a:lnTo>
                <a:lnTo>
                  <a:pt x="f1055" y="f1053"/>
                </a:lnTo>
                <a:lnTo>
                  <a:pt x="f1055" y="f1052"/>
                </a:lnTo>
                <a:close/>
                <a:moveTo>
                  <a:pt x="f1056" y="f1050"/>
                </a:moveTo>
                <a:lnTo>
                  <a:pt x="f1057" y="f1050"/>
                </a:lnTo>
                <a:lnTo>
                  <a:pt x="f962" y="f1052"/>
                </a:lnTo>
                <a:lnTo>
                  <a:pt x="f962" y="f1053"/>
                </a:lnTo>
                <a:lnTo>
                  <a:pt x="f1057" y="f1054"/>
                </a:lnTo>
                <a:lnTo>
                  <a:pt x="f1056" y="f1054"/>
                </a:lnTo>
                <a:lnTo>
                  <a:pt x="f1058" y="f1053"/>
                </a:lnTo>
                <a:lnTo>
                  <a:pt x="f1058" y="f1052"/>
                </a:lnTo>
                <a:close/>
                <a:moveTo>
                  <a:pt x="f1059" y="f1050"/>
                </a:moveTo>
                <a:lnTo>
                  <a:pt x="f963" y="f1050"/>
                </a:lnTo>
                <a:lnTo>
                  <a:pt x="f964" y="f1052"/>
                </a:lnTo>
                <a:lnTo>
                  <a:pt x="f964" y="f1060"/>
                </a:lnTo>
                <a:lnTo>
                  <a:pt x="f963" y="f1054"/>
                </a:lnTo>
                <a:lnTo>
                  <a:pt x="f1059" y="f1054"/>
                </a:lnTo>
                <a:lnTo>
                  <a:pt x="f1061" y="f1060"/>
                </a:lnTo>
                <a:lnTo>
                  <a:pt x="f1061" y="f1052"/>
                </a:lnTo>
                <a:close/>
                <a:moveTo>
                  <a:pt x="f1062" y="f1050"/>
                </a:moveTo>
                <a:lnTo>
                  <a:pt x="f1063" y="f1050"/>
                </a:lnTo>
                <a:lnTo>
                  <a:pt x="f955" y="f1064"/>
                </a:lnTo>
                <a:lnTo>
                  <a:pt x="f955" y="f1053"/>
                </a:lnTo>
                <a:lnTo>
                  <a:pt x="f1063" y="f1054"/>
                </a:lnTo>
                <a:lnTo>
                  <a:pt x="f1062" y="f1054"/>
                </a:lnTo>
                <a:lnTo>
                  <a:pt x="f959" y="f1053"/>
                </a:lnTo>
                <a:lnTo>
                  <a:pt x="f959" y="f1064"/>
                </a:lnTo>
                <a:close/>
                <a:moveTo>
                  <a:pt x="f896" y="f1065"/>
                </a:moveTo>
                <a:lnTo>
                  <a:pt x="f825" y="f1065"/>
                </a:lnTo>
                <a:lnTo>
                  <a:pt x="f640" y="f1066"/>
                </a:lnTo>
                <a:lnTo>
                  <a:pt x="f640" y="f559"/>
                </a:lnTo>
                <a:lnTo>
                  <a:pt x="f825" y="f1067"/>
                </a:lnTo>
                <a:lnTo>
                  <a:pt x="f896" y="f1067"/>
                </a:lnTo>
                <a:lnTo>
                  <a:pt x="f1068" y="f559"/>
                </a:lnTo>
                <a:lnTo>
                  <a:pt x="f1068" y="f1066"/>
                </a:lnTo>
                <a:close/>
                <a:moveTo>
                  <a:pt x="f974" y="f1069"/>
                </a:moveTo>
                <a:lnTo>
                  <a:pt x="f976" y="f1069"/>
                </a:lnTo>
                <a:lnTo>
                  <a:pt x="f830" y="f1070"/>
                </a:lnTo>
                <a:lnTo>
                  <a:pt x="f830" y="f504"/>
                </a:lnTo>
                <a:lnTo>
                  <a:pt x="f976" y="f1071"/>
                </a:lnTo>
                <a:lnTo>
                  <a:pt x="f974" y="f1071"/>
                </a:lnTo>
                <a:lnTo>
                  <a:pt x="f730" y="f504"/>
                </a:lnTo>
                <a:lnTo>
                  <a:pt x="f730" y="f1070"/>
                </a:lnTo>
                <a:close/>
                <a:moveTo>
                  <a:pt x="f142" y="f1072"/>
                </a:moveTo>
                <a:lnTo>
                  <a:pt x="f143" y="f1072"/>
                </a:lnTo>
                <a:lnTo>
                  <a:pt x="f144" y="f1073"/>
                </a:lnTo>
                <a:lnTo>
                  <a:pt x="f144" y="f1074"/>
                </a:lnTo>
                <a:lnTo>
                  <a:pt x="f143" y="f1075"/>
                </a:lnTo>
                <a:lnTo>
                  <a:pt x="f142" y="f1075"/>
                </a:lnTo>
                <a:lnTo>
                  <a:pt x="f145" y="f1074"/>
                </a:lnTo>
                <a:lnTo>
                  <a:pt x="f145" y="f1073"/>
                </a:lnTo>
                <a:close/>
                <a:moveTo>
                  <a:pt x="f146" y="f1072"/>
                </a:moveTo>
                <a:lnTo>
                  <a:pt x="f147" y="f1072"/>
                </a:lnTo>
                <a:lnTo>
                  <a:pt x="f148" y="f1073"/>
                </a:lnTo>
                <a:lnTo>
                  <a:pt x="f148" y="f1074"/>
                </a:lnTo>
                <a:lnTo>
                  <a:pt x="f147" y="f1075"/>
                </a:lnTo>
                <a:lnTo>
                  <a:pt x="f146" y="f1075"/>
                </a:lnTo>
                <a:lnTo>
                  <a:pt x="f149" y="f1074"/>
                </a:lnTo>
                <a:lnTo>
                  <a:pt x="f149" y="f1073"/>
                </a:lnTo>
                <a:close/>
                <a:moveTo>
                  <a:pt x="f150" y="f1072"/>
                </a:moveTo>
                <a:lnTo>
                  <a:pt x="f151" y="f1072"/>
                </a:lnTo>
                <a:lnTo>
                  <a:pt x="f152" y="f1073"/>
                </a:lnTo>
                <a:lnTo>
                  <a:pt x="f152" y="f1074"/>
                </a:lnTo>
                <a:lnTo>
                  <a:pt x="f151" y="f1075"/>
                </a:lnTo>
                <a:lnTo>
                  <a:pt x="f150" y="f1075"/>
                </a:lnTo>
                <a:lnTo>
                  <a:pt x="f153" y="f1074"/>
                </a:lnTo>
                <a:lnTo>
                  <a:pt x="f153" y="f1073"/>
                </a:lnTo>
                <a:close/>
                <a:moveTo>
                  <a:pt x="f154" y="f1072"/>
                </a:moveTo>
                <a:lnTo>
                  <a:pt x="f155" y="f1072"/>
                </a:lnTo>
                <a:lnTo>
                  <a:pt x="f156" y="f1073"/>
                </a:lnTo>
                <a:lnTo>
                  <a:pt x="f156" y="f1074"/>
                </a:lnTo>
                <a:lnTo>
                  <a:pt x="f155" y="f1076"/>
                </a:lnTo>
                <a:lnTo>
                  <a:pt x="f154" y="f1076"/>
                </a:lnTo>
                <a:lnTo>
                  <a:pt x="f157" y="f1074"/>
                </a:lnTo>
                <a:lnTo>
                  <a:pt x="f157" y="f1073"/>
                </a:lnTo>
                <a:close/>
                <a:moveTo>
                  <a:pt x="f158" y="f1072"/>
                </a:moveTo>
                <a:lnTo>
                  <a:pt x="f159" y="f1072"/>
                </a:lnTo>
                <a:lnTo>
                  <a:pt x="f160" y="f1073"/>
                </a:lnTo>
                <a:lnTo>
                  <a:pt x="f160" y="f1074"/>
                </a:lnTo>
                <a:lnTo>
                  <a:pt x="f159" y="f1076"/>
                </a:lnTo>
                <a:lnTo>
                  <a:pt x="f158" y="f1076"/>
                </a:lnTo>
                <a:lnTo>
                  <a:pt x="f161" y="f1074"/>
                </a:lnTo>
                <a:lnTo>
                  <a:pt x="f161" y="f1073"/>
                </a:lnTo>
                <a:close/>
                <a:moveTo>
                  <a:pt x="f122" y="f1077"/>
                </a:moveTo>
                <a:lnTo>
                  <a:pt x="f123" y="f1077"/>
                </a:lnTo>
                <a:lnTo>
                  <a:pt x="f124" y="f1078"/>
                </a:lnTo>
                <a:lnTo>
                  <a:pt x="f124" y="f1079"/>
                </a:lnTo>
                <a:lnTo>
                  <a:pt x="f123" y="f1080"/>
                </a:lnTo>
                <a:lnTo>
                  <a:pt x="f122" y="f1080"/>
                </a:lnTo>
                <a:lnTo>
                  <a:pt x="f125" y="f1079"/>
                </a:lnTo>
                <a:lnTo>
                  <a:pt x="f125" y="f1078"/>
                </a:lnTo>
                <a:close/>
                <a:moveTo>
                  <a:pt x="f126" y="f1077"/>
                </a:moveTo>
                <a:lnTo>
                  <a:pt x="f127" y="f1077"/>
                </a:lnTo>
                <a:lnTo>
                  <a:pt x="f128" y="f1078"/>
                </a:lnTo>
                <a:lnTo>
                  <a:pt x="f128" y="f1079"/>
                </a:lnTo>
                <a:lnTo>
                  <a:pt x="f127" y="f1080"/>
                </a:lnTo>
                <a:lnTo>
                  <a:pt x="f126" y="f1080"/>
                </a:lnTo>
                <a:lnTo>
                  <a:pt x="f129" y="f1079"/>
                </a:lnTo>
                <a:lnTo>
                  <a:pt x="f129" y="f1078"/>
                </a:lnTo>
                <a:close/>
                <a:moveTo>
                  <a:pt x="f130" y="f1077"/>
                </a:moveTo>
                <a:lnTo>
                  <a:pt x="f131" y="f1077"/>
                </a:lnTo>
                <a:lnTo>
                  <a:pt x="f132" y="f1078"/>
                </a:lnTo>
                <a:lnTo>
                  <a:pt x="f132" y="f1079"/>
                </a:lnTo>
                <a:lnTo>
                  <a:pt x="f131" y="f1080"/>
                </a:lnTo>
                <a:lnTo>
                  <a:pt x="f130" y="f1080"/>
                </a:lnTo>
                <a:lnTo>
                  <a:pt x="f133" y="f1079"/>
                </a:lnTo>
                <a:lnTo>
                  <a:pt x="f133" y="f1078"/>
                </a:lnTo>
                <a:close/>
                <a:moveTo>
                  <a:pt x="f134" y="f1077"/>
                </a:moveTo>
                <a:lnTo>
                  <a:pt x="f135" y="f1077"/>
                </a:lnTo>
                <a:lnTo>
                  <a:pt x="f136" y="f1078"/>
                </a:lnTo>
                <a:lnTo>
                  <a:pt x="f136" y="f1079"/>
                </a:lnTo>
                <a:lnTo>
                  <a:pt x="f135" y="f1080"/>
                </a:lnTo>
                <a:lnTo>
                  <a:pt x="f134" y="f1080"/>
                </a:lnTo>
                <a:lnTo>
                  <a:pt x="f137" y="f1079"/>
                </a:lnTo>
                <a:lnTo>
                  <a:pt x="f137" y="f1078"/>
                </a:lnTo>
                <a:close/>
                <a:moveTo>
                  <a:pt x="f138" y="f1077"/>
                </a:moveTo>
                <a:lnTo>
                  <a:pt x="f139" y="f1077"/>
                </a:lnTo>
                <a:lnTo>
                  <a:pt x="f140" y="f1078"/>
                </a:lnTo>
                <a:lnTo>
                  <a:pt x="f140" y="f1079"/>
                </a:lnTo>
                <a:lnTo>
                  <a:pt x="f139" y="f1080"/>
                </a:lnTo>
                <a:lnTo>
                  <a:pt x="f138" y="f1080"/>
                </a:lnTo>
                <a:lnTo>
                  <a:pt x="f141" y="f1079"/>
                </a:lnTo>
                <a:lnTo>
                  <a:pt x="f141" y="f1078"/>
                </a:lnTo>
                <a:close/>
                <a:moveTo>
                  <a:pt x="f102" y="f1081"/>
                </a:moveTo>
                <a:lnTo>
                  <a:pt x="f103" y="f1081"/>
                </a:lnTo>
                <a:lnTo>
                  <a:pt x="f104" y="f1082"/>
                </a:lnTo>
                <a:lnTo>
                  <a:pt x="f104" y="f1083"/>
                </a:lnTo>
                <a:lnTo>
                  <a:pt x="f103" y="f1084"/>
                </a:lnTo>
                <a:lnTo>
                  <a:pt x="f102" y="f1084"/>
                </a:lnTo>
                <a:lnTo>
                  <a:pt x="f105" y="f1083"/>
                </a:lnTo>
                <a:lnTo>
                  <a:pt x="f105" y="f1082"/>
                </a:lnTo>
                <a:close/>
                <a:moveTo>
                  <a:pt x="f106" y="f1081"/>
                </a:moveTo>
                <a:lnTo>
                  <a:pt x="f107" y="f1081"/>
                </a:lnTo>
                <a:lnTo>
                  <a:pt x="f108" y="f1082"/>
                </a:lnTo>
                <a:lnTo>
                  <a:pt x="f108" y="f1083"/>
                </a:lnTo>
                <a:lnTo>
                  <a:pt x="f107" y="f1084"/>
                </a:lnTo>
                <a:lnTo>
                  <a:pt x="f106" y="f1084"/>
                </a:lnTo>
                <a:lnTo>
                  <a:pt x="f109" y="f1083"/>
                </a:lnTo>
                <a:lnTo>
                  <a:pt x="f109" y="f1082"/>
                </a:lnTo>
                <a:close/>
                <a:moveTo>
                  <a:pt x="f110" y="f1081"/>
                </a:moveTo>
                <a:lnTo>
                  <a:pt x="f111" y="f1081"/>
                </a:lnTo>
                <a:lnTo>
                  <a:pt x="f112" y="f1082"/>
                </a:lnTo>
                <a:lnTo>
                  <a:pt x="f112" y="f1083"/>
                </a:lnTo>
                <a:lnTo>
                  <a:pt x="f111" y="f1084"/>
                </a:lnTo>
                <a:lnTo>
                  <a:pt x="f110" y="f1084"/>
                </a:lnTo>
                <a:lnTo>
                  <a:pt x="f113" y="f1083"/>
                </a:lnTo>
                <a:lnTo>
                  <a:pt x="f113" y="f1082"/>
                </a:lnTo>
                <a:close/>
                <a:moveTo>
                  <a:pt x="f114" y="f1081"/>
                </a:moveTo>
                <a:lnTo>
                  <a:pt x="f115" y="f1081"/>
                </a:lnTo>
                <a:lnTo>
                  <a:pt x="f116" y="f1082"/>
                </a:lnTo>
                <a:lnTo>
                  <a:pt x="f116" y="f1083"/>
                </a:lnTo>
                <a:lnTo>
                  <a:pt x="f115" y="f1085"/>
                </a:lnTo>
                <a:lnTo>
                  <a:pt x="f114" y="f1085"/>
                </a:lnTo>
                <a:lnTo>
                  <a:pt x="f117" y="f1083"/>
                </a:lnTo>
                <a:lnTo>
                  <a:pt x="f117" y="f1082"/>
                </a:lnTo>
                <a:close/>
                <a:moveTo>
                  <a:pt x="f118" y="f1081"/>
                </a:moveTo>
                <a:lnTo>
                  <a:pt x="f119" y="f1081"/>
                </a:lnTo>
                <a:lnTo>
                  <a:pt x="f120" y="f1086"/>
                </a:lnTo>
                <a:lnTo>
                  <a:pt x="f120" y="f1083"/>
                </a:lnTo>
                <a:lnTo>
                  <a:pt x="f119" y="f1085"/>
                </a:lnTo>
                <a:lnTo>
                  <a:pt x="f118" y="f1085"/>
                </a:lnTo>
                <a:lnTo>
                  <a:pt x="f121" y="f1083"/>
                </a:lnTo>
                <a:lnTo>
                  <a:pt x="f121" y="f1086"/>
                </a:lnTo>
                <a:close/>
                <a:moveTo>
                  <a:pt x="f82" y="f1087"/>
                </a:moveTo>
                <a:lnTo>
                  <a:pt x="f83" y="f1087"/>
                </a:lnTo>
                <a:lnTo>
                  <a:pt x="f84" y="f1088"/>
                </a:lnTo>
                <a:lnTo>
                  <a:pt x="f84" y="f1089"/>
                </a:lnTo>
                <a:lnTo>
                  <a:pt x="f83" y="f1090"/>
                </a:lnTo>
                <a:lnTo>
                  <a:pt x="f82" y="f1090"/>
                </a:lnTo>
                <a:lnTo>
                  <a:pt x="f85" y="f1089"/>
                </a:lnTo>
                <a:lnTo>
                  <a:pt x="f85" y="f1088"/>
                </a:lnTo>
                <a:close/>
                <a:moveTo>
                  <a:pt x="f86" y="f1087"/>
                </a:moveTo>
                <a:lnTo>
                  <a:pt x="f87" y="f1087"/>
                </a:lnTo>
                <a:lnTo>
                  <a:pt x="f88" y="f1088"/>
                </a:lnTo>
                <a:lnTo>
                  <a:pt x="f88" y="f1089"/>
                </a:lnTo>
                <a:lnTo>
                  <a:pt x="f87" y="f1090"/>
                </a:lnTo>
                <a:lnTo>
                  <a:pt x="f86" y="f1090"/>
                </a:lnTo>
                <a:lnTo>
                  <a:pt x="f89" y="f1089"/>
                </a:lnTo>
                <a:lnTo>
                  <a:pt x="f89" y="f1088"/>
                </a:lnTo>
                <a:close/>
                <a:moveTo>
                  <a:pt x="f90" y="f1087"/>
                </a:moveTo>
                <a:lnTo>
                  <a:pt x="f91" y="f1087"/>
                </a:lnTo>
                <a:lnTo>
                  <a:pt x="f92" y="f1088"/>
                </a:lnTo>
                <a:lnTo>
                  <a:pt x="f92" y="f1089"/>
                </a:lnTo>
                <a:lnTo>
                  <a:pt x="f91" y="f1090"/>
                </a:lnTo>
                <a:lnTo>
                  <a:pt x="f90" y="f1090"/>
                </a:lnTo>
                <a:lnTo>
                  <a:pt x="f93" y="f1089"/>
                </a:lnTo>
                <a:lnTo>
                  <a:pt x="f93" y="f1088"/>
                </a:lnTo>
                <a:close/>
                <a:moveTo>
                  <a:pt x="f94" y="f1087"/>
                </a:moveTo>
                <a:lnTo>
                  <a:pt x="f95" y="f1087"/>
                </a:lnTo>
                <a:lnTo>
                  <a:pt x="f96" y="f1088"/>
                </a:lnTo>
                <a:lnTo>
                  <a:pt x="f96" y="f1089"/>
                </a:lnTo>
                <a:lnTo>
                  <a:pt x="f95" y="f1090"/>
                </a:lnTo>
                <a:lnTo>
                  <a:pt x="f94" y="f1090"/>
                </a:lnTo>
                <a:lnTo>
                  <a:pt x="f97" y="f1089"/>
                </a:lnTo>
                <a:lnTo>
                  <a:pt x="f97" y="f1088"/>
                </a:lnTo>
                <a:close/>
                <a:moveTo>
                  <a:pt x="f98" y="f1087"/>
                </a:moveTo>
                <a:lnTo>
                  <a:pt x="f99" y="f1087"/>
                </a:lnTo>
                <a:lnTo>
                  <a:pt x="f100" y="f1088"/>
                </a:lnTo>
                <a:lnTo>
                  <a:pt x="f100" y="f1089"/>
                </a:lnTo>
                <a:lnTo>
                  <a:pt x="f99" y="f1090"/>
                </a:lnTo>
                <a:lnTo>
                  <a:pt x="f98" y="f1090"/>
                </a:lnTo>
                <a:lnTo>
                  <a:pt x="f101" y="f1089"/>
                </a:lnTo>
                <a:lnTo>
                  <a:pt x="f101" y="f1088"/>
                </a:lnTo>
                <a:close/>
                <a:moveTo>
                  <a:pt x="f62" y="f1091"/>
                </a:moveTo>
                <a:lnTo>
                  <a:pt x="f63" y="f1091"/>
                </a:lnTo>
                <a:lnTo>
                  <a:pt x="f64" y="f1092"/>
                </a:lnTo>
                <a:lnTo>
                  <a:pt x="f64" y="f1093"/>
                </a:lnTo>
                <a:lnTo>
                  <a:pt x="f63" y="f1094"/>
                </a:lnTo>
                <a:lnTo>
                  <a:pt x="f62" y="f1094"/>
                </a:lnTo>
                <a:lnTo>
                  <a:pt x="f65" y="f1093"/>
                </a:lnTo>
                <a:lnTo>
                  <a:pt x="f65" y="f1092"/>
                </a:lnTo>
                <a:close/>
                <a:moveTo>
                  <a:pt x="f66" y="f1091"/>
                </a:moveTo>
                <a:lnTo>
                  <a:pt x="f67" y="f1091"/>
                </a:lnTo>
                <a:lnTo>
                  <a:pt x="f68" y="f1092"/>
                </a:lnTo>
                <a:lnTo>
                  <a:pt x="f68" y="f1093"/>
                </a:lnTo>
                <a:lnTo>
                  <a:pt x="f67" y="f1094"/>
                </a:lnTo>
                <a:lnTo>
                  <a:pt x="f66" y="f1094"/>
                </a:lnTo>
                <a:lnTo>
                  <a:pt x="f69" y="f1093"/>
                </a:lnTo>
                <a:lnTo>
                  <a:pt x="f69" y="f1092"/>
                </a:lnTo>
                <a:close/>
                <a:moveTo>
                  <a:pt x="f70" y="f1091"/>
                </a:moveTo>
                <a:lnTo>
                  <a:pt x="f71" y="f1091"/>
                </a:lnTo>
                <a:lnTo>
                  <a:pt x="f72" y="f1092"/>
                </a:lnTo>
                <a:lnTo>
                  <a:pt x="f72" y="f1093"/>
                </a:lnTo>
                <a:lnTo>
                  <a:pt x="f71" y="f1094"/>
                </a:lnTo>
                <a:lnTo>
                  <a:pt x="f70" y="f1094"/>
                </a:lnTo>
                <a:lnTo>
                  <a:pt x="f73" y="f1093"/>
                </a:lnTo>
                <a:lnTo>
                  <a:pt x="f73" y="f1092"/>
                </a:lnTo>
                <a:close/>
                <a:moveTo>
                  <a:pt x="f74" y="f1091"/>
                </a:moveTo>
                <a:lnTo>
                  <a:pt x="f75" y="f1091"/>
                </a:lnTo>
                <a:lnTo>
                  <a:pt x="f76" y="f1092"/>
                </a:lnTo>
                <a:lnTo>
                  <a:pt x="f76" y="f1093"/>
                </a:lnTo>
                <a:lnTo>
                  <a:pt x="f75" y="f1094"/>
                </a:lnTo>
                <a:lnTo>
                  <a:pt x="f74" y="f1094"/>
                </a:lnTo>
                <a:lnTo>
                  <a:pt x="f77" y="f1093"/>
                </a:lnTo>
                <a:lnTo>
                  <a:pt x="f77" y="f1092"/>
                </a:lnTo>
                <a:close/>
                <a:moveTo>
                  <a:pt x="f78" y="f1091"/>
                </a:moveTo>
                <a:lnTo>
                  <a:pt x="f79" y="f1091"/>
                </a:lnTo>
                <a:lnTo>
                  <a:pt x="f80" y="f1092"/>
                </a:lnTo>
                <a:lnTo>
                  <a:pt x="f80" y="f1093"/>
                </a:lnTo>
                <a:lnTo>
                  <a:pt x="f79" y="f1094"/>
                </a:lnTo>
                <a:lnTo>
                  <a:pt x="f78" y="f1094"/>
                </a:lnTo>
                <a:lnTo>
                  <a:pt x="f81" y="f1093"/>
                </a:lnTo>
                <a:lnTo>
                  <a:pt x="f81" y="f1092"/>
                </a:lnTo>
                <a:close/>
                <a:moveTo>
                  <a:pt x="f1062" y="f1095"/>
                </a:moveTo>
                <a:lnTo>
                  <a:pt x="f1096" y="f1095"/>
                </a:lnTo>
                <a:lnTo>
                  <a:pt x="f1097" y="f1098"/>
                </a:lnTo>
                <a:lnTo>
                  <a:pt x="f1097" y="f1099"/>
                </a:lnTo>
                <a:lnTo>
                  <a:pt x="f1096" y="f1100"/>
                </a:lnTo>
                <a:lnTo>
                  <a:pt x="f1062" y="f1100"/>
                </a:lnTo>
                <a:lnTo>
                  <a:pt x="f1101" y="f1099"/>
                </a:lnTo>
                <a:lnTo>
                  <a:pt x="f1101" y="f1098"/>
                </a:lnTo>
                <a:close/>
                <a:moveTo>
                  <a:pt x="f1102" y="f1095"/>
                </a:moveTo>
                <a:lnTo>
                  <a:pt x="f1103" y="f1095"/>
                </a:lnTo>
                <a:lnTo>
                  <a:pt x="f1051" y="f1098"/>
                </a:lnTo>
                <a:lnTo>
                  <a:pt x="f1051" y="f1099"/>
                </a:lnTo>
                <a:lnTo>
                  <a:pt x="f1103" y="f1100"/>
                </a:lnTo>
                <a:lnTo>
                  <a:pt x="f1102" y="f1100"/>
                </a:lnTo>
                <a:lnTo>
                  <a:pt x="f1055" y="f1099"/>
                </a:lnTo>
                <a:lnTo>
                  <a:pt x="f1055" y="f1098"/>
                </a:lnTo>
                <a:close/>
                <a:moveTo>
                  <a:pt x="f1056" y="f1095"/>
                </a:moveTo>
                <a:lnTo>
                  <a:pt x="f1104" y="f1095"/>
                </a:lnTo>
                <a:lnTo>
                  <a:pt x="f1105" y="f1098"/>
                </a:lnTo>
                <a:lnTo>
                  <a:pt x="f1105" y="f1099"/>
                </a:lnTo>
                <a:lnTo>
                  <a:pt x="f1104" y="f1100"/>
                </a:lnTo>
                <a:lnTo>
                  <a:pt x="f1056" y="f1100"/>
                </a:lnTo>
                <a:lnTo>
                  <a:pt x="f1106" y="f1099"/>
                </a:lnTo>
                <a:lnTo>
                  <a:pt x="f1106" y="f1098"/>
                </a:lnTo>
                <a:close/>
                <a:moveTo>
                  <a:pt x="f1059" y="f1095"/>
                </a:moveTo>
                <a:lnTo>
                  <a:pt x="f1107" y="f1095"/>
                </a:lnTo>
                <a:lnTo>
                  <a:pt x="f1108" y="f1098"/>
                </a:lnTo>
                <a:lnTo>
                  <a:pt x="f1108" y="f1109"/>
                </a:lnTo>
                <a:lnTo>
                  <a:pt x="f1107" y="f1100"/>
                </a:lnTo>
                <a:lnTo>
                  <a:pt x="f1059" y="f1100"/>
                </a:lnTo>
                <a:lnTo>
                  <a:pt x="f1061" y="f1109"/>
                </a:lnTo>
                <a:lnTo>
                  <a:pt x="f1061" y="f1098"/>
                </a:lnTo>
                <a:close/>
                <a:moveTo>
                  <a:pt x="f42" y="f1110"/>
                </a:moveTo>
                <a:lnTo>
                  <a:pt x="f43" y="f1110"/>
                </a:lnTo>
                <a:lnTo>
                  <a:pt x="f44" y="f1111"/>
                </a:lnTo>
                <a:lnTo>
                  <a:pt x="f44" y="f1112"/>
                </a:lnTo>
                <a:lnTo>
                  <a:pt x="f43" y="f1113"/>
                </a:lnTo>
                <a:lnTo>
                  <a:pt x="f42" y="f1113"/>
                </a:lnTo>
                <a:lnTo>
                  <a:pt x="f45" y="f1112"/>
                </a:lnTo>
                <a:lnTo>
                  <a:pt x="f45" y="f1111"/>
                </a:lnTo>
                <a:close/>
                <a:moveTo>
                  <a:pt x="f46" y="f1110"/>
                </a:moveTo>
                <a:lnTo>
                  <a:pt x="f47" y="f1110"/>
                </a:lnTo>
                <a:lnTo>
                  <a:pt x="f48" y="f1111"/>
                </a:lnTo>
                <a:lnTo>
                  <a:pt x="f48" y="f1112"/>
                </a:lnTo>
                <a:lnTo>
                  <a:pt x="f47" y="f1113"/>
                </a:lnTo>
                <a:lnTo>
                  <a:pt x="f46" y="f1113"/>
                </a:lnTo>
                <a:lnTo>
                  <a:pt x="f49" y="f1112"/>
                </a:lnTo>
                <a:lnTo>
                  <a:pt x="f49" y="f1111"/>
                </a:lnTo>
                <a:close/>
                <a:moveTo>
                  <a:pt x="f50" y="f1110"/>
                </a:moveTo>
                <a:lnTo>
                  <a:pt x="f51" y="f1110"/>
                </a:lnTo>
                <a:lnTo>
                  <a:pt x="f52" y="f1111"/>
                </a:lnTo>
                <a:lnTo>
                  <a:pt x="f52" y="f1112"/>
                </a:lnTo>
                <a:lnTo>
                  <a:pt x="f51" y="f1113"/>
                </a:lnTo>
                <a:lnTo>
                  <a:pt x="f50" y="f1113"/>
                </a:lnTo>
                <a:lnTo>
                  <a:pt x="f53" y="f1112"/>
                </a:lnTo>
                <a:lnTo>
                  <a:pt x="f53" y="f1111"/>
                </a:lnTo>
                <a:close/>
                <a:moveTo>
                  <a:pt x="f54" y="f1110"/>
                </a:moveTo>
                <a:lnTo>
                  <a:pt x="f55" y="f1110"/>
                </a:lnTo>
                <a:lnTo>
                  <a:pt x="f56" y="f1111"/>
                </a:lnTo>
                <a:lnTo>
                  <a:pt x="f56" y="f1112"/>
                </a:lnTo>
                <a:lnTo>
                  <a:pt x="f55" y="f1113"/>
                </a:lnTo>
                <a:lnTo>
                  <a:pt x="f54" y="f1113"/>
                </a:lnTo>
                <a:lnTo>
                  <a:pt x="f57" y="f1112"/>
                </a:lnTo>
                <a:lnTo>
                  <a:pt x="f57" y="f1111"/>
                </a:lnTo>
                <a:close/>
                <a:moveTo>
                  <a:pt x="f58" y="f1110"/>
                </a:moveTo>
                <a:lnTo>
                  <a:pt x="f59" y="f1110"/>
                </a:lnTo>
                <a:lnTo>
                  <a:pt x="f60" y="f1111"/>
                </a:lnTo>
                <a:lnTo>
                  <a:pt x="f60" y="f1112"/>
                </a:lnTo>
                <a:lnTo>
                  <a:pt x="f59" y="f1113"/>
                </a:lnTo>
                <a:lnTo>
                  <a:pt x="f58" y="f1113"/>
                </a:lnTo>
                <a:lnTo>
                  <a:pt x="f61" y="f1112"/>
                </a:lnTo>
                <a:lnTo>
                  <a:pt x="f61" y="f1111"/>
                </a:lnTo>
                <a:close/>
                <a:moveTo>
                  <a:pt x="f896" y="f1114"/>
                </a:moveTo>
                <a:lnTo>
                  <a:pt x="f825" y="f1114"/>
                </a:lnTo>
                <a:lnTo>
                  <a:pt x="f1115" y="f1116"/>
                </a:lnTo>
                <a:lnTo>
                  <a:pt x="f1115" y="f1112"/>
                </a:lnTo>
                <a:lnTo>
                  <a:pt x="f825" y="f1113"/>
                </a:lnTo>
                <a:lnTo>
                  <a:pt x="f896" y="f1113"/>
                </a:lnTo>
                <a:lnTo>
                  <a:pt x="f1068" y="f1112"/>
                </a:lnTo>
                <a:lnTo>
                  <a:pt x="f1068" y="f1116"/>
                </a:lnTo>
                <a:close/>
                <a:moveTo>
                  <a:pt x="f974" y="f1117"/>
                </a:moveTo>
                <a:lnTo>
                  <a:pt x="f976" y="f1117"/>
                </a:lnTo>
                <a:lnTo>
                  <a:pt x="f830" y="f1118"/>
                </a:lnTo>
                <a:lnTo>
                  <a:pt x="f830" y="f1119"/>
                </a:lnTo>
                <a:lnTo>
                  <a:pt x="f976" y="f1120"/>
                </a:lnTo>
                <a:lnTo>
                  <a:pt x="f974" y="f1120"/>
                </a:lnTo>
                <a:lnTo>
                  <a:pt x="f1121" y="f1119"/>
                </a:lnTo>
                <a:lnTo>
                  <a:pt x="f1121" y="f1118"/>
                </a:lnTo>
                <a:close/>
                <a:moveTo>
                  <a:pt x="f35" y="f1122"/>
                </a:moveTo>
                <a:lnTo>
                  <a:pt x="f37" y="f1122"/>
                </a:lnTo>
                <a:lnTo>
                  <a:pt x="f6" y="f1123"/>
                </a:lnTo>
                <a:lnTo>
                  <a:pt x="f6" y="f1124"/>
                </a:lnTo>
                <a:lnTo>
                  <a:pt x="f37" y="f1125"/>
                </a:lnTo>
                <a:lnTo>
                  <a:pt x="f35" y="f1125"/>
                </a:lnTo>
                <a:lnTo>
                  <a:pt x="f41" y="f1124"/>
                </a:lnTo>
                <a:lnTo>
                  <a:pt x="f41" y="f1123"/>
                </a:lnTo>
                <a:close/>
                <a:moveTo>
                  <a:pt x="f1038" y="f1126"/>
                </a:moveTo>
                <a:lnTo>
                  <a:pt x="f1040" y="f1126"/>
                </a:lnTo>
                <a:lnTo>
                  <a:pt x="f1041" y="f1127"/>
                </a:lnTo>
                <a:lnTo>
                  <a:pt x="f1041" y="f507"/>
                </a:lnTo>
                <a:lnTo>
                  <a:pt x="f1040" y="f1128"/>
                </a:lnTo>
                <a:lnTo>
                  <a:pt x="f1038" y="f1128"/>
                </a:lnTo>
                <a:lnTo>
                  <a:pt x="f1129" y="f507"/>
                </a:lnTo>
                <a:lnTo>
                  <a:pt x="f1129" y="f1127"/>
                </a:lnTo>
                <a:close/>
                <a:moveTo>
                  <a:pt x="f1130" y="f1126"/>
                </a:moveTo>
                <a:lnTo>
                  <a:pt x="f1044" y="f1126"/>
                </a:lnTo>
                <a:lnTo>
                  <a:pt x="f1045" y="f1127"/>
                </a:lnTo>
                <a:lnTo>
                  <a:pt x="f1045" y="f507"/>
                </a:lnTo>
                <a:lnTo>
                  <a:pt x="f1044" y="f1128"/>
                </a:lnTo>
                <a:lnTo>
                  <a:pt x="f1130" y="f1128"/>
                </a:lnTo>
                <a:lnTo>
                  <a:pt x="f1131" y="f507"/>
                </a:lnTo>
                <a:lnTo>
                  <a:pt x="f1131" y="f1127"/>
                </a:lnTo>
                <a:close/>
                <a:moveTo>
                  <a:pt x="f1132" y="f1126"/>
                </a:moveTo>
                <a:lnTo>
                  <a:pt x="f1133" y="f1126"/>
                </a:lnTo>
                <a:lnTo>
                  <a:pt x="f1048" y="f1127"/>
                </a:lnTo>
                <a:lnTo>
                  <a:pt x="f1048" y="f507"/>
                </a:lnTo>
                <a:lnTo>
                  <a:pt x="f1133" y="f1128"/>
                </a:lnTo>
                <a:lnTo>
                  <a:pt x="f1132" y="f1128"/>
                </a:lnTo>
                <a:lnTo>
                  <a:pt x="f1134" y="f507"/>
                </a:lnTo>
                <a:lnTo>
                  <a:pt x="f1134" y="f1127"/>
                </a:lnTo>
                <a:close/>
                <a:moveTo>
                  <a:pt x="f1135" y="f1126"/>
                </a:moveTo>
                <a:lnTo>
                  <a:pt x="f1136" y="f1126"/>
                </a:lnTo>
                <a:lnTo>
                  <a:pt x="f1137" y="f1127"/>
                </a:lnTo>
                <a:lnTo>
                  <a:pt x="f1137" y="f537"/>
                </a:lnTo>
                <a:lnTo>
                  <a:pt x="f1136" y="f1128"/>
                </a:lnTo>
                <a:lnTo>
                  <a:pt x="f1135" y="f1128"/>
                </a:lnTo>
                <a:lnTo>
                  <a:pt x="f1037" y="f537"/>
                </a:lnTo>
                <a:lnTo>
                  <a:pt x="f1037" y="f1127"/>
                </a:lnTo>
                <a:close/>
                <a:moveTo>
                  <a:pt x="f142" y="f1138"/>
                </a:moveTo>
                <a:lnTo>
                  <a:pt x="f143" y="f1138"/>
                </a:lnTo>
                <a:lnTo>
                  <a:pt x="f144" y="f1139"/>
                </a:lnTo>
                <a:lnTo>
                  <a:pt x="f144" y="f1140"/>
                </a:lnTo>
                <a:lnTo>
                  <a:pt x="f143" y="f1141"/>
                </a:lnTo>
                <a:lnTo>
                  <a:pt x="f142" y="f1141"/>
                </a:lnTo>
                <a:lnTo>
                  <a:pt x="f145" y="f1140"/>
                </a:lnTo>
                <a:lnTo>
                  <a:pt x="f145" y="f1139"/>
                </a:lnTo>
                <a:close/>
                <a:moveTo>
                  <a:pt x="f146" y="f1138"/>
                </a:moveTo>
                <a:lnTo>
                  <a:pt x="f147" y="f1138"/>
                </a:lnTo>
                <a:lnTo>
                  <a:pt x="f148" y="f1139"/>
                </a:lnTo>
                <a:lnTo>
                  <a:pt x="f148" y="f1142"/>
                </a:lnTo>
                <a:lnTo>
                  <a:pt x="f147" y="f1141"/>
                </a:lnTo>
                <a:lnTo>
                  <a:pt x="f146" y="f1141"/>
                </a:lnTo>
                <a:lnTo>
                  <a:pt x="f149" y="f1142"/>
                </a:lnTo>
                <a:lnTo>
                  <a:pt x="f149" y="f1139"/>
                </a:lnTo>
                <a:close/>
                <a:moveTo>
                  <a:pt x="f150" y="f1138"/>
                </a:moveTo>
                <a:lnTo>
                  <a:pt x="f151" y="f1138"/>
                </a:lnTo>
                <a:lnTo>
                  <a:pt x="f152" y="f1139"/>
                </a:lnTo>
                <a:lnTo>
                  <a:pt x="f152" y="f1142"/>
                </a:lnTo>
                <a:lnTo>
                  <a:pt x="f151" y="f1141"/>
                </a:lnTo>
                <a:lnTo>
                  <a:pt x="f150" y="f1141"/>
                </a:lnTo>
                <a:lnTo>
                  <a:pt x="f153" y="f1142"/>
                </a:lnTo>
                <a:lnTo>
                  <a:pt x="f153" y="f1139"/>
                </a:lnTo>
                <a:close/>
                <a:moveTo>
                  <a:pt x="f154" y="f1138"/>
                </a:moveTo>
                <a:lnTo>
                  <a:pt x="f155" y="f1138"/>
                </a:lnTo>
                <a:lnTo>
                  <a:pt x="f156" y="f1139"/>
                </a:lnTo>
                <a:lnTo>
                  <a:pt x="f156" y="f1142"/>
                </a:lnTo>
                <a:lnTo>
                  <a:pt x="f155" y="f1143"/>
                </a:lnTo>
                <a:lnTo>
                  <a:pt x="f154" y="f1143"/>
                </a:lnTo>
                <a:lnTo>
                  <a:pt x="f157" y="f1142"/>
                </a:lnTo>
                <a:lnTo>
                  <a:pt x="f157" y="f1139"/>
                </a:lnTo>
                <a:close/>
                <a:moveTo>
                  <a:pt x="f158" y="f1138"/>
                </a:moveTo>
                <a:lnTo>
                  <a:pt x="f159" y="f1138"/>
                </a:lnTo>
                <a:lnTo>
                  <a:pt x="f160" y="f1139"/>
                </a:lnTo>
                <a:lnTo>
                  <a:pt x="f160" y="f1142"/>
                </a:lnTo>
                <a:lnTo>
                  <a:pt x="f159" y="f1143"/>
                </a:lnTo>
                <a:lnTo>
                  <a:pt x="f158" y="f1143"/>
                </a:lnTo>
                <a:lnTo>
                  <a:pt x="f161" y="f1142"/>
                </a:lnTo>
                <a:lnTo>
                  <a:pt x="f161" y="f1139"/>
                </a:lnTo>
                <a:close/>
                <a:moveTo>
                  <a:pt x="f122" y="f1144"/>
                </a:moveTo>
                <a:lnTo>
                  <a:pt x="f123" y="f1144"/>
                </a:lnTo>
                <a:lnTo>
                  <a:pt x="f124" y="f1145"/>
                </a:lnTo>
                <a:lnTo>
                  <a:pt x="f124" y="f1146"/>
                </a:lnTo>
                <a:lnTo>
                  <a:pt x="f123" y="f1147"/>
                </a:lnTo>
                <a:lnTo>
                  <a:pt x="f122" y="f1147"/>
                </a:lnTo>
                <a:lnTo>
                  <a:pt x="f125" y="f1146"/>
                </a:lnTo>
                <a:lnTo>
                  <a:pt x="f125" y="f1145"/>
                </a:lnTo>
                <a:close/>
                <a:moveTo>
                  <a:pt x="f126" y="f1144"/>
                </a:moveTo>
                <a:lnTo>
                  <a:pt x="f127" y="f1144"/>
                </a:lnTo>
                <a:lnTo>
                  <a:pt x="f128" y="f1145"/>
                </a:lnTo>
                <a:lnTo>
                  <a:pt x="f128" y="f1148"/>
                </a:lnTo>
                <a:lnTo>
                  <a:pt x="f127" y="f1147"/>
                </a:lnTo>
                <a:lnTo>
                  <a:pt x="f126" y="f1147"/>
                </a:lnTo>
                <a:lnTo>
                  <a:pt x="f129" y="f1148"/>
                </a:lnTo>
                <a:lnTo>
                  <a:pt x="f129" y="f1145"/>
                </a:lnTo>
                <a:close/>
                <a:moveTo>
                  <a:pt x="f130" y="f1144"/>
                </a:moveTo>
                <a:lnTo>
                  <a:pt x="f131" y="f1144"/>
                </a:lnTo>
                <a:lnTo>
                  <a:pt x="f132" y="f1145"/>
                </a:lnTo>
                <a:lnTo>
                  <a:pt x="f132" y="f1148"/>
                </a:lnTo>
                <a:lnTo>
                  <a:pt x="f131" y="f1147"/>
                </a:lnTo>
                <a:lnTo>
                  <a:pt x="f130" y="f1147"/>
                </a:lnTo>
                <a:lnTo>
                  <a:pt x="f133" y="f1148"/>
                </a:lnTo>
                <a:lnTo>
                  <a:pt x="f133" y="f1145"/>
                </a:lnTo>
                <a:close/>
                <a:moveTo>
                  <a:pt x="f134" y="f1144"/>
                </a:moveTo>
                <a:lnTo>
                  <a:pt x="f135" y="f1144"/>
                </a:lnTo>
                <a:lnTo>
                  <a:pt x="f136" y="f1145"/>
                </a:lnTo>
                <a:lnTo>
                  <a:pt x="f136" y="f1148"/>
                </a:lnTo>
                <a:lnTo>
                  <a:pt x="f135" y="f1147"/>
                </a:lnTo>
                <a:lnTo>
                  <a:pt x="f134" y="f1147"/>
                </a:lnTo>
                <a:lnTo>
                  <a:pt x="f137" y="f1148"/>
                </a:lnTo>
                <a:lnTo>
                  <a:pt x="f137" y="f1145"/>
                </a:lnTo>
                <a:close/>
                <a:moveTo>
                  <a:pt x="f138" y="f1144"/>
                </a:moveTo>
                <a:lnTo>
                  <a:pt x="f139" y="f1144"/>
                </a:lnTo>
                <a:lnTo>
                  <a:pt x="f140" y="f1145"/>
                </a:lnTo>
                <a:lnTo>
                  <a:pt x="f140" y="f1148"/>
                </a:lnTo>
                <a:lnTo>
                  <a:pt x="f139" y="f1147"/>
                </a:lnTo>
                <a:lnTo>
                  <a:pt x="f138" y="f1147"/>
                </a:lnTo>
                <a:lnTo>
                  <a:pt x="f141" y="f1148"/>
                </a:lnTo>
                <a:lnTo>
                  <a:pt x="f141" y="f1145"/>
                </a:lnTo>
                <a:close/>
                <a:moveTo>
                  <a:pt x="f102" y="f1149"/>
                </a:moveTo>
                <a:lnTo>
                  <a:pt x="f103" y="f1149"/>
                </a:lnTo>
                <a:lnTo>
                  <a:pt x="f104" y="f1150"/>
                </a:lnTo>
                <a:lnTo>
                  <a:pt x="f104" y="f1151"/>
                </a:lnTo>
                <a:lnTo>
                  <a:pt x="f103" y="f1152"/>
                </a:lnTo>
                <a:lnTo>
                  <a:pt x="f102" y="f1152"/>
                </a:lnTo>
                <a:lnTo>
                  <a:pt x="f105" y="f1151"/>
                </a:lnTo>
                <a:lnTo>
                  <a:pt x="f105" y="f1150"/>
                </a:lnTo>
                <a:close/>
                <a:moveTo>
                  <a:pt x="f106" y="f1149"/>
                </a:moveTo>
                <a:lnTo>
                  <a:pt x="f107" y="f1149"/>
                </a:lnTo>
                <a:lnTo>
                  <a:pt x="f108" y="f1150"/>
                </a:lnTo>
                <a:lnTo>
                  <a:pt x="f108" y="f1151"/>
                </a:lnTo>
                <a:lnTo>
                  <a:pt x="f107" y="f1152"/>
                </a:lnTo>
                <a:lnTo>
                  <a:pt x="f106" y="f1152"/>
                </a:lnTo>
                <a:lnTo>
                  <a:pt x="f109" y="f1151"/>
                </a:lnTo>
                <a:lnTo>
                  <a:pt x="f109" y="f1150"/>
                </a:lnTo>
                <a:close/>
                <a:moveTo>
                  <a:pt x="f110" y="f1149"/>
                </a:moveTo>
                <a:lnTo>
                  <a:pt x="f111" y="f1149"/>
                </a:lnTo>
                <a:lnTo>
                  <a:pt x="f112" y="f1150"/>
                </a:lnTo>
                <a:lnTo>
                  <a:pt x="f112" y="f1151"/>
                </a:lnTo>
                <a:lnTo>
                  <a:pt x="f111" y="f1152"/>
                </a:lnTo>
                <a:lnTo>
                  <a:pt x="f110" y="f1152"/>
                </a:lnTo>
                <a:lnTo>
                  <a:pt x="f113" y="f1151"/>
                </a:lnTo>
                <a:lnTo>
                  <a:pt x="f113" y="f1150"/>
                </a:lnTo>
                <a:close/>
                <a:moveTo>
                  <a:pt x="f114" y="f1149"/>
                </a:moveTo>
                <a:lnTo>
                  <a:pt x="f115" y="f1149"/>
                </a:lnTo>
                <a:lnTo>
                  <a:pt x="f116" y="f1150"/>
                </a:lnTo>
                <a:lnTo>
                  <a:pt x="f116" y="f1151"/>
                </a:lnTo>
                <a:lnTo>
                  <a:pt x="f115" y="f1152"/>
                </a:lnTo>
                <a:lnTo>
                  <a:pt x="f114" y="f1152"/>
                </a:lnTo>
                <a:lnTo>
                  <a:pt x="f117" y="f1151"/>
                </a:lnTo>
                <a:lnTo>
                  <a:pt x="f117" y="f1150"/>
                </a:lnTo>
                <a:close/>
                <a:moveTo>
                  <a:pt x="f118" y="f1149"/>
                </a:moveTo>
                <a:lnTo>
                  <a:pt x="f119" y="f1149"/>
                </a:lnTo>
                <a:lnTo>
                  <a:pt x="f120" y="f1150"/>
                </a:lnTo>
                <a:lnTo>
                  <a:pt x="f120" y="f1151"/>
                </a:lnTo>
                <a:lnTo>
                  <a:pt x="f119" y="f1152"/>
                </a:lnTo>
                <a:lnTo>
                  <a:pt x="f118" y="f1152"/>
                </a:lnTo>
                <a:lnTo>
                  <a:pt x="f121" y="f1151"/>
                </a:lnTo>
                <a:lnTo>
                  <a:pt x="f121" y="f1150"/>
                </a:lnTo>
                <a:close/>
                <a:moveTo>
                  <a:pt x="f82" y="f1153"/>
                </a:moveTo>
                <a:lnTo>
                  <a:pt x="f83" y="f1153"/>
                </a:lnTo>
                <a:lnTo>
                  <a:pt x="f84" y="f1154"/>
                </a:lnTo>
                <a:lnTo>
                  <a:pt x="f84" y="f1155"/>
                </a:lnTo>
                <a:lnTo>
                  <a:pt x="f83" y="f1156"/>
                </a:lnTo>
                <a:lnTo>
                  <a:pt x="f82" y="f1156"/>
                </a:lnTo>
                <a:lnTo>
                  <a:pt x="f85" y="f1155"/>
                </a:lnTo>
                <a:lnTo>
                  <a:pt x="f85" y="f1154"/>
                </a:lnTo>
                <a:close/>
                <a:moveTo>
                  <a:pt x="f86" y="f1153"/>
                </a:moveTo>
                <a:lnTo>
                  <a:pt x="f87" y="f1153"/>
                </a:lnTo>
                <a:lnTo>
                  <a:pt x="f88" y="f1154"/>
                </a:lnTo>
                <a:lnTo>
                  <a:pt x="f88" y="f1157"/>
                </a:lnTo>
                <a:lnTo>
                  <a:pt x="f87" y="f1156"/>
                </a:lnTo>
                <a:lnTo>
                  <a:pt x="f86" y="f1156"/>
                </a:lnTo>
                <a:lnTo>
                  <a:pt x="f89" y="f1157"/>
                </a:lnTo>
                <a:lnTo>
                  <a:pt x="f89" y="f1154"/>
                </a:lnTo>
                <a:close/>
                <a:moveTo>
                  <a:pt x="f90" y="f1153"/>
                </a:moveTo>
                <a:lnTo>
                  <a:pt x="f91" y="f1153"/>
                </a:lnTo>
                <a:lnTo>
                  <a:pt x="f92" y="f1154"/>
                </a:lnTo>
                <a:lnTo>
                  <a:pt x="f92" y="f1157"/>
                </a:lnTo>
                <a:lnTo>
                  <a:pt x="f91" y="f1156"/>
                </a:lnTo>
                <a:lnTo>
                  <a:pt x="f90" y="f1156"/>
                </a:lnTo>
                <a:lnTo>
                  <a:pt x="f93" y="f1157"/>
                </a:lnTo>
                <a:lnTo>
                  <a:pt x="f93" y="f1154"/>
                </a:lnTo>
                <a:close/>
                <a:moveTo>
                  <a:pt x="f94" y="f1153"/>
                </a:moveTo>
                <a:lnTo>
                  <a:pt x="f95" y="f1153"/>
                </a:lnTo>
                <a:lnTo>
                  <a:pt x="f96" y="f1154"/>
                </a:lnTo>
                <a:lnTo>
                  <a:pt x="f96" y="f1157"/>
                </a:lnTo>
                <a:lnTo>
                  <a:pt x="f95" y="f1158"/>
                </a:lnTo>
                <a:lnTo>
                  <a:pt x="f94" y="f1158"/>
                </a:lnTo>
                <a:lnTo>
                  <a:pt x="f97" y="f1157"/>
                </a:lnTo>
                <a:lnTo>
                  <a:pt x="f97" y="f1154"/>
                </a:lnTo>
                <a:close/>
                <a:moveTo>
                  <a:pt x="f98" y="f1153"/>
                </a:moveTo>
                <a:lnTo>
                  <a:pt x="f99" y="f1153"/>
                </a:lnTo>
                <a:lnTo>
                  <a:pt x="f100" y="f1154"/>
                </a:lnTo>
                <a:lnTo>
                  <a:pt x="f100" y="f1157"/>
                </a:lnTo>
                <a:lnTo>
                  <a:pt x="f99" y="f1158"/>
                </a:lnTo>
                <a:lnTo>
                  <a:pt x="f98" y="f1158"/>
                </a:lnTo>
                <a:lnTo>
                  <a:pt x="f101" y="f1157"/>
                </a:lnTo>
                <a:lnTo>
                  <a:pt x="f101" y="f1154"/>
                </a:lnTo>
                <a:close/>
                <a:moveTo>
                  <a:pt x="f62" y="f1159"/>
                </a:moveTo>
                <a:lnTo>
                  <a:pt x="f63" y="f1159"/>
                </a:lnTo>
                <a:lnTo>
                  <a:pt x="f64" y="f1160"/>
                </a:lnTo>
                <a:lnTo>
                  <a:pt x="f64" y="f1161"/>
                </a:lnTo>
                <a:lnTo>
                  <a:pt x="f63" y="f1162"/>
                </a:lnTo>
                <a:lnTo>
                  <a:pt x="f62" y="f1162"/>
                </a:lnTo>
                <a:lnTo>
                  <a:pt x="f65" y="f1161"/>
                </a:lnTo>
                <a:lnTo>
                  <a:pt x="f65" y="f1160"/>
                </a:lnTo>
                <a:close/>
                <a:moveTo>
                  <a:pt x="f66" y="f1159"/>
                </a:moveTo>
                <a:lnTo>
                  <a:pt x="f67" y="f1159"/>
                </a:lnTo>
                <a:lnTo>
                  <a:pt x="f68" y="f1163"/>
                </a:lnTo>
                <a:lnTo>
                  <a:pt x="f68" y="f1161"/>
                </a:lnTo>
                <a:lnTo>
                  <a:pt x="f67" y="f1162"/>
                </a:lnTo>
                <a:lnTo>
                  <a:pt x="f66" y="f1162"/>
                </a:lnTo>
                <a:lnTo>
                  <a:pt x="f69" y="f1161"/>
                </a:lnTo>
                <a:lnTo>
                  <a:pt x="f69" y="f1163"/>
                </a:lnTo>
                <a:close/>
                <a:moveTo>
                  <a:pt x="f70" y="f1159"/>
                </a:moveTo>
                <a:lnTo>
                  <a:pt x="f71" y="f1159"/>
                </a:lnTo>
                <a:lnTo>
                  <a:pt x="f72" y="f1163"/>
                </a:lnTo>
                <a:lnTo>
                  <a:pt x="f72" y="f1161"/>
                </a:lnTo>
                <a:lnTo>
                  <a:pt x="f71" y="f1162"/>
                </a:lnTo>
                <a:lnTo>
                  <a:pt x="f70" y="f1162"/>
                </a:lnTo>
                <a:lnTo>
                  <a:pt x="f73" y="f1161"/>
                </a:lnTo>
                <a:lnTo>
                  <a:pt x="f73" y="f1163"/>
                </a:lnTo>
                <a:close/>
                <a:moveTo>
                  <a:pt x="f74" y="f1159"/>
                </a:moveTo>
                <a:lnTo>
                  <a:pt x="f75" y="f1159"/>
                </a:lnTo>
                <a:lnTo>
                  <a:pt x="f76" y="f1163"/>
                </a:lnTo>
                <a:lnTo>
                  <a:pt x="f76" y="f1161"/>
                </a:lnTo>
                <a:lnTo>
                  <a:pt x="f75" y="f1162"/>
                </a:lnTo>
                <a:lnTo>
                  <a:pt x="f74" y="f1162"/>
                </a:lnTo>
                <a:lnTo>
                  <a:pt x="f77" y="f1161"/>
                </a:lnTo>
                <a:lnTo>
                  <a:pt x="f77" y="f1163"/>
                </a:lnTo>
                <a:close/>
                <a:moveTo>
                  <a:pt x="f78" y="f1159"/>
                </a:moveTo>
                <a:lnTo>
                  <a:pt x="f79" y="f1159"/>
                </a:lnTo>
                <a:lnTo>
                  <a:pt x="f80" y="f1163"/>
                </a:lnTo>
                <a:lnTo>
                  <a:pt x="f80" y="f1161"/>
                </a:lnTo>
                <a:lnTo>
                  <a:pt x="f79" y="f1162"/>
                </a:lnTo>
                <a:lnTo>
                  <a:pt x="f78" y="f1162"/>
                </a:lnTo>
                <a:lnTo>
                  <a:pt x="f81" y="f1161"/>
                </a:lnTo>
                <a:lnTo>
                  <a:pt x="f81" y="f1163"/>
                </a:lnTo>
                <a:close/>
                <a:moveTo>
                  <a:pt x="f1164" y="f1165"/>
                </a:moveTo>
                <a:lnTo>
                  <a:pt x="f1107" y="f1165"/>
                </a:lnTo>
                <a:lnTo>
                  <a:pt x="f1166" y="f1167"/>
                </a:lnTo>
                <a:lnTo>
                  <a:pt x="f1166" y="f1168"/>
                </a:lnTo>
                <a:lnTo>
                  <a:pt x="f1107" y="f1169"/>
                </a:lnTo>
                <a:lnTo>
                  <a:pt x="f1164" y="f1169"/>
                </a:lnTo>
                <a:lnTo>
                  <a:pt x="f1170" y="f1168"/>
                </a:lnTo>
                <a:lnTo>
                  <a:pt x="f1170" y="f1167"/>
                </a:lnTo>
                <a:close/>
                <a:moveTo>
                  <a:pt x="f1171" y="f1172"/>
                </a:moveTo>
                <a:lnTo>
                  <a:pt x="f1096" y="f1172"/>
                </a:lnTo>
                <a:lnTo>
                  <a:pt x="f1173" y="f1167"/>
                </a:lnTo>
                <a:lnTo>
                  <a:pt x="f1173" y="f1168"/>
                </a:lnTo>
                <a:lnTo>
                  <a:pt x="f1096" y="f1174"/>
                </a:lnTo>
                <a:lnTo>
                  <a:pt x="f1171" y="f1174"/>
                </a:lnTo>
                <a:lnTo>
                  <a:pt x="f1175" y="f1168"/>
                </a:lnTo>
                <a:lnTo>
                  <a:pt x="f1175" y="f1167"/>
                </a:lnTo>
                <a:close/>
                <a:moveTo>
                  <a:pt x="f1102" y="f1172"/>
                </a:moveTo>
                <a:lnTo>
                  <a:pt x="f1103" y="f1172"/>
                </a:lnTo>
                <a:lnTo>
                  <a:pt x="f1176" y="f1167"/>
                </a:lnTo>
                <a:lnTo>
                  <a:pt x="f1176" y="f1168"/>
                </a:lnTo>
                <a:lnTo>
                  <a:pt x="f1103" y="f1174"/>
                </a:lnTo>
                <a:lnTo>
                  <a:pt x="f1102" y="f1174"/>
                </a:lnTo>
                <a:lnTo>
                  <a:pt x="f981" y="f1168"/>
                </a:lnTo>
                <a:lnTo>
                  <a:pt x="f981" y="f1167"/>
                </a:lnTo>
                <a:close/>
                <a:moveTo>
                  <a:pt x="f1177" y="f1172"/>
                </a:moveTo>
                <a:lnTo>
                  <a:pt x="f1104" y="f1172"/>
                </a:lnTo>
                <a:lnTo>
                  <a:pt x="f1105" y="f1167"/>
                </a:lnTo>
                <a:lnTo>
                  <a:pt x="f1105" y="f1168"/>
                </a:lnTo>
                <a:lnTo>
                  <a:pt x="f1104" y="f1174"/>
                </a:lnTo>
                <a:lnTo>
                  <a:pt x="f1177" y="f1174"/>
                </a:lnTo>
                <a:lnTo>
                  <a:pt x="f1106" y="f1168"/>
                </a:lnTo>
                <a:lnTo>
                  <a:pt x="f1106" y="f1167"/>
                </a:lnTo>
                <a:close/>
                <a:moveTo>
                  <a:pt x="f42" y="f1178"/>
                </a:moveTo>
                <a:lnTo>
                  <a:pt x="f43" y="f1178"/>
                </a:lnTo>
                <a:lnTo>
                  <a:pt x="f44" y="f1179"/>
                </a:lnTo>
                <a:lnTo>
                  <a:pt x="f44" y="f1180"/>
                </a:lnTo>
                <a:lnTo>
                  <a:pt x="f43" y="f1181"/>
                </a:lnTo>
                <a:lnTo>
                  <a:pt x="f42" y="f1181"/>
                </a:lnTo>
                <a:lnTo>
                  <a:pt x="f45" y="f1180"/>
                </a:lnTo>
                <a:lnTo>
                  <a:pt x="f45" y="f1179"/>
                </a:lnTo>
                <a:close/>
                <a:moveTo>
                  <a:pt x="f46" y="f1178"/>
                </a:moveTo>
                <a:lnTo>
                  <a:pt x="f47" y="f1178"/>
                </a:lnTo>
                <a:lnTo>
                  <a:pt x="f48" y="f1179"/>
                </a:lnTo>
                <a:lnTo>
                  <a:pt x="f48" y="f1180"/>
                </a:lnTo>
                <a:lnTo>
                  <a:pt x="f47" y="f1181"/>
                </a:lnTo>
                <a:lnTo>
                  <a:pt x="f46" y="f1181"/>
                </a:lnTo>
                <a:lnTo>
                  <a:pt x="f49" y="f1180"/>
                </a:lnTo>
                <a:lnTo>
                  <a:pt x="f49" y="f1179"/>
                </a:lnTo>
                <a:close/>
                <a:moveTo>
                  <a:pt x="f50" y="f1178"/>
                </a:moveTo>
                <a:lnTo>
                  <a:pt x="f51" y="f1178"/>
                </a:lnTo>
                <a:lnTo>
                  <a:pt x="f52" y="f1179"/>
                </a:lnTo>
                <a:lnTo>
                  <a:pt x="f52" y="f1180"/>
                </a:lnTo>
                <a:lnTo>
                  <a:pt x="f51" y="f1181"/>
                </a:lnTo>
                <a:lnTo>
                  <a:pt x="f50" y="f1181"/>
                </a:lnTo>
                <a:lnTo>
                  <a:pt x="f53" y="f1180"/>
                </a:lnTo>
                <a:lnTo>
                  <a:pt x="f53" y="f1179"/>
                </a:lnTo>
                <a:close/>
                <a:moveTo>
                  <a:pt x="f54" y="f1178"/>
                </a:moveTo>
                <a:lnTo>
                  <a:pt x="f55" y="f1178"/>
                </a:lnTo>
                <a:lnTo>
                  <a:pt x="f56" y="f1179"/>
                </a:lnTo>
                <a:lnTo>
                  <a:pt x="f56" y="f1180"/>
                </a:lnTo>
                <a:lnTo>
                  <a:pt x="f55" y="f1181"/>
                </a:lnTo>
                <a:lnTo>
                  <a:pt x="f54" y="f1181"/>
                </a:lnTo>
                <a:lnTo>
                  <a:pt x="f57" y="f1180"/>
                </a:lnTo>
                <a:lnTo>
                  <a:pt x="f57" y="f1179"/>
                </a:lnTo>
                <a:close/>
                <a:moveTo>
                  <a:pt x="f58" y="f1178"/>
                </a:moveTo>
                <a:lnTo>
                  <a:pt x="f59" y="f1178"/>
                </a:lnTo>
                <a:lnTo>
                  <a:pt x="f60" y="f1179"/>
                </a:lnTo>
                <a:lnTo>
                  <a:pt x="f60" y="f1180"/>
                </a:lnTo>
                <a:lnTo>
                  <a:pt x="f59" y="f1181"/>
                </a:lnTo>
                <a:lnTo>
                  <a:pt x="f58" y="f1181"/>
                </a:lnTo>
                <a:lnTo>
                  <a:pt x="f61" y="f1180"/>
                </a:lnTo>
                <a:lnTo>
                  <a:pt x="f61" y="f1179"/>
                </a:lnTo>
                <a:close/>
                <a:moveTo>
                  <a:pt x="f896" y="f1182"/>
                </a:moveTo>
                <a:lnTo>
                  <a:pt x="f825" y="f1182"/>
                </a:lnTo>
                <a:lnTo>
                  <a:pt x="f1115" y="f1183"/>
                </a:lnTo>
                <a:lnTo>
                  <a:pt x="f1115" y="f598"/>
                </a:lnTo>
                <a:lnTo>
                  <a:pt x="f825" y="f1184"/>
                </a:lnTo>
                <a:lnTo>
                  <a:pt x="f896" y="f1184"/>
                </a:lnTo>
                <a:lnTo>
                  <a:pt x="f1068" y="f598"/>
                </a:lnTo>
                <a:lnTo>
                  <a:pt x="f1068" y="f1183"/>
                </a:lnTo>
                <a:close/>
                <a:moveTo>
                  <a:pt x="f974" y="f1185"/>
                </a:moveTo>
                <a:lnTo>
                  <a:pt x="f976" y="f1185"/>
                </a:lnTo>
                <a:lnTo>
                  <a:pt x="f1186" y="f1187"/>
                </a:lnTo>
                <a:lnTo>
                  <a:pt x="f1186" y="f513"/>
                </a:lnTo>
                <a:lnTo>
                  <a:pt x="f976" y="f1188"/>
                </a:lnTo>
                <a:lnTo>
                  <a:pt x="f974" y="f1188"/>
                </a:lnTo>
                <a:lnTo>
                  <a:pt x="f1121" y="f513"/>
                </a:lnTo>
                <a:lnTo>
                  <a:pt x="f1121" y="f1187"/>
                </a:lnTo>
                <a:close/>
                <a:moveTo>
                  <a:pt x="f35" y="f1189"/>
                </a:moveTo>
                <a:lnTo>
                  <a:pt x="f37" y="f1189"/>
                </a:lnTo>
                <a:lnTo>
                  <a:pt x="f6" y="f1190"/>
                </a:lnTo>
                <a:lnTo>
                  <a:pt x="f6" y="f1191"/>
                </a:lnTo>
                <a:lnTo>
                  <a:pt x="f37" y="f1192"/>
                </a:lnTo>
                <a:lnTo>
                  <a:pt x="f35" y="f1192"/>
                </a:lnTo>
                <a:lnTo>
                  <a:pt x="f41" y="f1191"/>
                </a:lnTo>
                <a:lnTo>
                  <a:pt x="f41" y="f1190"/>
                </a:lnTo>
                <a:close/>
                <a:moveTo>
                  <a:pt x="f1132" y="f165"/>
                </a:moveTo>
                <a:lnTo>
                  <a:pt x="f1193" y="f165"/>
                </a:lnTo>
                <a:lnTo>
                  <a:pt x="f1194" y="f1195"/>
                </a:lnTo>
                <a:lnTo>
                  <a:pt x="f1194" y="f1196"/>
                </a:lnTo>
                <a:lnTo>
                  <a:pt x="f1193" y="f1197"/>
                </a:lnTo>
                <a:lnTo>
                  <a:pt x="f1132" y="f1197"/>
                </a:lnTo>
                <a:lnTo>
                  <a:pt x="f1134" y="f1196"/>
                </a:lnTo>
                <a:lnTo>
                  <a:pt x="f1134" y="f1195"/>
                </a:lnTo>
                <a:close/>
                <a:moveTo>
                  <a:pt x="f1135" y="f165"/>
                </a:moveTo>
                <a:lnTo>
                  <a:pt x="f1198" y="f165"/>
                </a:lnTo>
                <a:lnTo>
                  <a:pt x="f1137" y="f1199"/>
                </a:lnTo>
                <a:lnTo>
                  <a:pt x="f1137" y="f1200"/>
                </a:lnTo>
                <a:lnTo>
                  <a:pt x="f1198" y="f1197"/>
                </a:lnTo>
                <a:lnTo>
                  <a:pt x="f1135" y="f1197"/>
                </a:lnTo>
                <a:lnTo>
                  <a:pt x="f1201" y="f1200"/>
                </a:lnTo>
                <a:lnTo>
                  <a:pt x="f1201" y="f1199"/>
                </a:lnTo>
                <a:close/>
                <a:moveTo>
                  <a:pt x="f1202" y="f165"/>
                </a:moveTo>
                <a:lnTo>
                  <a:pt x="f1203" y="f165"/>
                </a:lnTo>
                <a:lnTo>
                  <a:pt x="f1204" y="f1195"/>
                </a:lnTo>
                <a:lnTo>
                  <a:pt x="f1204" y="f1196"/>
                </a:lnTo>
                <a:lnTo>
                  <a:pt x="f1203" y="f1197"/>
                </a:lnTo>
                <a:lnTo>
                  <a:pt x="f1202" y="f1197"/>
                </a:lnTo>
                <a:lnTo>
                  <a:pt x="f1129" y="f1196"/>
                </a:lnTo>
                <a:lnTo>
                  <a:pt x="f1129" y="f1195"/>
                </a:lnTo>
                <a:close/>
                <a:moveTo>
                  <a:pt x="f1205" y="f165"/>
                </a:moveTo>
                <a:lnTo>
                  <a:pt x="f1206" y="f165"/>
                </a:lnTo>
                <a:lnTo>
                  <a:pt x="f1207" y="f1195"/>
                </a:lnTo>
                <a:lnTo>
                  <a:pt x="f1207" y="f1196"/>
                </a:lnTo>
                <a:lnTo>
                  <a:pt x="f1206" y="f1197"/>
                </a:lnTo>
                <a:lnTo>
                  <a:pt x="f1205" y="f1197"/>
                </a:lnTo>
                <a:lnTo>
                  <a:pt x="f1131" y="f1196"/>
                </a:lnTo>
                <a:lnTo>
                  <a:pt x="f1131" y="f1195"/>
                </a:lnTo>
                <a:close/>
                <a:moveTo>
                  <a:pt x="f142" y="f1208"/>
                </a:moveTo>
                <a:lnTo>
                  <a:pt x="f143" y="f1208"/>
                </a:lnTo>
                <a:lnTo>
                  <a:pt x="f144" y="f1209"/>
                </a:lnTo>
                <a:lnTo>
                  <a:pt x="f144" y="f1210"/>
                </a:lnTo>
                <a:lnTo>
                  <a:pt x="f143" y="f1211"/>
                </a:lnTo>
                <a:lnTo>
                  <a:pt x="f142" y="f1211"/>
                </a:lnTo>
                <a:lnTo>
                  <a:pt x="f145" y="f1210"/>
                </a:lnTo>
                <a:lnTo>
                  <a:pt x="f145" y="f1209"/>
                </a:lnTo>
                <a:close/>
                <a:moveTo>
                  <a:pt x="f146" y="f1208"/>
                </a:moveTo>
                <a:lnTo>
                  <a:pt x="f147" y="f1208"/>
                </a:lnTo>
                <a:lnTo>
                  <a:pt x="f148" y="f1209"/>
                </a:lnTo>
                <a:lnTo>
                  <a:pt x="f148" y="f1210"/>
                </a:lnTo>
                <a:lnTo>
                  <a:pt x="f147" y="f1211"/>
                </a:lnTo>
                <a:lnTo>
                  <a:pt x="f146" y="f1211"/>
                </a:lnTo>
                <a:lnTo>
                  <a:pt x="f149" y="f1210"/>
                </a:lnTo>
                <a:lnTo>
                  <a:pt x="f149" y="f1209"/>
                </a:lnTo>
                <a:close/>
                <a:moveTo>
                  <a:pt x="f150" y="f1208"/>
                </a:moveTo>
                <a:lnTo>
                  <a:pt x="f151" y="f1208"/>
                </a:lnTo>
                <a:lnTo>
                  <a:pt x="f152" y="f1209"/>
                </a:lnTo>
                <a:lnTo>
                  <a:pt x="f152" y="f1210"/>
                </a:lnTo>
                <a:lnTo>
                  <a:pt x="f151" y="f1211"/>
                </a:lnTo>
                <a:lnTo>
                  <a:pt x="f150" y="f1211"/>
                </a:lnTo>
                <a:lnTo>
                  <a:pt x="f153" y="f1210"/>
                </a:lnTo>
                <a:lnTo>
                  <a:pt x="f153" y="f1209"/>
                </a:lnTo>
                <a:close/>
                <a:moveTo>
                  <a:pt x="f154" y="f1208"/>
                </a:moveTo>
                <a:lnTo>
                  <a:pt x="f155" y="f1208"/>
                </a:lnTo>
                <a:lnTo>
                  <a:pt x="f156" y="f1209"/>
                </a:lnTo>
                <a:lnTo>
                  <a:pt x="f156" y="f1210"/>
                </a:lnTo>
                <a:lnTo>
                  <a:pt x="f155" y="f1211"/>
                </a:lnTo>
                <a:lnTo>
                  <a:pt x="f154" y="f1211"/>
                </a:lnTo>
                <a:lnTo>
                  <a:pt x="f157" y="f1210"/>
                </a:lnTo>
                <a:lnTo>
                  <a:pt x="f157" y="f1209"/>
                </a:lnTo>
                <a:close/>
                <a:moveTo>
                  <a:pt x="f158" y="f1208"/>
                </a:moveTo>
                <a:lnTo>
                  <a:pt x="f159" y="f1208"/>
                </a:lnTo>
                <a:lnTo>
                  <a:pt x="f160" y="f1209"/>
                </a:lnTo>
                <a:lnTo>
                  <a:pt x="f160" y="f1210"/>
                </a:lnTo>
                <a:lnTo>
                  <a:pt x="f159" y="f1211"/>
                </a:lnTo>
                <a:lnTo>
                  <a:pt x="f158" y="f1211"/>
                </a:lnTo>
                <a:lnTo>
                  <a:pt x="f161" y="f1210"/>
                </a:lnTo>
                <a:lnTo>
                  <a:pt x="f161" y="f1209"/>
                </a:lnTo>
                <a:close/>
                <a:moveTo>
                  <a:pt x="f122" y="f1212"/>
                </a:moveTo>
                <a:lnTo>
                  <a:pt x="f123" y="f1212"/>
                </a:lnTo>
                <a:lnTo>
                  <a:pt x="f124" y="f1213"/>
                </a:lnTo>
                <a:lnTo>
                  <a:pt x="f124" y="f1214"/>
                </a:lnTo>
                <a:lnTo>
                  <a:pt x="f123" y="f1215"/>
                </a:lnTo>
                <a:lnTo>
                  <a:pt x="f122" y="f1215"/>
                </a:lnTo>
                <a:lnTo>
                  <a:pt x="f125" y="f1214"/>
                </a:lnTo>
                <a:lnTo>
                  <a:pt x="f125" y="f1213"/>
                </a:lnTo>
                <a:close/>
                <a:moveTo>
                  <a:pt x="f126" y="f1212"/>
                </a:moveTo>
                <a:lnTo>
                  <a:pt x="f127" y="f1212"/>
                </a:lnTo>
                <a:lnTo>
                  <a:pt x="f128" y="f1213"/>
                </a:lnTo>
                <a:lnTo>
                  <a:pt x="f128" y="f1214"/>
                </a:lnTo>
                <a:lnTo>
                  <a:pt x="f127" y="f1215"/>
                </a:lnTo>
                <a:lnTo>
                  <a:pt x="f126" y="f1215"/>
                </a:lnTo>
                <a:lnTo>
                  <a:pt x="f129" y="f1214"/>
                </a:lnTo>
                <a:lnTo>
                  <a:pt x="f129" y="f1213"/>
                </a:lnTo>
                <a:close/>
                <a:moveTo>
                  <a:pt x="f130" y="f1212"/>
                </a:moveTo>
                <a:lnTo>
                  <a:pt x="f131" y="f1212"/>
                </a:lnTo>
                <a:lnTo>
                  <a:pt x="f132" y="f1213"/>
                </a:lnTo>
                <a:lnTo>
                  <a:pt x="f132" y="f1214"/>
                </a:lnTo>
                <a:lnTo>
                  <a:pt x="f131" y="f1215"/>
                </a:lnTo>
                <a:lnTo>
                  <a:pt x="f130" y="f1215"/>
                </a:lnTo>
                <a:lnTo>
                  <a:pt x="f133" y="f1214"/>
                </a:lnTo>
                <a:lnTo>
                  <a:pt x="f133" y="f1213"/>
                </a:lnTo>
                <a:close/>
                <a:moveTo>
                  <a:pt x="f134" y="f1212"/>
                </a:moveTo>
                <a:lnTo>
                  <a:pt x="f135" y="f1212"/>
                </a:lnTo>
                <a:lnTo>
                  <a:pt x="f136" y="f1213"/>
                </a:lnTo>
                <a:lnTo>
                  <a:pt x="f136" y="f1214"/>
                </a:lnTo>
                <a:lnTo>
                  <a:pt x="f135" y="f1215"/>
                </a:lnTo>
                <a:lnTo>
                  <a:pt x="f134" y="f1215"/>
                </a:lnTo>
                <a:lnTo>
                  <a:pt x="f137" y="f1214"/>
                </a:lnTo>
                <a:lnTo>
                  <a:pt x="f137" y="f1213"/>
                </a:lnTo>
                <a:close/>
                <a:moveTo>
                  <a:pt x="f138" y="f1212"/>
                </a:moveTo>
                <a:lnTo>
                  <a:pt x="f139" y="f1212"/>
                </a:lnTo>
                <a:lnTo>
                  <a:pt x="f140" y="f1213"/>
                </a:lnTo>
                <a:lnTo>
                  <a:pt x="f140" y="f1214"/>
                </a:lnTo>
                <a:lnTo>
                  <a:pt x="f139" y="f1215"/>
                </a:lnTo>
                <a:lnTo>
                  <a:pt x="f138" y="f1215"/>
                </a:lnTo>
                <a:lnTo>
                  <a:pt x="f141" y="f1214"/>
                </a:lnTo>
                <a:lnTo>
                  <a:pt x="f141" y="f1213"/>
                </a:lnTo>
                <a:close/>
                <a:moveTo>
                  <a:pt x="f102" y="f1216"/>
                </a:moveTo>
                <a:lnTo>
                  <a:pt x="f103" y="f1216"/>
                </a:lnTo>
                <a:lnTo>
                  <a:pt x="f104" y="f1217"/>
                </a:lnTo>
                <a:lnTo>
                  <a:pt x="f104" y="f1218"/>
                </a:lnTo>
                <a:lnTo>
                  <a:pt x="f103" y="f1219"/>
                </a:lnTo>
                <a:lnTo>
                  <a:pt x="f102" y="f1219"/>
                </a:lnTo>
                <a:lnTo>
                  <a:pt x="f105" y="f1218"/>
                </a:lnTo>
                <a:lnTo>
                  <a:pt x="f105" y="f1217"/>
                </a:lnTo>
                <a:close/>
                <a:moveTo>
                  <a:pt x="f106" y="f1216"/>
                </a:moveTo>
                <a:lnTo>
                  <a:pt x="f107" y="f1216"/>
                </a:lnTo>
                <a:lnTo>
                  <a:pt x="f108" y="f1217"/>
                </a:lnTo>
                <a:lnTo>
                  <a:pt x="f108" y="f1218"/>
                </a:lnTo>
                <a:lnTo>
                  <a:pt x="f107" y="f1219"/>
                </a:lnTo>
                <a:lnTo>
                  <a:pt x="f106" y="f1219"/>
                </a:lnTo>
                <a:lnTo>
                  <a:pt x="f109" y="f1218"/>
                </a:lnTo>
                <a:lnTo>
                  <a:pt x="f109" y="f1217"/>
                </a:lnTo>
                <a:close/>
                <a:moveTo>
                  <a:pt x="f110" y="f1216"/>
                </a:moveTo>
                <a:lnTo>
                  <a:pt x="f111" y="f1216"/>
                </a:lnTo>
                <a:lnTo>
                  <a:pt x="f112" y="f1217"/>
                </a:lnTo>
                <a:lnTo>
                  <a:pt x="f112" y="f1218"/>
                </a:lnTo>
                <a:lnTo>
                  <a:pt x="f111" y="f1219"/>
                </a:lnTo>
                <a:lnTo>
                  <a:pt x="f110" y="f1219"/>
                </a:lnTo>
                <a:lnTo>
                  <a:pt x="f113" y="f1218"/>
                </a:lnTo>
                <a:lnTo>
                  <a:pt x="f113" y="f1217"/>
                </a:lnTo>
                <a:close/>
                <a:moveTo>
                  <a:pt x="f114" y="f1216"/>
                </a:moveTo>
                <a:lnTo>
                  <a:pt x="f115" y="f1216"/>
                </a:lnTo>
                <a:lnTo>
                  <a:pt x="f116" y="f1217"/>
                </a:lnTo>
                <a:lnTo>
                  <a:pt x="f116" y="f1218"/>
                </a:lnTo>
                <a:lnTo>
                  <a:pt x="f115" y="f1219"/>
                </a:lnTo>
                <a:lnTo>
                  <a:pt x="f114" y="f1219"/>
                </a:lnTo>
                <a:lnTo>
                  <a:pt x="f117" y="f1218"/>
                </a:lnTo>
                <a:lnTo>
                  <a:pt x="f117" y="f1217"/>
                </a:lnTo>
                <a:close/>
                <a:moveTo>
                  <a:pt x="f118" y="f1216"/>
                </a:moveTo>
                <a:lnTo>
                  <a:pt x="f119" y="f1216"/>
                </a:lnTo>
                <a:lnTo>
                  <a:pt x="f120" y="f1217"/>
                </a:lnTo>
                <a:lnTo>
                  <a:pt x="f120" y="f1218"/>
                </a:lnTo>
                <a:lnTo>
                  <a:pt x="f119" y="f1219"/>
                </a:lnTo>
                <a:lnTo>
                  <a:pt x="f118" y="f1219"/>
                </a:lnTo>
                <a:lnTo>
                  <a:pt x="f121" y="f1218"/>
                </a:lnTo>
                <a:lnTo>
                  <a:pt x="f121" y="f1217"/>
                </a:lnTo>
                <a:close/>
                <a:moveTo>
                  <a:pt x="f82" y="f1220"/>
                </a:moveTo>
                <a:lnTo>
                  <a:pt x="f83" y="f1220"/>
                </a:lnTo>
                <a:lnTo>
                  <a:pt x="f84" y="f1221"/>
                </a:lnTo>
                <a:lnTo>
                  <a:pt x="f84" y="f1222"/>
                </a:lnTo>
                <a:lnTo>
                  <a:pt x="f83" y="f1223"/>
                </a:lnTo>
                <a:lnTo>
                  <a:pt x="f82" y="f1223"/>
                </a:lnTo>
                <a:lnTo>
                  <a:pt x="f85" y="f1222"/>
                </a:lnTo>
                <a:lnTo>
                  <a:pt x="f85" y="f1221"/>
                </a:lnTo>
                <a:close/>
                <a:moveTo>
                  <a:pt x="f86" y="f1220"/>
                </a:moveTo>
                <a:lnTo>
                  <a:pt x="f87" y="f1220"/>
                </a:lnTo>
                <a:lnTo>
                  <a:pt x="f88" y="f1221"/>
                </a:lnTo>
                <a:lnTo>
                  <a:pt x="f88" y="f1222"/>
                </a:lnTo>
                <a:lnTo>
                  <a:pt x="f87" y="f1223"/>
                </a:lnTo>
                <a:lnTo>
                  <a:pt x="f86" y="f1223"/>
                </a:lnTo>
                <a:lnTo>
                  <a:pt x="f89" y="f1222"/>
                </a:lnTo>
                <a:lnTo>
                  <a:pt x="f89" y="f1221"/>
                </a:lnTo>
                <a:close/>
                <a:moveTo>
                  <a:pt x="f90" y="f1220"/>
                </a:moveTo>
                <a:lnTo>
                  <a:pt x="f91" y="f1220"/>
                </a:lnTo>
                <a:lnTo>
                  <a:pt x="f92" y="f1221"/>
                </a:lnTo>
                <a:lnTo>
                  <a:pt x="f92" y="f1222"/>
                </a:lnTo>
                <a:lnTo>
                  <a:pt x="f91" y="f1223"/>
                </a:lnTo>
                <a:lnTo>
                  <a:pt x="f90" y="f1223"/>
                </a:lnTo>
                <a:lnTo>
                  <a:pt x="f93" y="f1222"/>
                </a:lnTo>
                <a:lnTo>
                  <a:pt x="f93" y="f1221"/>
                </a:lnTo>
                <a:close/>
                <a:moveTo>
                  <a:pt x="f94" y="f1220"/>
                </a:moveTo>
                <a:lnTo>
                  <a:pt x="f95" y="f1220"/>
                </a:lnTo>
                <a:lnTo>
                  <a:pt x="f96" y="f1221"/>
                </a:lnTo>
                <a:lnTo>
                  <a:pt x="f96" y="f1222"/>
                </a:lnTo>
                <a:lnTo>
                  <a:pt x="f95" y="f1223"/>
                </a:lnTo>
                <a:lnTo>
                  <a:pt x="f94" y="f1223"/>
                </a:lnTo>
                <a:lnTo>
                  <a:pt x="f97" y="f1222"/>
                </a:lnTo>
                <a:lnTo>
                  <a:pt x="f97" y="f1221"/>
                </a:lnTo>
                <a:close/>
                <a:moveTo>
                  <a:pt x="f98" y="f1220"/>
                </a:moveTo>
                <a:lnTo>
                  <a:pt x="f99" y="f1220"/>
                </a:lnTo>
                <a:lnTo>
                  <a:pt x="f100" y="f1221"/>
                </a:lnTo>
                <a:lnTo>
                  <a:pt x="f100" y="f1222"/>
                </a:lnTo>
                <a:lnTo>
                  <a:pt x="f99" y="f1223"/>
                </a:lnTo>
                <a:lnTo>
                  <a:pt x="f98" y="f1223"/>
                </a:lnTo>
                <a:lnTo>
                  <a:pt x="f101" y="f1222"/>
                </a:lnTo>
                <a:lnTo>
                  <a:pt x="f101" y="f1221"/>
                </a:lnTo>
                <a:close/>
                <a:moveTo>
                  <a:pt x="f66" y="f1224"/>
                </a:moveTo>
                <a:lnTo>
                  <a:pt x="f67" y="f1224"/>
                </a:lnTo>
                <a:lnTo>
                  <a:pt x="f68" y="f1225"/>
                </a:lnTo>
                <a:lnTo>
                  <a:pt x="f68" y="f1226"/>
                </a:lnTo>
                <a:lnTo>
                  <a:pt x="f67" y="f1227"/>
                </a:lnTo>
                <a:lnTo>
                  <a:pt x="f66" y="f1227"/>
                </a:lnTo>
                <a:lnTo>
                  <a:pt x="f69" y="f1226"/>
                </a:lnTo>
                <a:lnTo>
                  <a:pt x="f69" y="f1225"/>
                </a:lnTo>
                <a:close/>
                <a:moveTo>
                  <a:pt x="f70" y="f1224"/>
                </a:moveTo>
                <a:lnTo>
                  <a:pt x="f71" y="f1224"/>
                </a:lnTo>
                <a:lnTo>
                  <a:pt x="f72" y="f1225"/>
                </a:lnTo>
                <a:lnTo>
                  <a:pt x="f72" y="f1226"/>
                </a:lnTo>
                <a:lnTo>
                  <a:pt x="f71" y="f1228"/>
                </a:lnTo>
                <a:lnTo>
                  <a:pt x="f70" y="f1228"/>
                </a:lnTo>
                <a:lnTo>
                  <a:pt x="f73" y="f1226"/>
                </a:lnTo>
                <a:lnTo>
                  <a:pt x="f73" y="f1225"/>
                </a:lnTo>
                <a:close/>
                <a:moveTo>
                  <a:pt x="f74" y="f1224"/>
                </a:moveTo>
                <a:lnTo>
                  <a:pt x="f75" y="f1224"/>
                </a:lnTo>
                <a:lnTo>
                  <a:pt x="f76" y="f1225"/>
                </a:lnTo>
                <a:lnTo>
                  <a:pt x="f76" y="f1226"/>
                </a:lnTo>
                <a:lnTo>
                  <a:pt x="f75" y="f1228"/>
                </a:lnTo>
                <a:lnTo>
                  <a:pt x="f74" y="f1228"/>
                </a:lnTo>
                <a:lnTo>
                  <a:pt x="f77" y="f1226"/>
                </a:lnTo>
                <a:lnTo>
                  <a:pt x="f77" y="f1225"/>
                </a:lnTo>
                <a:close/>
                <a:moveTo>
                  <a:pt x="f78" y="f1224"/>
                </a:moveTo>
                <a:lnTo>
                  <a:pt x="f79" y="f1224"/>
                </a:lnTo>
                <a:lnTo>
                  <a:pt x="f80" y="f1225"/>
                </a:lnTo>
                <a:lnTo>
                  <a:pt x="f80" y="f1226"/>
                </a:lnTo>
                <a:lnTo>
                  <a:pt x="f79" y="f1228"/>
                </a:lnTo>
                <a:lnTo>
                  <a:pt x="f78" y="f1228"/>
                </a:lnTo>
                <a:lnTo>
                  <a:pt x="f81" y="f1226"/>
                </a:lnTo>
                <a:lnTo>
                  <a:pt x="f81" y="f1225"/>
                </a:lnTo>
                <a:close/>
                <a:moveTo>
                  <a:pt x="f62" y="f1229"/>
                </a:moveTo>
                <a:lnTo>
                  <a:pt x="f63" y="f1229"/>
                </a:lnTo>
                <a:lnTo>
                  <a:pt x="f64" y="f1225"/>
                </a:lnTo>
                <a:lnTo>
                  <a:pt x="f64" y="f1226"/>
                </a:lnTo>
                <a:lnTo>
                  <a:pt x="f63" y="f1227"/>
                </a:lnTo>
                <a:lnTo>
                  <a:pt x="f62" y="f1227"/>
                </a:lnTo>
                <a:lnTo>
                  <a:pt x="f65" y="f1226"/>
                </a:lnTo>
                <a:lnTo>
                  <a:pt x="f65" y="f1225"/>
                </a:lnTo>
                <a:close/>
                <a:moveTo>
                  <a:pt x="f46" y="f1230"/>
                </a:moveTo>
                <a:lnTo>
                  <a:pt x="f47" y="f1230"/>
                </a:lnTo>
                <a:lnTo>
                  <a:pt x="f48" y="f1231"/>
                </a:lnTo>
                <a:lnTo>
                  <a:pt x="f48" y="f1232"/>
                </a:lnTo>
                <a:lnTo>
                  <a:pt x="f47" y="f1233"/>
                </a:lnTo>
                <a:lnTo>
                  <a:pt x="f46" y="f1233"/>
                </a:lnTo>
                <a:lnTo>
                  <a:pt x="f49" y="f1232"/>
                </a:lnTo>
                <a:lnTo>
                  <a:pt x="f49" y="f1231"/>
                </a:lnTo>
                <a:close/>
                <a:moveTo>
                  <a:pt x="f50" y="f1230"/>
                </a:moveTo>
                <a:lnTo>
                  <a:pt x="f51" y="f1230"/>
                </a:lnTo>
                <a:lnTo>
                  <a:pt x="f52" y="f1231"/>
                </a:lnTo>
                <a:lnTo>
                  <a:pt x="f52" y="f1232"/>
                </a:lnTo>
                <a:lnTo>
                  <a:pt x="f51" y="f1234"/>
                </a:lnTo>
                <a:lnTo>
                  <a:pt x="f50" y="f1234"/>
                </a:lnTo>
                <a:lnTo>
                  <a:pt x="f53" y="f1232"/>
                </a:lnTo>
                <a:lnTo>
                  <a:pt x="f53" y="f1231"/>
                </a:lnTo>
                <a:close/>
                <a:moveTo>
                  <a:pt x="f54" y="f1230"/>
                </a:moveTo>
                <a:lnTo>
                  <a:pt x="f55" y="f1230"/>
                </a:lnTo>
                <a:lnTo>
                  <a:pt x="f56" y="f1235"/>
                </a:lnTo>
                <a:lnTo>
                  <a:pt x="f56" y="f1232"/>
                </a:lnTo>
                <a:lnTo>
                  <a:pt x="f55" y="f1234"/>
                </a:lnTo>
                <a:lnTo>
                  <a:pt x="f54" y="f1234"/>
                </a:lnTo>
                <a:lnTo>
                  <a:pt x="f57" y="f1232"/>
                </a:lnTo>
                <a:lnTo>
                  <a:pt x="f57" y="f1235"/>
                </a:lnTo>
                <a:close/>
                <a:moveTo>
                  <a:pt x="f58" y="f1230"/>
                </a:moveTo>
                <a:lnTo>
                  <a:pt x="f59" y="f1230"/>
                </a:lnTo>
                <a:lnTo>
                  <a:pt x="f60" y="f1235"/>
                </a:lnTo>
                <a:lnTo>
                  <a:pt x="f60" y="f1232"/>
                </a:lnTo>
                <a:lnTo>
                  <a:pt x="f59" y="f1234"/>
                </a:lnTo>
                <a:lnTo>
                  <a:pt x="f58" y="f1234"/>
                </a:lnTo>
                <a:lnTo>
                  <a:pt x="f61" y="f1232"/>
                </a:lnTo>
                <a:lnTo>
                  <a:pt x="f61" y="f1235"/>
                </a:lnTo>
                <a:close/>
                <a:moveTo>
                  <a:pt x="f42" y="f1236"/>
                </a:moveTo>
                <a:lnTo>
                  <a:pt x="f43" y="f1236"/>
                </a:lnTo>
                <a:lnTo>
                  <a:pt x="f44" y="f1231"/>
                </a:lnTo>
                <a:lnTo>
                  <a:pt x="f44" y="f1232"/>
                </a:lnTo>
                <a:lnTo>
                  <a:pt x="f43" y="f1233"/>
                </a:lnTo>
                <a:lnTo>
                  <a:pt x="f42" y="f1233"/>
                </a:lnTo>
                <a:lnTo>
                  <a:pt x="f45" y="f1232"/>
                </a:lnTo>
                <a:lnTo>
                  <a:pt x="f45" y="f1231"/>
                </a:lnTo>
                <a:close/>
                <a:moveTo>
                  <a:pt x="f35" y="f1237"/>
                </a:moveTo>
                <a:lnTo>
                  <a:pt x="f37" y="f1237"/>
                </a:lnTo>
                <a:lnTo>
                  <a:pt x="f6" y="f1238"/>
                </a:lnTo>
                <a:lnTo>
                  <a:pt x="f6" y="f1239"/>
                </a:lnTo>
                <a:lnTo>
                  <a:pt x="f37" y="f1240"/>
                </a:lnTo>
                <a:lnTo>
                  <a:pt x="f35" y="f1240"/>
                </a:lnTo>
                <a:lnTo>
                  <a:pt x="f41" y="f1239"/>
                </a:lnTo>
                <a:lnTo>
                  <a:pt x="f41" y="f1238"/>
                </a:lnTo>
                <a:close/>
                <a:moveTo>
                  <a:pt x="f1241" y="f1242"/>
                </a:moveTo>
                <a:lnTo>
                  <a:pt x="f1243" y="f1242"/>
                </a:lnTo>
                <a:lnTo>
                  <a:pt x="f1244" y="f1245"/>
                </a:lnTo>
                <a:lnTo>
                  <a:pt x="f1244" y="f743"/>
                </a:lnTo>
                <a:lnTo>
                  <a:pt x="f1243" y="f1246"/>
                </a:lnTo>
                <a:lnTo>
                  <a:pt x="f1241" y="f1246"/>
                </a:lnTo>
                <a:lnTo>
                  <a:pt x="f1247" y="f743"/>
                </a:lnTo>
                <a:lnTo>
                  <a:pt x="f1247" y="f1245"/>
                </a:lnTo>
                <a:close/>
                <a:moveTo>
                  <a:pt x="f1248" y="f1242"/>
                </a:moveTo>
                <a:lnTo>
                  <a:pt x="f1249" y="f1242"/>
                </a:lnTo>
                <a:lnTo>
                  <a:pt x="f1207" y="f1245"/>
                </a:lnTo>
                <a:lnTo>
                  <a:pt x="f1207" y="f743"/>
                </a:lnTo>
                <a:lnTo>
                  <a:pt x="f1249" y="f1246"/>
                </a:lnTo>
                <a:lnTo>
                  <a:pt x="f1248" y="f1246"/>
                </a:lnTo>
                <a:lnTo>
                  <a:pt x="f1250" y="f743"/>
                </a:lnTo>
                <a:lnTo>
                  <a:pt x="f1250" y="f1245"/>
                </a:lnTo>
                <a:close/>
                <a:moveTo>
                  <a:pt x="f1251" y="f1242"/>
                </a:moveTo>
                <a:lnTo>
                  <a:pt x="f1193" y="f1242"/>
                </a:lnTo>
                <a:lnTo>
                  <a:pt x="f1194" y="f1245"/>
                </a:lnTo>
                <a:lnTo>
                  <a:pt x="f1194" y="f743"/>
                </a:lnTo>
                <a:lnTo>
                  <a:pt x="f1193" y="f1246"/>
                </a:lnTo>
                <a:lnTo>
                  <a:pt x="f1251" y="f1246"/>
                </a:lnTo>
                <a:lnTo>
                  <a:pt x="f1252" y="f743"/>
                </a:lnTo>
                <a:lnTo>
                  <a:pt x="f1252" y="f1245"/>
                </a:lnTo>
                <a:close/>
                <a:moveTo>
                  <a:pt x="f1253" y="f1242"/>
                </a:moveTo>
                <a:lnTo>
                  <a:pt x="f1198" y="f1242"/>
                </a:lnTo>
                <a:lnTo>
                  <a:pt x="f1254" y="f1245"/>
                </a:lnTo>
                <a:lnTo>
                  <a:pt x="f1254" y="f743"/>
                </a:lnTo>
                <a:lnTo>
                  <a:pt x="f1198" y="f1246"/>
                </a:lnTo>
                <a:lnTo>
                  <a:pt x="f1253" y="f1246"/>
                </a:lnTo>
                <a:lnTo>
                  <a:pt x="f1255" y="f743"/>
                </a:lnTo>
                <a:lnTo>
                  <a:pt x="f1255" y="f1245"/>
                </a:lnTo>
                <a:close/>
                <a:moveTo>
                  <a:pt x="f1256" y="f1257"/>
                </a:moveTo>
                <a:lnTo>
                  <a:pt x="f1258" y="f1257"/>
                </a:lnTo>
                <a:lnTo>
                  <a:pt x="f1173" y="f1259"/>
                </a:lnTo>
                <a:lnTo>
                  <a:pt x="f1173" y="f287"/>
                </a:lnTo>
                <a:lnTo>
                  <a:pt x="f1258" y="f1260"/>
                </a:lnTo>
                <a:lnTo>
                  <a:pt x="f1256" y="f1260"/>
                </a:lnTo>
                <a:lnTo>
                  <a:pt x="f1175" y="f287"/>
                </a:lnTo>
                <a:lnTo>
                  <a:pt x="f1175" y="f1259"/>
                </a:lnTo>
                <a:close/>
                <a:moveTo>
                  <a:pt x="f1261" y="f1257"/>
                </a:moveTo>
                <a:lnTo>
                  <a:pt x="f1262" y="f1257"/>
                </a:lnTo>
                <a:lnTo>
                  <a:pt x="f1176" y="f1259"/>
                </a:lnTo>
                <a:lnTo>
                  <a:pt x="f1176" y="f287"/>
                </a:lnTo>
                <a:lnTo>
                  <a:pt x="f1262" y="f1260"/>
                </a:lnTo>
                <a:lnTo>
                  <a:pt x="f1261" y="f1260"/>
                </a:lnTo>
                <a:lnTo>
                  <a:pt x="f981" y="f287"/>
                </a:lnTo>
                <a:lnTo>
                  <a:pt x="f981" y="f1259"/>
                </a:lnTo>
                <a:close/>
                <a:moveTo>
                  <a:pt x="f1177" y="f1257"/>
                </a:moveTo>
                <a:lnTo>
                  <a:pt x="f1263" y="f1257"/>
                </a:lnTo>
                <a:lnTo>
                  <a:pt x="f1264" y="f1265"/>
                </a:lnTo>
                <a:lnTo>
                  <a:pt x="f1264" y="f287"/>
                </a:lnTo>
                <a:lnTo>
                  <a:pt x="f1263" y="f1260"/>
                </a:lnTo>
                <a:lnTo>
                  <a:pt x="f1177" y="f1260"/>
                </a:lnTo>
                <a:lnTo>
                  <a:pt x="f1266" y="f287"/>
                </a:lnTo>
                <a:lnTo>
                  <a:pt x="f1266" y="f1265"/>
                </a:lnTo>
                <a:close/>
                <a:moveTo>
                  <a:pt x="f1267" y="f1257"/>
                </a:moveTo>
                <a:lnTo>
                  <a:pt x="f1268" y="f1257"/>
                </a:lnTo>
                <a:lnTo>
                  <a:pt x="f1166" y="f1265"/>
                </a:lnTo>
                <a:lnTo>
                  <a:pt x="f1166" y="f287"/>
                </a:lnTo>
                <a:lnTo>
                  <a:pt x="f1268" y="f1260"/>
                </a:lnTo>
                <a:lnTo>
                  <a:pt x="f1267" y="f1260"/>
                </a:lnTo>
                <a:lnTo>
                  <a:pt x="f1170" y="f287"/>
                </a:lnTo>
                <a:lnTo>
                  <a:pt x="f1170" y="f1265"/>
                </a:lnTo>
                <a:close/>
                <a:moveTo>
                  <a:pt x="f1269" y="f916"/>
                </a:moveTo>
                <a:lnTo>
                  <a:pt x="f1270" y="f916"/>
                </a:lnTo>
                <a:lnTo>
                  <a:pt x="f1115" y="f1271"/>
                </a:lnTo>
                <a:lnTo>
                  <a:pt x="f1115" y="f1272"/>
                </a:lnTo>
                <a:lnTo>
                  <a:pt x="f1270" y="f809"/>
                </a:lnTo>
                <a:lnTo>
                  <a:pt x="f1269" y="f809"/>
                </a:lnTo>
                <a:lnTo>
                  <a:pt x="f1068" y="f1272"/>
                </a:lnTo>
                <a:lnTo>
                  <a:pt x="f1068" y="f1271"/>
                </a:lnTo>
                <a:close/>
                <a:moveTo>
                  <a:pt x="f974" y="f629"/>
                </a:moveTo>
                <a:lnTo>
                  <a:pt x="f1273" y="f629"/>
                </a:lnTo>
                <a:lnTo>
                  <a:pt x="f1186" y="f1274"/>
                </a:lnTo>
                <a:lnTo>
                  <a:pt x="f1186" y="f1275"/>
                </a:lnTo>
                <a:lnTo>
                  <a:pt x="f1273" y="f1276"/>
                </a:lnTo>
                <a:lnTo>
                  <a:pt x="f974" y="f1276"/>
                </a:lnTo>
                <a:lnTo>
                  <a:pt x="f1121" y="f1275"/>
                </a:lnTo>
                <a:lnTo>
                  <a:pt x="f1121" y="f1274"/>
                </a:lnTo>
                <a:close/>
                <a:moveTo>
                  <a:pt x="f154" y="f1277"/>
                </a:moveTo>
                <a:lnTo>
                  <a:pt x="f155" y="f1277"/>
                </a:lnTo>
                <a:lnTo>
                  <a:pt x="f156" y="f1278"/>
                </a:lnTo>
                <a:lnTo>
                  <a:pt x="f156" y="f1279"/>
                </a:lnTo>
                <a:lnTo>
                  <a:pt x="f155" y="f1280"/>
                </a:lnTo>
                <a:lnTo>
                  <a:pt x="f154" y="f1280"/>
                </a:lnTo>
                <a:lnTo>
                  <a:pt x="f157" y="f1279"/>
                </a:lnTo>
                <a:lnTo>
                  <a:pt x="f157" y="f1278"/>
                </a:lnTo>
                <a:close/>
                <a:moveTo>
                  <a:pt x="f158" y="f1277"/>
                </a:moveTo>
                <a:lnTo>
                  <a:pt x="f159" y="f1277"/>
                </a:lnTo>
                <a:lnTo>
                  <a:pt x="f160" y="f1278"/>
                </a:lnTo>
                <a:lnTo>
                  <a:pt x="f160" y="f1279"/>
                </a:lnTo>
                <a:lnTo>
                  <a:pt x="f159" y="f1280"/>
                </a:lnTo>
                <a:lnTo>
                  <a:pt x="f158" y="f1280"/>
                </a:lnTo>
                <a:lnTo>
                  <a:pt x="f161" y="f1279"/>
                </a:lnTo>
                <a:lnTo>
                  <a:pt x="f161" y="f1278"/>
                </a:lnTo>
                <a:close/>
                <a:moveTo>
                  <a:pt x="f142" y="f1277"/>
                </a:moveTo>
                <a:lnTo>
                  <a:pt x="f143" y="f1277"/>
                </a:lnTo>
                <a:lnTo>
                  <a:pt x="f144" y="f1278"/>
                </a:lnTo>
                <a:lnTo>
                  <a:pt x="f144" y="f1279"/>
                </a:lnTo>
                <a:lnTo>
                  <a:pt x="f143" y="f1280"/>
                </a:lnTo>
                <a:lnTo>
                  <a:pt x="f142" y="f1280"/>
                </a:lnTo>
                <a:lnTo>
                  <a:pt x="f145" y="f1279"/>
                </a:lnTo>
                <a:lnTo>
                  <a:pt x="f145" y="f1278"/>
                </a:lnTo>
                <a:close/>
                <a:moveTo>
                  <a:pt x="f146" y="f1277"/>
                </a:moveTo>
                <a:lnTo>
                  <a:pt x="f147" y="f1277"/>
                </a:lnTo>
                <a:lnTo>
                  <a:pt x="f148" y="f1278"/>
                </a:lnTo>
                <a:lnTo>
                  <a:pt x="f148" y="f1279"/>
                </a:lnTo>
                <a:lnTo>
                  <a:pt x="f147" y="f1280"/>
                </a:lnTo>
                <a:lnTo>
                  <a:pt x="f146" y="f1280"/>
                </a:lnTo>
                <a:lnTo>
                  <a:pt x="f149" y="f1279"/>
                </a:lnTo>
                <a:lnTo>
                  <a:pt x="f149" y="f1278"/>
                </a:lnTo>
                <a:close/>
                <a:moveTo>
                  <a:pt x="f150" y="f1277"/>
                </a:moveTo>
                <a:lnTo>
                  <a:pt x="f151" y="f1277"/>
                </a:lnTo>
                <a:lnTo>
                  <a:pt x="f152" y="f1278"/>
                </a:lnTo>
                <a:lnTo>
                  <a:pt x="f152" y="f1279"/>
                </a:lnTo>
                <a:lnTo>
                  <a:pt x="f151" y="f1280"/>
                </a:lnTo>
                <a:lnTo>
                  <a:pt x="f150" y="f1280"/>
                </a:lnTo>
                <a:lnTo>
                  <a:pt x="f153" y="f1279"/>
                </a:lnTo>
                <a:lnTo>
                  <a:pt x="f153" y="f1278"/>
                </a:lnTo>
                <a:close/>
                <a:moveTo>
                  <a:pt x="f134" y="f1281"/>
                </a:moveTo>
                <a:lnTo>
                  <a:pt x="f135" y="f1281"/>
                </a:lnTo>
                <a:lnTo>
                  <a:pt x="f136" y="f1282"/>
                </a:lnTo>
                <a:lnTo>
                  <a:pt x="f136" y="f1283"/>
                </a:lnTo>
                <a:lnTo>
                  <a:pt x="f135" y="f1284"/>
                </a:lnTo>
                <a:lnTo>
                  <a:pt x="f134" y="f1284"/>
                </a:lnTo>
                <a:lnTo>
                  <a:pt x="f137" y="f1283"/>
                </a:lnTo>
                <a:lnTo>
                  <a:pt x="f137" y="f1282"/>
                </a:lnTo>
                <a:close/>
                <a:moveTo>
                  <a:pt x="f138" y="f1281"/>
                </a:moveTo>
                <a:lnTo>
                  <a:pt x="f139" y="f1281"/>
                </a:lnTo>
                <a:lnTo>
                  <a:pt x="f140" y="f1282"/>
                </a:lnTo>
                <a:lnTo>
                  <a:pt x="f140" y="f1283"/>
                </a:lnTo>
                <a:lnTo>
                  <a:pt x="f139" y="f1284"/>
                </a:lnTo>
                <a:lnTo>
                  <a:pt x="f138" y="f1284"/>
                </a:lnTo>
                <a:lnTo>
                  <a:pt x="f141" y="f1283"/>
                </a:lnTo>
                <a:lnTo>
                  <a:pt x="f141" y="f1282"/>
                </a:lnTo>
                <a:close/>
                <a:moveTo>
                  <a:pt x="f122" y="f1285"/>
                </a:moveTo>
                <a:lnTo>
                  <a:pt x="f123" y="f1285"/>
                </a:lnTo>
                <a:lnTo>
                  <a:pt x="f124" y="f1282"/>
                </a:lnTo>
                <a:lnTo>
                  <a:pt x="f124" y="f1283"/>
                </a:lnTo>
                <a:lnTo>
                  <a:pt x="f123" y="f1284"/>
                </a:lnTo>
                <a:lnTo>
                  <a:pt x="f122" y="f1284"/>
                </a:lnTo>
                <a:lnTo>
                  <a:pt x="f125" y="f1283"/>
                </a:lnTo>
                <a:lnTo>
                  <a:pt x="f125" y="f1282"/>
                </a:lnTo>
                <a:close/>
                <a:moveTo>
                  <a:pt x="f126" y="f1285"/>
                </a:moveTo>
                <a:lnTo>
                  <a:pt x="f127" y="f1285"/>
                </a:lnTo>
                <a:lnTo>
                  <a:pt x="f128" y="f1282"/>
                </a:lnTo>
                <a:lnTo>
                  <a:pt x="f128" y="f1283"/>
                </a:lnTo>
                <a:lnTo>
                  <a:pt x="f127" y="f1284"/>
                </a:lnTo>
                <a:lnTo>
                  <a:pt x="f126" y="f1284"/>
                </a:lnTo>
                <a:lnTo>
                  <a:pt x="f129" y="f1283"/>
                </a:lnTo>
                <a:lnTo>
                  <a:pt x="f129" y="f1282"/>
                </a:lnTo>
                <a:close/>
                <a:moveTo>
                  <a:pt x="f130" y="f1285"/>
                </a:moveTo>
                <a:lnTo>
                  <a:pt x="f131" y="f1285"/>
                </a:lnTo>
                <a:lnTo>
                  <a:pt x="f132" y="f1282"/>
                </a:lnTo>
                <a:lnTo>
                  <a:pt x="f132" y="f1283"/>
                </a:lnTo>
                <a:lnTo>
                  <a:pt x="f131" y="f1284"/>
                </a:lnTo>
                <a:lnTo>
                  <a:pt x="f130" y="f1284"/>
                </a:lnTo>
                <a:lnTo>
                  <a:pt x="f133" y="f1283"/>
                </a:lnTo>
                <a:lnTo>
                  <a:pt x="f133" y="f1282"/>
                </a:lnTo>
                <a:close/>
                <a:moveTo>
                  <a:pt x="f114" y="f1286"/>
                </a:moveTo>
                <a:lnTo>
                  <a:pt x="f115" y="f1286"/>
                </a:lnTo>
                <a:lnTo>
                  <a:pt x="f116" y="f1287"/>
                </a:lnTo>
                <a:lnTo>
                  <a:pt x="f116" y="f1288"/>
                </a:lnTo>
                <a:lnTo>
                  <a:pt x="f115" y="f1289"/>
                </a:lnTo>
                <a:lnTo>
                  <a:pt x="f114" y="f1289"/>
                </a:lnTo>
                <a:lnTo>
                  <a:pt x="f117" y="f1288"/>
                </a:lnTo>
                <a:lnTo>
                  <a:pt x="f117" y="f1287"/>
                </a:lnTo>
                <a:close/>
                <a:moveTo>
                  <a:pt x="f118" y="f1286"/>
                </a:moveTo>
                <a:lnTo>
                  <a:pt x="f119" y="f1286"/>
                </a:lnTo>
                <a:lnTo>
                  <a:pt x="f120" y="f1287"/>
                </a:lnTo>
                <a:lnTo>
                  <a:pt x="f120" y="f1288"/>
                </a:lnTo>
                <a:lnTo>
                  <a:pt x="f119" y="f1289"/>
                </a:lnTo>
                <a:lnTo>
                  <a:pt x="f118" y="f1289"/>
                </a:lnTo>
                <a:lnTo>
                  <a:pt x="f121" y="f1288"/>
                </a:lnTo>
                <a:lnTo>
                  <a:pt x="f121" y="f1287"/>
                </a:lnTo>
                <a:close/>
                <a:moveTo>
                  <a:pt x="f102" y="f1286"/>
                </a:moveTo>
                <a:lnTo>
                  <a:pt x="f103" y="f1286"/>
                </a:lnTo>
                <a:lnTo>
                  <a:pt x="f104" y="f1287"/>
                </a:lnTo>
                <a:lnTo>
                  <a:pt x="f104" y="f1288"/>
                </a:lnTo>
                <a:lnTo>
                  <a:pt x="f103" y="f1289"/>
                </a:lnTo>
                <a:lnTo>
                  <a:pt x="f102" y="f1289"/>
                </a:lnTo>
                <a:lnTo>
                  <a:pt x="f105" y="f1288"/>
                </a:lnTo>
                <a:lnTo>
                  <a:pt x="f105" y="f1287"/>
                </a:lnTo>
                <a:close/>
                <a:moveTo>
                  <a:pt x="f106" y="f1286"/>
                </a:moveTo>
                <a:lnTo>
                  <a:pt x="f107" y="f1286"/>
                </a:lnTo>
                <a:lnTo>
                  <a:pt x="f108" y="f1287"/>
                </a:lnTo>
                <a:lnTo>
                  <a:pt x="f108" y="f1288"/>
                </a:lnTo>
                <a:lnTo>
                  <a:pt x="f107" y="f1289"/>
                </a:lnTo>
                <a:lnTo>
                  <a:pt x="f106" y="f1289"/>
                </a:lnTo>
                <a:lnTo>
                  <a:pt x="f109" y="f1288"/>
                </a:lnTo>
                <a:lnTo>
                  <a:pt x="f109" y="f1287"/>
                </a:lnTo>
                <a:close/>
                <a:moveTo>
                  <a:pt x="f110" y="f1286"/>
                </a:moveTo>
                <a:lnTo>
                  <a:pt x="f111" y="f1286"/>
                </a:lnTo>
                <a:lnTo>
                  <a:pt x="f112" y="f1287"/>
                </a:lnTo>
                <a:lnTo>
                  <a:pt x="f112" y="f1288"/>
                </a:lnTo>
                <a:lnTo>
                  <a:pt x="f111" y="f1289"/>
                </a:lnTo>
                <a:lnTo>
                  <a:pt x="f110" y="f1289"/>
                </a:lnTo>
                <a:lnTo>
                  <a:pt x="f113" y="f1288"/>
                </a:lnTo>
                <a:lnTo>
                  <a:pt x="f113" y="f1287"/>
                </a:lnTo>
                <a:close/>
                <a:moveTo>
                  <a:pt x="f94" y="f1290"/>
                </a:moveTo>
                <a:lnTo>
                  <a:pt x="f95" y="f1290"/>
                </a:lnTo>
                <a:lnTo>
                  <a:pt x="f96" y="f1291"/>
                </a:lnTo>
                <a:lnTo>
                  <a:pt x="f96" y="f1292"/>
                </a:lnTo>
                <a:lnTo>
                  <a:pt x="f95" y="f1293"/>
                </a:lnTo>
                <a:lnTo>
                  <a:pt x="f94" y="f1293"/>
                </a:lnTo>
                <a:lnTo>
                  <a:pt x="f97" y="f1292"/>
                </a:lnTo>
                <a:lnTo>
                  <a:pt x="f97" y="f1291"/>
                </a:lnTo>
                <a:close/>
                <a:moveTo>
                  <a:pt x="f98" y="f1290"/>
                </a:moveTo>
                <a:lnTo>
                  <a:pt x="f99" y="f1290"/>
                </a:lnTo>
                <a:lnTo>
                  <a:pt x="f100" y="f1294"/>
                </a:lnTo>
                <a:lnTo>
                  <a:pt x="f100" y="f1292"/>
                </a:lnTo>
                <a:lnTo>
                  <a:pt x="f99" y="f1293"/>
                </a:lnTo>
                <a:lnTo>
                  <a:pt x="f98" y="f1293"/>
                </a:lnTo>
                <a:lnTo>
                  <a:pt x="f101" y="f1292"/>
                </a:lnTo>
                <a:lnTo>
                  <a:pt x="f101" y="f1294"/>
                </a:lnTo>
                <a:close/>
                <a:moveTo>
                  <a:pt x="f82" y="f1295"/>
                </a:moveTo>
                <a:lnTo>
                  <a:pt x="f83" y="f1295"/>
                </a:lnTo>
                <a:lnTo>
                  <a:pt x="f84" y="f1291"/>
                </a:lnTo>
                <a:lnTo>
                  <a:pt x="f84" y="f1292"/>
                </a:lnTo>
                <a:lnTo>
                  <a:pt x="f83" y="f1293"/>
                </a:lnTo>
                <a:lnTo>
                  <a:pt x="f82" y="f1293"/>
                </a:lnTo>
                <a:lnTo>
                  <a:pt x="f85" y="f1292"/>
                </a:lnTo>
                <a:lnTo>
                  <a:pt x="f85" y="f1291"/>
                </a:lnTo>
                <a:close/>
                <a:moveTo>
                  <a:pt x="f86" y="f1295"/>
                </a:moveTo>
                <a:lnTo>
                  <a:pt x="f87" y="f1295"/>
                </a:lnTo>
                <a:lnTo>
                  <a:pt x="f88" y="f1291"/>
                </a:lnTo>
                <a:lnTo>
                  <a:pt x="f88" y="f1292"/>
                </a:lnTo>
                <a:lnTo>
                  <a:pt x="f87" y="f1293"/>
                </a:lnTo>
                <a:lnTo>
                  <a:pt x="f86" y="f1293"/>
                </a:lnTo>
                <a:lnTo>
                  <a:pt x="f89" y="f1292"/>
                </a:lnTo>
                <a:lnTo>
                  <a:pt x="f89" y="f1291"/>
                </a:lnTo>
                <a:close/>
                <a:moveTo>
                  <a:pt x="f90" y="f1295"/>
                </a:moveTo>
                <a:lnTo>
                  <a:pt x="f91" y="f1295"/>
                </a:lnTo>
                <a:lnTo>
                  <a:pt x="f92" y="f1291"/>
                </a:lnTo>
                <a:lnTo>
                  <a:pt x="f92" y="f1292"/>
                </a:lnTo>
                <a:lnTo>
                  <a:pt x="f91" y="f1293"/>
                </a:lnTo>
                <a:lnTo>
                  <a:pt x="f90" y="f1293"/>
                </a:lnTo>
                <a:lnTo>
                  <a:pt x="f93" y="f1292"/>
                </a:lnTo>
                <a:lnTo>
                  <a:pt x="f93" y="f1291"/>
                </a:lnTo>
                <a:close/>
                <a:moveTo>
                  <a:pt x="f74" y="f1296"/>
                </a:moveTo>
                <a:lnTo>
                  <a:pt x="f75" y="f1296"/>
                </a:lnTo>
                <a:lnTo>
                  <a:pt x="f76" y="f1297"/>
                </a:lnTo>
                <a:lnTo>
                  <a:pt x="f76" y="f1298"/>
                </a:lnTo>
                <a:lnTo>
                  <a:pt x="f75" y="f1299"/>
                </a:lnTo>
                <a:lnTo>
                  <a:pt x="f74" y="f1299"/>
                </a:lnTo>
                <a:lnTo>
                  <a:pt x="f77" y="f1298"/>
                </a:lnTo>
                <a:lnTo>
                  <a:pt x="f77" y="f1297"/>
                </a:lnTo>
                <a:close/>
                <a:moveTo>
                  <a:pt x="f78" y="f1296"/>
                </a:moveTo>
                <a:lnTo>
                  <a:pt x="f79" y="f1296"/>
                </a:lnTo>
                <a:lnTo>
                  <a:pt x="f80" y="f1300"/>
                </a:lnTo>
                <a:lnTo>
                  <a:pt x="f80" y="f1301"/>
                </a:lnTo>
                <a:lnTo>
                  <a:pt x="f79" y="f1299"/>
                </a:lnTo>
                <a:lnTo>
                  <a:pt x="f78" y="f1299"/>
                </a:lnTo>
                <a:lnTo>
                  <a:pt x="f81" y="f1301"/>
                </a:lnTo>
                <a:lnTo>
                  <a:pt x="f81" y="f1300"/>
                </a:lnTo>
                <a:close/>
                <a:moveTo>
                  <a:pt x="f62" y="f1296"/>
                </a:moveTo>
                <a:lnTo>
                  <a:pt x="f63" y="f1296"/>
                </a:lnTo>
                <a:lnTo>
                  <a:pt x="f64" y="f1297"/>
                </a:lnTo>
                <a:lnTo>
                  <a:pt x="f64" y="f1298"/>
                </a:lnTo>
                <a:lnTo>
                  <a:pt x="f63" y="f1299"/>
                </a:lnTo>
                <a:lnTo>
                  <a:pt x="f62" y="f1299"/>
                </a:lnTo>
                <a:lnTo>
                  <a:pt x="f65" y="f1298"/>
                </a:lnTo>
                <a:lnTo>
                  <a:pt x="f65" y="f1297"/>
                </a:lnTo>
                <a:close/>
                <a:moveTo>
                  <a:pt x="f66" y="f1296"/>
                </a:moveTo>
                <a:lnTo>
                  <a:pt x="f67" y="f1296"/>
                </a:lnTo>
                <a:lnTo>
                  <a:pt x="f68" y="f1297"/>
                </a:lnTo>
                <a:lnTo>
                  <a:pt x="f68" y="f1298"/>
                </a:lnTo>
                <a:lnTo>
                  <a:pt x="f67" y="f1299"/>
                </a:lnTo>
                <a:lnTo>
                  <a:pt x="f66" y="f1299"/>
                </a:lnTo>
                <a:lnTo>
                  <a:pt x="f69" y="f1298"/>
                </a:lnTo>
                <a:lnTo>
                  <a:pt x="f69" y="f1297"/>
                </a:lnTo>
                <a:close/>
                <a:moveTo>
                  <a:pt x="f70" y="f1296"/>
                </a:moveTo>
                <a:lnTo>
                  <a:pt x="f71" y="f1296"/>
                </a:lnTo>
                <a:lnTo>
                  <a:pt x="f72" y="f1297"/>
                </a:lnTo>
                <a:lnTo>
                  <a:pt x="f72" y="f1298"/>
                </a:lnTo>
                <a:lnTo>
                  <a:pt x="f71" y="f1299"/>
                </a:lnTo>
                <a:lnTo>
                  <a:pt x="f70" y="f1299"/>
                </a:lnTo>
                <a:lnTo>
                  <a:pt x="f73" y="f1298"/>
                </a:lnTo>
                <a:lnTo>
                  <a:pt x="f73" y="f1297"/>
                </a:lnTo>
                <a:close/>
                <a:moveTo>
                  <a:pt x="f1256" y="f1302"/>
                </a:moveTo>
                <a:lnTo>
                  <a:pt x="f1303" y="f1302"/>
                </a:lnTo>
                <a:lnTo>
                  <a:pt x="f1304" y="f1305"/>
                </a:lnTo>
                <a:lnTo>
                  <a:pt x="f1304" y="f1306"/>
                </a:lnTo>
                <a:lnTo>
                  <a:pt x="f1303" y="f1307"/>
                </a:lnTo>
                <a:lnTo>
                  <a:pt x="f1256" y="f1307"/>
                </a:lnTo>
                <a:lnTo>
                  <a:pt x="f1308" y="f1306"/>
                </a:lnTo>
                <a:lnTo>
                  <a:pt x="f1308" y="f1305"/>
                </a:lnTo>
                <a:close/>
                <a:moveTo>
                  <a:pt x="f1261" y="f1302"/>
                </a:moveTo>
                <a:lnTo>
                  <a:pt x="f1309" y="f1302"/>
                </a:lnTo>
                <a:lnTo>
                  <a:pt x="f1310" y="f1305"/>
                </a:lnTo>
                <a:lnTo>
                  <a:pt x="f1310" y="f1306"/>
                </a:lnTo>
                <a:lnTo>
                  <a:pt x="f1309" y="f1307"/>
                </a:lnTo>
                <a:lnTo>
                  <a:pt x="f1261" y="f1307"/>
                </a:lnTo>
                <a:lnTo>
                  <a:pt x="f1311" y="f1306"/>
                </a:lnTo>
                <a:lnTo>
                  <a:pt x="f1311" y="f1305"/>
                </a:lnTo>
                <a:close/>
                <a:moveTo>
                  <a:pt x="f1312" y="f1302"/>
                </a:moveTo>
                <a:lnTo>
                  <a:pt x="f1263" y="f1302"/>
                </a:lnTo>
                <a:lnTo>
                  <a:pt x="f1264" y="f1305"/>
                </a:lnTo>
                <a:lnTo>
                  <a:pt x="f1264" y="f1306"/>
                </a:lnTo>
                <a:lnTo>
                  <a:pt x="f1263" y="f1307"/>
                </a:lnTo>
                <a:lnTo>
                  <a:pt x="f1312" y="f1307"/>
                </a:lnTo>
                <a:lnTo>
                  <a:pt x="f1266" y="f1306"/>
                </a:lnTo>
                <a:lnTo>
                  <a:pt x="f1266" y="f1305"/>
                </a:lnTo>
                <a:close/>
                <a:moveTo>
                  <a:pt x="f1267" y="f1302"/>
                </a:moveTo>
                <a:lnTo>
                  <a:pt x="f1313" y="f1302"/>
                </a:lnTo>
                <a:lnTo>
                  <a:pt x="f1314" y="f1305"/>
                </a:lnTo>
                <a:lnTo>
                  <a:pt x="f1314" y="f1306"/>
                </a:lnTo>
                <a:lnTo>
                  <a:pt x="f1313" y="f1307"/>
                </a:lnTo>
                <a:lnTo>
                  <a:pt x="f1267" y="f1307"/>
                </a:lnTo>
                <a:lnTo>
                  <a:pt x="f1315" y="f1306"/>
                </a:lnTo>
                <a:lnTo>
                  <a:pt x="f1315" y="f1305"/>
                </a:lnTo>
                <a:close/>
                <a:moveTo>
                  <a:pt x="f54" y="f1316"/>
                </a:moveTo>
                <a:lnTo>
                  <a:pt x="f55" y="f1316"/>
                </a:lnTo>
                <a:lnTo>
                  <a:pt x="f56" y="f1317"/>
                </a:lnTo>
                <a:lnTo>
                  <a:pt x="f56" y="f1318"/>
                </a:lnTo>
                <a:lnTo>
                  <a:pt x="f55" y="f1319"/>
                </a:lnTo>
                <a:lnTo>
                  <a:pt x="f54" y="f1319"/>
                </a:lnTo>
                <a:lnTo>
                  <a:pt x="f57" y="f1318"/>
                </a:lnTo>
                <a:lnTo>
                  <a:pt x="f57" y="f1317"/>
                </a:lnTo>
                <a:close/>
                <a:moveTo>
                  <a:pt x="f58" y="f1316"/>
                </a:moveTo>
                <a:lnTo>
                  <a:pt x="f59" y="f1316"/>
                </a:lnTo>
                <a:lnTo>
                  <a:pt x="f60" y="f1317"/>
                </a:lnTo>
                <a:lnTo>
                  <a:pt x="f60" y="f1320"/>
                </a:lnTo>
                <a:lnTo>
                  <a:pt x="f59" y="f1321"/>
                </a:lnTo>
                <a:lnTo>
                  <a:pt x="f58" y="f1321"/>
                </a:lnTo>
                <a:lnTo>
                  <a:pt x="f61" y="f1320"/>
                </a:lnTo>
                <a:lnTo>
                  <a:pt x="f61" y="f1317"/>
                </a:lnTo>
                <a:close/>
                <a:moveTo>
                  <a:pt x="f42" y="f1322"/>
                </a:moveTo>
                <a:lnTo>
                  <a:pt x="f43" y="f1322"/>
                </a:lnTo>
                <a:lnTo>
                  <a:pt x="f44" y="f1323"/>
                </a:lnTo>
                <a:lnTo>
                  <a:pt x="f44" y="f1318"/>
                </a:lnTo>
                <a:lnTo>
                  <a:pt x="f43" y="f1319"/>
                </a:lnTo>
                <a:lnTo>
                  <a:pt x="f42" y="f1319"/>
                </a:lnTo>
                <a:lnTo>
                  <a:pt x="f45" y="f1318"/>
                </a:lnTo>
                <a:lnTo>
                  <a:pt x="f45" y="f1323"/>
                </a:lnTo>
                <a:close/>
                <a:moveTo>
                  <a:pt x="f46" y="f1322"/>
                </a:moveTo>
                <a:lnTo>
                  <a:pt x="f47" y="f1322"/>
                </a:lnTo>
                <a:lnTo>
                  <a:pt x="f48" y="f1323"/>
                </a:lnTo>
                <a:lnTo>
                  <a:pt x="f48" y="f1318"/>
                </a:lnTo>
                <a:lnTo>
                  <a:pt x="f47" y="f1319"/>
                </a:lnTo>
                <a:lnTo>
                  <a:pt x="f46" y="f1319"/>
                </a:lnTo>
                <a:lnTo>
                  <a:pt x="f49" y="f1318"/>
                </a:lnTo>
                <a:lnTo>
                  <a:pt x="f49" y="f1323"/>
                </a:lnTo>
                <a:close/>
                <a:moveTo>
                  <a:pt x="f50" y="f1322"/>
                </a:moveTo>
                <a:lnTo>
                  <a:pt x="f51" y="f1322"/>
                </a:lnTo>
                <a:lnTo>
                  <a:pt x="f52" y="f1323"/>
                </a:lnTo>
                <a:lnTo>
                  <a:pt x="f52" y="f1318"/>
                </a:lnTo>
                <a:lnTo>
                  <a:pt x="f51" y="f1319"/>
                </a:lnTo>
                <a:lnTo>
                  <a:pt x="f50" y="f1319"/>
                </a:lnTo>
                <a:lnTo>
                  <a:pt x="f53" y="f1318"/>
                </a:lnTo>
                <a:lnTo>
                  <a:pt x="f53" y="f1323"/>
                </a:lnTo>
                <a:close/>
                <a:moveTo>
                  <a:pt x="f1269" y="f1324"/>
                </a:moveTo>
                <a:lnTo>
                  <a:pt x="f1270" y="f1324"/>
                </a:lnTo>
                <a:lnTo>
                  <a:pt x="f1115" y="f1325"/>
                </a:lnTo>
                <a:lnTo>
                  <a:pt x="f1115" y="f1326"/>
                </a:lnTo>
                <a:lnTo>
                  <a:pt x="f1270" y="f1327"/>
                </a:lnTo>
                <a:lnTo>
                  <a:pt x="f1269" y="f1327"/>
                </a:lnTo>
                <a:lnTo>
                  <a:pt x="f1068" y="f1326"/>
                </a:lnTo>
                <a:lnTo>
                  <a:pt x="f1068" y="f1325"/>
                </a:lnTo>
                <a:close/>
                <a:moveTo>
                  <a:pt x="f1328" y="f1329"/>
                </a:moveTo>
                <a:lnTo>
                  <a:pt x="f1273" y="f1329"/>
                </a:lnTo>
                <a:lnTo>
                  <a:pt x="f1186" y="f1330"/>
                </a:lnTo>
                <a:lnTo>
                  <a:pt x="f1186" y="f1331"/>
                </a:lnTo>
                <a:lnTo>
                  <a:pt x="f1273" y="f1332"/>
                </a:lnTo>
                <a:lnTo>
                  <a:pt x="f1328" y="f1332"/>
                </a:lnTo>
                <a:lnTo>
                  <a:pt x="f1121" y="f1331"/>
                </a:lnTo>
                <a:lnTo>
                  <a:pt x="f1121" y="f1330"/>
                </a:lnTo>
                <a:close/>
                <a:moveTo>
                  <a:pt x="f35" y="f1333"/>
                </a:moveTo>
                <a:lnTo>
                  <a:pt x="f37" y="f1333"/>
                </a:lnTo>
                <a:lnTo>
                  <a:pt x="f6" y="f1334"/>
                </a:lnTo>
                <a:lnTo>
                  <a:pt x="f6" y="f1335"/>
                </a:lnTo>
                <a:lnTo>
                  <a:pt x="f37" y="f1336"/>
                </a:lnTo>
                <a:lnTo>
                  <a:pt x="f35" y="f1336"/>
                </a:lnTo>
                <a:lnTo>
                  <a:pt x="f41" y="f1335"/>
                </a:lnTo>
                <a:lnTo>
                  <a:pt x="f41" y="f1334"/>
                </a:lnTo>
                <a:close/>
                <a:moveTo>
                  <a:pt x="f1241" y="f1134"/>
                </a:moveTo>
                <a:lnTo>
                  <a:pt x="f1180" y="f1134"/>
                </a:lnTo>
                <a:lnTo>
                  <a:pt x="f1337" y="f1338"/>
                </a:lnTo>
                <a:lnTo>
                  <a:pt x="f1337" y="f1339"/>
                </a:lnTo>
                <a:lnTo>
                  <a:pt x="f1180" y="f1048"/>
                </a:lnTo>
                <a:lnTo>
                  <a:pt x="f1241" y="f1048"/>
                </a:lnTo>
                <a:lnTo>
                  <a:pt x="f1340" y="f1339"/>
                </a:lnTo>
                <a:lnTo>
                  <a:pt x="f1340" y="f1338"/>
                </a:lnTo>
                <a:close/>
                <a:moveTo>
                  <a:pt x="f1248" y="f1134"/>
                </a:moveTo>
                <a:lnTo>
                  <a:pt x="f1341" y="f1134"/>
                </a:lnTo>
                <a:lnTo>
                  <a:pt x="f1342" y="f1338"/>
                </a:lnTo>
                <a:lnTo>
                  <a:pt x="f1342" y="f1339"/>
                </a:lnTo>
                <a:lnTo>
                  <a:pt x="f1341" y="f1048"/>
                </a:lnTo>
                <a:lnTo>
                  <a:pt x="f1248" y="f1048"/>
                </a:lnTo>
                <a:lnTo>
                  <a:pt x="f1250" y="f1339"/>
                </a:lnTo>
                <a:lnTo>
                  <a:pt x="f1250" y="f1338"/>
                </a:lnTo>
                <a:close/>
                <a:moveTo>
                  <a:pt x="f1251" y="f1134"/>
                </a:moveTo>
                <a:lnTo>
                  <a:pt x="f1343" y="f1134"/>
                </a:lnTo>
                <a:lnTo>
                  <a:pt x="f1344" y="f1338"/>
                </a:lnTo>
                <a:lnTo>
                  <a:pt x="f1344" y="f1339"/>
                </a:lnTo>
                <a:lnTo>
                  <a:pt x="f1343" y="f1048"/>
                </a:lnTo>
                <a:lnTo>
                  <a:pt x="f1251" y="f1048"/>
                </a:lnTo>
                <a:lnTo>
                  <a:pt x="f1345" y="f1339"/>
                </a:lnTo>
                <a:lnTo>
                  <a:pt x="f1345" y="f1338"/>
                </a:lnTo>
                <a:close/>
                <a:moveTo>
                  <a:pt x="f1253" y="f1134"/>
                </a:moveTo>
                <a:lnTo>
                  <a:pt x="f1346" y="f1134"/>
                </a:lnTo>
                <a:lnTo>
                  <a:pt x="f1347" y="f1338"/>
                </a:lnTo>
                <a:lnTo>
                  <a:pt x="f1347" y="f1339"/>
                </a:lnTo>
                <a:lnTo>
                  <a:pt x="f1346" y="f1048"/>
                </a:lnTo>
                <a:lnTo>
                  <a:pt x="f1253" y="f1048"/>
                </a:lnTo>
                <a:lnTo>
                  <a:pt x="f1255" y="f1339"/>
                </a:lnTo>
                <a:lnTo>
                  <a:pt x="f1255" y="f1338"/>
                </a:lnTo>
                <a:close/>
                <a:moveTo>
                  <a:pt x="f146" y="f1348"/>
                </a:moveTo>
                <a:lnTo>
                  <a:pt x="f147" y="f1348"/>
                </a:lnTo>
                <a:lnTo>
                  <a:pt x="f148" y="f1349"/>
                </a:lnTo>
                <a:lnTo>
                  <a:pt x="f148" y="f1350"/>
                </a:lnTo>
                <a:lnTo>
                  <a:pt x="f147" y="f1351"/>
                </a:lnTo>
                <a:lnTo>
                  <a:pt x="f146" y="f1351"/>
                </a:lnTo>
                <a:lnTo>
                  <a:pt x="f149" y="f1350"/>
                </a:lnTo>
                <a:lnTo>
                  <a:pt x="f149" y="f1349"/>
                </a:lnTo>
                <a:close/>
                <a:moveTo>
                  <a:pt x="f150" y="f1348"/>
                </a:moveTo>
                <a:lnTo>
                  <a:pt x="f151" y="f1348"/>
                </a:lnTo>
                <a:lnTo>
                  <a:pt x="f152" y="f1352"/>
                </a:lnTo>
                <a:lnTo>
                  <a:pt x="f152" y="f1350"/>
                </a:lnTo>
                <a:lnTo>
                  <a:pt x="f151" y="f1351"/>
                </a:lnTo>
                <a:lnTo>
                  <a:pt x="f150" y="f1351"/>
                </a:lnTo>
                <a:lnTo>
                  <a:pt x="f153" y="f1350"/>
                </a:lnTo>
                <a:lnTo>
                  <a:pt x="f153" y="f1352"/>
                </a:lnTo>
                <a:close/>
                <a:moveTo>
                  <a:pt x="f154" y="f1348"/>
                </a:moveTo>
                <a:lnTo>
                  <a:pt x="f155" y="f1348"/>
                </a:lnTo>
                <a:lnTo>
                  <a:pt x="f156" y="f1352"/>
                </a:lnTo>
                <a:lnTo>
                  <a:pt x="f156" y="f1353"/>
                </a:lnTo>
                <a:lnTo>
                  <a:pt x="f155" y="f1354"/>
                </a:lnTo>
                <a:lnTo>
                  <a:pt x="f154" y="f1354"/>
                </a:lnTo>
                <a:lnTo>
                  <a:pt x="f157" y="f1353"/>
                </a:lnTo>
                <a:lnTo>
                  <a:pt x="f157" y="f1352"/>
                </a:lnTo>
                <a:close/>
                <a:moveTo>
                  <a:pt x="f158" y="f1348"/>
                </a:moveTo>
                <a:lnTo>
                  <a:pt x="f159" y="f1348"/>
                </a:lnTo>
                <a:lnTo>
                  <a:pt x="f160" y="f1352"/>
                </a:lnTo>
                <a:lnTo>
                  <a:pt x="f160" y="f1353"/>
                </a:lnTo>
                <a:lnTo>
                  <a:pt x="f159" y="f1354"/>
                </a:lnTo>
                <a:lnTo>
                  <a:pt x="f158" y="f1354"/>
                </a:lnTo>
                <a:lnTo>
                  <a:pt x="f161" y="f1353"/>
                </a:lnTo>
                <a:lnTo>
                  <a:pt x="f161" y="f1352"/>
                </a:lnTo>
                <a:close/>
                <a:moveTo>
                  <a:pt x="f142" y="f1348"/>
                </a:moveTo>
                <a:lnTo>
                  <a:pt x="f143" y="f1348"/>
                </a:lnTo>
                <a:lnTo>
                  <a:pt x="f144" y="f1349"/>
                </a:lnTo>
                <a:lnTo>
                  <a:pt x="f144" y="f1350"/>
                </a:lnTo>
                <a:lnTo>
                  <a:pt x="f143" y="f1351"/>
                </a:lnTo>
                <a:lnTo>
                  <a:pt x="f142" y="f1351"/>
                </a:lnTo>
                <a:lnTo>
                  <a:pt x="f145" y="f1350"/>
                </a:lnTo>
                <a:lnTo>
                  <a:pt x="f145" y="f1349"/>
                </a:lnTo>
                <a:close/>
                <a:moveTo>
                  <a:pt x="f122" y="f1355"/>
                </a:moveTo>
                <a:lnTo>
                  <a:pt x="f123" y="f1355"/>
                </a:lnTo>
                <a:lnTo>
                  <a:pt x="f124" y="f1356"/>
                </a:lnTo>
                <a:lnTo>
                  <a:pt x="f124" y="f1357"/>
                </a:lnTo>
                <a:lnTo>
                  <a:pt x="f123" y="f1358"/>
                </a:lnTo>
                <a:lnTo>
                  <a:pt x="f122" y="f1358"/>
                </a:lnTo>
                <a:lnTo>
                  <a:pt x="f125" y="f1357"/>
                </a:lnTo>
                <a:lnTo>
                  <a:pt x="f125" y="f1356"/>
                </a:lnTo>
                <a:close/>
                <a:moveTo>
                  <a:pt x="f126" y="f1355"/>
                </a:moveTo>
                <a:lnTo>
                  <a:pt x="f127" y="f1355"/>
                </a:lnTo>
                <a:lnTo>
                  <a:pt x="f128" y="f1356"/>
                </a:lnTo>
                <a:lnTo>
                  <a:pt x="f128" y="f1359"/>
                </a:lnTo>
                <a:lnTo>
                  <a:pt x="f127" y="f1360"/>
                </a:lnTo>
                <a:lnTo>
                  <a:pt x="f126" y="f1360"/>
                </a:lnTo>
                <a:lnTo>
                  <a:pt x="f129" y="f1359"/>
                </a:lnTo>
                <a:lnTo>
                  <a:pt x="f129" y="f1356"/>
                </a:lnTo>
                <a:close/>
                <a:moveTo>
                  <a:pt x="f130" y="f1355"/>
                </a:moveTo>
                <a:lnTo>
                  <a:pt x="f131" y="f1355"/>
                </a:lnTo>
                <a:lnTo>
                  <a:pt x="f132" y="f1356"/>
                </a:lnTo>
                <a:lnTo>
                  <a:pt x="f132" y="f1359"/>
                </a:lnTo>
                <a:lnTo>
                  <a:pt x="f131" y="f1360"/>
                </a:lnTo>
                <a:lnTo>
                  <a:pt x="f130" y="f1360"/>
                </a:lnTo>
                <a:lnTo>
                  <a:pt x="f133" y="f1359"/>
                </a:lnTo>
                <a:lnTo>
                  <a:pt x="f133" y="f1356"/>
                </a:lnTo>
                <a:close/>
                <a:moveTo>
                  <a:pt x="f134" y="f1355"/>
                </a:moveTo>
                <a:lnTo>
                  <a:pt x="f135" y="f1355"/>
                </a:lnTo>
                <a:lnTo>
                  <a:pt x="f136" y="f1356"/>
                </a:lnTo>
                <a:lnTo>
                  <a:pt x="f136" y="f1359"/>
                </a:lnTo>
                <a:lnTo>
                  <a:pt x="f135" y="f1360"/>
                </a:lnTo>
                <a:lnTo>
                  <a:pt x="f134" y="f1360"/>
                </a:lnTo>
                <a:lnTo>
                  <a:pt x="f137" y="f1359"/>
                </a:lnTo>
                <a:lnTo>
                  <a:pt x="f137" y="f1356"/>
                </a:lnTo>
                <a:close/>
                <a:moveTo>
                  <a:pt x="f138" y="f1355"/>
                </a:moveTo>
                <a:lnTo>
                  <a:pt x="f139" y="f1355"/>
                </a:lnTo>
                <a:lnTo>
                  <a:pt x="f140" y="f1356"/>
                </a:lnTo>
                <a:lnTo>
                  <a:pt x="f140" y="f1359"/>
                </a:lnTo>
                <a:lnTo>
                  <a:pt x="f139" y="f1360"/>
                </a:lnTo>
                <a:lnTo>
                  <a:pt x="f138" y="f1360"/>
                </a:lnTo>
                <a:lnTo>
                  <a:pt x="f141" y="f1359"/>
                </a:lnTo>
                <a:lnTo>
                  <a:pt x="f141" y="f1356"/>
                </a:lnTo>
                <a:close/>
                <a:moveTo>
                  <a:pt x="f118" y="f1361"/>
                </a:moveTo>
                <a:lnTo>
                  <a:pt x="f119" y="f1361"/>
                </a:lnTo>
                <a:lnTo>
                  <a:pt x="f120" y="f1362"/>
                </a:lnTo>
                <a:lnTo>
                  <a:pt x="f120" y="f1363"/>
                </a:lnTo>
                <a:lnTo>
                  <a:pt x="f119" y="f1364"/>
                </a:lnTo>
                <a:lnTo>
                  <a:pt x="f118" y="f1364"/>
                </a:lnTo>
                <a:lnTo>
                  <a:pt x="f121" y="f1363"/>
                </a:lnTo>
                <a:lnTo>
                  <a:pt x="f121" y="f1362"/>
                </a:lnTo>
                <a:close/>
                <a:moveTo>
                  <a:pt x="f102" y="f1365"/>
                </a:moveTo>
                <a:lnTo>
                  <a:pt x="f103" y="f1365"/>
                </a:lnTo>
                <a:lnTo>
                  <a:pt x="f104" y="f1362"/>
                </a:lnTo>
                <a:lnTo>
                  <a:pt x="f104" y="f1363"/>
                </a:lnTo>
                <a:lnTo>
                  <a:pt x="f103" y="f1364"/>
                </a:lnTo>
                <a:lnTo>
                  <a:pt x="f102" y="f1364"/>
                </a:lnTo>
                <a:lnTo>
                  <a:pt x="f105" y="f1363"/>
                </a:lnTo>
                <a:lnTo>
                  <a:pt x="f105" y="f1362"/>
                </a:lnTo>
                <a:close/>
                <a:moveTo>
                  <a:pt x="f106" y="f1365"/>
                </a:moveTo>
                <a:lnTo>
                  <a:pt x="f107" y="f1365"/>
                </a:lnTo>
                <a:lnTo>
                  <a:pt x="f108" y="f1362"/>
                </a:lnTo>
                <a:lnTo>
                  <a:pt x="f108" y="f1363"/>
                </a:lnTo>
                <a:lnTo>
                  <a:pt x="f107" y="f1364"/>
                </a:lnTo>
                <a:lnTo>
                  <a:pt x="f106" y="f1364"/>
                </a:lnTo>
                <a:lnTo>
                  <a:pt x="f109" y="f1363"/>
                </a:lnTo>
                <a:lnTo>
                  <a:pt x="f109" y="f1362"/>
                </a:lnTo>
                <a:close/>
                <a:moveTo>
                  <a:pt x="f110" y="f1365"/>
                </a:moveTo>
                <a:lnTo>
                  <a:pt x="f111" y="f1365"/>
                </a:lnTo>
                <a:lnTo>
                  <a:pt x="f112" y="f1362"/>
                </a:lnTo>
                <a:lnTo>
                  <a:pt x="f112" y="f1363"/>
                </a:lnTo>
                <a:lnTo>
                  <a:pt x="f111" y="f1364"/>
                </a:lnTo>
                <a:lnTo>
                  <a:pt x="f110" y="f1364"/>
                </a:lnTo>
                <a:lnTo>
                  <a:pt x="f113" y="f1363"/>
                </a:lnTo>
                <a:lnTo>
                  <a:pt x="f113" y="f1362"/>
                </a:lnTo>
                <a:close/>
                <a:moveTo>
                  <a:pt x="f114" y="f1365"/>
                </a:moveTo>
                <a:lnTo>
                  <a:pt x="f115" y="f1365"/>
                </a:lnTo>
                <a:lnTo>
                  <a:pt x="f116" y="f1362"/>
                </a:lnTo>
                <a:lnTo>
                  <a:pt x="f116" y="f1363"/>
                </a:lnTo>
                <a:lnTo>
                  <a:pt x="f115" y="f1364"/>
                </a:lnTo>
                <a:lnTo>
                  <a:pt x="f114" y="f1364"/>
                </a:lnTo>
                <a:lnTo>
                  <a:pt x="f117" y="f1363"/>
                </a:lnTo>
                <a:lnTo>
                  <a:pt x="f117" y="f1362"/>
                </a:lnTo>
                <a:close/>
                <a:moveTo>
                  <a:pt x="f90" y="f1366"/>
                </a:moveTo>
                <a:lnTo>
                  <a:pt x="f91" y="f1366"/>
                </a:lnTo>
                <a:lnTo>
                  <a:pt x="f92" y="f1367"/>
                </a:lnTo>
                <a:lnTo>
                  <a:pt x="f92" y="f1368"/>
                </a:lnTo>
                <a:lnTo>
                  <a:pt x="f91" y="f1369"/>
                </a:lnTo>
                <a:lnTo>
                  <a:pt x="f90" y="f1369"/>
                </a:lnTo>
                <a:lnTo>
                  <a:pt x="f93" y="f1368"/>
                </a:lnTo>
                <a:lnTo>
                  <a:pt x="f93" y="f1367"/>
                </a:lnTo>
                <a:close/>
                <a:moveTo>
                  <a:pt x="f94" y="f1366"/>
                </a:moveTo>
                <a:lnTo>
                  <a:pt x="f95" y="f1366"/>
                </a:lnTo>
                <a:lnTo>
                  <a:pt x="f96" y="f1367"/>
                </a:lnTo>
                <a:lnTo>
                  <a:pt x="f96" y="f1370"/>
                </a:lnTo>
                <a:lnTo>
                  <a:pt x="f95" y="f1371"/>
                </a:lnTo>
                <a:lnTo>
                  <a:pt x="f94" y="f1371"/>
                </a:lnTo>
                <a:lnTo>
                  <a:pt x="f97" y="f1370"/>
                </a:lnTo>
                <a:lnTo>
                  <a:pt x="f97" y="f1367"/>
                </a:lnTo>
                <a:close/>
                <a:moveTo>
                  <a:pt x="f98" y="f1366"/>
                </a:moveTo>
                <a:lnTo>
                  <a:pt x="f99" y="f1366"/>
                </a:lnTo>
                <a:lnTo>
                  <a:pt x="f100" y="f1367"/>
                </a:lnTo>
                <a:lnTo>
                  <a:pt x="f100" y="f1370"/>
                </a:lnTo>
                <a:lnTo>
                  <a:pt x="f99" y="f1371"/>
                </a:lnTo>
                <a:lnTo>
                  <a:pt x="f98" y="f1371"/>
                </a:lnTo>
                <a:lnTo>
                  <a:pt x="f101" y="f1370"/>
                </a:lnTo>
                <a:lnTo>
                  <a:pt x="f101" y="f1367"/>
                </a:lnTo>
                <a:close/>
                <a:moveTo>
                  <a:pt x="f82" y="f1372"/>
                </a:moveTo>
                <a:lnTo>
                  <a:pt x="f83" y="f1372"/>
                </a:lnTo>
                <a:lnTo>
                  <a:pt x="f84" y="f1373"/>
                </a:lnTo>
                <a:lnTo>
                  <a:pt x="f84" y="f1368"/>
                </a:lnTo>
                <a:lnTo>
                  <a:pt x="f83" y="f1369"/>
                </a:lnTo>
                <a:lnTo>
                  <a:pt x="f82" y="f1369"/>
                </a:lnTo>
                <a:lnTo>
                  <a:pt x="f85" y="f1368"/>
                </a:lnTo>
                <a:lnTo>
                  <a:pt x="f85" y="f1373"/>
                </a:lnTo>
                <a:close/>
                <a:moveTo>
                  <a:pt x="f86" y="f1372"/>
                </a:moveTo>
                <a:lnTo>
                  <a:pt x="f87" y="f1372"/>
                </a:lnTo>
                <a:lnTo>
                  <a:pt x="f88" y="f1373"/>
                </a:lnTo>
                <a:lnTo>
                  <a:pt x="f88" y="f1368"/>
                </a:lnTo>
                <a:lnTo>
                  <a:pt x="f87" y="f1369"/>
                </a:lnTo>
                <a:lnTo>
                  <a:pt x="f86" y="f1369"/>
                </a:lnTo>
                <a:lnTo>
                  <a:pt x="f89" y="f1368"/>
                </a:lnTo>
                <a:lnTo>
                  <a:pt x="f89" y="f1373"/>
                </a:lnTo>
                <a:close/>
                <a:moveTo>
                  <a:pt x="f62" y="f1374"/>
                </a:moveTo>
                <a:lnTo>
                  <a:pt x="f63" y="f1374"/>
                </a:lnTo>
                <a:lnTo>
                  <a:pt x="f64" y="f1375"/>
                </a:lnTo>
                <a:lnTo>
                  <a:pt x="f64" y="f1376"/>
                </a:lnTo>
                <a:lnTo>
                  <a:pt x="f63" y="f1377"/>
                </a:lnTo>
                <a:lnTo>
                  <a:pt x="f62" y="f1377"/>
                </a:lnTo>
                <a:lnTo>
                  <a:pt x="f65" y="f1376"/>
                </a:lnTo>
                <a:lnTo>
                  <a:pt x="f65" y="f1375"/>
                </a:lnTo>
                <a:close/>
                <a:moveTo>
                  <a:pt x="f66" y="f1374"/>
                </a:moveTo>
                <a:lnTo>
                  <a:pt x="f67" y="f1374"/>
                </a:lnTo>
                <a:lnTo>
                  <a:pt x="f68" y="f1375"/>
                </a:lnTo>
                <a:lnTo>
                  <a:pt x="f68" y="f1378"/>
                </a:lnTo>
                <a:lnTo>
                  <a:pt x="f67" y="f1379"/>
                </a:lnTo>
                <a:lnTo>
                  <a:pt x="f66" y="f1379"/>
                </a:lnTo>
                <a:lnTo>
                  <a:pt x="f69" y="f1378"/>
                </a:lnTo>
                <a:lnTo>
                  <a:pt x="f69" y="f1375"/>
                </a:lnTo>
                <a:close/>
                <a:moveTo>
                  <a:pt x="f70" y="f1374"/>
                </a:moveTo>
                <a:lnTo>
                  <a:pt x="f71" y="f1374"/>
                </a:lnTo>
                <a:lnTo>
                  <a:pt x="f72" y="f1375"/>
                </a:lnTo>
                <a:lnTo>
                  <a:pt x="f72" y="f1378"/>
                </a:lnTo>
                <a:lnTo>
                  <a:pt x="f71" y="f1379"/>
                </a:lnTo>
                <a:lnTo>
                  <a:pt x="f70" y="f1379"/>
                </a:lnTo>
                <a:lnTo>
                  <a:pt x="f73" y="f1378"/>
                </a:lnTo>
                <a:lnTo>
                  <a:pt x="f73" y="f1375"/>
                </a:lnTo>
                <a:close/>
                <a:moveTo>
                  <a:pt x="f74" y="f1374"/>
                </a:moveTo>
                <a:lnTo>
                  <a:pt x="f75" y="f1374"/>
                </a:lnTo>
                <a:lnTo>
                  <a:pt x="f76" y="f1375"/>
                </a:lnTo>
                <a:lnTo>
                  <a:pt x="f76" y="f1378"/>
                </a:lnTo>
                <a:lnTo>
                  <a:pt x="f75" y="f1379"/>
                </a:lnTo>
                <a:lnTo>
                  <a:pt x="f74" y="f1379"/>
                </a:lnTo>
                <a:lnTo>
                  <a:pt x="f77" y="f1378"/>
                </a:lnTo>
                <a:lnTo>
                  <a:pt x="f77" y="f1375"/>
                </a:lnTo>
                <a:close/>
                <a:moveTo>
                  <a:pt x="f78" y="f1374"/>
                </a:moveTo>
                <a:lnTo>
                  <a:pt x="f79" y="f1374"/>
                </a:lnTo>
                <a:lnTo>
                  <a:pt x="f80" y="f1375"/>
                </a:lnTo>
                <a:lnTo>
                  <a:pt x="f80" y="f1378"/>
                </a:lnTo>
                <a:lnTo>
                  <a:pt x="f79" y="f1379"/>
                </a:lnTo>
                <a:lnTo>
                  <a:pt x="f78" y="f1379"/>
                </a:lnTo>
                <a:lnTo>
                  <a:pt x="f81" y="f1378"/>
                </a:lnTo>
                <a:lnTo>
                  <a:pt x="f81" y="f1375"/>
                </a:lnTo>
                <a:close/>
                <a:moveTo>
                  <a:pt x="f58" y="f1380"/>
                </a:moveTo>
                <a:lnTo>
                  <a:pt x="f59" y="f1380"/>
                </a:lnTo>
                <a:lnTo>
                  <a:pt x="f60" y="f1381"/>
                </a:lnTo>
                <a:lnTo>
                  <a:pt x="f60" y="f1382"/>
                </a:lnTo>
                <a:lnTo>
                  <a:pt x="f59" y="f1383"/>
                </a:lnTo>
                <a:lnTo>
                  <a:pt x="f58" y="f1383"/>
                </a:lnTo>
                <a:lnTo>
                  <a:pt x="f61" y="f1382"/>
                </a:lnTo>
                <a:lnTo>
                  <a:pt x="f61" y="f1381"/>
                </a:lnTo>
                <a:close/>
                <a:moveTo>
                  <a:pt x="f42" y="f1384"/>
                </a:moveTo>
                <a:lnTo>
                  <a:pt x="f43" y="f1384"/>
                </a:lnTo>
                <a:lnTo>
                  <a:pt x="f44" y="f1381"/>
                </a:lnTo>
                <a:lnTo>
                  <a:pt x="f44" y="f1382"/>
                </a:lnTo>
                <a:lnTo>
                  <a:pt x="f43" y="f1383"/>
                </a:lnTo>
                <a:lnTo>
                  <a:pt x="f42" y="f1383"/>
                </a:lnTo>
                <a:lnTo>
                  <a:pt x="f45" y="f1382"/>
                </a:lnTo>
                <a:lnTo>
                  <a:pt x="f45" y="f1381"/>
                </a:lnTo>
                <a:close/>
                <a:moveTo>
                  <a:pt x="f46" y="f1384"/>
                </a:moveTo>
                <a:lnTo>
                  <a:pt x="f47" y="f1384"/>
                </a:lnTo>
                <a:lnTo>
                  <a:pt x="f48" y="f1381"/>
                </a:lnTo>
                <a:lnTo>
                  <a:pt x="f48" y="f1382"/>
                </a:lnTo>
                <a:lnTo>
                  <a:pt x="f47" y="f1383"/>
                </a:lnTo>
                <a:lnTo>
                  <a:pt x="f46" y="f1383"/>
                </a:lnTo>
                <a:lnTo>
                  <a:pt x="f49" y="f1382"/>
                </a:lnTo>
                <a:lnTo>
                  <a:pt x="f49" y="f1381"/>
                </a:lnTo>
                <a:close/>
                <a:moveTo>
                  <a:pt x="f50" y="f1384"/>
                </a:moveTo>
                <a:lnTo>
                  <a:pt x="f51" y="f1384"/>
                </a:lnTo>
                <a:lnTo>
                  <a:pt x="f52" y="f1381"/>
                </a:lnTo>
                <a:lnTo>
                  <a:pt x="f52" y="f1382"/>
                </a:lnTo>
                <a:lnTo>
                  <a:pt x="f51" y="f1383"/>
                </a:lnTo>
                <a:lnTo>
                  <a:pt x="f50" y="f1383"/>
                </a:lnTo>
                <a:lnTo>
                  <a:pt x="f53" y="f1382"/>
                </a:lnTo>
                <a:lnTo>
                  <a:pt x="f53" y="f1381"/>
                </a:lnTo>
                <a:close/>
                <a:moveTo>
                  <a:pt x="f54" y="f1384"/>
                </a:moveTo>
                <a:lnTo>
                  <a:pt x="f55" y="f1384"/>
                </a:lnTo>
                <a:lnTo>
                  <a:pt x="f56" y="f1381"/>
                </a:lnTo>
                <a:lnTo>
                  <a:pt x="f56" y="f1382"/>
                </a:lnTo>
                <a:lnTo>
                  <a:pt x="f55" y="f1383"/>
                </a:lnTo>
                <a:lnTo>
                  <a:pt x="f54" y="f1383"/>
                </a:lnTo>
                <a:lnTo>
                  <a:pt x="f57" y="f1382"/>
                </a:lnTo>
                <a:lnTo>
                  <a:pt x="f57" y="f1381"/>
                </a:lnTo>
                <a:close/>
                <a:moveTo>
                  <a:pt x="f1385" y="f1384"/>
                </a:moveTo>
                <a:lnTo>
                  <a:pt x="f1313" y="f1384"/>
                </a:lnTo>
                <a:lnTo>
                  <a:pt x="f1386" y="f1381"/>
                </a:lnTo>
                <a:lnTo>
                  <a:pt x="f1386" y="f1382"/>
                </a:lnTo>
                <a:lnTo>
                  <a:pt x="f1313" y="f1383"/>
                </a:lnTo>
                <a:lnTo>
                  <a:pt x="f1385" y="f1383"/>
                </a:lnTo>
                <a:lnTo>
                  <a:pt x="f1387" y="f1382"/>
                </a:lnTo>
                <a:lnTo>
                  <a:pt x="f1387" y="f1381"/>
                </a:lnTo>
                <a:close/>
                <a:moveTo>
                  <a:pt x="f1388" y="f1384"/>
                </a:moveTo>
                <a:lnTo>
                  <a:pt x="f1303" y="f1384"/>
                </a:lnTo>
                <a:lnTo>
                  <a:pt x="f1389" y="f1390"/>
                </a:lnTo>
                <a:lnTo>
                  <a:pt x="f1389" y="f1391"/>
                </a:lnTo>
                <a:lnTo>
                  <a:pt x="f1303" y="f1392"/>
                </a:lnTo>
                <a:lnTo>
                  <a:pt x="f1388" y="f1392"/>
                </a:lnTo>
                <a:lnTo>
                  <a:pt x="f1393" y="f1391"/>
                </a:lnTo>
                <a:lnTo>
                  <a:pt x="f1393" y="f1390"/>
                </a:lnTo>
                <a:close/>
                <a:moveTo>
                  <a:pt x="f1394" y="f1384"/>
                </a:moveTo>
                <a:lnTo>
                  <a:pt x="f1309" y="f1384"/>
                </a:lnTo>
                <a:lnTo>
                  <a:pt x="f1395" y="f1390"/>
                </a:lnTo>
                <a:lnTo>
                  <a:pt x="f1395" y="f1391"/>
                </a:lnTo>
                <a:lnTo>
                  <a:pt x="f1309" y="f1392"/>
                </a:lnTo>
                <a:lnTo>
                  <a:pt x="f1394" y="f1392"/>
                </a:lnTo>
                <a:lnTo>
                  <a:pt x="f1396" y="f1391"/>
                </a:lnTo>
                <a:lnTo>
                  <a:pt x="f1396" y="f1390"/>
                </a:lnTo>
                <a:close/>
                <a:moveTo>
                  <a:pt x="f1312" y="f1384"/>
                </a:moveTo>
                <a:lnTo>
                  <a:pt x="f1397" y="f1384"/>
                </a:lnTo>
                <a:lnTo>
                  <a:pt x="f1398" y="f1381"/>
                </a:lnTo>
                <a:lnTo>
                  <a:pt x="f1398" y="f1382"/>
                </a:lnTo>
                <a:lnTo>
                  <a:pt x="f1397" y="f1392"/>
                </a:lnTo>
                <a:lnTo>
                  <a:pt x="f1312" y="f1392"/>
                </a:lnTo>
                <a:lnTo>
                  <a:pt x="f1399" y="f1382"/>
                </a:lnTo>
                <a:lnTo>
                  <a:pt x="f1399" y="f1381"/>
                </a:lnTo>
                <a:close/>
                <a:moveTo>
                  <a:pt x="f1269" y="f1400"/>
                </a:moveTo>
                <a:lnTo>
                  <a:pt x="f1270" y="f1400"/>
                </a:lnTo>
                <a:lnTo>
                  <a:pt x="f1115" y="f1401"/>
                </a:lnTo>
                <a:lnTo>
                  <a:pt x="f1115" y="f608"/>
                </a:lnTo>
                <a:lnTo>
                  <a:pt x="f1270" y="f1402"/>
                </a:lnTo>
                <a:lnTo>
                  <a:pt x="f1269" y="f1402"/>
                </a:lnTo>
                <a:lnTo>
                  <a:pt x="f1403" y="f608"/>
                </a:lnTo>
                <a:lnTo>
                  <a:pt x="f1403" y="f1401"/>
                </a:lnTo>
                <a:close/>
                <a:moveTo>
                  <a:pt x="f35" y="f1404"/>
                </a:moveTo>
                <a:lnTo>
                  <a:pt x="f37" y="f1404"/>
                </a:lnTo>
                <a:lnTo>
                  <a:pt x="f6" y="f1405"/>
                </a:lnTo>
                <a:lnTo>
                  <a:pt x="f6" y="f521"/>
                </a:lnTo>
                <a:lnTo>
                  <a:pt x="f37" y="f1406"/>
                </a:lnTo>
                <a:lnTo>
                  <a:pt x="f35" y="f1406"/>
                </a:lnTo>
                <a:lnTo>
                  <a:pt x="f41" y="f521"/>
                </a:lnTo>
                <a:lnTo>
                  <a:pt x="f41" y="f1405"/>
                </a:lnTo>
                <a:close/>
                <a:moveTo>
                  <a:pt x="f1328" y="f1407"/>
                </a:moveTo>
                <a:lnTo>
                  <a:pt x="f1273" y="f1407"/>
                </a:lnTo>
                <a:lnTo>
                  <a:pt x="f1186" y="f1405"/>
                </a:lnTo>
                <a:lnTo>
                  <a:pt x="f1186" y="f521"/>
                </a:lnTo>
                <a:lnTo>
                  <a:pt x="f1273" y="f1406"/>
                </a:lnTo>
                <a:lnTo>
                  <a:pt x="f1328" y="f1406"/>
                </a:lnTo>
                <a:lnTo>
                  <a:pt x="f1121" y="f521"/>
                </a:lnTo>
                <a:lnTo>
                  <a:pt x="f1121" y="f1405"/>
                </a:lnTo>
                <a:close/>
                <a:moveTo>
                  <a:pt x="f1195" y="f5"/>
                </a:moveTo>
                <a:lnTo>
                  <a:pt x="f1180" y="f5"/>
                </a:lnTo>
                <a:lnTo>
                  <a:pt x="f1337" y="f1408"/>
                </a:lnTo>
                <a:lnTo>
                  <a:pt x="f1337" y="f1409"/>
                </a:lnTo>
                <a:lnTo>
                  <a:pt x="f1180" y="f176"/>
                </a:lnTo>
                <a:lnTo>
                  <a:pt x="f1195" y="f176"/>
                </a:lnTo>
                <a:lnTo>
                  <a:pt x="f1410" y="f1409"/>
                </a:lnTo>
                <a:lnTo>
                  <a:pt x="f1410" y="f1408"/>
                </a:lnTo>
                <a:close/>
                <a:moveTo>
                  <a:pt x="f1411" y="f5"/>
                </a:moveTo>
                <a:lnTo>
                  <a:pt x="f1341" y="f5"/>
                </a:lnTo>
                <a:lnTo>
                  <a:pt x="f1342" y="f1408"/>
                </a:lnTo>
                <a:lnTo>
                  <a:pt x="f1342" y="f1409"/>
                </a:lnTo>
                <a:lnTo>
                  <a:pt x="f1341" y="f176"/>
                </a:lnTo>
                <a:lnTo>
                  <a:pt x="f1411" y="f176"/>
                </a:lnTo>
                <a:lnTo>
                  <a:pt x="f1412" y="f1409"/>
                </a:lnTo>
                <a:lnTo>
                  <a:pt x="f1412" y="f1408"/>
                </a:lnTo>
                <a:close/>
                <a:moveTo>
                  <a:pt x="f1413" y="f5"/>
                </a:moveTo>
                <a:lnTo>
                  <a:pt x="f1343" y="f5"/>
                </a:lnTo>
                <a:lnTo>
                  <a:pt x="f1414" y="f1408"/>
                </a:lnTo>
                <a:lnTo>
                  <a:pt x="f1414" y="f1409"/>
                </a:lnTo>
                <a:lnTo>
                  <a:pt x="f1343" y="f176"/>
                </a:lnTo>
                <a:lnTo>
                  <a:pt x="f1413" y="f176"/>
                </a:lnTo>
                <a:lnTo>
                  <a:pt x="f1345" y="f1409"/>
                </a:lnTo>
                <a:lnTo>
                  <a:pt x="f1345" y="f1408"/>
                </a:lnTo>
                <a:close/>
                <a:moveTo>
                  <a:pt x="f1408" y="f5"/>
                </a:moveTo>
                <a:lnTo>
                  <a:pt x="f1346" y="f5"/>
                </a:lnTo>
                <a:lnTo>
                  <a:pt x="f1347" y="f1408"/>
                </a:lnTo>
                <a:lnTo>
                  <a:pt x="f1347" y="f1409"/>
                </a:lnTo>
                <a:lnTo>
                  <a:pt x="f1346" y="f176"/>
                </a:lnTo>
                <a:lnTo>
                  <a:pt x="f1408" y="f176"/>
                </a:lnTo>
                <a:lnTo>
                  <a:pt x="f1415" y="f1409"/>
                </a:lnTo>
                <a:lnTo>
                  <a:pt x="f1415" y="f1408"/>
                </a:lnTo>
                <a:close/>
              </a:path>
            </a:pathLst>
          </a:custGeom>
          <a:solidFill>
            <a:srgbClr val="999999">
              <a:alpha val="29998"/>
            </a:srgbClr>
          </a:solidFill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3" name="Date_GeneralDate" hidden="1">
            <a:extLst>
              <a:ext uri="{FF2B5EF4-FFF2-40B4-BE49-F238E27FC236}">
                <a16:creationId xmlns:a16="http://schemas.microsoft.com/office/drawing/2014/main" id="{92FD6718-2334-4D77-B30D-13702EDEAC18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89AD3B07-7D87-4B18-9A34-7B36176E7F2C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1F400A2-A74B-47CB-A558-6590869119F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49117" y="202407"/>
            <a:ext cx="7606286" cy="519253"/>
          </a:xfrm>
        </p:spPr>
        <p:txBody>
          <a:bodyPr/>
          <a:lstStyle>
            <a:lvl1pPr>
              <a:defRPr lang="en-GB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2FA5537B-F229-4DC2-AEF4-32BF113EADC2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en-GB" sz="488">
                <a:latin typeface="Arial" pitchFamily="34"/>
                <a:cs typeface="Arial" pitchFamily="34"/>
              </a:defRPr>
            </a:lvl1pPr>
          </a:lstStyle>
          <a:p>
            <a:pPr lvl="0"/>
            <a:r>
              <a:rPr lang="en-GB"/>
              <a:t>Notes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5182D4D-7628-4973-A2F1-CE0BAE8CB016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en-GB" sz="488"/>
            </a:lvl1pPr>
          </a:lstStyle>
          <a:p>
            <a:pPr lvl="0"/>
            <a:r>
              <a:rPr lang="en-GB"/>
              <a:t>Tracker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9A9BA41A-F0D5-4C52-8F29-96975682FC7B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F5B12D6E-4A15-4AE6-8CF5-57292F3C5325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5661976"/>
      </p:ext>
    </p:extLst>
  </p:cSld>
  <p:clrMapOvr>
    <a:masterClrMapping/>
  </p:clrMapOvr>
  <p:transition spd="med">
    <p:fade/>
  </p:transition>
  <p:hf sldNum="0"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_GeneralDate" hidden="1">
            <a:extLst>
              <a:ext uri="{FF2B5EF4-FFF2-40B4-BE49-F238E27FC236}">
                <a16:creationId xmlns:a16="http://schemas.microsoft.com/office/drawing/2014/main" id="{EB7EB0F1-E4C5-41B6-B5DD-D634773E8713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70BB8C2B-FF42-4850-8717-70AC9B782F17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3" name="Rectangle 13">
            <a:extLst>
              <a:ext uri="{FF2B5EF4-FFF2-40B4-BE49-F238E27FC236}">
                <a16:creationId xmlns:a16="http://schemas.microsoft.com/office/drawing/2014/main" id="{3EAFDF26-3C4A-41BB-A2D7-EDA70F32C47F}"/>
              </a:ext>
            </a:extLst>
          </p:cNvPr>
          <p:cNvSpPr/>
          <p:nvPr/>
        </p:nvSpPr>
        <p:spPr>
          <a:xfrm>
            <a:off x="0" y="0"/>
            <a:ext cx="3024550" cy="5143500"/>
          </a:xfrm>
          <a:prstGeom prst="rect">
            <a:avLst/>
          </a:prstGeom>
          <a:solidFill>
            <a:srgbClr val="8AA299"/>
          </a:solidFill>
          <a:ln cap="flat">
            <a:noFill/>
            <a:prstDash val="solid"/>
          </a:ln>
        </p:spPr>
        <p:txBody>
          <a:bodyPr vert="horz" wrap="square" lIns="80999" tIns="80999" rIns="80999" bIns="80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826" b="0" i="0" u="none" strike="noStrike" kern="120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4" name="Rectangle 14">
            <a:extLst>
              <a:ext uri="{FF2B5EF4-FFF2-40B4-BE49-F238E27FC236}">
                <a16:creationId xmlns:a16="http://schemas.microsoft.com/office/drawing/2014/main" id="{4DE10AF1-3B1F-4370-9C8B-1D986FD09151}"/>
              </a:ext>
            </a:extLst>
          </p:cNvPr>
          <p:cNvSpPr/>
          <p:nvPr/>
        </p:nvSpPr>
        <p:spPr>
          <a:xfrm>
            <a:off x="1" y="1047752"/>
            <a:ext cx="7855402" cy="4095748"/>
          </a:xfrm>
          <a:prstGeom prst="rect">
            <a:avLst/>
          </a:prstGeom>
          <a:solidFill>
            <a:srgbClr val="F3F2F0"/>
          </a:solidFill>
          <a:ln cap="flat">
            <a:noFill/>
            <a:prstDash val="solid"/>
          </a:ln>
        </p:spPr>
        <p:txBody>
          <a:bodyPr vert="horz" wrap="square" lIns="26999" tIns="26999" rIns="26999" bIns="26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AD32E574-5B35-45DF-8F7F-0E5A955E4066}"/>
              </a:ext>
            </a:extLst>
          </p:cNvPr>
          <p:cNvSpPr txBox="1"/>
          <p:nvPr/>
        </p:nvSpPr>
        <p:spPr>
          <a:xfrm>
            <a:off x="779002" y="1472948"/>
            <a:ext cx="3856779" cy="76226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8641" rIns="0" bIns="0" anchor="t" anchorCtr="0" compatLnSpc="1">
            <a:spAutoFit/>
          </a:bodyPr>
          <a:lstStyle/>
          <a:p>
            <a:pPr marL="8634" marR="0" lvl="0" indent="0" algn="l" defTabSz="557213" rtl="0" fontAlgn="auto" hangingPunct="1">
              <a:lnSpc>
                <a:spcPct val="90000"/>
              </a:lnSpc>
              <a:spcBef>
                <a:spcPts val="68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5441" b="0" i="0" u="none" strike="noStrike" kern="0" cap="none" spc="0" baseline="0">
              <a:solidFill>
                <a:srgbClr val="231E21"/>
              </a:solidFill>
              <a:uFillTx/>
              <a:latin typeface="Impact" pitchFamily="34"/>
              <a:ea typeface="Grotzec More Condensed"/>
              <a:cs typeface="Grotzec More Condensed"/>
            </a:endParaRPr>
          </a:p>
        </p:txBody>
      </p:sp>
      <p:sp>
        <p:nvSpPr>
          <p:cNvPr id="6" name="object 9">
            <a:extLst>
              <a:ext uri="{FF2B5EF4-FFF2-40B4-BE49-F238E27FC236}">
                <a16:creationId xmlns:a16="http://schemas.microsoft.com/office/drawing/2014/main" id="{4A47DD8A-64F9-4FE4-8E13-731177AD9FD8}"/>
              </a:ext>
            </a:extLst>
          </p:cNvPr>
          <p:cNvSpPr txBox="1"/>
          <p:nvPr/>
        </p:nvSpPr>
        <p:spPr>
          <a:xfrm>
            <a:off x="875334" y="2449019"/>
            <a:ext cx="902082" cy="179885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1224" b="1" i="0" u="none" strike="noStrike" kern="1200" cap="none" spc="30" baseline="0">
                <a:solidFill>
                  <a:srgbClr val="30373B"/>
                </a:solidFill>
                <a:uFillTx/>
                <a:latin typeface="Arial"/>
                <a:cs typeface="Trebuchet MS"/>
              </a:rPr>
              <a:t>Conta</a:t>
            </a:r>
            <a:r>
              <a:rPr lang="en-GB" sz="1224" b="1" i="0" u="none" strike="noStrike" kern="1200" cap="none" spc="20" baseline="0">
                <a:solidFill>
                  <a:srgbClr val="30373B"/>
                </a:solidFill>
                <a:uFillTx/>
                <a:latin typeface="Arial"/>
                <a:cs typeface="Trebuchet MS"/>
              </a:rPr>
              <a:t>c</a:t>
            </a:r>
            <a:r>
              <a:rPr lang="en-GB" sz="1224" b="1" i="0" u="none" strike="noStrike" kern="1200" cap="none" spc="-17" baseline="0">
                <a:solidFill>
                  <a:srgbClr val="30373B"/>
                </a:solidFill>
                <a:uFillTx/>
                <a:latin typeface="Arial"/>
                <a:cs typeface="Trebuchet MS"/>
              </a:rPr>
              <a:t>t</a:t>
            </a:r>
            <a:endParaRPr lang="en-GB" sz="1224" b="1" i="0" u="none" strike="noStrike" kern="1200" cap="none" spc="0" baseline="0">
              <a:solidFill>
                <a:srgbClr val="30373B"/>
              </a:solidFill>
              <a:uFillTx/>
              <a:latin typeface="Arial"/>
              <a:cs typeface="Trebuchet MS"/>
            </a:endParaRPr>
          </a:p>
        </p:txBody>
      </p:sp>
      <p:cxnSp>
        <p:nvCxnSpPr>
          <p:cNvPr id="7" name="Straight Connector 20">
            <a:extLst>
              <a:ext uri="{FF2B5EF4-FFF2-40B4-BE49-F238E27FC236}">
                <a16:creationId xmlns:a16="http://schemas.microsoft.com/office/drawing/2014/main" id="{3F8DB2D0-8CAA-4B1E-9C8F-0A35956419FF}"/>
              </a:ext>
            </a:extLst>
          </p:cNvPr>
          <p:cNvCxnSpPr/>
          <p:nvPr/>
        </p:nvCxnSpPr>
        <p:spPr>
          <a:xfrm>
            <a:off x="1978565" y="2463304"/>
            <a:ext cx="0" cy="501547"/>
          </a:xfrm>
          <a:prstGeom prst="straightConnector1">
            <a:avLst/>
          </a:prstGeom>
          <a:noFill/>
          <a:ln w="6345" cap="flat">
            <a:solidFill>
              <a:srgbClr val="D9D9D9"/>
            </a:solidFill>
            <a:prstDash val="solid"/>
            <a:miter/>
          </a:ln>
        </p:spPr>
      </p:cxnSp>
      <p:sp>
        <p:nvSpPr>
          <p:cNvPr id="8" name="Title 1">
            <a:extLst>
              <a:ext uri="{FF2B5EF4-FFF2-40B4-BE49-F238E27FC236}">
                <a16:creationId xmlns:a16="http://schemas.microsoft.com/office/drawing/2014/main" id="{039FFFCC-0867-43F7-BCFE-B65A433ECEA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46332" y="1594327"/>
            <a:ext cx="4447445" cy="650701"/>
          </a:xfrm>
        </p:spPr>
        <p:txBody>
          <a:bodyPr/>
          <a:lstStyle>
            <a:lvl1pPr>
              <a:defRPr lang="en-GB" sz="5400" cap="all">
                <a:solidFill>
                  <a:srgbClr val="30373B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B254C048-7A15-479E-967C-1EFEB8EDDC3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101359" y="2512538"/>
            <a:ext cx="4201459" cy="416561"/>
          </a:xfrm>
        </p:spPr>
        <p:txBody>
          <a:bodyPr anchor="b"/>
          <a:lstStyle>
            <a:lvl1pPr>
              <a:buNone/>
              <a:defRPr lang="en-GB">
                <a:solidFill>
                  <a:srgbClr val="30373B"/>
                </a:solidFill>
              </a:defRPr>
            </a:lvl1pPr>
            <a:lvl2pPr marL="0" lvl="0" indent="0">
              <a:buNone/>
              <a:defRPr lang="en-GB">
                <a:solidFill>
                  <a:srgbClr val="30373B"/>
                </a:solidFill>
              </a:defRPr>
            </a:lvl2pPr>
            <a:lvl3pPr marL="0" lvl="0" indent="0">
              <a:buNone/>
              <a:defRPr lang="en-GB">
                <a:solidFill>
                  <a:srgbClr val="30373B"/>
                </a:solidFill>
              </a:defRPr>
            </a:lvl3pPr>
          </a:lstStyle>
          <a:p>
            <a:pPr lvl="0"/>
            <a:r>
              <a:rPr lang="en-GB"/>
              <a:t>Name</a:t>
            </a:r>
          </a:p>
          <a:p>
            <a:pPr lvl="0"/>
            <a:r>
              <a:rPr lang="en-GB"/>
              <a:t>Phone</a:t>
            </a:r>
          </a:p>
          <a:p>
            <a:pPr lvl="0"/>
            <a:r>
              <a:rPr lang="en-GB"/>
              <a:t>Email</a:t>
            </a:r>
          </a:p>
        </p:txBody>
      </p:sp>
      <p:sp>
        <p:nvSpPr>
          <p:cNvPr id="10" name="Freeform: Shape 10">
            <a:extLst>
              <a:ext uri="{FF2B5EF4-FFF2-40B4-BE49-F238E27FC236}">
                <a16:creationId xmlns:a16="http://schemas.microsoft.com/office/drawing/2014/main" id="{40F15609-A706-4347-886C-8150E6B080B5}"/>
              </a:ext>
            </a:extLst>
          </p:cNvPr>
          <p:cNvSpPr/>
          <p:nvPr/>
        </p:nvSpPr>
        <p:spPr>
          <a:xfrm rot="5400013">
            <a:off x="8288464" y="566493"/>
            <a:ext cx="944168" cy="265744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9905999"/>
              <a:gd name="f7" fmla="val 2265361"/>
              <a:gd name="f8" fmla="val 6778122"/>
              <a:gd name="f9" fmla="val 2222531"/>
              <a:gd name="f10" fmla="val 7135812"/>
              <a:gd name="f11" fmla="val 6449676"/>
              <a:gd name="f12" fmla="val 1769427"/>
              <a:gd name="f13" fmla="val 1965546"/>
              <a:gd name="f14" fmla="val 6575655"/>
              <a:gd name="f15" fmla="val 6643144"/>
              <a:gd name="f16" fmla="val 6679138"/>
              <a:gd name="f17" fmla="val 1933987"/>
              <a:gd name="f18" fmla="val 1864105"/>
              <a:gd name="f19" fmla="val 1800986"/>
              <a:gd name="f20" fmla="val 6638645"/>
              <a:gd name="f21" fmla="val 5021164"/>
              <a:gd name="f22" fmla="val 1949767"/>
              <a:gd name="f23" fmla="val 5158391"/>
              <a:gd name="f24" fmla="val 5219131"/>
              <a:gd name="f25" fmla="val 5261874"/>
              <a:gd name="f26" fmla="val 1924970"/>
              <a:gd name="f27" fmla="val 1859597"/>
              <a:gd name="f28" fmla="val 1794223"/>
              <a:gd name="f29" fmla="val 5597068"/>
              <a:gd name="f30" fmla="val 1762664"/>
              <a:gd name="f31" fmla="val 5563324"/>
              <a:gd name="f32" fmla="val 5529579"/>
              <a:gd name="f33" fmla="val 1776189"/>
              <a:gd name="f34" fmla="val 5504834"/>
              <a:gd name="f35" fmla="val 5462091"/>
              <a:gd name="f36" fmla="val 1843817"/>
              <a:gd name="f37" fmla="val 5459841"/>
              <a:gd name="f38" fmla="val 1913699"/>
              <a:gd name="f39" fmla="val 1967800"/>
              <a:gd name="f40" fmla="val 2019648"/>
              <a:gd name="f41" fmla="val 2089530"/>
              <a:gd name="f42" fmla="val 2132361"/>
              <a:gd name="f43" fmla="val 2159412"/>
              <a:gd name="f44" fmla="val 2170683"/>
              <a:gd name="f45" fmla="val 5633062"/>
              <a:gd name="f46" fmla="val 5666807"/>
              <a:gd name="f47" fmla="val 5691552"/>
              <a:gd name="f48" fmla="val 5732046"/>
              <a:gd name="f49" fmla="val 5734295"/>
              <a:gd name="f50" fmla="val 654642"/>
              <a:gd name="f51" fmla="val 618647"/>
              <a:gd name="f52" fmla="val 584903"/>
              <a:gd name="f53" fmla="val 560157"/>
              <a:gd name="f54" fmla="val 519664"/>
              <a:gd name="f55" fmla="val 517414"/>
              <a:gd name="f56" fmla="val 688386"/>
              <a:gd name="f57" fmla="val 722130"/>
              <a:gd name="f58" fmla="val 746876"/>
              <a:gd name="f59" fmla="val 789619"/>
              <a:gd name="f60" fmla="val 791868"/>
              <a:gd name="f61" fmla="val 6386687"/>
              <a:gd name="f62" fmla="val 1710816"/>
              <a:gd name="f63" fmla="val 6636395"/>
              <a:gd name="f64" fmla="val 1726596"/>
              <a:gd name="f65" fmla="val 6706134"/>
              <a:gd name="f66" fmla="val 1755901"/>
              <a:gd name="f67" fmla="val 6730880"/>
              <a:gd name="f68" fmla="val 1782952"/>
              <a:gd name="f69" fmla="val 6744377"/>
              <a:gd name="f70" fmla="val 1821274"/>
              <a:gd name="f71" fmla="val 1915953"/>
              <a:gd name="f72" fmla="val 1954275"/>
              <a:gd name="f73" fmla="val 6701634"/>
              <a:gd name="f74" fmla="val 1981326"/>
              <a:gd name="f75" fmla="val 6674639"/>
              <a:gd name="f76" fmla="val 2008377"/>
              <a:gd name="f77" fmla="val 6634146"/>
              <a:gd name="f78" fmla="val 2024157"/>
              <a:gd name="f79" fmla="val 6577905"/>
              <a:gd name="f80" fmla="val 5889520"/>
              <a:gd name="f81" fmla="val 5954759"/>
              <a:gd name="f82" fmla="val 2035428"/>
              <a:gd name="f83" fmla="val 2118835"/>
              <a:gd name="f84" fmla="val 5988503"/>
              <a:gd name="f85" fmla="val 2172937"/>
              <a:gd name="f86" fmla="val 6076239"/>
              <a:gd name="f87" fmla="val 6166224"/>
              <a:gd name="f88" fmla="val 6199968"/>
              <a:gd name="f89" fmla="val 6262957"/>
              <a:gd name="f90" fmla="val 2163920"/>
              <a:gd name="f91" fmla="val 6190969"/>
              <a:gd name="f92" fmla="val 2231547"/>
              <a:gd name="f93" fmla="val 5961508"/>
              <a:gd name="f94" fmla="val 4958174"/>
              <a:gd name="f95" fmla="val 5259624"/>
              <a:gd name="f96" fmla="val 5288869"/>
              <a:gd name="f97" fmla="val 5313615"/>
              <a:gd name="f98" fmla="val 5329363"/>
              <a:gd name="f99" fmla="val 1814512"/>
              <a:gd name="f100" fmla="val 1904682"/>
              <a:gd name="f101" fmla="val 1936241"/>
              <a:gd name="f102" fmla="val 1961038"/>
              <a:gd name="f103" fmla="val 5275372"/>
              <a:gd name="f104" fmla="val 1976817"/>
              <a:gd name="f105" fmla="val 5252875"/>
              <a:gd name="f106" fmla="val 1990343"/>
              <a:gd name="f107" fmla="val 5228130"/>
              <a:gd name="f108" fmla="val 1997106"/>
              <a:gd name="f109" fmla="val 5331612"/>
              <a:gd name="f110" fmla="val 5162890"/>
              <a:gd name="f111" fmla="val 2010631"/>
              <a:gd name="f112" fmla="val 3309199"/>
              <a:gd name="f113" fmla="val 3381187"/>
              <a:gd name="f114" fmla="val 3633145"/>
              <a:gd name="f115" fmla="val 2123344"/>
              <a:gd name="f116" fmla="val 3693885"/>
              <a:gd name="f117" fmla="val 3621897"/>
              <a:gd name="f118" fmla="val 3372188"/>
              <a:gd name="f119" fmla="val 1810003"/>
              <a:gd name="f120" fmla="val 3106732"/>
              <a:gd name="f121" fmla="val 3171971"/>
              <a:gd name="f122" fmla="val 2663557"/>
              <a:gd name="f123" fmla="val 3032495"/>
              <a:gd name="f124" fmla="val 2879521"/>
              <a:gd name="f125" fmla="val 2814282"/>
              <a:gd name="f126" fmla="val 2416099"/>
              <a:gd name="f127" fmla="val 2481338"/>
              <a:gd name="f128" fmla="val 2726547"/>
              <a:gd name="f129" fmla="val 1918931"/>
              <a:gd name="f130" fmla="val 1984171"/>
              <a:gd name="f131" fmla="val 2017916"/>
              <a:gd name="f132" fmla="val 2105651"/>
              <a:gd name="f133" fmla="val 2195636"/>
              <a:gd name="f134" fmla="val 2229380"/>
              <a:gd name="f135" fmla="val 2292369"/>
              <a:gd name="f136" fmla="val 2220382"/>
              <a:gd name="f137" fmla="val 1990920"/>
              <a:gd name="f138" fmla="val 960591"/>
              <a:gd name="f139" fmla="val 1032578"/>
              <a:gd name="f140" fmla="val 1284537"/>
              <a:gd name="f141" fmla="val 1345276"/>
              <a:gd name="f142" fmla="val 1273289"/>
              <a:gd name="f143" fmla="val 1023580"/>
              <a:gd name="f144" fmla="val 1701799"/>
              <a:gd name="f145" fmla="val 5648810"/>
              <a:gd name="f146" fmla="val 5698301"/>
              <a:gd name="f147" fmla="val 1719833"/>
              <a:gd name="f148" fmla="val 5736545"/>
              <a:gd name="f149" fmla="val 5790536"/>
              <a:gd name="f150" fmla="val 5801784"/>
              <a:gd name="f151" fmla="val 1884393"/>
              <a:gd name="f152" fmla="val 2048953"/>
              <a:gd name="f153" fmla="val 2177446"/>
              <a:gd name="f154" fmla="val 2213514"/>
              <a:gd name="f155" fmla="val 2233802"/>
              <a:gd name="f156" fmla="val 5547576"/>
              <a:gd name="f157" fmla="val 5495835"/>
              <a:gd name="f158" fmla="val 5403600"/>
              <a:gd name="f159" fmla="val 5394602"/>
              <a:gd name="f160" fmla="val 4645477"/>
              <a:gd name="f161" fmla="val 4701717"/>
              <a:gd name="f162" fmla="val 4755708"/>
              <a:gd name="f163" fmla="val 1722087"/>
              <a:gd name="f164" fmla="val 4791702"/>
              <a:gd name="f165" fmla="val 1758155"/>
              <a:gd name="f166" fmla="val 4816448"/>
              <a:gd name="f167" fmla="val 1785206"/>
              <a:gd name="f168" fmla="val 4832195"/>
              <a:gd name="f169" fmla="val 1816766"/>
              <a:gd name="f170" fmla="val 4834445"/>
              <a:gd name="f171" fmla="val 4766956"/>
              <a:gd name="f172" fmla="val 4764707"/>
              <a:gd name="f173" fmla="val 1834800"/>
              <a:gd name="f174" fmla="val 4757958"/>
              <a:gd name="f175" fmla="val 1819020"/>
              <a:gd name="f176" fmla="val 4744460"/>
              <a:gd name="f177" fmla="val 1803240"/>
              <a:gd name="f178" fmla="val 4721964"/>
              <a:gd name="f179" fmla="val 1773935"/>
              <a:gd name="f180" fmla="val 4685970"/>
              <a:gd name="f181" fmla="val 4609482"/>
              <a:gd name="f182" fmla="val 4575738"/>
              <a:gd name="f183" fmla="val 4550992"/>
              <a:gd name="f184" fmla="val 4510499"/>
              <a:gd name="f185" fmla="val 4506000"/>
              <a:gd name="f186" fmla="val 2017394"/>
              <a:gd name="f187" fmla="val 2091784"/>
              <a:gd name="f188" fmla="val 4553242"/>
              <a:gd name="f189" fmla="val 2134615"/>
              <a:gd name="f190" fmla="val 4577988"/>
              <a:gd name="f191" fmla="val 2161666"/>
              <a:gd name="f192" fmla="val 4681471"/>
              <a:gd name="f193" fmla="val 4715215"/>
              <a:gd name="f194" fmla="val 4737711"/>
              <a:gd name="f195" fmla="val 2136869"/>
              <a:gd name="f196" fmla="val 4771456"/>
              <a:gd name="f197" fmla="val 2103055"/>
              <a:gd name="f198" fmla="val 4780454"/>
              <a:gd name="f199" fmla="val 2053462"/>
              <a:gd name="f200" fmla="val 2006123"/>
              <a:gd name="f201" fmla="val 1947512"/>
              <a:gd name="f202" fmla="val 4838944"/>
              <a:gd name="f203" fmla="val 4793952"/>
              <a:gd name="f204" fmla="val 4782704"/>
              <a:gd name="f205" fmla="val 2204497"/>
              <a:gd name="f206" fmla="val 4593735"/>
              <a:gd name="f207" fmla="val 4544243"/>
              <a:gd name="f208" fmla="val 2215768"/>
              <a:gd name="f209" fmla="val 2179700"/>
              <a:gd name="f210" fmla="val 4454258"/>
              <a:gd name="f211" fmla="val 2130106"/>
              <a:gd name="f212" fmla="val 4440761"/>
              <a:gd name="f213" fmla="val 2057970"/>
              <a:gd name="f214" fmla="val 4452009"/>
              <a:gd name="f215" fmla="val 4002083"/>
              <a:gd name="f216" fmla="val 4060574"/>
              <a:gd name="f217" fmla="val 4112315"/>
              <a:gd name="f218" fmla="val 4148309"/>
              <a:gd name="f219" fmla="val 4173055"/>
              <a:gd name="f220" fmla="val 4191052"/>
              <a:gd name="f221" fmla="val 4193302"/>
              <a:gd name="f222" fmla="val 4125813"/>
              <a:gd name="f223" fmla="val 4123563"/>
              <a:gd name="f224" fmla="val 4114565"/>
              <a:gd name="f225" fmla="val 4103317"/>
              <a:gd name="f226" fmla="val 4078571"/>
              <a:gd name="f227" fmla="val 4044826"/>
              <a:gd name="f228" fmla="val 3968339"/>
              <a:gd name="f229" fmla="val 3934595"/>
              <a:gd name="f230" fmla="val 3909849"/>
              <a:gd name="f231" fmla="val 3867106"/>
              <a:gd name="f232" fmla="val 3864856"/>
              <a:gd name="f233" fmla="val 4038077"/>
              <a:gd name="f234" fmla="val 4071822"/>
              <a:gd name="f235" fmla="val 4094318"/>
              <a:gd name="f236" fmla="val 4130312"/>
              <a:gd name="f237" fmla="val 4139311"/>
              <a:gd name="f238" fmla="val 4197801"/>
              <a:gd name="f239" fmla="val 4152808"/>
              <a:gd name="f240" fmla="val 4141560"/>
              <a:gd name="f241" fmla="val 4116814"/>
              <a:gd name="f242" fmla="val 3950342"/>
              <a:gd name="f243" fmla="val 3900850"/>
              <a:gd name="f244" fmla="val 3813115"/>
              <a:gd name="f245" fmla="val 3797367"/>
              <a:gd name="f246" fmla="val 3808616"/>
              <a:gd name="f247" fmla="val 1642228"/>
              <a:gd name="f248" fmla="val 1691719"/>
              <a:gd name="f249" fmla="val 1741211"/>
              <a:gd name="f250" fmla="val 1717579"/>
              <a:gd name="f251" fmla="val 1774955"/>
              <a:gd name="f252" fmla="val 1749138"/>
              <a:gd name="f253" fmla="val 1806450"/>
              <a:gd name="f254" fmla="val 1780698"/>
              <a:gd name="f255" fmla="val 1822198"/>
              <a:gd name="f256" fmla="val 1824447"/>
              <a:gd name="f257" fmla="val 1756958"/>
              <a:gd name="f258" fmla="val 1754708"/>
              <a:gd name="f259" fmla="val 1745710"/>
              <a:gd name="f260" fmla="val 1812257"/>
              <a:gd name="f261" fmla="val 1732212"/>
              <a:gd name="f262" fmla="val 1796478"/>
              <a:gd name="f263" fmla="val 1711966"/>
              <a:gd name="f264" fmla="val 1680471"/>
              <a:gd name="f265" fmla="val 1760410"/>
              <a:gd name="f266" fmla="val 1639978"/>
              <a:gd name="f267" fmla="val 1603983"/>
              <a:gd name="f268" fmla="val 1572489"/>
              <a:gd name="f269" fmla="val 1549993"/>
              <a:gd name="f270" fmla="val 1536494"/>
              <a:gd name="f271" fmla="val 1529746"/>
              <a:gd name="f272" fmla="val 1828037"/>
              <a:gd name="f273" fmla="val 1850580"/>
              <a:gd name="f274" fmla="val 1897919"/>
              <a:gd name="f275" fmla="val 1567989"/>
              <a:gd name="f276" fmla="val 1918207"/>
              <a:gd name="f277" fmla="val 1606234"/>
              <a:gd name="f278" fmla="val 1922716"/>
              <a:gd name="f279" fmla="val 1635478"/>
              <a:gd name="f280" fmla="val 1927224"/>
              <a:gd name="f281" fmla="val 1662474"/>
              <a:gd name="f282" fmla="val 1931733"/>
              <a:gd name="f283" fmla="val 1833445"/>
              <a:gd name="f284" fmla="val 2001614"/>
              <a:gd name="f285" fmla="val 2082767"/>
              <a:gd name="f286" fmla="val 2125598"/>
              <a:gd name="f287" fmla="val 1815448"/>
              <a:gd name="f288" fmla="val 2157157"/>
              <a:gd name="f289" fmla="val 1790703"/>
              <a:gd name="f290" fmla="val 2181954"/>
              <a:gd name="f291" fmla="val 1698468"/>
              <a:gd name="f292" fmla="val 1644477"/>
              <a:gd name="f293" fmla="val 1581488"/>
              <a:gd name="f294" fmla="val 1531996"/>
              <a:gd name="f295" fmla="val 1498251"/>
              <a:gd name="f296" fmla="val 2184208"/>
              <a:gd name="f297" fmla="val 1466757"/>
              <a:gd name="f298" fmla="val 2152649"/>
              <a:gd name="f299" fmla="val 1444260"/>
              <a:gd name="f300" fmla="val 2109818"/>
              <a:gd name="f301" fmla="val 2060225"/>
              <a:gd name="f302" fmla="val 1509499"/>
              <a:gd name="f303" fmla="val 1525247"/>
              <a:gd name="f304" fmla="val 2121089"/>
              <a:gd name="f305" fmla="val 1545494"/>
              <a:gd name="f306" fmla="val 2141378"/>
              <a:gd name="f307" fmla="val 1570239"/>
              <a:gd name="f308" fmla="val 1608483"/>
              <a:gd name="f309" fmla="val 1682720"/>
              <a:gd name="f310" fmla="val 1716465"/>
              <a:gd name="f311" fmla="val 2166174"/>
              <a:gd name="f312" fmla="val 1738962"/>
              <a:gd name="f313" fmla="val 2143632"/>
              <a:gd name="f314" fmla="val 1765956"/>
              <a:gd name="f315" fmla="val 2044445"/>
              <a:gd name="f316" fmla="val 1599484"/>
              <a:gd name="f317" fmla="val 1988089"/>
              <a:gd name="f318" fmla="val 1522997"/>
              <a:gd name="f319" fmla="val 1462257"/>
              <a:gd name="f320" fmla="val 1852834"/>
              <a:gd name="f321" fmla="val 1480254"/>
              <a:gd name="f322" fmla="val 1778444"/>
              <a:gd name="f323" fmla="val 1507249"/>
              <a:gd name="f324" fmla="val 1751393"/>
              <a:gd name="f325" fmla="val 1543244"/>
              <a:gd name="f326" fmla="val 1588236"/>
              <a:gd name="f327" fmla="val 704133"/>
              <a:gd name="f328" fmla="val 755874"/>
              <a:gd name="f329" fmla="val 848110"/>
              <a:gd name="f330" fmla="val 857108"/>
              <a:gd name="f331" fmla="val 602900"/>
              <a:gd name="f332" fmla="val 553408"/>
              <a:gd name="f333" fmla="val 515164"/>
              <a:gd name="f334" fmla="val 461173"/>
              <a:gd name="f335" fmla="val 449925"/>
              <a:gd name="f336" fmla="val 202466"/>
              <a:gd name="f337" fmla="val 258707"/>
              <a:gd name="f338" fmla="val 308199"/>
              <a:gd name="f339" fmla="val 339693"/>
              <a:gd name="f340" fmla="val 1753647"/>
              <a:gd name="f341" fmla="val 368939"/>
              <a:gd name="f342" fmla="val 386936"/>
              <a:gd name="f343" fmla="val 1823529"/>
              <a:gd name="f344" fmla="val 389185"/>
              <a:gd name="f345" fmla="val 1870868"/>
              <a:gd name="f346" fmla="val 323946"/>
              <a:gd name="f347" fmla="val 321697"/>
              <a:gd name="f348" fmla="val 1841563"/>
              <a:gd name="f349" fmla="val 312698"/>
              <a:gd name="f350" fmla="val 294701"/>
              <a:gd name="f351" fmla="val 1798732"/>
              <a:gd name="f352" fmla="val 274454"/>
              <a:gd name="f353" fmla="val 240710"/>
              <a:gd name="f354" fmla="val 168722"/>
              <a:gd name="f355" fmla="val 134978"/>
              <a:gd name="f356" fmla="val 110232"/>
              <a:gd name="f357" fmla="val 67489"/>
              <a:gd name="f358" fmla="val 276704"/>
              <a:gd name="f359" fmla="val 2154903"/>
              <a:gd name="f360" fmla="val 296951"/>
              <a:gd name="f361" fmla="val 2114327"/>
              <a:gd name="f362" fmla="val 2087276"/>
              <a:gd name="f363" fmla="val 391435"/>
              <a:gd name="f364" fmla="val 2107564"/>
              <a:gd name="f365" fmla="val 2148140"/>
              <a:gd name="f366" fmla="val 2209005"/>
              <a:gd name="f367" fmla="val 150725"/>
              <a:gd name="f368" fmla="val 101233"/>
              <a:gd name="f369" fmla="val 65239"/>
              <a:gd name="f370" fmla="val 8999"/>
              <a:gd name="f371" fmla="val 2227389"/>
              <a:gd name="f372" fmla="val 214047"/>
              <a:gd name="f373" fmla="val 574548"/>
              <a:gd name="f374" fmla="val 2456649"/>
              <a:gd name="f375" fmla="val 2584765"/>
              <a:gd name="f376" fmla="val 2654442"/>
              <a:gd name="f377" fmla="val 509207"/>
              <a:gd name="f378" fmla="val 394298"/>
              <a:gd name="f379" fmla="val 277135"/>
              <a:gd name="f380" fmla="val 8961436"/>
              <a:gd name="f381" fmla="val 225425"/>
              <a:gd name="f382" fmla="val 9555161"/>
              <a:gd name="f383" fmla="val 1214437"/>
              <a:gd name="f384" fmla="val 9315449"/>
              <a:gd name="f385" fmla="val 7785099"/>
              <a:gd name="f386" fmla="val 8035924"/>
              <a:gd name="f387" fmla="val 8037512"/>
              <a:gd name="f388" fmla="val 3175"/>
              <a:gd name="f389" fmla="val 8523286"/>
              <a:gd name="f390" fmla="val 774700"/>
              <a:gd name="f391" fmla="val 8759824"/>
              <a:gd name="f392" fmla="val 8518524"/>
              <a:gd name="f393" fmla="val 8024812"/>
              <a:gd name="f394" fmla="val 425450"/>
              <a:gd name="f395" fmla="val 6665911"/>
              <a:gd name="f396" fmla="val 7535861"/>
              <a:gd name="f397" fmla="val 220663"/>
              <a:gd name="f398" fmla="val 6905624"/>
              <a:gd name="f399" fmla="val 473075"/>
              <a:gd name="f400" fmla="val 7459661"/>
              <a:gd name="f401" fmla="val 690562"/>
              <a:gd name="f402" fmla="val 993775"/>
              <a:gd name="f403" fmla="val 5221286"/>
              <a:gd name="f404" fmla="val 5534024"/>
              <a:gd name="f405" fmla="val 5835649"/>
              <a:gd name="f406" fmla="val 823912"/>
              <a:gd name="f407" fmla="val 6142037"/>
              <a:gd name="f408" fmla="val 6438899"/>
              <a:gd name="f409" fmla="val 6203949"/>
              <a:gd name="f410" fmla="val 419100"/>
              <a:gd name="f411" fmla="val 5916612"/>
              <a:gd name="f412" fmla="val 1196975"/>
              <a:gd name="f413" fmla="val 5740399"/>
              <a:gd name="f414" fmla="val 5454649"/>
              <a:gd name="f415" fmla="val 409575"/>
              <a:gd name="f416" fmla="val 4098924"/>
              <a:gd name="f417" fmla="val 4968874"/>
              <a:gd name="f418" fmla="val 4340224"/>
              <a:gd name="f419" fmla="val 4895849"/>
              <a:gd name="f420" fmla="val 3079749"/>
              <a:gd name="f421" fmla="val 3321049"/>
              <a:gd name="f422" fmla="val 984250"/>
              <a:gd name="f423" fmla="val 3871912"/>
              <a:gd name="f424" fmla="val 1989138"/>
              <a:gd name="f425" fmla="val 2465639"/>
              <a:gd name="f426" fmla="val 2735357"/>
              <a:gd name="f427" fmla="val 2897188"/>
              <a:gd name="f428" fmla="val 146454"/>
              <a:gd name="f429" fmla="val 392045"/>
              <a:gd name="f430" fmla="val 639889"/>
              <a:gd name="f431" fmla="val 786342"/>
              <a:gd name="f432" fmla="val 520699"/>
              <a:gd name="f433" fmla="val 833436"/>
              <a:gd name="f434" fmla="val 1135061"/>
              <a:gd name="f435" fmla="val 1439862"/>
              <a:gd name="f436" fmla="val 1736724"/>
              <a:gd name="f437" fmla="val 1503362"/>
              <a:gd name="f438" fmla="val 1216024"/>
              <a:gd name="f439" fmla="val 1039812"/>
              <a:gd name="f440" fmla="val 754062"/>
              <a:gd name="f441" fmla="val 25400"/>
              <a:gd name="f442" fmla="val 268288"/>
              <a:gd name="f443" fmla="+- 0 0 -90"/>
              <a:gd name="f444" fmla="*/ f3 1 9905999"/>
              <a:gd name="f445" fmla="*/ f4 1 2265361"/>
              <a:gd name="f446" fmla="+- f7 0 f5"/>
              <a:gd name="f447" fmla="+- f6 0 f5"/>
              <a:gd name="f448" fmla="*/ f443 f0 1"/>
              <a:gd name="f449" fmla="*/ f447 1 9905999"/>
              <a:gd name="f450" fmla="*/ f446 1 2265361"/>
              <a:gd name="f451" fmla="*/ 6778122 f447 1"/>
              <a:gd name="f452" fmla="*/ 2222531 f446 1"/>
              <a:gd name="f453" fmla="*/ 7135812 f447 1"/>
              <a:gd name="f454" fmla="*/ 2265361 f446 1"/>
              <a:gd name="f455" fmla="*/ 6449676 f447 1"/>
              <a:gd name="f456" fmla="*/ 1769427 f446 1"/>
              <a:gd name="f457" fmla="*/ 1965546 f446 1"/>
              <a:gd name="f458" fmla="*/ 6575655 f447 1"/>
              <a:gd name="f459" fmla="*/ 6679138 f447 1"/>
              <a:gd name="f460" fmla="*/ 1864105 f446 1"/>
              <a:gd name="f461" fmla="*/ 5021164 f447 1"/>
              <a:gd name="f462" fmla="*/ 1949767 f446 1"/>
              <a:gd name="f463" fmla="*/ 5158391 f447 1"/>
              <a:gd name="f464" fmla="*/ 5261874 f447 1"/>
              <a:gd name="f465" fmla="*/ 1859597 f446 1"/>
              <a:gd name="f466" fmla="*/ 5597068 f447 1"/>
              <a:gd name="f467" fmla="*/ 1762664 f446 1"/>
              <a:gd name="f468" fmla="*/ 5504834 f447 1"/>
              <a:gd name="f469" fmla="*/ 1800986 f446 1"/>
              <a:gd name="f470" fmla="*/ 5459841 f447 1"/>
              <a:gd name="f471" fmla="*/ 1967800 f446 1"/>
              <a:gd name="f472" fmla="*/ 2132361 f446 1"/>
              <a:gd name="f473" fmla="*/ 2170683 f446 1"/>
              <a:gd name="f474" fmla="*/ 5691552 f447 1"/>
              <a:gd name="f475" fmla="*/ 5734295 f447 1"/>
              <a:gd name="f476" fmla="*/ 654642 f447 1"/>
              <a:gd name="f477" fmla="*/ 560157 f447 1"/>
              <a:gd name="f478" fmla="*/ 517414 f447 1"/>
              <a:gd name="f479" fmla="*/ 746876 f447 1"/>
              <a:gd name="f480" fmla="*/ 791868 f447 1"/>
              <a:gd name="f481" fmla="*/ 6386687 f447 1"/>
              <a:gd name="f482" fmla="*/ 1710816 f446 1"/>
              <a:gd name="f483" fmla="*/ 6706134 f447 1"/>
              <a:gd name="f484" fmla="*/ 1755901 f446 1"/>
              <a:gd name="f485" fmla="*/ 6744377 f447 1"/>
              <a:gd name="f486" fmla="*/ 6701634 f447 1"/>
              <a:gd name="f487" fmla="*/ 1981326 f446 1"/>
              <a:gd name="f488" fmla="*/ 6577905 f447 1"/>
              <a:gd name="f489" fmla="*/ 2024157 f446 1"/>
              <a:gd name="f490" fmla="*/ 5889520 f447 1"/>
              <a:gd name="f491" fmla="*/ 5954759 f447 1"/>
              <a:gd name="f492" fmla="*/ 2035428 f446 1"/>
              <a:gd name="f493" fmla="*/ 6076239 f447 1"/>
              <a:gd name="f494" fmla="*/ 2172937 f446 1"/>
              <a:gd name="f495" fmla="*/ 6199968 f447 1"/>
              <a:gd name="f496" fmla="*/ 6262957 f447 1"/>
              <a:gd name="f497" fmla="*/ 2231547 f446 1"/>
              <a:gd name="f498" fmla="*/ 4958174 f447 1"/>
              <a:gd name="f499" fmla="*/ 5288869 f447 1"/>
              <a:gd name="f500" fmla="*/ 5329363 f447 1"/>
              <a:gd name="f501" fmla="*/ 1961038 f446 1"/>
              <a:gd name="f502" fmla="*/ 5228130 f447 1"/>
              <a:gd name="f503" fmla="*/ 1997106 f446 1"/>
              <a:gd name="f504" fmla="*/ 5331612 f447 1"/>
              <a:gd name="f505" fmla="*/ 5259624 f447 1"/>
              <a:gd name="f506" fmla="*/ 5162890 f447 1"/>
              <a:gd name="f507" fmla="*/ 2010631 f446 1"/>
              <a:gd name="f508" fmla="*/ 3309199 f447 1"/>
              <a:gd name="f509" fmla="*/ 3381187 f447 1"/>
              <a:gd name="f510" fmla="*/ 3633145 f447 1"/>
              <a:gd name="f511" fmla="*/ 2123344 f446 1"/>
              <a:gd name="f512" fmla="*/ 3693885 f447 1"/>
              <a:gd name="f513" fmla="*/ 3621897 f447 1"/>
              <a:gd name="f514" fmla="*/ 3372188 f447 1"/>
              <a:gd name="f515" fmla="*/ 1810003 f446 1"/>
              <a:gd name="f516" fmla="*/ 3106732 f447 1"/>
              <a:gd name="f517" fmla="*/ 3171971 f447 1"/>
              <a:gd name="f518" fmla="*/ 2663557 f447 1"/>
              <a:gd name="f519" fmla="*/ 3032495 f447 1"/>
              <a:gd name="f520" fmla="*/ 2879521 f447 1"/>
              <a:gd name="f521" fmla="*/ 2814282 f447 1"/>
              <a:gd name="f522" fmla="*/ 2416099 f447 1"/>
              <a:gd name="f523" fmla="*/ 2481338 f447 1"/>
              <a:gd name="f524" fmla="*/ 2163920 f446 1"/>
              <a:gd name="f525" fmla="*/ 2726547 f447 1"/>
              <a:gd name="f526" fmla="*/ 1918931 f447 1"/>
              <a:gd name="f527" fmla="*/ 1984171 f447 1"/>
              <a:gd name="f528" fmla="*/ 2105651 f447 1"/>
              <a:gd name="f529" fmla="*/ 2229380 f447 1"/>
              <a:gd name="f530" fmla="*/ 2292369 f447 1"/>
              <a:gd name="f531" fmla="*/ 960591 f447 1"/>
              <a:gd name="f532" fmla="*/ 1032578 f447 1"/>
              <a:gd name="f533" fmla="*/ 1284537 f447 1"/>
              <a:gd name="f534" fmla="*/ 1345276 f447 1"/>
              <a:gd name="f535" fmla="*/ 1273289 f447 1"/>
              <a:gd name="f536" fmla="*/ 1023580 f447 1"/>
              <a:gd name="f537" fmla="*/ 1701799 f446 1"/>
              <a:gd name="f538" fmla="*/ 5736545 f447 1"/>
              <a:gd name="f539" fmla="*/ 5801784 f447 1"/>
              <a:gd name="f540" fmla="*/ 2177446 f446 1"/>
              <a:gd name="f541" fmla="*/ 2233802 f446 1"/>
              <a:gd name="f542" fmla="*/ 5394602 f447 1"/>
              <a:gd name="f543" fmla="*/ 4645477 f447 1"/>
              <a:gd name="f544" fmla="*/ 4791702 f447 1"/>
              <a:gd name="f545" fmla="*/ 1758155 f446 1"/>
              <a:gd name="f546" fmla="*/ 4834445 f447 1"/>
              <a:gd name="f547" fmla="*/ 4766956 f447 1"/>
              <a:gd name="f548" fmla="*/ 4744460 f447 1"/>
              <a:gd name="f549" fmla="*/ 1803240 f446 1"/>
              <a:gd name="f550" fmla="*/ 4550992 f447 1"/>
              <a:gd name="f551" fmla="*/ 4506000 f447 1"/>
              <a:gd name="f552" fmla="*/ 4553242 f447 1"/>
              <a:gd name="f553" fmla="*/ 2134615 f446 1"/>
              <a:gd name="f554" fmla="*/ 4737711 f447 1"/>
              <a:gd name="f555" fmla="*/ 2136869 f446 1"/>
              <a:gd name="f556" fmla="*/ 4780454 f447 1"/>
              <a:gd name="f557" fmla="*/ 2006123 f446 1"/>
              <a:gd name="f558" fmla="*/ 1947512 f446 1"/>
              <a:gd name="f559" fmla="*/ 4838944 f447 1"/>
              <a:gd name="f560" fmla="*/ 4793952 f447 1"/>
              <a:gd name="f561" fmla="*/ 4782704 f447 1"/>
              <a:gd name="f562" fmla="*/ 2161666 f446 1"/>
              <a:gd name="f563" fmla="*/ 2179700 f446 1"/>
              <a:gd name="f564" fmla="*/ 4440761 f447 1"/>
              <a:gd name="f565" fmla="*/ 4002083 f447 1"/>
              <a:gd name="f566" fmla="*/ 4148309 f447 1"/>
              <a:gd name="f567" fmla="*/ 4193302 f447 1"/>
              <a:gd name="f568" fmla="*/ 4125813 f447 1"/>
              <a:gd name="f569" fmla="*/ 4103317 f447 1"/>
              <a:gd name="f570" fmla="*/ 3909849 f447 1"/>
              <a:gd name="f571" fmla="*/ 3864856 f447 1"/>
              <a:gd name="f572" fmla="*/ 4094318 f447 1"/>
              <a:gd name="f573" fmla="*/ 4139311 f447 1"/>
              <a:gd name="f574" fmla="*/ 4197801 f447 1"/>
              <a:gd name="f575" fmla="*/ 4152808 f447 1"/>
              <a:gd name="f576" fmla="*/ 4141560 f447 1"/>
              <a:gd name="f577" fmla="*/ 3797367 f447 1"/>
              <a:gd name="f578" fmla="*/ 1642228 f447 1"/>
              <a:gd name="f579" fmla="*/ 1774955 f447 1"/>
              <a:gd name="f580" fmla="*/ 1749138 f446 1"/>
              <a:gd name="f581" fmla="*/ 1824447 f447 1"/>
              <a:gd name="f582" fmla="*/ 1756958 f447 1"/>
              <a:gd name="f583" fmla="*/ 1732212 f447 1"/>
              <a:gd name="f584" fmla="*/ 1796478 f446 1"/>
              <a:gd name="f585" fmla="*/ 1639978 f447 1"/>
              <a:gd name="f586" fmla="*/ 1760410 f446 1"/>
              <a:gd name="f587" fmla="*/ 1549993 f447 1"/>
              <a:gd name="f588" fmla="*/ 1529746 f447 1"/>
              <a:gd name="f589" fmla="*/ 1850580 f446 1"/>
              <a:gd name="f590" fmla="*/ 1606234 f447 1"/>
              <a:gd name="f591" fmla="*/ 1922716 f446 1"/>
              <a:gd name="f592" fmla="*/ 1691719 f447 1"/>
              <a:gd name="f593" fmla="*/ 1936241 f446 1"/>
              <a:gd name="f594" fmla="*/ 1833445 f447 1"/>
              <a:gd name="f595" fmla="*/ 2082767 f446 1"/>
              <a:gd name="f596" fmla="*/ 1790703 f447 1"/>
              <a:gd name="f597" fmla="*/ 2181954 f446 1"/>
              <a:gd name="f598" fmla="*/ 1644477 f447 1"/>
              <a:gd name="f599" fmla="*/ 1498251 f447 1"/>
              <a:gd name="f600" fmla="*/ 2184208 f446 1"/>
              <a:gd name="f601" fmla="*/ 1444260 f447 1"/>
              <a:gd name="f602" fmla="*/ 2060225 f446 1"/>
              <a:gd name="f603" fmla="*/ 1509499 f447 1"/>
              <a:gd name="f604" fmla="*/ 1545494 f447 1"/>
              <a:gd name="f605" fmla="*/ 2141378 f446 1"/>
              <a:gd name="f606" fmla="*/ 1738962 f447 1"/>
              <a:gd name="f607" fmla="*/ 2143632 f446 1"/>
              <a:gd name="f608" fmla="*/ 1765956 f447 1"/>
              <a:gd name="f609" fmla="*/ 1680471 f447 1"/>
              <a:gd name="f610" fmla="*/ 2001614 f446 1"/>
              <a:gd name="f611" fmla="*/ 1599484 f447 1"/>
              <a:gd name="f612" fmla="*/ 1988089 f446 1"/>
              <a:gd name="f613" fmla="*/ 1462257 f447 1"/>
              <a:gd name="f614" fmla="*/ 1852834 f446 1"/>
              <a:gd name="f615" fmla="*/ 1507249 f447 1"/>
              <a:gd name="f616" fmla="*/ 1751393 f446 1"/>
              <a:gd name="f617" fmla="*/ 857108 f447 1"/>
              <a:gd name="f618" fmla="*/ 515164 f447 1"/>
              <a:gd name="f619" fmla="*/ 449925 f447 1"/>
              <a:gd name="f620" fmla="*/ 202466 f447 1"/>
              <a:gd name="f621" fmla="*/ 339693 f447 1"/>
              <a:gd name="f622" fmla="*/ 1753647 f446 1"/>
              <a:gd name="f623" fmla="*/ 389185 f447 1"/>
              <a:gd name="f624" fmla="*/ 1870868 f446 1"/>
              <a:gd name="f625" fmla="*/ 323946 f447 1"/>
              <a:gd name="f626" fmla="*/ 294701 f447 1"/>
              <a:gd name="f627" fmla="*/ 1798732 f446 1"/>
              <a:gd name="f628" fmla="*/ 110232 f447 1"/>
              <a:gd name="f629" fmla="*/ 67489 f447 1"/>
              <a:gd name="f630" fmla="*/ 296951 f447 1"/>
              <a:gd name="f631" fmla="*/ 391435 f447 1"/>
              <a:gd name="f632" fmla="*/ 65239 f447 1"/>
              <a:gd name="f633" fmla="*/ 0 f447 1"/>
              <a:gd name="f634" fmla="*/ 2227389 f447 1"/>
              <a:gd name="f635" fmla="*/ 214047 f446 1"/>
              <a:gd name="f636" fmla="*/ 574548 f446 1"/>
              <a:gd name="f637" fmla="*/ 2456649 f447 1"/>
              <a:gd name="f638" fmla="*/ 2654442 f447 1"/>
              <a:gd name="f639" fmla="*/ 394298 f446 1"/>
              <a:gd name="f640" fmla="*/ 8961436 f447 1"/>
              <a:gd name="f641" fmla="*/ 0 f446 1"/>
              <a:gd name="f642" fmla="*/ 9905999 f447 1"/>
              <a:gd name="f643" fmla="*/ 225425 f446 1"/>
              <a:gd name="f644" fmla="*/ 9555161 f447 1"/>
              <a:gd name="f645" fmla="*/ 1214437 f446 1"/>
              <a:gd name="f646" fmla="*/ 9315449 f447 1"/>
              <a:gd name="f647" fmla="*/ 7785099 f447 1"/>
              <a:gd name="f648" fmla="*/ 8035924 f447 1"/>
              <a:gd name="f649" fmla="*/ 8037512 f447 1"/>
              <a:gd name="f650" fmla="*/ 3175 f446 1"/>
              <a:gd name="f651" fmla="*/ 8523286 f447 1"/>
              <a:gd name="f652" fmla="*/ 774700 f446 1"/>
              <a:gd name="f653" fmla="*/ 8759824 f447 1"/>
              <a:gd name="f654" fmla="*/ 8518524 f447 1"/>
              <a:gd name="f655" fmla="*/ 8024812 f447 1"/>
              <a:gd name="f656" fmla="*/ 425450 f446 1"/>
              <a:gd name="f657" fmla="*/ 6665911 f447 1"/>
              <a:gd name="f658" fmla="*/ 7535861 f447 1"/>
              <a:gd name="f659" fmla="*/ 220663 f446 1"/>
              <a:gd name="f660" fmla="*/ 6905624 f447 1"/>
              <a:gd name="f661" fmla="*/ 473075 f446 1"/>
              <a:gd name="f662" fmla="*/ 7459661 f447 1"/>
              <a:gd name="f663" fmla="*/ 690562 f446 1"/>
              <a:gd name="f664" fmla="*/ 993775 f446 1"/>
              <a:gd name="f665" fmla="*/ 5221286 f447 1"/>
              <a:gd name="f666" fmla="*/ 5534024 f447 1"/>
              <a:gd name="f667" fmla="*/ 5835649 f447 1"/>
              <a:gd name="f668" fmla="*/ 823912 f446 1"/>
              <a:gd name="f669" fmla="*/ 6142037 f447 1"/>
              <a:gd name="f670" fmla="*/ 6438899 f447 1"/>
              <a:gd name="f671" fmla="*/ 6203949 f447 1"/>
              <a:gd name="f672" fmla="*/ 419100 f446 1"/>
              <a:gd name="f673" fmla="*/ 5916612 f447 1"/>
              <a:gd name="f674" fmla="*/ 1196975 f446 1"/>
              <a:gd name="f675" fmla="*/ 5740399 f447 1"/>
              <a:gd name="f676" fmla="*/ 5454649 f447 1"/>
              <a:gd name="f677" fmla="*/ 409575 f446 1"/>
              <a:gd name="f678" fmla="*/ 4098924 f447 1"/>
              <a:gd name="f679" fmla="*/ 4968874 f447 1"/>
              <a:gd name="f680" fmla="*/ 4340224 f447 1"/>
              <a:gd name="f681" fmla="*/ 4895849 f447 1"/>
              <a:gd name="f682" fmla="*/ 3079749 f447 1"/>
              <a:gd name="f683" fmla="*/ 3321049 f447 1"/>
              <a:gd name="f684" fmla="*/ 984250 f446 1"/>
              <a:gd name="f685" fmla="*/ 3871912 f447 1"/>
              <a:gd name="f686" fmla="*/ 1989138 f447 1"/>
              <a:gd name="f687" fmla="*/ 2465639 f447 1"/>
              <a:gd name="f688" fmla="*/ 2897188 f447 1"/>
              <a:gd name="f689" fmla="*/ 392045 f446 1"/>
              <a:gd name="f690" fmla="*/ 786342 f446 1"/>
              <a:gd name="f691" fmla="*/ 520699 f447 1"/>
              <a:gd name="f692" fmla="*/ 833436 f447 1"/>
              <a:gd name="f693" fmla="*/ 1135061 f447 1"/>
              <a:gd name="f694" fmla="*/ 1439862 f447 1"/>
              <a:gd name="f695" fmla="*/ 1736724 f447 1"/>
              <a:gd name="f696" fmla="*/ 1503362 f447 1"/>
              <a:gd name="f697" fmla="*/ 1216024 f447 1"/>
              <a:gd name="f698" fmla="*/ 1039812 f447 1"/>
              <a:gd name="f699" fmla="*/ 754062 f447 1"/>
              <a:gd name="f700" fmla="*/ 25400 f447 1"/>
              <a:gd name="f701" fmla="*/ 268288 f447 1"/>
              <a:gd name="f702" fmla="*/ f448 1 f2"/>
              <a:gd name="f703" fmla="*/ f451 1 9905999"/>
              <a:gd name="f704" fmla="*/ f452 1 2265361"/>
              <a:gd name="f705" fmla="*/ f453 1 9905999"/>
              <a:gd name="f706" fmla="*/ f454 1 2265361"/>
              <a:gd name="f707" fmla="*/ f455 1 9905999"/>
              <a:gd name="f708" fmla="*/ f456 1 2265361"/>
              <a:gd name="f709" fmla="*/ f457 1 2265361"/>
              <a:gd name="f710" fmla="*/ f458 1 9905999"/>
              <a:gd name="f711" fmla="*/ f459 1 9905999"/>
              <a:gd name="f712" fmla="*/ f460 1 2265361"/>
              <a:gd name="f713" fmla="*/ f461 1 9905999"/>
              <a:gd name="f714" fmla="*/ f462 1 2265361"/>
              <a:gd name="f715" fmla="*/ f463 1 9905999"/>
              <a:gd name="f716" fmla="*/ f464 1 9905999"/>
              <a:gd name="f717" fmla="*/ f465 1 2265361"/>
              <a:gd name="f718" fmla="*/ f466 1 9905999"/>
              <a:gd name="f719" fmla="*/ f467 1 2265361"/>
              <a:gd name="f720" fmla="*/ f468 1 9905999"/>
              <a:gd name="f721" fmla="*/ f469 1 2265361"/>
              <a:gd name="f722" fmla="*/ f470 1 9905999"/>
              <a:gd name="f723" fmla="*/ f471 1 2265361"/>
              <a:gd name="f724" fmla="*/ f472 1 2265361"/>
              <a:gd name="f725" fmla="*/ f473 1 2265361"/>
              <a:gd name="f726" fmla="*/ f474 1 9905999"/>
              <a:gd name="f727" fmla="*/ f475 1 9905999"/>
              <a:gd name="f728" fmla="*/ f476 1 9905999"/>
              <a:gd name="f729" fmla="*/ f477 1 9905999"/>
              <a:gd name="f730" fmla="*/ f478 1 9905999"/>
              <a:gd name="f731" fmla="*/ f479 1 9905999"/>
              <a:gd name="f732" fmla="*/ f480 1 9905999"/>
              <a:gd name="f733" fmla="*/ f481 1 9905999"/>
              <a:gd name="f734" fmla="*/ f482 1 2265361"/>
              <a:gd name="f735" fmla="*/ f483 1 9905999"/>
              <a:gd name="f736" fmla="*/ f484 1 2265361"/>
              <a:gd name="f737" fmla="*/ f485 1 9905999"/>
              <a:gd name="f738" fmla="*/ f486 1 9905999"/>
              <a:gd name="f739" fmla="*/ f487 1 2265361"/>
              <a:gd name="f740" fmla="*/ f488 1 9905999"/>
              <a:gd name="f741" fmla="*/ f489 1 2265361"/>
              <a:gd name="f742" fmla="*/ f490 1 9905999"/>
              <a:gd name="f743" fmla="*/ f491 1 9905999"/>
              <a:gd name="f744" fmla="*/ f492 1 2265361"/>
              <a:gd name="f745" fmla="*/ f493 1 9905999"/>
              <a:gd name="f746" fmla="*/ f494 1 2265361"/>
              <a:gd name="f747" fmla="*/ f495 1 9905999"/>
              <a:gd name="f748" fmla="*/ f496 1 9905999"/>
              <a:gd name="f749" fmla="*/ f497 1 2265361"/>
              <a:gd name="f750" fmla="*/ f498 1 9905999"/>
              <a:gd name="f751" fmla="*/ f499 1 9905999"/>
              <a:gd name="f752" fmla="*/ f500 1 9905999"/>
              <a:gd name="f753" fmla="*/ f501 1 2265361"/>
              <a:gd name="f754" fmla="*/ f502 1 9905999"/>
              <a:gd name="f755" fmla="*/ f503 1 2265361"/>
              <a:gd name="f756" fmla="*/ f504 1 9905999"/>
              <a:gd name="f757" fmla="*/ f505 1 9905999"/>
              <a:gd name="f758" fmla="*/ f506 1 9905999"/>
              <a:gd name="f759" fmla="*/ f507 1 2265361"/>
              <a:gd name="f760" fmla="*/ f508 1 9905999"/>
              <a:gd name="f761" fmla="*/ f509 1 9905999"/>
              <a:gd name="f762" fmla="*/ f510 1 9905999"/>
              <a:gd name="f763" fmla="*/ f511 1 2265361"/>
              <a:gd name="f764" fmla="*/ f512 1 9905999"/>
              <a:gd name="f765" fmla="*/ f513 1 9905999"/>
              <a:gd name="f766" fmla="*/ f514 1 9905999"/>
              <a:gd name="f767" fmla="*/ f515 1 2265361"/>
              <a:gd name="f768" fmla="*/ f516 1 9905999"/>
              <a:gd name="f769" fmla="*/ f517 1 9905999"/>
              <a:gd name="f770" fmla="*/ f518 1 9905999"/>
              <a:gd name="f771" fmla="*/ f519 1 9905999"/>
              <a:gd name="f772" fmla="*/ f520 1 9905999"/>
              <a:gd name="f773" fmla="*/ f521 1 9905999"/>
              <a:gd name="f774" fmla="*/ f522 1 9905999"/>
              <a:gd name="f775" fmla="*/ f523 1 9905999"/>
              <a:gd name="f776" fmla="*/ f524 1 2265361"/>
              <a:gd name="f777" fmla="*/ f525 1 9905999"/>
              <a:gd name="f778" fmla="*/ f526 1 9905999"/>
              <a:gd name="f779" fmla="*/ f527 1 9905999"/>
              <a:gd name="f780" fmla="*/ f528 1 9905999"/>
              <a:gd name="f781" fmla="*/ f529 1 9905999"/>
              <a:gd name="f782" fmla="*/ f530 1 9905999"/>
              <a:gd name="f783" fmla="*/ f531 1 9905999"/>
              <a:gd name="f784" fmla="*/ f532 1 9905999"/>
              <a:gd name="f785" fmla="*/ f533 1 9905999"/>
              <a:gd name="f786" fmla="*/ f534 1 9905999"/>
              <a:gd name="f787" fmla="*/ f535 1 9905999"/>
              <a:gd name="f788" fmla="*/ f536 1 9905999"/>
              <a:gd name="f789" fmla="*/ f537 1 2265361"/>
              <a:gd name="f790" fmla="*/ f538 1 9905999"/>
              <a:gd name="f791" fmla="*/ f539 1 9905999"/>
              <a:gd name="f792" fmla="*/ f540 1 2265361"/>
              <a:gd name="f793" fmla="*/ f541 1 2265361"/>
              <a:gd name="f794" fmla="*/ f542 1 9905999"/>
              <a:gd name="f795" fmla="*/ f543 1 9905999"/>
              <a:gd name="f796" fmla="*/ f544 1 9905999"/>
              <a:gd name="f797" fmla="*/ f545 1 2265361"/>
              <a:gd name="f798" fmla="*/ f546 1 9905999"/>
              <a:gd name="f799" fmla="*/ f547 1 9905999"/>
              <a:gd name="f800" fmla="*/ f548 1 9905999"/>
              <a:gd name="f801" fmla="*/ f549 1 2265361"/>
              <a:gd name="f802" fmla="*/ f550 1 9905999"/>
              <a:gd name="f803" fmla="*/ f551 1 9905999"/>
              <a:gd name="f804" fmla="*/ f552 1 9905999"/>
              <a:gd name="f805" fmla="*/ f553 1 2265361"/>
              <a:gd name="f806" fmla="*/ f554 1 9905999"/>
              <a:gd name="f807" fmla="*/ f555 1 2265361"/>
              <a:gd name="f808" fmla="*/ f556 1 9905999"/>
              <a:gd name="f809" fmla="*/ f557 1 2265361"/>
              <a:gd name="f810" fmla="*/ f558 1 2265361"/>
              <a:gd name="f811" fmla="*/ f559 1 9905999"/>
              <a:gd name="f812" fmla="*/ f560 1 9905999"/>
              <a:gd name="f813" fmla="*/ f561 1 9905999"/>
              <a:gd name="f814" fmla="*/ f562 1 2265361"/>
              <a:gd name="f815" fmla="*/ f563 1 2265361"/>
              <a:gd name="f816" fmla="*/ f564 1 9905999"/>
              <a:gd name="f817" fmla="*/ f565 1 9905999"/>
              <a:gd name="f818" fmla="*/ f566 1 9905999"/>
              <a:gd name="f819" fmla="*/ f567 1 9905999"/>
              <a:gd name="f820" fmla="*/ f568 1 9905999"/>
              <a:gd name="f821" fmla="*/ f569 1 9905999"/>
              <a:gd name="f822" fmla="*/ f570 1 9905999"/>
              <a:gd name="f823" fmla="*/ f571 1 9905999"/>
              <a:gd name="f824" fmla="*/ f572 1 9905999"/>
              <a:gd name="f825" fmla="*/ f573 1 9905999"/>
              <a:gd name="f826" fmla="*/ f574 1 9905999"/>
              <a:gd name="f827" fmla="*/ f575 1 9905999"/>
              <a:gd name="f828" fmla="*/ f576 1 9905999"/>
              <a:gd name="f829" fmla="*/ f577 1 9905999"/>
              <a:gd name="f830" fmla="*/ f578 1 9905999"/>
              <a:gd name="f831" fmla="*/ f579 1 9905999"/>
              <a:gd name="f832" fmla="*/ f580 1 2265361"/>
              <a:gd name="f833" fmla="*/ f581 1 9905999"/>
              <a:gd name="f834" fmla="*/ f582 1 9905999"/>
              <a:gd name="f835" fmla="*/ f583 1 9905999"/>
              <a:gd name="f836" fmla="*/ f584 1 2265361"/>
              <a:gd name="f837" fmla="*/ f585 1 9905999"/>
              <a:gd name="f838" fmla="*/ f586 1 2265361"/>
              <a:gd name="f839" fmla="*/ f587 1 9905999"/>
              <a:gd name="f840" fmla="*/ f588 1 9905999"/>
              <a:gd name="f841" fmla="*/ f589 1 2265361"/>
              <a:gd name="f842" fmla="*/ f590 1 9905999"/>
              <a:gd name="f843" fmla="*/ f591 1 2265361"/>
              <a:gd name="f844" fmla="*/ f592 1 9905999"/>
              <a:gd name="f845" fmla="*/ f593 1 2265361"/>
              <a:gd name="f846" fmla="*/ f594 1 9905999"/>
              <a:gd name="f847" fmla="*/ f595 1 2265361"/>
              <a:gd name="f848" fmla="*/ f596 1 9905999"/>
              <a:gd name="f849" fmla="*/ f597 1 2265361"/>
              <a:gd name="f850" fmla="*/ f598 1 9905999"/>
              <a:gd name="f851" fmla="*/ f599 1 9905999"/>
              <a:gd name="f852" fmla="*/ f600 1 2265361"/>
              <a:gd name="f853" fmla="*/ f601 1 9905999"/>
              <a:gd name="f854" fmla="*/ f602 1 2265361"/>
              <a:gd name="f855" fmla="*/ f603 1 9905999"/>
              <a:gd name="f856" fmla="*/ f604 1 9905999"/>
              <a:gd name="f857" fmla="*/ f605 1 2265361"/>
              <a:gd name="f858" fmla="*/ f606 1 9905999"/>
              <a:gd name="f859" fmla="*/ f607 1 2265361"/>
              <a:gd name="f860" fmla="*/ f608 1 9905999"/>
              <a:gd name="f861" fmla="*/ f609 1 9905999"/>
              <a:gd name="f862" fmla="*/ f610 1 2265361"/>
              <a:gd name="f863" fmla="*/ f611 1 9905999"/>
              <a:gd name="f864" fmla="*/ f612 1 2265361"/>
              <a:gd name="f865" fmla="*/ f613 1 9905999"/>
              <a:gd name="f866" fmla="*/ f614 1 2265361"/>
              <a:gd name="f867" fmla="*/ f615 1 9905999"/>
              <a:gd name="f868" fmla="*/ f616 1 2265361"/>
              <a:gd name="f869" fmla="*/ f617 1 9905999"/>
              <a:gd name="f870" fmla="*/ f618 1 9905999"/>
              <a:gd name="f871" fmla="*/ f619 1 9905999"/>
              <a:gd name="f872" fmla="*/ f620 1 9905999"/>
              <a:gd name="f873" fmla="*/ f621 1 9905999"/>
              <a:gd name="f874" fmla="*/ f622 1 2265361"/>
              <a:gd name="f875" fmla="*/ f623 1 9905999"/>
              <a:gd name="f876" fmla="*/ f624 1 2265361"/>
              <a:gd name="f877" fmla="*/ f625 1 9905999"/>
              <a:gd name="f878" fmla="*/ f626 1 9905999"/>
              <a:gd name="f879" fmla="*/ f627 1 2265361"/>
              <a:gd name="f880" fmla="*/ f628 1 9905999"/>
              <a:gd name="f881" fmla="*/ f629 1 9905999"/>
              <a:gd name="f882" fmla="*/ f630 1 9905999"/>
              <a:gd name="f883" fmla="*/ f631 1 9905999"/>
              <a:gd name="f884" fmla="*/ f632 1 9905999"/>
              <a:gd name="f885" fmla="*/ f633 1 9905999"/>
              <a:gd name="f886" fmla="*/ f634 1 9905999"/>
              <a:gd name="f887" fmla="*/ f635 1 2265361"/>
              <a:gd name="f888" fmla="*/ f636 1 2265361"/>
              <a:gd name="f889" fmla="*/ f637 1 9905999"/>
              <a:gd name="f890" fmla="*/ f638 1 9905999"/>
              <a:gd name="f891" fmla="*/ f639 1 2265361"/>
              <a:gd name="f892" fmla="*/ f640 1 9905999"/>
              <a:gd name="f893" fmla="*/ f641 1 2265361"/>
              <a:gd name="f894" fmla="*/ f642 1 9905999"/>
              <a:gd name="f895" fmla="*/ f643 1 2265361"/>
              <a:gd name="f896" fmla="*/ f644 1 9905999"/>
              <a:gd name="f897" fmla="*/ f645 1 2265361"/>
              <a:gd name="f898" fmla="*/ f646 1 9905999"/>
              <a:gd name="f899" fmla="*/ f647 1 9905999"/>
              <a:gd name="f900" fmla="*/ f648 1 9905999"/>
              <a:gd name="f901" fmla="*/ f649 1 9905999"/>
              <a:gd name="f902" fmla="*/ f650 1 2265361"/>
              <a:gd name="f903" fmla="*/ f651 1 9905999"/>
              <a:gd name="f904" fmla="*/ f652 1 2265361"/>
              <a:gd name="f905" fmla="*/ f653 1 9905999"/>
              <a:gd name="f906" fmla="*/ f654 1 9905999"/>
              <a:gd name="f907" fmla="*/ f655 1 9905999"/>
              <a:gd name="f908" fmla="*/ f656 1 2265361"/>
              <a:gd name="f909" fmla="*/ f657 1 9905999"/>
              <a:gd name="f910" fmla="*/ f658 1 9905999"/>
              <a:gd name="f911" fmla="*/ f659 1 2265361"/>
              <a:gd name="f912" fmla="*/ f660 1 9905999"/>
              <a:gd name="f913" fmla="*/ f661 1 2265361"/>
              <a:gd name="f914" fmla="*/ f662 1 9905999"/>
              <a:gd name="f915" fmla="*/ f663 1 2265361"/>
              <a:gd name="f916" fmla="*/ f664 1 2265361"/>
              <a:gd name="f917" fmla="*/ f665 1 9905999"/>
              <a:gd name="f918" fmla="*/ f666 1 9905999"/>
              <a:gd name="f919" fmla="*/ f667 1 9905999"/>
              <a:gd name="f920" fmla="*/ f668 1 2265361"/>
              <a:gd name="f921" fmla="*/ f669 1 9905999"/>
              <a:gd name="f922" fmla="*/ f670 1 9905999"/>
              <a:gd name="f923" fmla="*/ f671 1 9905999"/>
              <a:gd name="f924" fmla="*/ f672 1 2265361"/>
              <a:gd name="f925" fmla="*/ f673 1 9905999"/>
              <a:gd name="f926" fmla="*/ f674 1 2265361"/>
              <a:gd name="f927" fmla="*/ f675 1 9905999"/>
              <a:gd name="f928" fmla="*/ f676 1 9905999"/>
              <a:gd name="f929" fmla="*/ f677 1 2265361"/>
              <a:gd name="f930" fmla="*/ f678 1 9905999"/>
              <a:gd name="f931" fmla="*/ f679 1 9905999"/>
              <a:gd name="f932" fmla="*/ f680 1 9905999"/>
              <a:gd name="f933" fmla="*/ f681 1 9905999"/>
              <a:gd name="f934" fmla="*/ f682 1 9905999"/>
              <a:gd name="f935" fmla="*/ f683 1 9905999"/>
              <a:gd name="f936" fmla="*/ f684 1 2265361"/>
              <a:gd name="f937" fmla="*/ f685 1 9905999"/>
              <a:gd name="f938" fmla="*/ f686 1 9905999"/>
              <a:gd name="f939" fmla="*/ f687 1 9905999"/>
              <a:gd name="f940" fmla="*/ f688 1 9905999"/>
              <a:gd name="f941" fmla="*/ f689 1 2265361"/>
              <a:gd name="f942" fmla="*/ f690 1 2265361"/>
              <a:gd name="f943" fmla="*/ f691 1 9905999"/>
              <a:gd name="f944" fmla="*/ f692 1 9905999"/>
              <a:gd name="f945" fmla="*/ f693 1 9905999"/>
              <a:gd name="f946" fmla="*/ f694 1 9905999"/>
              <a:gd name="f947" fmla="*/ f695 1 9905999"/>
              <a:gd name="f948" fmla="*/ f696 1 9905999"/>
              <a:gd name="f949" fmla="*/ f697 1 9905999"/>
              <a:gd name="f950" fmla="*/ f698 1 9905999"/>
              <a:gd name="f951" fmla="*/ f699 1 9905999"/>
              <a:gd name="f952" fmla="*/ f700 1 9905999"/>
              <a:gd name="f953" fmla="*/ f701 1 9905999"/>
              <a:gd name="f954" fmla="*/ f5 1 f449"/>
              <a:gd name="f955" fmla="*/ f6 1 f449"/>
              <a:gd name="f956" fmla="*/ f5 1 f450"/>
              <a:gd name="f957" fmla="*/ f7 1 f450"/>
              <a:gd name="f958" fmla="+- f702 0 f1"/>
              <a:gd name="f959" fmla="*/ f703 1 f449"/>
              <a:gd name="f960" fmla="*/ f704 1 f450"/>
              <a:gd name="f961" fmla="*/ f705 1 f449"/>
              <a:gd name="f962" fmla="*/ f706 1 f450"/>
              <a:gd name="f963" fmla="*/ f707 1 f449"/>
              <a:gd name="f964" fmla="*/ f708 1 f450"/>
              <a:gd name="f965" fmla="*/ f709 1 f450"/>
              <a:gd name="f966" fmla="*/ f710 1 f449"/>
              <a:gd name="f967" fmla="*/ f711 1 f449"/>
              <a:gd name="f968" fmla="*/ f712 1 f450"/>
              <a:gd name="f969" fmla="*/ f713 1 f449"/>
              <a:gd name="f970" fmla="*/ f714 1 f450"/>
              <a:gd name="f971" fmla="*/ f715 1 f449"/>
              <a:gd name="f972" fmla="*/ f716 1 f449"/>
              <a:gd name="f973" fmla="*/ f717 1 f450"/>
              <a:gd name="f974" fmla="*/ f718 1 f449"/>
              <a:gd name="f975" fmla="*/ f719 1 f450"/>
              <a:gd name="f976" fmla="*/ f720 1 f449"/>
              <a:gd name="f977" fmla="*/ f721 1 f450"/>
              <a:gd name="f978" fmla="*/ f722 1 f449"/>
              <a:gd name="f979" fmla="*/ f723 1 f450"/>
              <a:gd name="f980" fmla="*/ f724 1 f450"/>
              <a:gd name="f981" fmla="*/ f725 1 f450"/>
              <a:gd name="f982" fmla="*/ f726 1 f449"/>
              <a:gd name="f983" fmla="*/ f727 1 f449"/>
              <a:gd name="f984" fmla="*/ f728 1 f449"/>
              <a:gd name="f985" fmla="*/ f729 1 f449"/>
              <a:gd name="f986" fmla="*/ f730 1 f449"/>
              <a:gd name="f987" fmla="*/ f731 1 f449"/>
              <a:gd name="f988" fmla="*/ f732 1 f449"/>
              <a:gd name="f989" fmla="*/ f733 1 f449"/>
              <a:gd name="f990" fmla="*/ f734 1 f450"/>
              <a:gd name="f991" fmla="*/ f735 1 f449"/>
              <a:gd name="f992" fmla="*/ f736 1 f450"/>
              <a:gd name="f993" fmla="*/ f737 1 f449"/>
              <a:gd name="f994" fmla="*/ f738 1 f449"/>
              <a:gd name="f995" fmla="*/ f739 1 f450"/>
              <a:gd name="f996" fmla="*/ f740 1 f449"/>
              <a:gd name="f997" fmla="*/ f741 1 f450"/>
              <a:gd name="f998" fmla="*/ f742 1 f449"/>
              <a:gd name="f999" fmla="*/ f743 1 f449"/>
              <a:gd name="f1000" fmla="*/ f744 1 f450"/>
              <a:gd name="f1001" fmla="*/ f745 1 f449"/>
              <a:gd name="f1002" fmla="*/ f746 1 f450"/>
              <a:gd name="f1003" fmla="*/ f747 1 f449"/>
              <a:gd name="f1004" fmla="*/ f748 1 f449"/>
              <a:gd name="f1005" fmla="*/ f749 1 f450"/>
              <a:gd name="f1006" fmla="*/ f750 1 f449"/>
              <a:gd name="f1007" fmla="*/ f751 1 f449"/>
              <a:gd name="f1008" fmla="*/ f752 1 f449"/>
              <a:gd name="f1009" fmla="*/ f753 1 f450"/>
              <a:gd name="f1010" fmla="*/ f754 1 f449"/>
              <a:gd name="f1011" fmla="*/ f755 1 f450"/>
              <a:gd name="f1012" fmla="*/ f756 1 f449"/>
              <a:gd name="f1013" fmla="*/ f757 1 f449"/>
              <a:gd name="f1014" fmla="*/ f758 1 f449"/>
              <a:gd name="f1015" fmla="*/ f759 1 f450"/>
              <a:gd name="f1016" fmla="*/ f760 1 f449"/>
              <a:gd name="f1017" fmla="*/ f761 1 f449"/>
              <a:gd name="f1018" fmla="*/ f762 1 f449"/>
              <a:gd name="f1019" fmla="*/ f763 1 f450"/>
              <a:gd name="f1020" fmla="*/ f764 1 f449"/>
              <a:gd name="f1021" fmla="*/ f765 1 f449"/>
              <a:gd name="f1022" fmla="*/ f766 1 f449"/>
              <a:gd name="f1023" fmla="*/ f767 1 f450"/>
              <a:gd name="f1024" fmla="*/ f768 1 f449"/>
              <a:gd name="f1025" fmla="*/ f769 1 f449"/>
              <a:gd name="f1026" fmla="*/ f770 1 f449"/>
              <a:gd name="f1027" fmla="*/ f771 1 f449"/>
              <a:gd name="f1028" fmla="*/ f772 1 f449"/>
              <a:gd name="f1029" fmla="*/ f773 1 f449"/>
              <a:gd name="f1030" fmla="*/ f774 1 f449"/>
              <a:gd name="f1031" fmla="*/ f775 1 f449"/>
              <a:gd name="f1032" fmla="*/ f776 1 f450"/>
              <a:gd name="f1033" fmla="*/ f777 1 f449"/>
              <a:gd name="f1034" fmla="*/ f778 1 f449"/>
              <a:gd name="f1035" fmla="*/ f779 1 f449"/>
              <a:gd name="f1036" fmla="*/ f780 1 f449"/>
              <a:gd name="f1037" fmla="*/ f781 1 f449"/>
              <a:gd name="f1038" fmla="*/ f782 1 f449"/>
              <a:gd name="f1039" fmla="*/ f783 1 f449"/>
              <a:gd name="f1040" fmla="*/ f784 1 f449"/>
              <a:gd name="f1041" fmla="*/ f785 1 f449"/>
              <a:gd name="f1042" fmla="*/ f786 1 f449"/>
              <a:gd name="f1043" fmla="*/ f787 1 f449"/>
              <a:gd name="f1044" fmla="*/ f788 1 f449"/>
              <a:gd name="f1045" fmla="*/ f789 1 f450"/>
              <a:gd name="f1046" fmla="*/ f790 1 f449"/>
              <a:gd name="f1047" fmla="*/ f791 1 f449"/>
              <a:gd name="f1048" fmla="*/ f792 1 f450"/>
              <a:gd name="f1049" fmla="*/ f793 1 f450"/>
              <a:gd name="f1050" fmla="*/ f794 1 f449"/>
              <a:gd name="f1051" fmla="*/ f795 1 f449"/>
              <a:gd name="f1052" fmla="*/ f796 1 f449"/>
              <a:gd name="f1053" fmla="*/ f797 1 f450"/>
              <a:gd name="f1054" fmla="*/ f798 1 f449"/>
              <a:gd name="f1055" fmla="*/ f799 1 f449"/>
              <a:gd name="f1056" fmla="*/ f800 1 f449"/>
              <a:gd name="f1057" fmla="*/ f801 1 f450"/>
              <a:gd name="f1058" fmla="*/ f802 1 f449"/>
              <a:gd name="f1059" fmla="*/ f803 1 f449"/>
              <a:gd name="f1060" fmla="*/ f804 1 f449"/>
              <a:gd name="f1061" fmla="*/ f805 1 f450"/>
              <a:gd name="f1062" fmla="*/ f806 1 f449"/>
              <a:gd name="f1063" fmla="*/ f807 1 f450"/>
              <a:gd name="f1064" fmla="*/ f808 1 f449"/>
              <a:gd name="f1065" fmla="*/ f809 1 f450"/>
              <a:gd name="f1066" fmla="*/ f810 1 f450"/>
              <a:gd name="f1067" fmla="*/ f811 1 f449"/>
              <a:gd name="f1068" fmla="*/ f812 1 f449"/>
              <a:gd name="f1069" fmla="*/ f813 1 f449"/>
              <a:gd name="f1070" fmla="*/ f814 1 f450"/>
              <a:gd name="f1071" fmla="*/ f815 1 f450"/>
              <a:gd name="f1072" fmla="*/ f816 1 f449"/>
              <a:gd name="f1073" fmla="*/ f817 1 f449"/>
              <a:gd name="f1074" fmla="*/ f818 1 f449"/>
              <a:gd name="f1075" fmla="*/ f819 1 f449"/>
              <a:gd name="f1076" fmla="*/ f820 1 f449"/>
              <a:gd name="f1077" fmla="*/ f821 1 f449"/>
              <a:gd name="f1078" fmla="*/ f822 1 f449"/>
              <a:gd name="f1079" fmla="*/ f823 1 f449"/>
              <a:gd name="f1080" fmla="*/ f824 1 f449"/>
              <a:gd name="f1081" fmla="*/ f825 1 f449"/>
              <a:gd name="f1082" fmla="*/ f826 1 f449"/>
              <a:gd name="f1083" fmla="*/ f827 1 f449"/>
              <a:gd name="f1084" fmla="*/ f828 1 f449"/>
              <a:gd name="f1085" fmla="*/ f829 1 f449"/>
              <a:gd name="f1086" fmla="*/ f830 1 f449"/>
              <a:gd name="f1087" fmla="*/ f831 1 f449"/>
              <a:gd name="f1088" fmla="*/ f832 1 f450"/>
              <a:gd name="f1089" fmla="*/ f833 1 f449"/>
              <a:gd name="f1090" fmla="*/ f834 1 f449"/>
              <a:gd name="f1091" fmla="*/ f835 1 f449"/>
              <a:gd name="f1092" fmla="*/ f836 1 f450"/>
              <a:gd name="f1093" fmla="*/ f837 1 f449"/>
              <a:gd name="f1094" fmla="*/ f838 1 f450"/>
              <a:gd name="f1095" fmla="*/ f839 1 f449"/>
              <a:gd name="f1096" fmla="*/ f840 1 f449"/>
              <a:gd name="f1097" fmla="*/ f841 1 f450"/>
              <a:gd name="f1098" fmla="*/ f842 1 f449"/>
              <a:gd name="f1099" fmla="*/ f843 1 f450"/>
              <a:gd name="f1100" fmla="*/ f844 1 f449"/>
              <a:gd name="f1101" fmla="*/ f845 1 f450"/>
              <a:gd name="f1102" fmla="*/ f846 1 f449"/>
              <a:gd name="f1103" fmla="*/ f847 1 f450"/>
              <a:gd name="f1104" fmla="*/ f848 1 f449"/>
              <a:gd name="f1105" fmla="*/ f849 1 f450"/>
              <a:gd name="f1106" fmla="*/ f850 1 f449"/>
              <a:gd name="f1107" fmla="*/ f851 1 f449"/>
              <a:gd name="f1108" fmla="*/ f852 1 f450"/>
              <a:gd name="f1109" fmla="*/ f853 1 f449"/>
              <a:gd name="f1110" fmla="*/ f854 1 f450"/>
              <a:gd name="f1111" fmla="*/ f855 1 f449"/>
              <a:gd name="f1112" fmla="*/ f856 1 f449"/>
              <a:gd name="f1113" fmla="*/ f857 1 f450"/>
              <a:gd name="f1114" fmla="*/ f858 1 f449"/>
              <a:gd name="f1115" fmla="*/ f859 1 f450"/>
              <a:gd name="f1116" fmla="*/ f860 1 f449"/>
              <a:gd name="f1117" fmla="*/ f861 1 f449"/>
              <a:gd name="f1118" fmla="*/ f862 1 f450"/>
              <a:gd name="f1119" fmla="*/ f863 1 f449"/>
              <a:gd name="f1120" fmla="*/ f864 1 f450"/>
              <a:gd name="f1121" fmla="*/ f865 1 f449"/>
              <a:gd name="f1122" fmla="*/ f866 1 f450"/>
              <a:gd name="f1123" fmla="*/ f867 1 f449"/>
              <a:gd name="f1124" fmla="*/ f868 1 f450"/>
              <a:gd name="f1125" fmla="*/ f869 1 f449"/>
              <a:gd name="f1126" fmla="*/ f870 1 f449"/>
              <a:gd name="f1127" fmla="*/ f871 1 f449"/>
              <a:gd name="f1128" fmla="*/ f872 1 f449"/>
              <a:gd name="f1129" fmla="*/ f873 1 f449"/>
              <a:gd name="f1130" fmla="*/ f874 1 f450"/>
              <a:gd name="f1131" fmla="*/ f875 1 f449"/>
              <a:gd name="f1132" fmla="*/ f876 1 f450"/>
              <a:gd name="f1133" fmla="*/ f877 1 f449"/>
              <a:gd name="f1134" fmla="*/ f878 1 f449"/>
              <a:gd name="f1135" fmla="*/ f879 1 f450"/>
              <a:gd name="f1136" fmla="*/ f880 1 f449"/>
              <a:gd name="f1137" fmla="*/ f881 1 f449"/>
              <a:gd name="f1138" fmla="*/ f882 1 f449"/>
              <a:gd name="f1139" fmla="*/ f883 1 f449"/>
              <a:gd name="f1140" fmla="*/ f884 1 f449"/>
              <a:gd name="f1141" fmla="*/ f885 1 f449"/>
              <a:gd name="f1142" fmla="*/ f886 1 f449"/>
              <a:gd name="f1143" fmla="*/ f887 1 f450"/>
              <a:gd name="f1144" fmla="*/ f888 1 f450"/>
              <a:gd name="f1145" fmla="*/ f889 1 f449"/>
              <a:gd name="f1146" fmla="*/ f890 1 f449"/>
              <a:gd name="f1147" fmla="*/ f891 1 f450"/>
              <a:gd name="f1148" fmla="*/ f892 1 f449"/>
              <a:gd name="f1149" fmla="*/ f893 1 f450"/>
              <a:gd name="f1150" fmla="*/ f894 1 f449"/>
              <a:gd name="f1151" fmla="*/ f895 1 f450"/>
              <a:gd name="f1152" fmla="*/ f896 1 f449"/>
              <a:gd name="f1153" fmla="*/ f897 1 f450"/>
              <a:gd name="f1154" fmla="*/ f898 1 f449"/>
              <a:gd name="f1155" fmla="*/ f899 1 f449"/>
              <a:gd name="f1156" fmla="*/ f900 1 f449"/>
              <a:gd name="f1157" fmla="*/ f901 1 f449"/>
              <a:gd name="f1158" fmla="*/ f902 1 f450"/>
              <a:gd name="f1159" fmla="*/ f903 1 f449"/>
              <a:gd name="f1160" fmla="*/ f904 1 f450"/>
              <a:gd name="f1161" fmla="*/ f905 1 f449"/>
              <a:gd name="f1162" fmla="*/ f906 1 f449"/>
              <a:gd name="f1163" fmla="*/ f907 1 f449"/>
              <a:gd name="f1164" fmla="*/ f908 1 f450"/>
              <a:gd name="f1165" fmla="*/ f909 1 f449"/>
              <a:gd name="f1166" fmla="*/ f910 1 f449"/>
              <a:gd name="f1167" fmla="*/ f911 1 f450"/>
              <a:gd name="f1168" fmla="*/ f912 1 f449"/>
              <a:gd name="f1169" fmla="*/ f913 1 f450"/>
              <a:gd name="f1170" fmla="*/ f914 1 f449"/>
              <a:gd name="f1171" fmla="*/ f915 1 f450"/>
              <a:gd name="f1172" fmla="*/ f916 1 f450"/>
              <a:gd name="f1173" fmla="*/ f917 1 f449"/>
              <a:gd name="f1174" fmla="*/ f918 1 f449"/>
              <a:gd name="f1175" fmla="*/ f919 1 f449"/>
              <a:gd name="f1176" fmla="*/ f920 1 f450"/>
              <a:gd name="f1177" fmla="*/ f921 1 f449"/>
              <a:gd name="f1178" fmla="*/ f922 1 f449"/>
              <a:gd name="f1179" fmla="*/ f923 1 f449"/>
              <a:gd name="f1180" fmla="*/ f924 1 f450"/>
              <a:gd name="f1181" fmla="*/ f925 1 f449"/>
              <a:gd name="f1182" fmla="*/ f926 1 f450"/>
              <a:gd name="f1183" fmla="*/ f927 1 f449"/>
              <a:gd name="f1184" fmla="*/ f928 1 f449"/>
              <a:gd name="f1185" fmla="*/ f929 1 f450"/>
              <a:gd name="f1186" fmla="*/ f930 1 f449"/>
              <a:gd name="f1187" fmla="*/ f931 1 f449"/>
              <a:gd name="f1188" fmla="*/ f932 1 f449"/>
              <a:gd name="f1189" fmla="*/ f933 1 f449"/>
              <a:gd name="f1190" fmla="*/ f934 1 f449"/>
              <a:gd name="f1191" fmla="*/ f935 1 f449"/>
              <a:gd name="f1192" fmla="*/ f936 1 f450"/>
              <a:gd name="f1193" fmla="*/ f937 1 f449"/>
              <a:gd name="f1194" fmla="*/ f938 1 f449"/>
              <a:gd name="f1195" fmla="*/ f939 1 f449"/>
              <a:gd name="f1196" fmla="*/ f940 1 f449"/>
              <a:gd name="f1197" fmla="*/ f941 1 f450"/>
              <a:gd name="f1198" fmla="*/ f942 1 f450"/>
              <a:gd name="f1199" fmla="*/ f943 1 f449"/>
              <a:gd name="f1200" fmla="*/ f944 1 f449"/>
              <a:gd name="f1201" fmla="*/ f945 1 f449"/>
              <a:gd name="f1202" fmla="*/ f946 1 f449"/>
              <a:gd name="f1203" fmla="*/ f947 1 f449"/>
              <a:gd name="f1204" fmla="*/ f948 1 f449"/>
              <a:gd name="f1205" fmla="*/ f949 1 f449"/>
              <a:gd name="f1206" fmla="*/ f950 1 f449"/>
              <a:gd name="f1207" fmla="*/ f951 1 f449"/>
              <a:gd name="f1208" fmla="*/ f952 1 f449"/>
              <a:gd name="f1209" fmla="*/ f953 1 f449"/>
              <a:gd name="f1210" fmla="*/ f954 f444 1"/>
              <a:gd name="f1211" fmla="*/ f955 f444 1"/>
              <a:gd name="f1212" fmla="*/ f957 f445 1"/>
              <a:gd name="f1213" fmla="*/ f956 f445 1"/>
              <a:gd name="f1214" fmla="*/ f959 f444 1"/>
              <a:gd name="f1215" fmla="*/ f960 f445 1"/>
              <a:gd name="f1216" fmla="*/ f961 f444 1"/>
              <a:gd name="f1217" fmla="*/ f962 f445 1"/>
              <a:gd name="f1218" fmla="*/ f963 f444 1"/>
              <a:gd name="f1219" fmla="*/ f964 f445 1"/>
              <a:gd name="f1220" fmla="*/ f965 f445 1"/>
              <a:gd name="f1221" fmla="*/ f966 f444 1"/>
              <a:gd name="f1222" fmla="*/ f967 f444 1"/>
              <a:gd name="f1223" fmla="*/ f968 f445 1"/>
              <a:gd name="f1224" fmla="*/ f969 f444 1"/>
              <a:gd name="f1225" fmla="*/ f970 f445 1"/>
              <a:gd name="f1226" fmla="*/ f971 f444 1"/>
              <a:gd name="f1227" fmla="*/ f972 f444 1"/>
              <a:gd name="f1228" fmla="*/ f973 f445 1"/>
              <a:gd name="f1229" fmla="*/ f974 f444 1"/>
              <a:gd name="f1230" fmla="*/ f975 f445 1"/>
              <a:gd name="f1231" fmla="*/ f976 f444 1"/>
              <a:gd name="f1232" fmla="*/ f977 f445 1"/>
              <a:gd name="f1233" fmla="*/ f978 f444 1"/>
              <a:gd name="f1234" fmla="*/ f979 f445 1"/>
              <a:gd name="f1235" fmla="*/ f980 f445 1"/>
              <a:gd name="f1236" fmla="*/ f981 f445 1"/>
              <a:gd name="f1237" fmla="*/ f982 f444 1"/>
              <a:gd name="f1238" fmla="*/ f983 f444 1"/>
              <a:gd name="f1239" fmla="*/ f984 f444 1"/>
              <a:gd name="f1240" fmla="*/ f985 f444 1"/>
              <a:gd name="f1241" fmla="*/ f986 f444 1"/>
              <a:gd name="f1242" fmla="*/ f987 f444 1"/>
              <a:gd name="f1243" fmla="*/ f988 f444 1"/>
              <a:gd name="f1244" fmla="*/ f989 f444 1"/>
              <a:gd name="f1245" fmla="*/ f990 f445 1"/>
              <a:gd name="f1246" fmla="*/ f991 f444 1"/>
              <a:gd name="f1247" fmla="*/ f992 f445 1"/>
              <a:gd name="f1248" fmla="*/ f993 f444 1"/>
              <a:gd name="f1249" fmla="*/ f994 f444 1"/>
              <a:gd name="f1250" fmla="*/ f995 f445 1"/>
              <a:gd name="f1251" fmla="*/ f996 f444 1"/>
              <a:gd name="f1252" fmla="*/ f997 f445 1"/>
              <a:gd name="f1253" fmla="*/ f998 f444 1"/>
              <a:gd name="f1254" fmla="*/ f999 f444 1"/>
              <a:gd name="f1255" fmla="*/ f1000 f445 1"/>
              <a:gd name="f1256" fmla="*/ f1001 f444 1"/>
              <a:gd name="f1257" fmla="*/ f1002 f445 1"/>
              <a:gd name="f1258" fmla="*/ f1003 f444 1"/>
              <a:gd name="f1259" fmla="*/ f1004 f444 1"/>
              <a:gd name="f1260" fmla="*/ f1005 f445 1"/>
              <a:gd name="f1261" fmla="*/ f1006 f444 1"/>
              <a:gd name="f1262" fmla="*/ f1007 f444 1"/>
              <a:gd name="f1263" fmla="*/ f1008 f444 1"/>
              <a:gd name="f1264" fmla="*/ f1009 f445 1"/>
              <a:gd name="f1265" fmla="*/ f1010 f444 1"/>
              <a:gd name="f1266" fmla="*/ f1011 f445 1"/>
              <a:gd name="f1267" fmla="*/ f1012 f444 1"/>
              <a:gd name="f1268" fmla="*/ f1013 f444 1"/>
              <a:gd name="f1269" fmla="*/ f1014 f444 1"/>
              <a:gd name="f1270" fmla="*/ f1015 f445 1"/>
              <a:gd name="f1271" fmla="*/ f1016 f444 1"/>
              <a:gd name="f1272" fmla="*/ f1017 f444 1"/>
              <a:gd name="f1273" fmla="*/ f1018 f444 1"/>
              <a:gd name="f1274" fmla="*/ f1019 f445 1"/>
              <a:gd name="f1275" fmla="*/ f1020 f444 1"/>
              <a:gd name="f1276" fmla="*/ f1021 f444 1"/>
              <a:gd name="f1277" fmla="*/ f1022 f444 1"/>
              <a:gd name="f1278" fmla="*/ f1023 f445 1"/>
              <a:gd name="f1279" fmla="*/ f1024 f444 1"/>
              <a:gd name="f1280" fmla="*/ f1025 f444 1"/>
              <a:gd name="f1281" fmla="*/ f1026 f444 1"/>
              <a:gd name="f1282" fmla="*/ f1027 f444 1"/>
              <a:gd name="f1283" fmla="*/ f1028 f444 1"/>
              <a:gd name="f1284" fmla="*/ f1029 f444 1"/>
              <a:gd name="f1285" fmla="*/ f1030 f444 1"/>
              <a:gd name="f1286" fmla="*/ f1031 f444 1"/>
              <a:gd name="f1287" fmla="*/ f1032 f445 1"/>
              <a:gd name="f1288" fmla="*/ f1033 f444 1"/>
              <a:gd name="f1289" fmla="*/ f1034 f444 1"/>
              <a:gd name="f1290" fmla="*/ f1035 f444 1"/>
              <a:gd name="f1291" fmla="*/ f1036 f444 1"/>
              <a:gd name="f1292" fmla="*/ f1037 f444 1"/>
              <a:gd name="f1293" fmla="*/ f1038 f444 1"/>
              <a:gd name="f1294" fmla="*/ f1039 f444 1"/>
              <a:gd name="f1295" fmla="*/ f1040 f444 1"/>
              <a:gd name="f1296" fmla="*/ f1041 f444 1"/>
              <a:gd name="f1297" fmla="*/ f1042 f444 1"/>
              <a:gd name="f1298" fmla="*/ f1043 f444 1"/>
              <a:gd name="f1299" fmla="*/ f1044 f444 1"/>
              <a:gd name="f1300" fmla="*/ f1045 f445 1"/>
              <a:gd name="f1301" fmla="*/ f1046 f444 1"/>
              <a:gd name="f1302" fmla="*/ f1047 f444 1"/>
              <a:gd name="f1303" fmla="*/ f1048 f445 1"/>
              <a:gd name="f1304" fmla="*/ f1049 f445 1"/>
              <a:gd name="f1305" fmla="*/ f1050 f444 1"/>
              <a:gd name="f1306" fmla="*/ f1051 f444 1"/>
              <a:gd name="f1307" fmla="*/ f1052 f444 1"/>
              <a:gd name="f1308" fmla="*/ f1053 f445 1"/>
              <a:gd name="f1309" fmla="*/ f1054 f444 1"/>
              <a:gd name="f1310" fmla="*/ f1055 f444 1"/>
              <a:gd name="f1311" fmla="*/ f1056 f444 1"/>
              <a:gd name="f1312" fmla="*/ f1057 f445 1"/>
              <a:gd name="f1313" fmla="*/ f1058 f444 1"/>
              <a:gd name="f1314" fmla="*/ f1059 f444 1"/>
              <a:gd name="f1315" fmla="*/ f1060 f444 1"/>
              <a:gd name="f1316" fmla="*/ f1061 f445 1"/>
              <a:gd name="f1317" fmla="*/ f1062 f444 1"/>
              <a:gd name="f1318" fmla="*/ f1063 f445 1"/>
              <a:gd name="f1319" fmla="*/ f1064 f444 1"/>
              <a:gd name="f1320" fmla="*/ f1065 f445 1"/>
              <a:gd name="f1321" fmla="*/ f1066 f445 1"/>
              <a:gd name="f1322" fmla="*/ f1067 f444 1"/>
              <a:gd name="f1323" fmla="*/ f1068 f444 1"/>
              <a:gd name="f1324" fmla="*/ f1069 f444 1"/>
              <a:gd name="f1325" fmla="*/ f1070 f445 1"/>
              <a:gd name="f1326" fmla="*/ f1071 f445 1"/>
              <a:gd name="f1327" fmla="*/ f1072 f444 1"/>
              <a:gd name="f1328" fmla="*/ f1073 f444 1"/>
              <a:gd name="f1329" fmla="*/ f1074 f444 1"/>
              <a:gd name="f1330" fmla="*/ f1075 f444 1"/>
              <a:gd name="f1331" fmla="*/ f1076 f444 1"/>
              <a:gd name="f1332" fmla="*/ f1077 f444 1"/>
              <a:gd name="f1333" fmla="*/ f1078 f444 1"/>
              <a:gd name="f1334" fmla="*/ f1079 f444 1"/>
              <a:gd name="f1335" fmla="*/ f1080 f444 1"/>
              <a:gd name="f1336" fmla="*/ f1081 f444 1"/>
              <a:gd name="f1337" fmla="*/ f1082 f444 1"/>
              <a:gd name="f1338" fmla="*/ f1083 f444 1"/>
              <a:gd name="f1339" fmla="*/ f1084 f444 1"/>
              <a:gd name="f1340" fmla="*/ f1085 f444 1"/>
              <a:gd name="f1341" fmla="*/ f1086 f444 1"/>
              <a:gd name="f1342" fmla="*/ f1087 f444 1"/>
              <a:gd name="f1343" fmla="*/ f1088 f445 1"/>
              <a:gd name="f1344" fmla="*/ f1089 f444 1"/>
              <a:gd name="f1345" fmla="*/ f1090 f444 1"/>
              <a:gd name="f1346" fmla="*/ f1091 f444 1"/>
              <a:gd name="f1347" fmla="*/ f1092 f445 1"/>
              <a:gd name="f1348" fmla="*/ f1093 f444 1"/>
              <a:gd name="f1349" fmla="*/ f1094 f445 1"/>
              <a:gd name="f1350" fmla="*/ f1095 f444 1"/>
              <a:gd name="f1351" fmla="*/ f1096 f444 1"/>
              <a:gd name="f1352" fmla="*/ f1097 f445 1"/>
              <a:gd name="f1353" fmla="*/ f1098 f444 1"/>
              <a:gd name="f1354" fmla="*/ f1099 f445 1"/>
              <a:gd name="f1355" fmla="*/ f1100 f444 1"/>
              <a:gd name="f1356" fmla="*/ f1101 f445 1"/>
              <a:gd name="f1357" fmla="*/ f1102 f444 1"/>
              <a:gd name="f1358" fmla="*/ f1103 f445 1"/>
              <a:gd name="f1359" fmla="*/ f1104 f444 1"/>
              <a:gd name="f1360" fmla="*/ f1105 f445 1"/>
              <a:gd name="f1361" fmla="*/ f1106 f444 1"/>
              <a:gd name="f1362" fmla="*/ f1107 f444 1"/>
              <a:gd name="f1363" fmla="*/ f1108 f445 1"/>
              <a:gd name="f1364" fmla="*/ f1109 f444 1"/>
              <a:gd name="f1365" fmla="*/ f1110 f445 1"/>
              <a:gd name="f1366" fmla="*/ f1111 f444 1"/>
              <a:gd name="f1367" fmla="*/ f1112 f444 1"/>
              <a:gd name="f1368" fmla="*/ f1113 f445 1"/>
              <a:gd name="f1369" fmla="*/ f1114 f444 1"/>
              <a:gd name="f1370" fmla="*/ f1115 f445 1"/>
              <a:gd name="f1371" fmla="*/ f1116 f444 1"/>
              <a:gd name="f1372" fmla="*/ f1117 f444 1"/>
              <a:gd name="f1373" fmla="*/ f1118 f445 1"/>
              <a:gd name="f1374" fmla="*/ f1119 f444 1"/>
              <a:gd name="f1375" fmla="*/ f1120 f445 1"/>
              <a:gd name="f1376" fmla="*/ f1121 f444 1"/>
              <a:gd name="f1377" fmla="*/ f1122 f445 1"/>
              <a:gd name="f1378" fmla="*/ f1123 f444 1"/>
              <a:gd name="f1379" fmla="*/ f1124 f445 1"/>
              <a:gd name="f1380" fmla="*/ f1125 f444 1"/>
              <a:gd name="f1381" fmla="*/ f1126 f444 1"/>
              <a:gd name="f1382" fmla="*/ f1127 f444 1"/>
              <a:gd name="f1383" fmla="*/ f1128 f444 1"/>
              <a:gd name="f1384" fmla="*/ f1129 f444 1"/>
              <a:gd name="f1385" fmla="*/ f1130 f445 1"/>
              <a:gd name="f1386" fmla="*/ f1131 f444 1"/>
              <a:gd name="f1387" fmla="*/ f1132 f445 1"/>
              <a:gd name="f1388" fmla="*/ f1133 f444 1"/>
              <a:gd name="f1389" fmla="*/ f1134 f444 1"/>
              <a:gd name="f1390" fmla="*/ f1135 f445 1"/>
              <a:gd name="f1391" fmla="*/ f1136 f444 1"/>
              <a:gd name="f1392" fmla="*/ f1137 f444 1"/>
              <a:gd name="f1393" fmla="*/ f1138 f444 1"/>
              <a:gd name="f1394" fmla="*/ f1139 f444 1"/>
              <a:gd name="f1395" fmla="*/ f1140 f444 1"/>
              <a:gd name="f1396" fmla="*/ f1141 f444 1"/>
              <a:gd name="f1397" fmla="*/ f1142 f444 1"/>
              <a:gd name="f1398" fmla="*/ f1143 f445 1"/>
              <a:gd name="f1399" fmla="*/ f1144 f445 1"/>
              <a:gd name="f1400" fmla="*/ f1145 f444 1"/>
              <a:gd name="f1401" fmla="*/ f1146 f444 1"/>
              <a:gd name="f1402" fmla="*/ f1147 f445 1"/>
              <a:gd name="f1403" fmla="*/ f1148 f444 1"/>
              <a:gd name="f1404" fmla="*/ f1149 f445 1"/>
              <a:gd name="f1405" fmla="*/ f1150 f444 1"/>
              <a:gd name="f1406" fmla="*/ f1151 f445 1"/>
              <a:gd name="f1407" fmla="*/ f1152 f444 1"/>
              <a:gd name="f1408" fmla="*/ f1153 f445 1"/>
              <a:gd name="f1409" fmla="*/ f1154 f444 1"/>
              <a:gd name="f1410" fmla="*/ f1155 f444 1"/>
              <a:gd name="f1411" fmla="*/ f1156 f444 1"/>
              <a:gd name="f1412" fmla="*/ f1157 f444 1"/>
              <a:gd name="f1413" fmla="*/ f1158 f445 1"/>
              <a:gd name="f1414" fmla="*/ f1159 f444 1"/>
              <a:gd name="f1415" fmla="*/ f1160 f445 1"/>
              <a:gd name="f1416" fmla="*/ f1161 f444 1"/>
              <a:gd name="f1417" fmla="*/ f1162 f444 1"/>
              <a:gd name="f1418" fmla="*/ f1163 f444 1"/>
              <a:gd name="f1419" fmla="*/ f1164 f445 1"/>
              <a:gd name="f1420" fmla="*/ f1165 f444 1"/>
              <a:gd name="f1421" fmla="*/ f1166 f444 1"/>
              <a:gd name="f1422" fmla="*/ f1167 f445 1"/>
              <a:gd name="f1423" fmla="*/ f1168 f444 1"/>
              <a:gd name="f1424" fmla="*/ f1169 f445 1"/>
              <a:gd name="f1425" fmla="*/ f1170 f444 1"/>
              <a:gd name="f1426" fmla="*/ f1171 f445 1"/>
              <a:gd name="f1427" fmla="*/ f1172 f445 1"/>
              <a:gd name="f1428" fmla="*/ f1173 f444 1"/>
              <a:gd name="f1429" fmla="*/ f1174 f444 1"/>
              <a:gd name="f1430" fmla="*/ f1175 f444 1"/>
              <a:gd name="f1431" fmla="*/ f1176 f445 1"/>
              <a:gd name="f1432" fmla="*/ f1177 f444 1"/>
              <a:gd name="f1433" fmla="*/ f1178 f444 1"/>
              <a:gd name="f1434" fmla="*/ f1179 f444 1"/>
              <a:gd name="f1435" fmla="*/ f1180 f445 1"/>
              <a:gd name="f1436" fmla="*/ f1181 f444 1"/>
              <a:gd name="f1437" fmla="*/ f1182 f445 1"/>
              <a:gd name="f1438" fmla="*/ f1183 f444 1"/>
              <a:gd name="f1439" fmla="*/ f1184 f444 1"/>
              <a:gd name="f1440" fmla="*/ f1185 f445 1"/>
              <a:gd name="f1441" fmla="*/ f1186 f444 1"/>
              <a:gd name="f1442" fmla="*/ f1187 f444 1"/>
              <a:gd name="f1443" fmla="*/ f1188 f444 1"/>
              <a:gd name="f1444" fmla="*/ f1189 f444 1"/>
              <a:gd name="f1445" fmla="*/ f1190 f444 1"/>
              <a:gd name="f1446" fmla="*/ f1191 f444 1"/>
              <a:gd name="f1447" fmla="*/ f1192 f445 1"/>
              <a:gd name="f1448" fmla="*/ f1193 f444 1"/>
              <a:gd name="f1449" fmla="*/ f1194 f444 1"/>
              <a:gd name="f1450" fmla="*/ f1195 f444 1"/>
              <a:gd name="f1451" fmla="*/ f1196 f444 1"/>
              <a:gd name="f1452" fmla="*/ f1197 f445 1"/>
              <a:gd name="f1453" fmla="*/ f1198 f445 1"/>
              <a:gd name="f1454" fmla="*/ f1199 f444 1"/>
              <a:gd name="f1455" fmla="*/ f1200 f444 1"/>
              <a:gd name="f1456" fmla="*/ f1201 f444 1"/>
              <a:gd name="f1457" fmla="*/ f1202 f444 1"/>
              <a:gd name="f1458" fmla="*/ f1203 f444 1"/>
              <a:gd name="f1459" fmla="*/ f1204 f444 1"/>
              <a:gd name="f1460" fmla="*/ f1205 f444 1"/>
              <a:gd name="f1461" fmla="*/ f1206 f444 1"/>
              <a:gd name="f1462" fmla="*/ f1207 f444 1"/>
              <a:gd name="f1463" fmla="*/ f1208 f444 1"/>
              <a:gd name="f1464" fmla="*/ f1209 f44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958">
                <a:pos x="f1214" y="f1215"/>
              </a:cxn>
              <a:cxn ang="f958">
                <a:pos x="f1216" y="f1215"/>
              </a:cxn>
              <a:cxn ang="f958">
                <a:pos x="f1216" y="f1217"/>
              </a:cxn>
              <a:cxn ang="f958">
                <a:pos x="f1214" y="f1217"/>
              </a:cxn>
              <a:cxn ang="f958">
                <a:pos x="f1214" y="f1215"/>
              </a:cxn>
              <a:cxn ang="f958">
                <a:pos x="f1218" y="f1219"/>
              </a:cxn>
              <a:cxn ang="f958">
                <a:pos x="f1218" y="f1220"/>
              </a:cxn>
              <a:cxn ang="f958">
                <a:pos x="f1221" y="f1220"/>
              </a:cxn>
              <a:cxn ang="f958">
                <a:pos x="f1222" y="f1223"/>
              </a:cxn>
              <a:cxn ang="f958">
                <a:pos x="f1221" y="f1219"/>
              </a:cxn>
              <a:cxn ang="f958">
                <a:pos x="f1218" y="f1219"/>
              </a:cxn>
              <a:cxn ang="f958">
                <a:pos x="f1224" y="f1219"/>
              </a:cxn>
              <a:cxn ang="f958">
                <a:pos x="f1224" y="f1225"/>
              </a:cxn>
              <a:cxn ang="f958">
                <a:pos x="f1226" y="f1225"/>
              </a:cxn>
              <a:cxn ang="f958">
                <a:pos x="f1227" y="f1228"/>
              </a:cxn>
              <a:cxn ang="f958">
                <a:pos x="f1226" y="f1219"/>
              </a:cxn>
              <a:cxn ang="f958">
                <a:pos x="f1224" y="f1219"/>
              </a:cxn>
              <a:cxn ang="f958">
                <a:pos x="f1229" y="f1230"/>
              </a:cxn>
              <a:cxn ang="f958">
                <a:pos x="f1231" y="f1232"/>
              </a:cxn>
              <a:cxn ang="f958">
                <a:pos x="f1233" y="f1234"/>
              </a:cxn>
              <a:cxn ang="f958">
                <a:pos x="f1231" y="f1235"/>
              </a:cxn>
              <a:cxn ang="f958">
                <a:pos x="f1229" y="f1236"/>
              </a:cxn>
              <a:cxn ang="f958">
                <a:pos x="f1237" y="f1235"/>
              </a:cxn>
              <a:cxn ang="f958">
                <a:pos x="f1238" y="f1234"/>
              </a:cxn>
              <a:cxn ang="f958">
                <a:pos x="f1237" y="f1232"/>
              </a:cxn>
              <a:cxn ang="f958">
                <a:pos x="f1229" y="f1230"/>
              </a:cxn>
              <a:cxn ang="f958">
                <a:pos x="f1239" y="f1230"/>
              </a:cxn>
              <a:cxn ang="f958">
                <a:pos x="f1240" y="f1232"/>
              </a:cxn>
              <a:cxn ang="f958">
                <a:pos x="f1241" y="f1234"/>
              </a:cxn>
              <a:cxn ang="f958">
                <a:pos x="f1240" y="f1235"/>
              </a:cxn>
              <a:cxn ang="f958">
                <a:pos x="f1239" y="f1236"/>
              </a:cxn>
              <a:cxn ang="f958">
                <a:pos x="f1242" y="f1235"/>
              </a:cxn>
              <a:cxn ang="f958">
                <a:pos x="f1243" y="f1234"/>
              </a:cxn>
              <a:cxn ang="f958">
                <a:pos x="f1242" y="f1232"/>
              </a:cxn>
              <a:cxn ang="f958">
                <a:pos x="f1239" y="f1230"/>
              </a:cxn>
              <a:cxn ang="f958">
                <a:pos x="f1244" y="f1245"/>
              </a:cxn>
              <a:cxn ang="f958">
                <a:pos x="f1221" y="f1245"/>
              </a:cxn>
              <a:cxn ang="f958">
                <a:pos x="f1246" y="f1247"/>
              </a:cxn>
              <a:cxn ang="f958">
                <a:pos x="f1248" y="f1223"/>
              </a:cxn>
              <a:cxn ang="f958">
                <a:pos x="f1249" y="f1250"/>
              </a:cxn>
              <a:cxn ang="f958">
                <a:pos x="f1251" y="f1252"/>
              </a:cxn>
              <a:cxn ang="f958">
                <a:pos x="f1218" y="f1252"/>
              </a:cxn>
              <a:cxn ang="f958">
                <a:pos x="f1218" y="f1215"/>
              </a:cxn>
              <a:cxn ang="f958">
                <a:pos x="f1244" y="f1215"/>
              </a:cxn>
              <a:cxn ang="f958">
                <a:pos x="f1244" y="f1245"/>
              </a:cxn>
              <a:cxn ang="f958">
                <a:pos x="f1253" y="f1245"/>
              </a:cxn>
              <a:cxn ang="f958">
                <a:pos x="f1254" y="f1245"/>
              </a:cxn>
              <a:cxn ang="f958">
                <a:pos x="f1254" y="f1255"/>
              </a:cxn>
              <a:cxn ang="f958">
                <a:pos x="f1256" y="f1257"/>
              </a:cxn>
              <a:cxn ang="f958">
                <a:pos x="f1258" y="f1255"/>
              </a:cxn>
              <a:cxn ang="f958">
                <a:pos x="f1258" y="f1245"/>
              </a:cxn>
              <a:cxn ang="f958">
                <a:pos x="f1259" y="f1245"/>
              </a:cxn>
              <a:cxn ang="f958">
                <a:pos x="f1259" y="f1255"/>
              </a:cxn>
              <a:cxn ang="f958">
                <a:pos x="f1256" y="f1260"/>
              </a:cxn>
              <a:cxn ang="f958">
                <a:pos x="f1253" y="f1255"/>
              </a:cxn>
              <a:cxn ang="f958">
                <a:pos x="f1253" y="f1245"/>
              </a:cxn>
              <a:cxn ang="f958">
                <a:pos x="f1261" y="f1245"/>
              </a:cxn>
              <a:cxn ang="f958">
                <a:pos x="f1226" y="f1245"/>
              </a:cxn>
              <a:cxn ang="f958">
                <a:pos x="f1262" y="f1247"/>
              </a:cxn>
              <a:cxn ang="f958">
                <a:pos x="f1263" y="f1228"/>
              </a:cxn>
              <a:cxn ang="f958">
                <a:pos x="f1262" y="f1264"/>
              </a:cxn>
              <a:cxn ang="f958">
                <a:pos x="f1265" y="f1266"/>
              </a:cxn>
              <a:cxn ang="f958">
                <a:pos x="f1267" y="f1215"/>
              </a:cxn>
              <a:cxn ang="f958">
                <a:pos x="f1268" y="f1215"/>
              </a:cxn>
              <a:cxn ang="f958">
                <a:pos x="f1269" y="f1270"/>
              </a:cxn>
              <a:cxn ang="f958">
                <a:pos x="f1224" y="f1270"/>
              </a:cxn>
              <a:cxn ang="f958">
                <a:pos x="f1224" y="f1215"/>
              </a:cxn>
              <a:cxn ang="f958">
                <a:pos x="f1261" y="f1215"/>
              </a:cxn>
              <a:cxn ang="f958">
                <a:pos x="f1261" y="f1245"/>
              </a:cxn>
              <a:cxn ang="f958">
                <a:pos x="f1271" y="f1245"/>
              </a:cxn>
              <a:cxn ang="f958">
                <a:pos x="f1272" y="f1245"/>
              </a:cxn>
              <a:cxn ang="f958">
                <a:pos x="f1273" y="f1274"/>
              </a:cxn>
              <a:cxn ang="f958">
                <a:pos x="f1273" y="f1245"/>
              </a:cxn>
              <a:cxn ang="f958">
                <a:pos x="f1275" y="f1245"/>
              </a:cxn>
              <a:cxn ang="f958">
                <a:pos x="f1275" y="f1215"/>
              </a:cxn>
              <a:cxn ang="f958">
                <a:pos x="f1276" y="f1215"/>
              </a:cxn>
              <a:cxn ang="f958">
                <a:pos x="f1277" y="f1278"/>
              </a:cxn>
              <a:cxn ang="f958">
                <a:pos x="f1277" y="f1215"/>
              </a:cxn>
              <a:cxn ang="f958">
                <a:pos x="f1271" y="f1215"/>
              </a:cxn>
              <a:cxn ang="f958">
                <a:pos x="f1271" y="f1245"/>
              </a:cxn>
              <a:cxn ang="f958">
                <a:pos x="f1279" y="f1245"/>
              </a:cxn>
              <a:cxn ang="f958">
                <a:pos x="f1280" y="f1245"/>
              </a:cxn>
              <a:cxn ang="f958">
                <a:pos x="f1280" y="f1215"/>
              </a:cxn>
              <a:cxn ang="f958">
                <a:pos x="f1279" y="f1215"/>
              </a:cxn>
              <a:cxn ang="f958">
                <a:pos x="f1279" y="f1245"/>
              </a:cxn>
              <a:cxn ang="f958">
                <a:pos x="f1281" y="f1245"/>
              </a:cxn>
              <a:cxn ang="f958">
                <a:pos x="f1282" y="f1245"/>
              </a:cxn>
              <a:cxn ang="f958">
                <a:pos x="f1282" y="f1219"/>
              </a:cxn>
              <a:cxn ang="f958">
                <a:pos x="f1283" y="f1219"/>
              </a:cxn>
              <a:cxn ang="f958">
                <a:pos x="f1283" y="f1215"/>
              </a:cxn>
              <a:cxn ang="f958">
                <a:pos x="f1284" y="f1215"/>
              </a:cxn>
              <a:cxn ang="f958">
                <a:pos x="f1284" y="f1219"/>
              </a:cxn>
              <a:cxn ang="f958">
                <a:pos x="f1281" y="f1219"/>
              </a:cxn>
              <a:cxn ang="f958">
                <a:pos x="f1281" y="f1245"/>
              </a:cxn>
              <a:cxn ang="f958">
                <a:pos x="f1285" y="f1245"/>
              </a:cxn>
              <a:cxn ang="f958">
                <a:pos x="f1286" y="f1245"/>
              </a:cxn>
              <a:cxn ang="f958">
                <a:pos x="f1286" y="f1287"/>
              </a:cxn>
              <a:cxn ang="f958">
                <a:pos x="f1288" y="f1287"/>
              </a:cxn>
              <a:cxn ang="f958">
                <a:pos x="f1288" y="f1215"/>
              </a:cxn>
              <a:cxn ang="f958">
                <a:pos x="f1285" y="f1215"/>
              </a:cxn>
              <a:cxn ang="f958">
                <a:pos x="f1285" y="f1245"/>
              </a:cxn>
              <a:cxn ang="f958">
                <a:pos x="f1289" y="f1245"/>
              </a:cxn>
              <a:cxn ang="f958">
                <a:pos x="f1290" y="f1245"/>
              </a:cxn>
              <a:cxn ang="f958">
                <a:pos x="f1290" y="f1255"/>
              </a:cxn>
              <a:cxn ang="f958">
                <a:pos x="f1291" y="f1257"/>
              </a:cxn>
              <a:cxn ang="f958">
                <a:pos x="f1292" y="f1255"/>
              </a:cxn>
              <a:cxn ang="f958">
                <a:pos x="f1292" y="f1245"/>
              </a:cxn>
              <a:cxn ang="f958">
                <a:pos x="f1293" y="f1245"/>
              </a:cxn>
              <a:cxn ang="f958">
                <a:pos x="f1293" y="f1255"/>
              </a:cxn>
              <a:cxn ang="f958">
                <a:pos x="f1291" y="f1260"/>
              </a:cxn>
              <a:cxn ang="f958">
                <a:pos x="f1289" y="f1255"/>
              </a:cxn>
              <a:cxn ang="f958">
                <a:pos x="f1289" y="f1245"/>
              </a:cxn>
              <a:cxn ang="f958">
                <a:pos x="f1294" y="f1245"/>
              </a:cxn>
              <a:cxn ang="f958">
                <a:pos x="f1295" y="f1245"/>
              </a:cxn>
              <a:cxn ang="f958">
                <a:pos x="f1296" y="f1274"/>
              </a:cxn>
              <a:cxn ang="f958">
                <a:pos x="f1296" y="f1245"/>
              </a:cxn>
              <a:cxn ang="f958">
                <a:pos x="f1297" y="f1245"/>
              </a:cxn>
              <a:cxn ang="f958">
                <a:pos x="f1297" y="f1215"/>
              </a:cxn>
              <a:cxn ang="f958">
                <a:pos x="f1298" y="f1215"/>
              </a:cxn>
              <a:cxn ang="f958">
                <a:pos x="f1299" y="f1278"/>
              </a:cxn>
              <a:cxn ang="f958">
                <a:pos x="f1299" y="f1215"/>
              </a:cxn>
              <a:cxn ang="f958">
                <a:pos x="f1294" y="f1215"/>
              </a:cxn>
              <a:cxn ang="f958">
                <a:pos x="f1294" y="f1245"/>
              </a:cxn>
              <a:cxn ang="f958">
                <a:pos x="f1229" y="f1300"/>
              </a:cxn>
              <a:cxn ang="f958">
                <a:pos x="f1301" y="f1247"/>
              </a:cxn>
              <a:cxn ang="f958">
                <a:pos x="f1302" y="f1234"/>
              </a:cxn>
              <a:cxn ang="f958">
                <a:pos x="f1301" y="f1303"/>
              </a:cxn>
              <a:cxn ang="f958">
                <a:pos x="f1229" y="f1304"/>
              </a:cxn>
              <a:cxn ang="f958">
                <a:pos x="f1233" y="f1303"/>
              </a:cxn>
              <a:cxn ang="f958">
                <a:pos x="f1305" y="f1234"/>
              </a:cxn>
              <a:cxn ang="f958">
                <a:pos x="f1233" y="f1247"/>
              </a:cxn>
              <a:cxn ang="f958">
                <a:pos x="f1229" y="f1300"/>
              </a:cxn>
              <a:cxn ang="f958">
                <a:pos x="f1306" y="f1300"/>
              </a:cxn>
              <a:cxn ang="f958">
                <a:pos x="f1307" y="f1308"/>
              </a:cxn>
              <a:cxn ang="f958">
                <a:pos x="f1309" y="f1228"/>
              </a:cxn>
              <a:cxn ang="f958">
                <a:pos x="f1310" y="f1228"/>
              </a:cxn>
              <a:cxn ang="f958">
                <a:pos x="f1311" y="f1312"/>
              </a:cxn>
              <a:cxn ang="f958">
                <a:pos x="f1306" y="f1230"/>
              </a:cxn>
              <a:cxn ang="f958">
                <a:pos x="f1313" y="f1232"/>
              </a:cxn>
              <a:cxn ang="f958">
                <a:pos x="f1314" y="f1234"/>
              </a:cxn>
              <a:cxn ang="f958">
                <a:pos x="f1315" y="f1316"/>
              </a:cxn>
              <a:cxn ang="f958">
                <a:pos x="f1306" y="f1257"/>
              </a:cxn>
              <a:cxn ang="f958">
                <a:pos x="f1317" y="f1318"/>
              </a:cxn>
              <a:cxn ang="f958">
                <a:pos x="f1319" y="f1320"/>
              </a:cxn>
              <a:cxn ang="f958">
                <a:pos x="f1306" y="f1320"/>
              </a:cxn>
              <a:cxn ang="f958">
                <a:pos x="f1306" y="f1321"/>
              </a:cxn>
              <a:cxn ang="f958">
                <a:pos x="f1322" y="f1321"/>
              </a:cxn>
              <a:cxn ang="f958">
                <a:pos x="f1322" y="f1215"/>
              </a:cxn>
              <a:cxn ang="f958">
                <a:pos x="f1323" y="f1215"/>
              </a:cxn>
              <a:cxn ang="f958">
                <a:pos x="f1324" y="f1325"/>
              </a:cxn>
              <a:cxn ang="f958">
                <a:pos x="f1306" y="f1304"/>
              </a:cxn>
              <a:cxn ang="f958">
                <a:pos x="f1314" y="f1326"/>
              </a:cxn>
              <a:cxn ang="f958">
                <a:pos x="f1327" y="f1234"/>
              </a:cxn>
              <a:cxn ang="f958">
                <a:pos x="f1314" y="f1247"/>
              </a:cxn>
              <a:cxn ang="f958">
                <a:pos x="f1306" y="f1300"/>
              </a:cxn>
              <a:cxn ang="f958">
                <a:pos x="f1328" y="f1300"/>
              </a:cxn>
              <a:cxn ang="f958">
                <a:pos x="f1329" y="f1308"/>
              </a:cxn>
              <a:cxn ang="f958">
                <a:pos x="f1330" y="f1228"/>
              </a:cxn>
              <a:cxn ang="f958">
                <a:pos x="f1331" y="f1228"/>
              </a:cxn>
              <a:cxn ang="f958">
                <a:pos x="f1332" y="f1312"/>
              </a:cxn>
              <a:cxn ang="f958">
                <a:pos x="f1328" y="f1230"/>
              </a:cxn>
              <a:cxn ang="f958">
                <a:pos x="f1333" y="f1232"/>
              </a:cxn>
              <a:cxn ang="f958">
                <a:pos x="f1334" y="f1234"/>
              </a:cxn>
              <a:cxn ang="f958">
                <a:pos x="f1333" y="f1316"/>
              </a:cxn>
              <a:cxn ang="f958">
                <a:pos x="f1328" y="f1257"/>
              </a:cxn>
              <a:cxn ang="f958">
                <a:pos x="f1335" y="f1318"/>
              </a:cxn>
              <a:cxn ang="f958">
                <a:pos x="f1336" y="f1320"/>
              </a:cxn>
              <a:cxn ang="f958">
                <a:pos x="f1328" y="f1320"/>
              </a:cxn>
              <a:cxn ang="f958">
                <a:pos x="f1328" y="f1321"/>
              </a:cxn>
              <a:cxn ang="f958">
                <a:pos x="f1337" y="f1321"/>
              </a:cxn>
              <a:cxn ang="f958">
                <a:pos x="f1337" y="f1215"/>
              </a:cxn>
              <a:cxn ang="f958">
                <a:pos x="f1338" y="f1215"/>
              </a:cxn>
              <a:cxn ang="f958">
                <a:pos x="f1339" y="f1325"/>
              </a:cxn>
              <a:cxn ang="f958">
                <a:pos x="f1328" y="f1304"/>
              </a:cxn>
              <a:cxn ang="f958">
                <a:pos x="f1334" y="f1326"/>
              </a:cxn>
              <a:cxn ang="f958">
                <a:pos x="f1340" y="f1234"/>
              </a:cxn>
              <a:cxn ang="f958">
                <a:pos x="f1334" y="f1247"/>
              </a:cxn>
              <a:cxn ang="f958">
                <a:pos x="f1328" y="f1300"/>
              </a:cxn>
              <a:cxn ang="f958">
                <a:pos x="f1341" y="f1300"/>
              </a:cxn>
              <a:cxn ang="f958">
                <a:pos x="f1342" y="f1343"/>
              </a:cxn>
              <a:cxn ang="f958">
                <a:pos x="f1344" y="f1228"/>
              </a:cxn>
              <a:cxn ang="f958">
                <a:pos x="f1345" y="f1228"/>
              </a:cxn>
              <a:cxn ang="f958">
                <a:pos x="f1346" y="f1347"/>
              </a:cxn>
              <a:cxn ang="f958">
                <a:pos x="f1348" y="f1349"/>
              </a:cxn>
              <a:cxn ang="f958">
                <a:pos x="f1350" y="f1347"/>
              </a:cxn>
              <a:cxn ang="f958">
                <a:pos x="f1351" y="f1352"/>
              </a:cxn>
              <a:cxn ang="f958">
                <a:pos x="f1353" y="f1354"/>
              </a:cxn>
              <a:cxn ang="f958">
                <a:pos x="f1355" y="f1356"/>
              </a:cxn>
              <a:cxn ang="f958">
                <a:pos x="f1357" y="f1358"/>
              </a:cxn>
              <a:cxn ang="f958">
                <a:pos x="f1359" y="f1360"/>
              </a:cxn>
              <a:cxn ang="f958">
                <a:pos x="f1361" y="f1260"/>
              </a:cxn>
              <a:cxn ang="f958">
                <a:pos x="f1362" y="f1363"/>
              </a:cxn>
              <a:cxn ang="f958">
                <a:pos x="f1364" y="f1365"/>
              </a:cxn>
              <a:cxn ang="f958">
                <a:pos x="f1366" y="f1365"/>
              </a:cxn>
              <a:cxn ang="f958">
                <a:pos x="f1367" y="f1368"/>
              </a:cxn>
              <a:cxn ang="f958">
                <a:pos x="f1361" y="f1257"/>
              </a:cxn>
              <a:cxn ang="f958">
                <a:pos x="f1369" y="f1370"/>
              </a:cxn>
              <a:cxn ang="f958">
                <a:pos x="f1371" y="f1358"/>
              </a:cxn>
              <a:cxn ang="f958">
                <a:pos x="f1372" y="f1373"/>
              </a:cxn>
              <a:cxn ang="f958">
                <a:pos x="f1374" y="f1375"/>
              </a:cxn>
              <a:cxn ang="f958">
                <a:pos x="f1376" y="f1377"/>
              </a:cxn>
              <a:cxn ang="f958">
                <a:pos x="f1378" y="f1379"/>
              </a:cxn>
              <a:cxn ang="f958">
                <a:pos x="f1341" y="f1300"/>
              </a:cxn>
              <a:cxn ang="f958">
                <a:pos x="f1239" y="f1300"/>
              </a:cxn>
              <a:cxn ang="f958">
                <a:pos x="f1243" y="f1247"/>
              </a:cxn>
              <a:cxn ang="f958">
                <a:pos x="f1380" y="f1234"/>
              </a:cxn>
              <a:cxn ang="f958">
                <a:pos x="f1243" y="f1303"/>
              </a:cxn>
              <a:cxn ang="f958">
                <a:pos x="f1239" y="f1304"/>
              </a:cxn>
              <a:cxn ang="f958">
                <a:pos x="f1381" y="f1303"/>
              </a:cxn>
              <a:cxn ang="f958">
                <a:pos x="f1382" y="f1234"/>
              </a:cxn>
              <a:cxn ang="f958">
                <a:pos x="f1381" y="f1247"/>
              </a:cxn>
              <a:cxn ang="f958">
                <a:pos x="f1239" y="f1300"/>
              </a:cxn>
              <a:cxn ang="f958">
                <a:pos x="f1383" y="f1300"/>
              </a:cxn>
              <a:cxn ang="f958">
                <a:pos x="f1384" y="f1385"/>
              </a:cxn>
              <a:cxn ang="f958">
                <a:pos x="f1386" y="f1387"/>
              </a:cxn>
              <a:cxn ang="f958">
                <a:pos x="f1388" y="f1387"/>
              </a:cxn>
              <a:cxn ang="f958">
                <a:pos x="f1389" y="f1390"/>
              </a:cxn>
              <a:cxn ang="f958">
                <a:pos x="f1383" y="f1230"/>
              </a:cxn>
              <a:cxn ang="f958">
                <a:pos x="f1391" y="f1232"/>
              </a:cxn>
              <a:cxn ang="f958">
                <a:pos x="f1392" y="f1234"/>
              </a:cxn>
              <a:cxn ang="f958">
                <a:pos x="f1391" y="f1235"/>
              </a:cxn>
              <a:cxn ang="f958">
                <a:pos x="f1383" y="f1257"/>
              </a:cxn>
              <a:cxn ang="f958">
                <a:pos x="f1393" y="f1235"/>
              </a:cxn>
              <a:cxn ang="f958">
                <a:pos x="f1388" y="f1365"/>
              </a:cxn>
              <a:cxn ang="f958">
                <a:pos x="f1394" y="f1365"/>
              </a:cxn>
              <a:cxn ang="f958">
                <a:pos x="f1384" y="f1303"/>
              </a:cxn>
              <a:cxn ang="f958">
                <a:pos x="f1383" y="f1304"/>
              </a:cxn>
              <a:cxn ang="f958">
                <a:pos x="f1395" y="f1303"/>
              </a:cxn>
              <a:cxn ang="f958">
                <a:pos x="f1396" y="f1234"/>
              </a:cxn>
              <a:cxn ang="f958">
                <a:pos x="f1395" y="f1247"/>
              </a:cxn>
              <a:cxn ang="f958">
                <a:pos x="f1383" y="f1300"/>
              </a:cxn>
              <a:cxn ang="f958">
                <a:pos x="f1397" y="f1398"/>
              </a:cxn>
              <a:cxn ang="f958">
                <a:pos x="f1397" y="f1399"/>
              </a:cxn>
              <a:cxn ang="f958">
                <a:pos x="f1400" y="f1399"/>
              </a:cxn>
              <a:cxn ang="f958">
                <a:pos x="f1401" y="f1402"/>
              </a:cxn>
              <a:cxn ang="f958">
                <a:pos x="f1400" y="f1398"/>
              </a:cxn>
              <a:cxn ang="f958">
                <a:pos x="f1397" y="f1398"/>
              </a:cxn>
              <a:cxn ang="f958">
                <a:pos x="f1403" y="f1404"/>
              </a:cxn>
              <a:cxn ang="f958">
                <a:pos x="f1405" y="f1404"/>
              </a:cxn>
              <a:cxn ang="f958">
                <a:pos x="f1405" y="f1406"/>
              </a:cxn>
              <a:cxn ang="f958">
                <a:pos x="f1407" y="f1406"/>
              </a:cxn>
              <a:cxn ang="f958">
                <a:pos x="f1407" y="f1408"/>
              </a:cxn>
              <a:cxn ang="f958">
                <a:pos x="f1409" y="f1408"/>
              </a:cxn>
              <a:cxn ang="f958">
                <a:pos x="f1409" y="f1406"/>
              </a:cxn>
              <a:cxn ang="f958">
                <a:pos x="f1403" y="f1406"/>
              </a:cxn>
              <a:cxn ang="f958">
                <a:pos x="f1410" y="f1404"/>
              </a:cxn>
              <a:cxn ang="f958">
                <a:pos x="f1411" y="f1404"/>
              </a:cxn>
              <a:cxn ang="f958">
                <a:pos x="f1412" y="f1413"/>
              </a:cxn>
              <a:cxn ang="f958">
                <a:pos x="f1414" y="f1415"/>
              </a:cxn>
              <a:cxn ang="f958">
                <a:pos x="f1414" y="f1404"/>
              </a:cxn>
              <a:cxn ang="f958">
                <a:pos x="f1416" y="f1404"/>
              </a:cxn>
              <a:cxn ang="f958">
                <a:pos x="f1416" y="f1408"/>
              </a:cxn>
              <a:cxn ang="f958">
                <a:pos x="f1417" y="f1408"/>
              </a:cxn>
              <a:cxn ang="f958">
                <a:pos x="f1418" y="f1419"/>
              </a:cxn>
              <a:cxn ang="f958">
                <a:pos x="f1418" y="f1408"/>
              </a:cxn>
              <a:cxn ang="f958">
                <a:pos x="f1410" y="f1408"/>
              </a:cxn>
              <a:cxn ang="f958">
                <a:pos x="f1420" y="f1404"/>
              </a:cxn>
              <a:cxn ang="f958">
                <a:pos x="f1421" y="f1404"/>
              </a:cxn>
              <a:cxn ang="f958">
                <a:pos x="f1421" y="f1422"/>
              </a:cxn>
              <a:cxn ang="f958">
                <a:pos x="f1423" y="f1422"/>
              </a:cxn>
              <a:cxn ang="f958">
                <a:pos x="f1423" y="f1424"/>
              </a:cxn>
              <a:cxn ang="f958">
                <a:pos x="f1425" y="f1424"/>
              </a:cxn>
              <a:cxn ang="f958">
                <a:pos x="f1425" y="f1426"/>
              </a:cxn>
              <a:cxn ang="f958">
                <a:pos x="f1423" y="f1426"/>
              </a:cxn>
              <a:cxn ang="f958">
                <a:pos x="f1423" y="f1427"/>
              </a:cxn>
              <a:cxn ang="f958">
                <a:pos x="f1421" y="f1427"/>
              </a:cxn>
              <a:cxn ang="f958">
                <a:pos x="f1421" y="f1408"/>
              </a:cxn>
              <a:cxn ang="f958">
                <a:pos x="f1420" y="f1408"/>
              </a:cxn>
              <a:cxn ang="f958">
                <a:pos x="f1428" y="f1404"/>
              </a:cxn>
              <a:cxn ang="f958">
                <a:pos x="f1429" y="f1404"/>
              </a:cxn>
              <a:cxn ang="f958">
                <a:pos x="f1430" y="f1431"/>
              </a:cxn>
              <a:cxn ang="f958">
                <a:pos x="f1432" y="f1404"/>
              </a:cxn>
              <a:cxn ang="f958">
                <a:pos x="f1433" y="f1404"/>
              </a:cxn>
              <a:cxn ang="f958">
                <a:pos x="f1433" y="f1408"/>
              </a:cxn>
              <a:cxn ang="f958">
                <a:pos x="f1434" y="f1408"/>
              </a:cxn>
              <a:cxn ang="f958">
                <a:pos x="f1434" y="f1435"/>
              </a:cxn>
              <a:cxn ang="f958">
                <a:pos x="f1436" y="f1437"/>
              </a:cxn>
              <a:cxn ang="f958">
                <a:pos x="f1438" y="f1437"/>
              </a:cxn>
              <a:cxn ang="f958">
                <a:pos x="f1439" y="f1440"/>
              </a:cxn>
              <a:cxn ang="f958">
                <a:pos x="f1439" y="f1408"/>
              </a:cxn>
              <a:cxn ang="f958">
                <a:pos x="f1428" y="f1408"/>
              </a:cxn>
              <a:cxn ang="f958">
                <a:pos x="f1441" y="f1404"/>
              </a:cxn>
              <a:cxn ang="f958">
                <a:pos x="f1442" y="f1404"/>
              </a:cxn>
              <a:cxn ang="f958">
                <a:pos x="f1442" y="f1422"/>
              </a:cxn>
              <a:cxn ang="f958">
                <a:pos x="f1443" y="f1422"/>
              </a:cxn>
              <a:cxn ang="f958">
                <a:pos x="f1443" y="f1424"/>
              </a:cxn>
              <a:cxn ang="f958">
                <a:pos x="f1444" y="f1424"/>
              </a:cxn>
              <a:cxn ang="f958">
                <a:pos x="f1444" y="f1426"/>
              </a:cxn>
              <a:cxn ang="f958">
                <a:pos x="f1443" y="f1426"/>
              </a:cxn>
              <a:cxn ang="f958">
                <a:pos x="f1443" y="f1427"/>
              </a:cxn>
              <a:cxn ang="f958">
                <a:pos x="f1442" y="f1427"/>
              </a:cxn>
              <a:cxn ang="f958">
                <a:pos x="f1442" y="f1408"/>
              </a:cxn>
              <a:cxn ang="f958">
                <a:pos x="f1441" y="f1408"/>
              </a:cxn>
              <a:cxn ang="f958">
                <a:pos x="f1445" y="f1404"/>
              </a:cxn>
              <a:cxn ang="f958">
                <a:pos x="f1446" y="f1404"/>
              </a:cxn>
              <a:cxn ang="f958">
                <a:pos x="f1446" y="f1447"/>
              </a:cxn>
              <a:cxn ang="f958">
                <a:pos x="f1448" y="f1447"/>
              </a:cxn>
              <a:cxn ang="f958">
                <a:pos x="f1448" y="f1408"/>
              </a:cxn>
              <a:cxn ang="f958">
                <a:pos x="f1445" y="f1408"/>
              </a:cxn>
              <a:cxn ang="f958">
                <a:pos x="f1449" y="f1404"/>
              </a:cxn>
              <a:cxn ang="f958">
                <a:pos x="f1450" y="f1404"/>
              </a:cxn>
              <a:cxn ang="f958">
                <a:pos x="f1451" y="f1452"/>
              </a:cxn>
              <a:cxn ang="f958">
                <a:pos x="f1450" y="f1453"/>
              </a:cxn>
              <a:cxn ang="f958">
                <a:pos x="f1397" y="f1453"/>
              </a:cxn>
              <a:cxn ang="f958">
                <a:pos x="f1397" y="f1408"/>
              </a:cxn>
              <a:cxn ang="f958">
                <a:pos x="f1449" y="f1408"/>
              </a:cxn>
              <a:cxn ang="f958">
                <a:pos x="f1449" y="f1404"/>
              </a:cxn>
              <a:cxn ang="f958">
                <a:pos x="f1454" y="f1404"/>
              </a:cxn>
              <a:cxn ang="f958">
                <a:pos x="f1455" y="f1404"/>
              </a:cxn>
              <a:cxn ang="f958">
                <a:pos x="f1456" y="f1431"/>
              </a:cxn>
              <a:cxn ang="f958">
                <a:pos x="f1457" y="f1404"/>
              </a:cxn>
              <a:cxn ang="f958">
                <a:pos x="f1458" y="f1404"/>
              </a:cxn>
              <a:cxn ang="f958">
                <a:pos x="f1458" y="f1408"/>
              </a:cxn>
              <a:cxn ang="f958">
                <a:pos x="f1459" y="f1408"/>
              </a:cxn>
              <a:cxn ang="f958">
                <a:pos x="f1459" y="f1435"/>
              </a:cxn>
              <a:cxn ang="f958">
                <a:pos x="f1460" y="f1437"/>
              </a:cxn>
              <a:cxn ang="f958">
                <a:pos x="f1461" y="f1437"/>
              </a:cxn>
              <a:cxn ang="f958">
                <a:pos x="f1462" y="f1440"/>
              </a:cxn>
              <a:cxn ang="f958">
                <a:pos x="f1462" y="f1408"/>
              </a:cxn>
              <a:cxn ang="f958">
                <a:pos x="f1454" y="f1408"/>
              </a:cxn>
              <a:cxn ang="f958">
                <a:pos x="f1463" y="f1404"/>
              </a:cxn>
              <a:cxn ang="f958">
                <a:pos x="f1464" y="f1404"/>
              </a:cxn>
              <a:cxn ang="f958">
                <a:pos x="f1464" y="f1408"/>
              </a:cxn>
              <a:cxn ang="f958">
                <a:pos x="f1463" y="f1408"/>
              </a:cxn>
            </a:cxnLst>
            <a:rect l="f1210" t="f1213" r="f1211" b="f1212"/>
            <a:pathLst>
              <a:path w="9905999" h="2265361">
                <a:moveTo>
                  <a:pt x="f8" y="f9"/>
                </a:moveTo>
                <a:cubicBezTo>
                  <a:pt x="f8" y="f9"/>
                  <a:pt x="f8" y="f9"/>
                  <a:pt x="f10" y="f9"/>
                </a:cubicBezTo>
                <a:lnTo>
                  <a:pt x="f10" y="f7"/>
                </a:lnTo>
                <a:cubicBezTo>
                  <a:pt x="f10" y="f7"/>
                  <a:pt x="f10" y="f7"/>
                  <a:pt x="f8" y="f7"/>
                </a:cubicBezTo>
                <a:cubicBezTo>
                  <a:pt x="f8" y="f7"/>
                  <a:pt x="f8" y="f7"/>
                  <a:pt x="f8" y="f9"/>
                </a:cubicBezTo>
                <a:close/>
                <a:moveTo>
                  <a:pt x="f11" y="f12"/>
                </a:moveTo>
                <a:cubicBezTo>
                  <a:pt x="f11" y="f12"/>
                  <a:pt x="f11" y="f12"/>
                  <a:pt x="f11" y="f13"/>
                </a:cubicBezTo>
                <a:cubicBezTo>
                  <a:pt x="f11" y="f13"/>
                  <a:pt x="f11" y="f13"/>
                  <a:pt x="f14" y="f13"/>
                </a:cubicBezTo>
                <a:cubicBezTo>
                  <a:pt x="f15" y="f13"/>
                  <a:pt x="f16" y="f17"/>
                  <a:pt x="f16" y="f18"/>
                </a:cubicBezTo>
                <a:cubicBezTo>
                  <a:pt x="f16" y="f19"/>
                  <a:pt x="f20" y="f12"/>
                  <a:pt x="f14" y="f12"/>
                </a:cubicBezTo>
                <a:cubicBezTo>
                  <a:pt x="f14" y="f12"/>
                  <a:pt x="f14" y="f12"/>
                  <a:pt x="f11" y="f12"/>
                </a:cubicBezTo>
                <a:close/>
                <a:moveTo>
                  <a:pt x="f21" y="f12"/>
                </a:moveTo>
                <a:cubicBezTo>
                  <a:pt x="f21" y="f12"/>
                  <a:pt x="f21" y="f12"/>
                  <a:pt x="f21" y="f22"/>
                </a:cubicBezTo>
                <a:cubicBezTo>
                  <a:pt x="f21" y="f22"/>
                  <a:pt x="f21" y="f22"/>
                  <a:pt x="f23" y="f22"/>
                </a:cubicBezTo>
                <a:cubicBezTo>
                  <a:pt x="f24" y="f22"/>
                  <a:pt x="f25" y="f26"/>
                  <a:pt x="f25" y="f27"/>
                </a:cubicBezTo>
                <a:cubicBezTo>
                  <a:pt x="f25" y="f28"/>
                  <a:pt x="f24" y="f12"/>
                  <a:pt x="f23" y="f12"/>
                </a:cubicBezTo>
                <a:cubicBezTo>
                  <a:pt x="f23" y="f12"/>
                  <a:pt x="f23" y="f12"/>
                  <a:pt x="f21" y="f12"/>
                </a:cubicBezTo>
                <a:close/>
                <a:moveTo>
                  <a:pt x="f29" y="f30"/>
                </a:moveTo>
                <a:cubicBezTo>
                  <a:pt x="f31" y="f30"/>
                  <a:pt x="f32" y="f33"/>
                  <a:pt x="f34" y="f19"/>
                </a:cubicBezTo>
                <a:cubicBezTo>
                  <a:pt x="f35" y="f36"/>
                  <a:pt x="f37" y="f38"/>
                  <a:pt x="f37" y="f39"/>
                </a:cubicBezTo>
                <a:cubicBezTo>
                  <a:pt x="f37" y="f40"/>
                  <a:pt x="f35" y="f41"/>
                  <a:pt x="f34" y="f42"/>
                </a:cubicBezTo>
                <a:cubicBezTo>
                  <a:pt x="f32" y="f43"/>
                  <a:pt x="f31" y="f44"/>
                  <a:pt x="f29" y="f44"/>
                </a:cubicBezTo>
                <a:cubicBezTo>
                  <a:pt x="f45" y="f44"/>
                  <a:pt x="f46" y="f43"/>
                  <a:pt x="f47" y="f42"/>
                </a:cubicBezTo>
                <a:cubicBezTo>
                  <a:pt x="f48" y="f41"/>
                  <a:pt x="f49" y="f40"/>
                  <a:pt x="f49" y="f39"/>
                </a:cubicBezTo>
                <a:cubicBezTo>
                  <a:pt x="f49" y="f38"/>
                  <a:pt x="f48" y="f36"/>
                  <a:pt x="f47" y="f19"/>
                </a:cubicBezTo>
                <a:cubicBezTo>
                  <a:pt x="f46" y="f33"/>
                  <a:pt x="f45" y="f30"/>
                  <a:pt x="f29" y="f30"/>
                </a:cubicBezTo>
                <a:close/>
                <a:moveTo>
                  <a:pt x="f50" y="f30"/>
                </a:moveTo>
                <a:cubicBezTo>
                  <a:pt x="f51" y="f30"/>
                  <a:pt x="f52" y="f33"/>
                  <a:pt x="f53" y="f19"/>
                </a:cubicBezTo>
                <a:cubicBezTo>
                  <a:pt x="f54" y="f36"/>
                  <a:pt x="f55" y="f38"/>
                  <a:pt x="f55" y="f39"/>
                </a:cubicBezTo>
                <a:cubicBezTo>
                  <a:pt x="f55" y="f40"/>
                  <a:pt x="f54" y="f41"/>
                  <a:pt x="f53" y="f42"/>
                </a:cubicBezTo>
                <a:cubicBezTo>
                  <a:pt x="f52" y="f43"/>
                  <a:pt x="f51" y="f44"/>
                  <a:pt x="f50" y="f44"/>
                </a:cubicBezTo>
                <a:cubicBezTo>
                  <a:pt x="f56" y="f44"/>
                  <a:pt x="f57" y="f43"/>
                  <a:pt x="f58" y="f42"/>
                </a:cubicBezTo>
                <a:cubicBezTo>
                  <a:pt x="f59" y="f41"/>
                  <a:pt x="f60" y="f40"/>
                  <a:pt x="f60" y="f39"/>
                </a:cubicBezTo>
                <a:cubicBezTo>
                  <a:pt x="f60" y="f38"/>
                  <a:pt x="f59" y="f36"/>
                  <a:pt x="f58" y="f19"/>
                </a:cubicBezTo>
                <a:cubicBezTo>
                  <a:pt x="f57" y="f33"/>
                  <a:pt x="f56" y="f30"/>
                  <a:pt x="f50" y="f30"/>
                </a:cubicBezTo>
                <a:close/>
                <a:moveTo>
                  <a:pt x="f61" y="f62"/>
                </a:moveTo>
                <a:cubicBezTo>
                  <a:pt x="f61" y="f62"/>
                  <a:pt x="f61" y="f62"/>
                  <a:pt x="f14" y="f62"/>
                </a:cubicBezTo>
                <a:cubicBezTo>
                  <a:pt x="f63" y="f62"/>
                  <a:pt x="f16" y="f64"/>
                  <a:pt x="f65" y="f66"/>
                </a:cubicBezTo>
                <a:cubicBezTo>
                  <a:pt x="f67" y="f68"/>
                  <a:pt x="f69" y="f70"/>
                  <a:pt x="f69" y="f18"/>
                </a:cubicBezTo>
                <a:cubicBezTo>
                  <a:pt x="f69" y="f71"/>
                  <a:pt x="f67" y="f72"/>
                  <a:pt x="f73" y="f74"/>
                </a:cubicBezTo>
                <a:cubicBezTo>
                  <a:pt x="f75" y="f76"/>
                  <a:pt x="f77" y="f78"/>
                  <a:pt x="f79" y="f78"/>
                </a:cubicBezTo>
                <a:cubicBezTo>
                  <a:pt x="f79" y="f78"/>
                  <a:pt x="f79" y="f78"/>
                  <a:pt x="f11" y="f78"/>
                </a:cubicBezTo>
                <a:cubicBezTo>
                  <a:pt x="f11" y="f78"/>
                  <a:pt x="f11" y="f78"/>
                  <a:pt x="f11" y="f9"/>
                </a:cubicBezTo>
                <a:cubicBezTo>
                  <a:pt x="f11" y="f9"/>
                  <a:pt x="f11" y="f9"/>
                  <a:pt x="f61" y="f9"/>
                </a:cubicBezTo>
                <a:cubicBezTo>
                  <a:pt x="f61" y="f9"/>
                  <a:pt x="f61" y="f9"/>
                  <a:pt x="f61" y="f62"/>
                </a:cubicBezTo>
                <a:close/>
                <a:moveTo>
                  <a:pt x="f80" y="f62"/>
                </a:moveTo>
                <a:cubicBezTo>
                  <a:pt x="f80" y="f62"/>
                  <a:pt x="f80" y="f62"/>
                  <a:pt x="f81" y="f62"/>
                </a:cubicBezTo>
                <a:cubicBezTo>
                  <a:pt x="f81" y="f62"/>
                  <a:pt x="f81" y="f62"/>
                  <a:pt x="f81" y="f82"/>
                </a:cubicBezTo>
                <a:cubicBezTo>
                  <a:pt x="f81" y="f83"/>
                  <a:pt x="f84" y="f85"/>
                  <a:pt x="f86" y="f85"/>
                </a:cubicBezTo>
                <a:cubicBezTo>
                  <a:pt x="f87" y="f85"/>
                  <a:pt x="f88" y="f83"/>
                  <a:pt x="f88" y="f82"/>
                </a:cubicBezTo>
                <a:cubicBezTo>
                  <a:pt x="f88" y="f82"/>
                  <a:pt x="f88" y="f82"/>
                  <a:pt x="f88" y="f62"/>
                </a:cubicBezTo>
                <a:cubicBezTo>
                  <a:pt x="f88" y="f62"/>
                  <a:pt x="f88" y="f62"/>
                  <a:pt x="f89" y="f62"/>
                </a:cubicBezTo>
                <a:cubicBezTo>
                  <a:pt x="f89" y="f62"/>
                  <a:pt x="f89" y="f62"/>
                  <a:pt x="f89" y="f82"/>
                </a:cubicBezTo>
                <a:cubicBezTo>
                  <a:pt x="f89" y="f90"/>
                  <a:pt x="f91" y="f92"/>
                  <a:pt x="f86" y="f92"/>
                </a:cubicBezTo>
                <a:cubicBezTo>
                  <a:pt x="f93" y="f92"/>
                  <a:pt x="f80" y="f90"/>
                  <a:pt x="f80" y="f82"/>
                </a:cubicBezTo>
                <a:cubicBezTo>
                  <a:pt x="f80" y="f82"/>
                  <a:pt x="f80" y="f82"/>
                  <a:pt x="f80" y="f62"/>
                </a:cubicBezTo>
                <a:close/>
                <a:moveTo>
                  <a:pt x="f94" y="f62"/>
                </a:moveTo>
                <a:cubicBezTo>
                  <a:pt x="f94" y="f62"/>
                  <a:pt x="f94" y="f62"/>
                  <a:pt x="f23" y="f62"/>
                </a:cubicBezTo>
                <a:cubicBezTo>
                  <a:pt x="f24" y="f62"/>
                  <a:pt x="f95" y="f64"/>
                  <a:pt x="f96" y="f66"/>
                </a:cubicBezTo>
                <a:cubicBezTo>
                  <a:pt x="f97" y="f68"/>
                  <a:pt x="f98" y="f99"/>
                  <a:pt x="f98" y="f27"/>
                </a:cubicBezTo>
                <a:cubicBezTo>
                  <a:pt x="f98" y="f100"/>
                  <a:pt x="f97" y="f101"/>
                  <a:pt x="f96" y="f102"/>
                </a:cubicBezTo>
                <a:cubicBezTo>
                  <a:pt x="f103" y="f104"/>
                  <a:pt x="f105" y="f106"/>
                  <a:pt x="f107" y="f108"/>
                </a:cubicBezTo>
                <a:cubicBezTo>
                  <a:pt x="f107" y="f108"/>
                  <a:pt x="f107" y="f108"/>
                  <a:pt x="f109" y="f9"/>
                </a:cubicBezTo>
                <a:lnTo>
                  <a:pt x="f95" y="f9"/>
                </a:lnTo>
                <a:cubicBezTo>
                  <a:pt x="f95" y="f9"/>
                  <a:pt x="f95" y="f9"/>
                  <a:pt x="f110" y="f111"/>
                </a:cubicBezTo>
                <a:cubicBezTo>
                  <a:pt x="f110" y="f111"/>
                  <a:pt x="f110" y="f111"/>
                  <a:pt x="f21" y="f111"/>
                </a:cubicBezTo>
                <a:cubicBezTo>
                  <a:pt x="f21" y="f111"/>
                  <a:pt x="f21" y="f111"/>
                  <a:pt x="f21" y="f9"/>
                </a:cubicBezTo>
                <a:cubicBezTo>
                  <a:pt x="f21" y="f9"/>
                  <a:pt x="f21" y="f9"/>
                  <a:pt x="f94" y="f9"/>
                </a:cubicBezTo>
                <a:cubicBezTo>
                  <a:pt x="f94" y="f9"/>
                  <a:pt x="f94" y="f9"/>
                  <a:pt x="f94" y="f62"/>
                </a:cubicBezTo>
                <a:close/>
                <a:moveTo>
                  <a:pt x="f112" y="f62"/>
                </a:moveTo>
                <a:cubicBezTo>
                  <a:pt x="f112" y="f62"/>
                  <a:pt x="f112" y="f62"/>
                  <a:pt x="f113" y="f62"/>
                </a:cubicBezTo>
                <a:cubicBezTo>
                  <a:pt x="f113" y="f62"/>
                  <a:pt x="f113" y="f62"/>
                  <a:pt x="f114" y="f115"/>
                </a:cubicBezTo>
                <a:cubicBezTo>
                  <a:pt x="f114" y="f115"/>
                  <a:pt x="f114" y="f115"/>
                  <a:pt x="f114" y="f62"/>
                </a:cubicBezTo>
                <a:cubicBezTo>
                  <a:pt x="f114" y="f62"/>
                  <a:pt x="f114" y="f62"/>
                  <a:pt x="f116" y="f62"/>
                </a:cubicBezTo>
                <a:cubicBezTo>
                  <a:pt x="f116" y="f62"/>
                  <a:pt x="f116" y="f62"/>
                  <a:pt x="f116" y="f9"/>
                </a:cubicBezTo>
                <a:lnTo>
                  <a:pt x="f117" y="f9"/>
                </a:lnTo>
                <a:cubicBezTo>
                  <a:pt x="f117" y="f9"/>
                  <a:pt x="f117" y="f9"/>
                  <a:pt x="f118" y="f119"/>
                </a:cubicBezTo>
                <a:cubicBezTo>
                  <a:pt x="f118" y="f119"/>
                  <a:pt x="f118" y="f119"/>
                  <a:pt x="f118" y="f9"/>
                </a:cubicBezTo>
                <a:cubicBezTo>
                  <a:pt x="f118" y="f9"/>
                  <a:pt x="f118" y="f9"/>
                  <a:pt x="f112" y="f9"/>
                </a:cubicBezTo>
                <a:cubicBezTo>
                  <a:pt x="f112" y="f9"/>
                  <a:pt x="f112" y="f9"/>
                  <a:pt x="f112" y="f62"/>
                </a:cubicBezTo>
                <a:close/>
                <a:moveTo>
                  <a:pt x="f120" y="f62"/>
                </a:moveTo>
                <a:cubicBezTo>
                  <a:pt x="f120" y="f62"/>
                  <a:pt x="f120" y="f62"/>
                  <a:pt x="f121" y="f62"/>
                </a:cubicBezTo>
                <a:lnTo>
                  <a:pt x="f121" y="f9"/>
                </a:lnTo>
                <a:cubicBezTo>
                  <a:pt x="f121" y="f9"/>
                  <a:pt x="f121" y="f9"/>
                  <a:pt x="f120" y="f9"/>
                </a:cubicBezTo>
                <a:cubicBezTo>
                  <a:pt x="f120" y="f9"/>
                  <a:pt x="f120" y="f9"/>
                  <a:pt x="f120" y="f62"/>
                </a:cubicBezTo>
                <a:close/>
                <a:moveTo>
                  <a:pt x="f122" y="f62"/>
                </a:moveTo>
                <a:cubicBezTo>
                  <a:pt x="f122" y="f62"/>
                  <a:pt x="f122" y="f62"/>
                  <a:pt x="f123" y="f62"/>
                </a:cubicBezTo>
                <a:cubicBezTo>
                  <a:pt x="f123" y="f62"/>
                  <a:pt x="f123" y="f62"/>
                  <a:pt x="f123" y="f12"/>
                </a:cubicBezTo>
                <a:lnTo>
                  <a:pt x="f124" y="f12"/>
                </a:lnTo>
                <a:cubicBezTo>
                  <a:pt x="f124" y="f12"/>
                  <a:pt x="f124" y="f12"/>
                  <a:pt x="f124" y="f9"/>
                </a:cubicBezTo>
                <a:cubicBezTo>
                  <a:pt x="f124" y="f9"/>
                  <a:pt x="f124" y="f9"/>
                  <a:pt x="f125" y="f9"/>
                </a:cubicBezTo>
                <a:cubicBezTo>
                  <a:pt x="f125" y="f9"/>
                  <a:pt x="f125" y="f9"/>
                  <a:pt x="f125" y="f12"/>
                </a:cubicBezTo>
                <a:cubicBezTo>
                  <a:pt x="f125" y="f12"/>
                  <a:pt x="f125" y="f12"/>
                  <a:pt x="f122" y="f12"/>
                </a:cubicBezTo>
                <a:cubicBezTo>
                  <a:pt x="f122" y="f12"/>
                  <a:pt x="f122" y="f12"/>
                  <a:pt x="f122" y="f62"/>
                </a:cubicBezTo>
                <a:close/>
                <a:moveTo>
                  <a:pt x="f126" y="f62"/>
                </a:moveTo>
                <a:cubicBezTo>
                  <a:pt x="f126" y="f62"/>
                  <a:pt x="f126" y="f62"/>
                  <a:pt x="f127" y="f62"/>
                </a:cubicBezTo>
                <a:cubicBezTo>
                  <a:pt x="f127" y="f62"/>
                  <a:pt x="f127" y="f62"/>
                  <a:pt x="f127" y="f90"/>
                </a:cubicBezTo>
                <a:cubicBezTo>
                  <a:pt x="f127" y="f90"/>
                  <a:pt x="f127" y="f90"/>
                  <a:pt x="f128" y="f90"/>
                </a:cubicBezTo>
                <a:cubicBezTo>
                  <a:pt x="f128" y="f90"/>
                  <a:pt x="f128" y="f90"/>
                  <a:pt x="f128" y="f9"/>
                </a:cubicBezTo>
                <a:lnTo>
                  <a:pt x="f126" y="f9"/>
                </a:lnTo>
                <a:cubicBezTo>
                  <a:pt x="f126" y="f9"/>
                  <a:pt x="f126" y="f9"/>
                  <a:pt x="f126" y="f62"/>
                </a:cubicBezTo>
                <a:close/>
                <a:moveTo>
                  <a:pt x="f129" y="f62"/>
                </a:moveTo>
                <a:cubicBezTo>
                  <a:pt x="f129" y="f62"/>
                  <a:pt x="f129" y="f62"/>
                  <a:pt x="f130" y="f62"/>
                </a:cubicBezTo>
                <a:cubicBezTo>
                  <a:pt x="f130" y="f62"/>
                  <a:pt x="f130" y="f62"/>
                  <a:pt x="f130" y="f82"/>
                </a:cubicBezTo>
                <a:cubicBezTo>
                  <a:pt x="f130" y="f83"/>
                  <a:pt x="f131" y="f85"/>
                  <a:pt x="f132" y="f85"/>
                </a:cubicBezTo>
                <a:cubicBezTo>
                  <a:pt x="f133" y="f85"/>
                  <a:pt x="f134" y="f83"/>
                  <a:pt x="f134" y="f82"/>
                </a:cubicBezTo>
                <a:cubicBezTo>
                  <a:pt x="f134" y="f82"/>
                  <a:pt x="f134" y="f82"/>
                  <a:pt x="f134" y="f62"/>
                </a:cubicBezTo>
                <a:cubicBezTo>
                  <a:pt x="f134" y="f62"/>
                  <a:pt x="f134" y="f62"/>
                  <a:pt x="f135" y="f62"/>
                </a:cubicBezTo>
                <a:cubicBezTo>
                  <a:pt x="f135" y="f62"/>
                  <a:pt x="f135" y="f62"/>
                  <a:pt x="f135" y="f82"/>
                </a:cubicBezTo>
                <a:cubicBezTo>
                  <a:pt x="f135" y="f90"/>
                  <a:pt x="f136" y="f92"/>
                  <a:pt x="f132" y="f92"/>
                </a:cubicBezTo>
                <a:cubicBezTo>
                  <a:pt x="f137" y="f92"/>
                  <a:pt x="f129" y="f90"/>
                  <a:pt x="f129" y="f82"/>
                </a:cubicBezTo>
                <a:cubicBezTo>
                  <a:pt x="f129" y="f82"/>
                  <a:pt x="f129" y="f82"/>
                  <a:pt x="f129" y="f62"/>
                </a:cubicBezTo>
                <a:close/>
                <a:moveTo>
                  <a:pt x="f138" y="f62"/>
                </a:moveTo>
                <a:cubicBezTo>
                  <a:pt x="f138" y="f62"/>
                  <a:pt x="f138" y="f62"/>
                  <a:pt x="f139" y="f62"/>
                </a:cubicBezTo>
                <a:cubicBezTo>
                  <a:pt x="f139" y="f62"/>
                  <a:pt x="f139" y="f62"/>
                  <a:pt x="f140" y="f115"/>
                </a:cubicBezTo>
                <a:cubicBezTo>
                  <a:pt x="f140" y="f115"/>
                  <a:pt x="f140" y="f115"/>
                  <a:pt x="f140" y="f62"/>
                </a:cubicBezTo>
                <a:cubicBezTo>
                  <a:pt x="f140" y="f62"/>
                  <a:pt x="f140" y="f62"/>
                  <a:pt x="f141" y="f62"/>
                </a:cubicBezTo>
                <a:cubicBezTo>
                  <a:pt x="f141" y="f62"/>
                  <a:pt x="f141" y="f62"/>
                  <a:pt x="f141" y="f9"/>
                </a:cubicBezTo>
                <a:lnTo>
                  <a:pt x="f142" y="f9"/>
                </a:lnTo>
                <a:cubicBezTo>
                  <a:pt x="f142" y="f9"/>
                  <a:pt x="f142" y="f9"/>
                  <a:pt x="f143" y="f119"/>
                </a:cubicBezTo>
                <a:cubicBezTo>
                  <a:pt x="f143" y="f119"/>
                  <a:pt x="f143" y="f119"/>
                  <a:pt x="f143" y="f9"/>
                </a:cubicBezTo>
                <a:cubicBezTo>
                  <a:pt x="f143" y="f9"/>
                  <a:pt x="f143" y="f9"/>
                  <a:pt x="f138" y="f9"/>
                </a:cubicBezTo>
                <a:cubicBezTo>
                  <a:pt x="f138" y="f9"/>
                  <a:pt x="f138" y="f9"/>
                  <a:pt x="f138" y="f62"/>
                </a:cubicBezTo>
                <a:close/>
                <a:moveTo>
                  <a:pt x="f29" y="f144"/>
                </a:moveTo>
                <a:cubicBezTo>
                  <a:pt x="f145" y="f144"/>
                  <a:pt x="f146" y="f147"/>
                  <a:pt x="f148" y="f66"/>
                </a:cubicBezTo>
                <a:cubicBezTo>
                  <a:pt x="f149" y="f119"/>
                  <a:pt x="f150" y="f151"/>
                  <a:pt x="f150" y="f39"/>
                </a:cubicBezTo>
                <a:cubicBezTo>
                  <a:pt x="f150" y="f152"/>
                  <a:pt x="f149" y="f115"/>
                  <a:pt x="f148" y="f153"/>
                </a:cubicBezTo>
                <a:cubicBezTo>
                  <a:pt x="f146" y="f154"/>
                  <a:pt x="f145" y="f155"/>
                  <a:pt x="f29" y="f155"/>
                </a:cubicBezTo>
                <a:cubicBezTo>
                  <a:pt x="f156" y="f155"/>
                  <a:pt x="f157" y="f154"/>
                  <a:pt x="f37" y="f153"/>
                </a:cubicBezTo>
                <a:cubicBezTo>
                  <a:pt x="f158" y="f115"/>
                  <a:pt x="f159" y="f152"/>
                  <a:pt x="f159" y="f39"/>
                </a:cubicBezTo>
                <a:cubicBezTo>
                  <a:pt x="f159" y="f151"/>
                  <a:pt x="f158" y="f119"/>
                  <a:pt x="f37" y="f66"/>
                </a:cubicBezTo>
                <a:cubicBezTo>
                  <a:pt x="f157" y="f147"/>
                  <a:pt x="f156" y="f144"/>
                  <a:pt x="f29" y="f144"/>
                </a:cubicBezTo>
                <a:close/>
                <a:moveTo>
                  <a:pt x="f160" y="f144"/>
                </a:moveTo>
                <a:cubicBezTo>
                  <a:pt x="f161" y="f144"/>
                  <a:pt x="f162" y="f163"/>
                  <a:pt x="f164" y="f165"/>
                </a:cubicBezTo>
                <a:cubicBezTo>
                  <a:pt x="f166" y="f167"/>
                  <a:pt x="f168" y="f169"/>
                  <a:pt x="f170" y="f27"/>
                </a:cubicBezTo>
                <a:cubicBezTo>
                  <a:pt x="f170" y="f27"/>
                  <a:pt x="f170" y="f27"/>
                  <a:pt x="f171" y="f27"/>
                </a:cubicBezTo>
                <a:cubicBezTo>
                  <a:pt x="f172" y="f173"/>
                  <a:pt x="f174" y="f175"/>
                  <a:pt x="f176" y="f177"/>
                </a:cubicBezTo>
                <a:cubicBezTo>
                  <a:pt x="f178" y="f179"/>
                  <a:pt x="f180" y="f30"/>
                  <a:pt x="f160" y="f30"/>
                </a:cubicBezTo>
                <a:cubicBezTo>
                  <a:pt x="f181" y="f30"/>
                  <a:pt x="f182" y="f33"/>
                  <a:pt x="f183" y="f19"/>
                </a:cubicBezTo>
                <a:cubicBezTo>
                  <a:pt x="f184" y="f36"/>
                  <a:pt x="f185" y="f38"/>
                  <a:pt x="f185" y="f39"/>
                </a:cubicBezTo>
                <a:cubicBezTo>
                  <a:pt x="f185" y="f186"/>
                  <a:pt x="f184" y="f187"/>
                  <a:pt x="f188" y="f189"/>
                </a:cubicBezTo>
                <a:cubicBezTo>
                  <a:pt x="f190" y="f191"/>
                  <a:pt x="f181" y="f85"/>
                  <a:pt x="f160" y="f85"/>
                </a:cubicBezTo>
                <a:cubicBezTo>
                  <a:pt x="f192" y="f85"/>
                  <a:pt x="f193" y="f43"/>
                  <a:pt x="f194" y="f195"/>
                </a:cubicBezTo>
                <a:cubicBezTo>
                  <a:pt x="f196" y="f197"/>
                  <a:pt x="f198" y="f199"/>
                  <a:pt x="f198" y="f200"/>
                </a:cubicBezTo>
                <a:cubicBezTo>
                  <a:pt x="f198" y="f200"/>
                  <a:pt x="f198" y="f200"/>
                  <a:pt x="f160" y="f200"/>
                </a:cubicBezTo>
                <a:cubicBezTo>
                  <a:pt x="f160" y="f200"/>
                  <a:pt x="f160" y="f200"/>
                  <a:pt x="f160" y="f201"/>
                </a:cubicBezTo>
                <a:cubicBezTo>
                  <a:pt x="f160" y="f201"/>
                  <a:pt x="f160" y="f201"/>
                  <a:pt x="f202" y="f201"/>
                </a:cubicBezTo>
                <a:cubicBezTo>
                  <a:pt x="f202" y="f201"/>
                  <a:pt x="f202" y="f201"/>
                  <a:pt x="f202" y="f9"/>
                </a:cubicBezTo>
                <a:lnTo>
                  <a:pt x="f203" y="f9"/>
                </a:lnTo>
                <a:cubicBezTo>
                  <a:pt x="f203" y="f9"/>
                  <a:pt x="f203" y="f9"/>
                  <a:pt x="f204" y="f191"/>
                </a:cubicBezTo>
                <a:cubicBezTo>
                  <a:pt x="f174" y="f205"/>
                  <a:pt x="f161" y="f155"/>
                  <a:pt x="f160" y="f155"/>
                </a:cubicBezTo>
                <a:cubicBezTo>
                  <a:pt x="f206" y="f155"/>
                  <a:pt x="f207" y="f208"/>
                  <a:pt x="f185" y="f209"/>
                </a:cubicBezTo>
                <a:cubicBezTo>
                  <a:pt x="f210" y="f211"/>
                  <a:pt x="f212" y="f213"/>
                  <a:pt x="f212" y="f39"/>
                </a:cubicBezTo>
                <a:cubicBezTo>
                  <a:pt x="f212" y="f151"/>
                  <a:pt x="f214" y="f119"/>
                  <a:pt x="f185" y="f66"/>
                </a:cubicBezTo>
                <a:cubicBezTo>
                  <a:pt x="f207" y="f147"/>
                  <a:pt x="f206" y="f144"/>
                  <a:pt x="f160" y="f144"/>
                </a:cubicBezTo>
                <a:close/>
                <a:moveTo>
                  <a:pt x="f215" y="f144"/>
                </a:moveTo>
                <a:cubicBezTo>
                  <a:pt x="f216" y="f144"/>
                  <a:pt x="f217" y="f163"/>
                  <a:pt x="f218" y="f165"/>
                </a:cubicBezTo>
                <a:cubicBezTo>
                  <a:pt x="f219" y="f167"/>
                  <a:pt x="f220" y="f169"/>
                  <a:pt x="f221" y="f27"/>
                </a:cubicBezTo>
                <a:cubicBezTo>
                  <a:pt x="f221" y="f27"/>
                  <a:pt x="f221" y="f27"/>
                  <a:pt x="f222" y="f27"/>
                </a:cubicBezTo>
                <a:cubicBezTo>
                  <a:pt x="f223" y="f173"/>
                  <a:pt x="f224" y="f175"/>
                  <a:pt x="f225" y="f177"/>
                </a:cubicBezTo>
                <a:cubicBezTo>
                  <a:pt x="f226" y="f179"/>
                  <a:pt x="f227" y="f30"/>
                  <a:pt x="f215" y="f30"/>
                </a:cubicBezTo>
                <a:cubicBezTo>
                  <a:pt x="f228" y="f30"/>
                  <a:pt x="f229" y="f33"/>
                  <a:pt x="f230" y="f19"/>
                </a:cubicBezTo>
                <a:cubicBezTo>
                  <a:pt x="f231" y="f36"/>
                  <a:pt x="f232" y="f38"/>
                  <a:pt x="f232" y="f39"/>
                </a:cubicBezTo>
                <a:cubicBezTo>
                  <a:pt x="f232" y="f186"/>
                  <a:pt x="f231" y="f187"/>
                  <a:pt x="f230" y="f189"/>
                </a:cubicBezTo>
                <a:cubicBezTo>
                  <a:pt x="f229" y="f191"/>
                  <a:pt x="f228" y="f85"/>
                  <a:pt x="f215" y="f85"/>
                </a:cubicBezTo>
                <a:cubicBezTo>
                  <a:pt x="f233" y="f85"/>
                  <a:pt x="f234" y="f43"/>
                  <a:pt x="f235" y="f195"/>
                </a:cubicBezTo>
                <a:cubicBezTo>
                  <a:pt x="f236" y="f197"/>
                  <a:pt x="f237" y="f199"/>
                  <a:pt x="f237" y="f200"/>
                </a:cubicBezTo>
                <a:cubicBezTo>
                  <a:pt x="f237" y="f200"/>
                  <a:pt x="f237" y="f200"/>
                  <a:pt x="f215" y="f200"/>
                </a:cubicBezTo>
                <a:cubicBezTo>
                  <a:pt x="f215" y="f200"/>
                  <a:pt x="f215" y="f200"/>
                  <a:pt x="f215" y="f201"/>
                </a:cubicBezTo>
                <a:cubicBezTo>
                  <a:pt x="f215" y="f201"/>
                  <a:pt x="f215" y="f201"/>
                  <a:pt x="f238" y="f201"/>
                </a:cubicBezTo>
                <a:cubicBezTo>
                  <a:pt x="f238" y="f201"/>
                  <a:pt x="f238" y="f201"/>
                  <a:pt x="f238" y="f9"/>
                </a:cubicBezTo>
                <a:lnTo>
                  <a:pt x="f239" y="f9"/>
                </a:lnTo>
                <a:cubicBezTo>
                  <a:pt x="f239" y="f9"/>
                  <a:pt x="f239" y="f9"/>
                  <a:pt x="f240" y="f191"/>
                </a:cubicBezTo>
                <a:cubicBezTo>
                  <a:pt x="f241" y="f205"/>
                  <a:pt x="f216" y="f155"/>
                  <a:pt x="f215" y="f155"/>
                </a:cubicBezTo>
                <a:cubicBezTo>
                  <a:pt x="f242" y="f155"/>
                  <a:pt x="f243" y="f208"/>
                  <a:pt x="f232" y="f209"/>
                </a:cubicBezTo>
                <a:cubicBezTo>
                  <a:pt x="f244" y="f211"/>
                  <a:pt x="f245" y="f213"/>
                  <a:pt x="f245" y="f39"/>
                </a:cubicBezTo>
                <a:cubicBezTo>
                  <a:pt x="f245" y="f151"/>
                  <a:pt x="f246" y="f119"/>
                  <a:pt x="f232" y="f66"/>
                </a:cubicBezTo>
                <a:cubicBezTo>
                  <a:pt x="f243" y="f147"/>
                  <a:pt x="f242" y="f144"/>
                  <a:pt x="f215" y="f144"/>
                </a:cubicBezTo>
                <a:close/>
                <a:moveTo>
                  <a:pt x="f247" y="f144"/>
                </a:moveTo>
                <a:cubicBezTo>
                  <a:pt x="f248" y="f144"/>
                  <a:pt x="f249" y="f250"/>
                  <a:pt x="f251" y="f252"/>
                </a:cubicBezTo>
                <a:cubicBezTo>
                  <a:pt x="f253" y="f254"/>
                  <a:pt x="f255" y="f169"/>
                  <a:pt x="f256" y="f27"/>
                </a:cubicBezTo>
                <a:cubicBezTo>
                  <a:pt x="f256" y="f27"/>
                  <a:pt x="f256" y="f27"/>
                  <a:pt x="f257" y="f27"/>
                </a:cubicBezTo>
                <a:cubicBezTo>
                  <a:pt x="f258" y="f173"/>
                  <a:pt x="f259" y="f260"/>
                  <a:pt x="f261" y="f262"/>
                </a:cubicBezTo>
                <a:cubicBezTo>
                  <a:pt x="f263" y="f179"/>
                  <a:pt x="f264" y="f265"/>
                  <a:pt x="f266" y="f265"/>
                </a:cubicBezTo>
                <a:cubicBezTo>
                  <a:pt x="f267" y="f265"/>
                  <a:pt x="f268" y="f12"/>
                  <a:pt x="f269" y="f262"/>
                </a:cubicBezTo>
                <a:cubicBezTo>
                  <a:pt x="f270" y="f119"/>
                  <a:pt x="f271" y="f272"/>
                  <a:pt x="f271" y="f273"/>
                </a:cubicBezTo>
                <a:cubicBezTo>
                  <a:pt x="f271" y="f274"/>
                  <a:pt x="f275" y="f276"/>
                  <a:pt x="f277" y="f278"/>
                </a:cubicBezTo>
                <a:cubicBezTo>
                  <a:pt x="f279" y="f280"/>
                  <a:pt x="f281" y="f282"/>
                  <a:pt x="f248" y="f101"/>
                </a:cubicBezTo>
                <a:cubicBezTo>
                  <a:pt x="f251" y="f22"/>
                  <a:pt x="f283" y="f284"/>
                  <a:pt x="f283" y="f285"/>
                </a:cubicBezTo>
                <a:cubicBezTo>
                  <a:pt x="f283" y="f286"/>
                  <a:pt x="f287" y="f288"/>
                  <a:pt x="f289" y="f290"/>
                </a:cubicBezTo>
                <a:cubicBezTo>
                  <a:pt x="f258" y="f208"/>
                  <a:pt x="f291" y="f92"/>
                  <a:pt x="f292" y="f92"/>
                </a:cubicBezTo>
                <a:cubicBezTo>
                  <a:pt x="f293" y="f92"/>
                  <a:pt x="f294" y="f208"/>
                  <a:pt x="f295" y="f296"/>
                </a:cubicBezTo>
                <a:cubicBezTo>
                  <a:pt x="f297" y="f298"/>
                  <a:pt x="f299" y="f300"/>
                  <a:pt x="f299" y="f301"/>
                </a:cubicBezTo>
                <a:cubicBezTo>
                  <a:pt x="f299" y="f301"/>
                  <a:pt x="f299" y="f301"/>
                  <a:pt x="f302" y="f301"/>
                </a:cubicBezTo>
                <a:cubicBezTo>
                  <a:pt x="f302" y="f187"/>
                  <a:pt x="f303" y="f304"/>
                  <a:pt x="f305" y="f306"/>
                </a:cubicBezTo>
                <a:cubicBezTo>
                  <a:pt x="f307" y="f90"/>
                  <a:pt x="f308" y="f85"/>
                  <a:pt x="f292" y="f85"/>
                </a:cubicBezTo>
                <a:cubicBezTo>
                  <a:pt x="f309" y="f85"/>
                  <a:pt x="f310" y="f311"/>
                  <a:pt x="f312" y="f313"/>
                </a:cubicBezTo>
                <a:cubicBezTo>
                  <a:pt x="f258" y="f211"/>
                  <a:pt x="f314" y="f300"/>
                  <a:pt x="f314" y="f285"/>
                </a:cubicBezTo>
                <a:cubicBezTo>
                  <a:pt x="f314" y="f315"/>
                  <a:pt x="f249" y="f111"/>
                  <a:pt x="f264" y="f284"/>
                </a:cubicBezTo>
                <a:cubicBezTo>
                  <a:pt x="f264" y="f284"/>
                  <a:pt x="f264" y="f284"/>
                  <a:pt x="f316" y="f317"/>
                </a:cubicBezTo>
                <a:cubicBezTo>
                  <a:pt x="f318" y="f104"/>
                  <a:pt x="f319" y="f17"/>
                  <a:pt x="f319" y="f320"/>
                </a:cubicBezTo>
                <a:cubicBezTo>
                  <a:pt x="f319" y="f99"/>
                  <a:pt x="f321" y="f322"/>
                  <a:pt x="f323" y="f324"/>
                </a:cubicBezTo>
                <a:cubicBezTo>
                  <a:pt x="f325" y="f250"/>
                  <a:pt x="f326" y="f144"/>
                  <a:pt x="f247" y="f144"/>
                </a:cubicBezTo>
                <a:close/>
                <a:moveTo>
                  <a:pt x="f50" y="f144"/>
                </a:moveTo>
                <a:cubicBezTo>
                  <a:pt x="f327" y="f144"/>
                  <a:pt x="f328" y="f147"/>
                  <a:pt x="f60" y="f66"/>
                </a:cubicBezTo>
                <a:cubicBezTo>
                  <a:pt x="f329" y="f119"/>
                  <a:pt x="f330" y="f151"/>
                  <a:pt x="f330" y="f39"/>
                </a:cubicBezTo>
                <a:cubicBezTo>
                  <a:pt x="f330" y="f152"/>
                  <a:pt x="f329" y="f115"/>
                  <a:pt x="f60" y="f153"/>
                </a:cubicBezTo>
                <a:cubicBezTo>
                  <a:pt x="f328" y="f154"/>
                  <a:pt x="f327" y="f155"/>
                  <a:pt x="f50" y="f155"/>
                </a:cubicBezTo>
                <a:cubicBezTo>
                  <a:pt x="f331" y="f155"/>
                  <a:pt x="f332" y="f154"/>
                  <a:pt x="f333" y="f153"/>
                </a:cubicBezTo>
                <a:cubicBezTo>
                  <a:pt x="f334" y="f115"/>
                  <a:pt x="f335" y="f152"/>
                  <a:pt x="f335" y="f39"/>
                </a:cubicBezTo>
                <a:cubicBezTo>
                  <a:pt x="f335" y="f151"/>
                  <a:pt x="f334" y="f119"/>
                  <a:pt x="f333" y="f66"/>
                </a:cubicBezTo>
                <a:cubicBezTo>
                  <a:pt x="f332" y="f147"/>
                  <a:pt x="f331" y="f144"/>
                  <a:pt x="f50" y="f144"/>
                </a:cubicBezTo>
                <a:close/>
                <a:moveTo>
                  <a:pt x="f336" y="f144"/>
                </a:moveTo>
                <a:cubicBezTo>
                  <a:pt x="f337" y="f144"/>
                  <a:pt x="f338" y="f163"/>
                  <a:pt x="f339" y="f340"/>
                </a:cubicBezTo>
                <a:cubicBezTo>
                  <a:pt x="f341" y="f68"/>
                  <a:pt x="f342" y="f343"/>
                  <a:pt x="f344" y="f345"/>
                </a:cubicBezTo>
                <a:cubicBezTo>
                  <a:pt x="f344" y="f345"/>
                  <a:pt x="f344" y="f345"/>
                  <a:pt x="f346" y="f345"/>
                </a:cubicBezTo>
                <a:cubicBezTo>
                  <a:pt x="f347" y="f348"/>
                  <a:pt x="f349" y="f175"/>
                  <a:pt x="f350" y="f351"/>
                </a:cubicBezTo>
                <a:cubicBezTo>
                  <a:pt x="f352" y="f33"/>
                  <a:pt x="f353" y="f30"/>
                  <a:pt x="f336" y="f30"/>
                </a:cubicBezTo>
                <a:cubicBezTo>
                  <a:pt x="f354" y="f30"/>
                  <a:pt x="f355" y="f33"/>
                  <a:pt x="f356" y="f19"/>
                </a:cubicBezTo>
                <a:cubicBezTo>
                  <a:pt x="f357" y="f36"/>
                  <a:pt x="f357" y="f38"/>
                  <a:pt x="f357" y="f39"/>
                </a:cubicBezTo>
                <a:cubicBezTo>
                  <a:pt x="f357" y="f40"/>
                  <a:pt x="f357" y="f41"/>
                  <a:pt x="f356" y="f42"/>
                </a:cubicBezTo>
                <a:cubicBezTo>
                  <a:pt x="f355" y="f43"/>
                  <a:pt x="f354" y="f85"/>
                  <a:pt x="f336" y="f85"/>
                </a:cubicBezTo>
                <a:cubicBezTo>
                  <a:pt x="f353" y="f85"/>
                  <a:pt x="f358" y="f359"/>
                  <a:pt x="f360" y="f42"/>
                </a:cubicBezTo>
                <a:cubicBezTo>
                  <a:pt x="f349" y="f361"/>
                  <a:pt x="f346" y="f362"/>
                  <a:pt x="f346" y="f301"/>
                </a:cubicBezTo>
                <a:cubicBezTo>
                  <a:pt x="f346" y="f301"/>
                  <a:pt x="f346" y="f301"/>
                  <a:pt x="f363" y="f301"/>
                </a:cubicBezTo>
                <a:cubicBezTo>
                  <a:pt x="f344" y="f364"/>
                  <a:pt x="f341" y="f365"/>
                  <a:pt x="f339" y="f153"/>
                </a:cubicBezTo>
                <a:cubicBezTo>
                  <a:pt x="f338" y="f366"/>
                  <a:pt x="f337" y="f155"/>
                  <a:pt x="f336" y="f155"/>
                </a:cubicBezTo>
                <a:cubicBezTo>
                  <a:pt x="f367" y="f155"/>
                  <a:pt x="f368" y="f154"/>
                  <a:pt x="f369" y="f153"/>
                </a:cubicBezTo>
                <a:cubicBezTo>
                  <a:pt x="f370" y="f115"/>
                  <a:pt x="f5" y="f152"/>
                  <a:pt x="f5" y="f39"/>
                </a:cubicBezTo>
                <a:cubicBezTo>
                  <a:pt x="f5" y="f151"/>
                  <a:pt x="f370" y="f119"/>
                  <a:pt x="f369" y="f66"/>
                </a:cubicBezTo>
                <a:cubicBezTo>
                  <a:pt x="f368" y="f147"/>
                  <a:pt x="f367" y="f144"/>
                  <a:pt x="f336" y="f144"/>
                </a:cubicBezTo>
                <a:close/>
                <a:moveTo>
                  <a:pt x="f371" y="f372"/>
                </a:moveTo>
                <a:cubicBezTo>
                  <a:pt x="f371" y="f372"/>
                  <a:pt x="f371" y="f372"/>
                  <a:pt x="f371" y="f373"/>
                </a:cubicBezTo>
                <a:cubicBezTo>
                  <a:pt x="f371" y="f373"/>
                  <a:pt x="f371" y="f373"/>
                  <a:pt x="f374" y="f373"/>
                </a:cubicBezTo>
                <a:cubicBezTo>
                  <a:pt x="f375" y="f373"/>
                  <a:pt x="f376" y="f377"/>
                  <a:pt x="f376" y="f378"/>
                </a:cubicBezTo>
                <a:cubicBezTo>
                  <a:pt x="f376" y="f379"/>
                  <a:pt x="f375" y="f372"/>
                  <a:pt x="f374" y="f372"/>
                </a:cubicBezTo>
                <a:cubicBezTo>
                  <a:pt x="f374" y="f372"/>
                  <a:pt x="f374" y="f372"/>
                  <a:pt x="f371" y="f372"/>
                </a:cubicBezTo>
                <a:close/>
                <a:moveTo>
                  <a:pt x="f380" y="f5"/>
                </a:moveTo>
                <a:lnTo>
                  <a:pt x="f6" y="f5"/>
                </a:lnTo>
                <a:lnTo>
                  <a:pt x="f6" y="f381"/>
                </a:lnTo>
                <a:lnTo>
                  <a:pt x="f382" y="f381"/>
                </a:lnTo>
                <a:lnTo>
                  <a:pt x="f382" y="f383"/>
                </a:lnTo>
                <a:lnTo>
                  <a:pt x="f384" y="f383"/>
                </a:lnTo>
                <a:lnTo>
                  <a:pt x="f384" y="f381"/>
                </a:lnTo>
                <a:lnTo>
                  <a:pt x="f380" y="f381"/>
                </a:lnTo>
                <a:close/>
                <a:moveTo>
                  <a:pt x="f385" y="f5"/>
                </a:moveTo>
                <a:lnTo>
                  <a:pt x="f386" y="f5"/>
                </a:lnTo>
                <a:lnTo>
                  <a:pt x="f387" y="f388"/>
                </a:lnTo>
                <a:lnTo>
                  <a:pt x="f389" y="f390"/>
                </a:lnTo>
                <a:lnTo>
                  <a:pt x="f389" y="f5"/>
                </a:lnTo>
                <a:lnTo>
                  <a:pt x="f391" y="f5"/>
                </a:lnTo>
                <a:lnTo>
                  <a:pt x="f391" y="f383"/>
                </a:lnTo>
                <a:lnTo>
                  <a:pt x="f392" y="f383"/>
                </a:lnTo>
                <a:lnTo>
                  <a:pt x="f393" y="f394"/>
                </a:lnTo>
                <a:lnTo>
                  <a:pt x="f393" y="f383"/>
                </a:lnTo>
                <a:lnTo>
                  <a:pt x="f385" y="f383"/>
                </a:lnTo>
                <a:close/>
                <a:moveTo>
                  <a:pt x="f395" y="f5"/>
                </a:moveTo>
                <a:lnTo>
                  <a:pt x="f396" y="f5"/>
                </a:lnTo>
                <a:lnTo>
                  <a:pt x="f396" y="f397"/>
                </a:lnTo>
                <a:lnTo>
                  <a:pt x="f398" y="f397"/>
                </a:lnTo>
                <a:lnTo>
                  <a:pt x="f398" y="f399"/>
                </a:lnTo>
                <a:lnTo>
                  <a:pt x="f400" y="f399"/>
                </a:lnTo>
                <a:lnTo>
                  <a:pt x="f400" y="f401"/>
                </a:lnTo>
                <a:lnTo>
                  <a:pt x="f398" y="f401"/>
                </a:lnTo>
                <a:lnTo>
                  <a:pt x="f398" y="f402"/>
                </a:lnTo>
                <a:lnTo>
                  <a:pt x="f396" y="f402"/>
                </a:lnTo>
                <a:lnTo>
                  <a:pt x="f396" y="f383"/>
                </a:lnTo>
                <a:lnTo>
                  <a:pt x="f395" y="f383"/>
                </a:lnTo>
                <a:close/>
                <a:moveTo>
                  <a:pt x="f403" y="f5"/>
                </a:moveTo>
                <a:lnTo>
                  <a:pt x="f404" y="f5"/>
                </a:lnTo>
                <a:lnTo>
                  <a:pt x="f405" y="f406"/>
                </a:lnTo>
                <a:lnTo>
                  <a:pt x="f407" y="f5"/>
                </a:lnTo>
                <a:lnTo>
                  <a:pt x="f408" y="f5"/>
                </a:lnTo>
                <a:lnTo>
                  <a:pt x="f408" y="f383"/>
                </a:lnTo>
                <a:lnTo>
                  <a:pt x="f409" y="f383"/>
                </a:lnTo>
                <a:lnTo>
                  <a:pt x="f409" y="f410"/>
                </a:lnTo>
                <a:lnTo>
                  <a:pt x="f411" y="f412"/>
                </a:lnTo>
                <a:lnTo>
                  <a:pt x="f413" y="f412"/>
                </a:lnTo>
                <a:lnTo>
                  <a:pt x="f414" y="f415"/>
                </a:lnTo>
                <a:lnTo>
                  <a:pt x="f414" y="f383"/>
                </a:lnTo>
                <a:lnTo>
                  <a:pt x="f403" y="f383"/>
                </a:lnTo>
                <a:close/>
                <a:moveTo>
                  <a:pt x="f416" y="f5"/>
                </a:moveTo>
                <a:lnTo>
                  <a:pt x="f417" y="f5"/>
                </a:lnTo>
                <a:lnTo>
                  <a:pt x="f417" y="f397"/>
                </a:lnTo>
                <a:lnTo>
                  <a:pt x="f418" y="f397"/>
                </a:lnTo>
                <a:lnTo>
                  <a:pt x="f418" y="f399"/>
                </a:lnTo>
                <a:lnTo>
                  <a:pt x="f419" y="f399"/>
                </a:lnTo>
                <a:lnTo>
                  <a:pt x="f419" y="f401"/>
                </a:lnTo>
                <a:lnTo>
                  <a:pt x="f418" y="f401"/>
                </a:lnTo>
                <a:lnTo>
                  <a:pt x="f418" y="f402"/>
                </a:lnTo>
                <a:lnTo>
                  <a:pt x="f417" y="f402"/>
                </a:lnTo>
                <a:lnTo>
                  <a:pt x="f417" y="f383"/>
                </a:lnTo>
                <a:lnTo>
                  <a:pt x="f416" y="f383"/>
                </a:lnTo>
                <a:close/>
                <a:moveTo>
                  <a:pt x="f420" y="f5"/>
                </a:moveTo>
                <a:lnTo>
                  <a:pt x="f421" y="f5"/>
                </a:lnTo>
                <a:lnTo>
                  <a:pt x="f421" y="f422"/>
                </a:lnTo>
                <a:lnTo>
                  <a:pt x="f423" y="f422"/>
                </a:lnTo>
                <a:lnTo>
                  <a:pt x="f423" y="f383"/>
                </a:lnTo>
                <a:lnTo>
                  <a:pt x="f420" y="f383"/>
                </a:lnTo>
                <a:close/>
                <a:moveTo>
                  <a:pt x="f424" y="f5"/>
                </a:moveTo>
                <a:cubicBezTo>
                  <a:pt x="f424" y="f5"/>
                  <a:pt x="f424" y="f5"/>
                  <a:pt x="f425" y="f5"/>
                </a:cubicBezTo>
                <a:cubicBezTo>
                  <a:pt x="f426" y="f5"/>
                  <a:pt x="f427" y="f428"/>
                  <a:pt x="f427" y="f429"/>
                </a:cubicBezTo>
                <a:cubicBezTo>
                  <a:pt x="f427" y="f430"/>
                  <a:pt x="f426" y="f431"/>
                  <a:pt x="f425" y="f431"/>
                </a:cubicBezTo>
                <a:cubicBezTo>
                  <a:pt x="f425" y="f431"/>
                  <a:pt x="f425" y="f431"/>
                  <a:pt x="f371" y="f431"/>
                </a:cubicBezTo>
                <a:cubicBezTo>
                  <a:pt x="f371" y="f431"/>
                  <a:pt x="f371" y="f431"/>
                  <a:pt x="f371" y="f383"/>
                </a:cubicBezTo>
                <a:cubicBezTo>
                  <a:pt x="f371" y="f383"/>
                  <a:pt x="f371" y="f383"/>
                  <a:pt x="f424" y="f383"/>
                </a:cubicBezTo>
                <a:cubicBezTo>
                  <a:pt x="f424" y="f383"/>
                  <a:pt x="f424" y="f383"/>
                  <a:pt x="f424" y="f5"/>
                </a:cubicBezTo>
                <a:close/>
                <a:moveTo>
                  <a:pt x="f432" y="f5"/>
                </a:moveTo>
                <a:lnTo>
                  <a:pt x="f433" y="f5"/>
                </a:lnTo>
                <a:lnTo>
                  <a:pt x="f434" y="f406"/>
                </a:lnTo>
                <a:lnTo>
                  <a:pt x="f435" y="f5"/>
                </a:lnTo>
                <a:lnTo>
                  <a:pt x="f436" y="f5"/>
                </a:lnTo>
                <a:lnTo>
                  <a:pt x="f436" y="f383"/>
                </a:lnTo>
                <a:lnTo>
                  <a:pt x="f437" y="f383"/>
                </a:lnTo>
                <a:lnTo>
                  <a:pt x="f437" y="f410"/>
                </a:lnTo>
                <a:lnTo>
                  <a:pt x="f438" y="f412"/>
                </a:lnTo>
                <a:lnTo>
                  <a:pt x="f439" y="f412"/>
                </a:lnTo>
                <a:lnTo>
                  <a:pt x="f440" y="f415"/>
                </a:lnTo>
                <a:lnTo>
                  <a:pt x="f440" y="f383"/>
                </a:lnTo>
                <a:lnTo>
                  <a:pt x="f432" y="f383"/>
                </a:lnTo>
                <a:close/>
                <a:moveTo>
                  <a:pt x="f441" y="f5"/>
                </a:moveTo>
                <a:lnTo>
                  <a:pt x="f442" y="f5"/>
                </a:lnTo>
                <a:lnTo>
                  <a:pt x="f442" y="f383"/>
                </a:lnTo>
                <a:lnTo>
                  <a:pt x="f441" y="f383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1F2023"/>
                </a:solidFill>
                <a:uFillTx/>
                <a:latin typeface="Arial"/>
              </a:rPr>
              <a:t> 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56B2CD0-FB01-4853-A348-BB0883D28B6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9871131B-31E9-4D03-9451-10C5D27612AD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8686033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 case_sho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>
            <a:extLst>
              <a:ext uri="{FF2B5EF4-FFF2-40B4-BE49-F238E27FC236}">
                <a16:creationId xmlns:a16="http://schemas.microsoft.com/office/drawing/2014/main" id="{979D804A-CD16-4671-A119-007A6DC1A1BA}"/>
              </a:ext>
            </a:extLst>
          </p:cNvPr>
          <p:cNvGraphicFramePr/>
          <p:nvPr/>
        </p:nvGraphicFramePr>
        <p:xfrm>
          <a:off x="1469" y="1194"/>
          <a:ext cx="1469" cy="11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4354" imgH="4354" progId="TCLayout.ActiveDocument.1">
                  <p:embed/>
                </p:oleObj>
              </mc:Choice>
              <mc:Fallback>
                <p:oleObj name="think-cell Slide" r:id="rId2" imgW="4354" imgH="4354" progId="TCLayout.ActiveDocument.1">
                  <p:embed/>
                  <p:pic>
                    <p:nvPicPr>
                      <p:cNvPr id="2" name="Object 3" hidden="1">
                        <a:extLst>
                          <a:ext uri="{FF2B5EF4-FFF2-40B4-BE49-F238E27FC236}">
                            <a16:creationId xmlns:a16="http://schemas.microsoft.com/office/drawing/2014/main" id="{979D804A-CD16-4671-A119-007A6DC1A1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69" y="1194"/>
                        <a:ext cx="1469" cy="11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A9A0B84-9A97-45E9-9EF2-71D6B58F823D}"/>
              </a:ext>
            </a:extLst>
          </p:cNvPr>
          <p:cNvSpPr/>
          <p:nvPr/>
        </p:nvSpPr>
        <p:spPr>
          <a:xfrm>
            <a:off x="0" y="0"/>
            <a:ext cx="146537" cy="119061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3751" b="0" i="0" u="none" strike="noStrike" kern="1200" cap="none" spc="0" baseline="0">
              <a:solidFill>
                <a:srgbClr val="2F363B"/>
              </a:solidFill>
              <a:uFillTx/>
              <a:latin typeface="Impact" pitchFamily="34"/>
            </a:endParaRPr>
          </a:p>
        </p:txBody>
      </p:sp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24DB69B4-D388-4C30-A6D3-6D1167C25FAD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0" y="0"/>
            <a:ext cx="9143996" cy="5143500"/>
          </a:xfrm>
          <a:solidFill>
            <a:srgbClr val="B8BBBD"/>
          </a:solidFill>
        </p:spPr>
        <p:txBody>
          <a:bodyPr rIns="0" anchor="ctr" anchorCtr="1"/>
          <a:lstStyle>
            <a:lvl1pPr algn="ctr">
              <a:buNone/>
              <a:defRPr lang="en-GB"/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DD7825F3-E5E1-4620-86AC-FA1BB206753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62199" y="819113"/>
            <a:ext cx="3558977" cy="1038938"/>
          </a:xfrm>
        </p:spPr>
        <p:txBody>
          <a:bodyPr>
            <a:spAutoFit/>
          </a:bodyPr>
          <a:lstStyle>
            <a:lvl1pPr>
              <a:defRPr lang="en-GB" sz="3751" cap="all">
                <a:solidFill>
                  <a:srgbClr val="FFFFFF"/>
                </a:solidFill>
                <a:latin typeface="Impact" pitchFamily="34"/>
              </a:defRPr>
            </a:lvl1pPr>
          </a:lstStyle>
          <a:p>
            <a:pPr lvl="0"/>
            <a:r>
              <a:rPr lang="en-GB"/>
              <a:t>CLICK TO EDIT MASTER TITLE</a:t>
            </a:r>
          </a:p>
        </p:txBody>
      </p:sp>
      <p:sp>
        <p:nvSpPr>
          <p:cNvPr id="6" name="Date_GeneralDate" hidden="1">
            <a:extLst>
              <a:ext uri="{FF2B5EF4-FFF2-40B4-BE49-F238E27FC236}">
                <a16:creationId xmlns:a16="http://schemas.microsoft.com/office/drawing/2014/main" id="{471ED9A1-5F1F-466C-BBA3-8D3122FBF52A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E302AA49-232E-4E30-BE7C-2D3563A5E873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F77F2DD8-E272-4EBF-84C4-39AA3B23638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62199" y="2055061"/>
            <a:ext cx="3159373" cy="1137050"/>
          </a:xfrm>
        </p:spPr>
        <p:txBody>
          <a:bodyPr/>
          <a:lstStyle>
            <a:lvl1pPr>
              <a:buNone/>
              <a:defRPr sz="1050">
                <a:solidFill>
                  <a:srgbClr val="FFFFFF"/>
                </a:solidFill>
              </a:defRPr>
            </a:lvl1pPr>
            <a:lvl2pPr>
              <a:defRPr sz="1050">
                <a:solidFill>
                  <a:srgbClr val="FFFFFF"/>
                </a:solidFill>
              </a:defRPr>
            </a:lvl2pPr>
            <a:lvl3pPr>
              <a:defRPr sz="1050">
                <a:solidFill>
                  <a:srgbClr val="FFFFFF"/>
                </a:solidFill>
              </a:defRPr>
            </a:lvl3pPr>
            <a:lvl4pPr>
              <a:defRPr sz="1050">
                <a:solidFill>
                  <a:srgbClr val="FFFFFF"/>
                </a:solidFill>
              </a:defRPr>
            </a:lvl4pPr>
            <a:lvl5pPr>
              <a:defRPr sz="105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585FE7B0-306E-4881-BDB6-9D064DCE65F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62199" y="207152"/>
            <a:ext cx="830767" cy="202407"/>
          </a:xfrm>
          <a:blipFill>
            <a:blip r:embed="rId4"/>
            <a:stretch>
              <a:fillRect/>
            </a:stretch>
          </a:blipFill>
        </p:spPr>
        <p:txBody>
          <a:bodyPr rIns="0" anchor="ctr"/>
          <a:lstStyle>
            <a:lvl1pPr>
              <a:defRPr sz="108" b="1"/>
            </a:lvl1pPr>
          </a:lstStyle>
          <a:p>
            <a:pPr lvl="0"/>
            <a:r>
              <a:rPr lang="en-US"/>
              <a:t>.</a:t>
            </a:r>
          </a:p>
        </p:txBody>
      </p:sp>
      <p:sp>
        <p:nvSpPr>
          <p:cNvPr id="9" name="Text Placeholder logo">
            <a:extLst>
              <a:ext uri="{FF2B5EF4-FFF2-40B4-BE49-F238E27FC236}">
                <a16:creationId xmlns:a16="http://schemas.microsoft.com/office/drawing/2014/main" id="{AA97F994-6DED-4254-A083-133AAB963FE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8750529" y="227281"/>
            <a:ext cx="142890" cy="261900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 sz="108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.</a:t>
            </a:r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CFB734A-4BB9-4A04-B3E9-6CC69C48D21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fld id="{27FD151F-F82B-461C-BF13-7F1055DB03AC}" type="slidenum">
              <a:t>‹nr.›</a:t>
            </a:fld>
            <a:endParaRPr lang="en-GB"/>
          </a:p>
        </p:txBody>
      </p:sp>
      <p:sp>
        <p:nvSpPr>
          <p:cNvPr id="11" name="TextBox 33">
            <a:extLst>
              <a:ext uri="{FF2B5EF4-FFF2-40B4-BE49-F238E27FC236}">
                <a16:creationId xmlns:a16="http://schemas.microsoft.com/office/drawing/2014/main" id="{646AF57E-F8AB-4763-A1DE-7F973A00F388}"/>
              </a:ext>
            </a:extLst>
          </p:cNvPr>
          <p:cNvSpPr txBox="1"/>
          <p:nvPr/>
        </p:nvSpPr>
        <p:spPr>
          <a:xfrm>
            <a:off x="9329581" y="0"/>
            <a:ext cx="1449599" cy="1654757"/>
          </a:xfrm>
          <a:prstGeom prst="rect">
            <a:avLst/>
          </a:prstGeom>
          <a:solidFill>
            <a:srgbClr val="E2DED9"/>
          </a:solidFill>
          <a:ln cap="flat">
            <a:noFill/>
          </a:ln>
        </p:spPr>
        <p:txBody>
          <a:bodyPr vert="horz" wrap="square" lIns="80999" tIns="80999" rIns="80999" bIns="80999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1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ASE DATA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For internal use only – delete before sharing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00" b="0" i="0" u="none" strike="noStrike" kern="1200" cap="none" spc="0" baseline="0">
              <a:solidFill>
                <a:srgbClr val="000000"/>
              </a:solidFill>
              <a:uFillTx/>
              <a:latin typeface="Arial"/>
            </a:endParaRP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lient name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Maconomy project name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Industry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Keywords: xx, xx,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Year(s): 20xx – 20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Implement contact person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00" b="0" i="0" u="none" strike="noStrike" kern="1200" cap="none" spc="0" baseline="0">
              <a:solidFill>
                <a:srgbClr val="000000"/>
              </a:solidFill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00421020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2" y="435834"/>
            <a:ext cx="3008313" cy="640493"/>
          </a:xfrm>
          <a:prstGeom prst="rect">
            <a:avLst/>
          </a:prstGeom>
          <a:noFill/>
        </p:spPr>
        <p:txBody>
          <a:bodyPr anchor="b"/>
          <a:lstStyle>
            <a:lvl1pPr algn="l">
              <a:defRPr sz="20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435833"/>
            <a:ext cx="5111751" cy="415879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EC1568-49BF-594E-9B2C-38E80A379FCB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26-09-2021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6FB5BB-5704-FB48-BA77-7254DC263D9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18976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 case_lo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D5FB6698-5794-4023-A10E-2AFB17024448}"/>
              </a:ext>
            </a:extLst>
          </p:cNvPr>
          <p:cNvGraphicFramePr/>
          <p:nvPr/>
        </p:nvGraphicFramePr>
        <p:xfrm>
          <a:off x="1469" y="1194"/>
          <a:ext cx="1469" cy="11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4354" imgH="4354" progId="TCLayout.ActiveDocument.1">
                  <p:embed/>
                </p:oleObj>
              </mc:Choice>
              <mc:Fallback>
                <p:oleObj name="think-cell Slide" r:id="rId2" imgW="4354" imgH="4354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D5FB6698-5794-4023-A10E-2AFB17024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69" y="1194"/>
                        <a:ext cx="1469" cy="11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 hidden="1">
            <a:extLst>
              <a:ext uri="{FF2B5EF4-FFF2-40B4-BE49-F238E27FC236}">
                <a16:creationId xmlns:a16="http://schemas.microsoft.com/office/drawing/2014/main" id="{814BF500-ED4B-4B96-8360-D044B2BECDB9}"/>
              </a:ext>
            </a:extLst>
          </p:cNvPr>
          <p:cNvSpPr/>
          <p:nvPr/>
        </p:nvSpPr>
        <p:spPr>
          <a:xfrm>
            <a:off x="0" y="0"/>
            <a:ext cx="146537" cy="119061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399" b="0" i="0" u="none" strike="noStrike" kern="1200" cap="none" spc="0" baseline="0">
              <a:solidFill>
                <a:srgbClr val="2F363B"/>
              </a:solidFill>
              <a:uFillTx/>
              <a:latin typeface="Arial" pitchFamily="34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E698D1CF-3F59-4BA4-8BED-C026FF0729AD}"/>
              </a:ext>
            </a:extLst>
          </p:cNvPr>
          <p:cNvSpPr/>
          <p:nvPr/>
        </p:nvSpPr>
        <p:spPr>
          <a:xfrm>
            <a:off x="0" y="0"/>
            <a:ext cx="9143996" cy="5143500"/>
          </a:xfrm>
          <a:prstGeom prst="rect">
            <a:avLst/>
          </a:prstGeom>
          <a:solidFill>
            <a:srgbClr val="EEEBE8"/>
          </a:solidFill>
          <a:ln cap="flat">
            <a:noFill/>
            <a:prstDash val="solid"/>
          </a:ln>
        </p:spPr>
        <p:txBody>
          <a:bodyPr vert="horz" wrap="square" lIns="26999" tIns="26999" rIns="26999" bIns="26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5" name="TextBox 12">
            <a:extLst>
              <a:ext uri="{FF2B5EF4-FFF2-40B4-BE49-F238E27FC236}">
                <a16:creationId xmlns:a16="http://schemas.microsoft.com/office/drawing/2014/main" id="{ABDEA8B7-EC70-41CA-8C3F-B0218E2B4765}"/>
              </a:ext>
            </a:extLst>
          </p:cNvPr>
          <p:cNvSpPr txBox="1"/>
          <p:nvPr/>
        </p:nvSpPr>
        <p:spPr>
          <a:xfrm>
            <a:off x="6029924" y="1"/>
            <a:ext cx="3114072" cy="2657474"/>
          </a:xfrm>
          <a:prstGeom prst="rect">
            <a:avLst/>
          </a:prstGeom>
          <a:solidFill>
            <a:srgbClr val="E4B73B"/>
          </a:solidFill>
          <a:ln cap="flat">
            <a:noFill/>
          </a:ln>
        </p:spPr>
        <p:txBody>
          <a:bodyPr vert="horz" wrap="square" lIns="80999" tIns="80999" rIns="80999" bIns="80999" anchor="t" anchorCtr="0" compatLnSpc="1">
            <a:noAutofit/>
          </a:bodyPr>
          <a:lstStyle/>
          <a:p>
            <a:pPr marL="0" marR="0" lvl="1" indent="0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826" b="0" i="0" u="none" strike="noStrike" kern="1200" cap="none" spc="0" baseline="0">
              <a:solidFill>
                <a:srgbClr val="30373B"/>
              </a:solidFill>
              <a:uFillTx/>
              <a:latin typeface="Arial" pitchFamily="34"/>
            </a:endParaRPr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486FC063-E3EF-4393-AAF8-D7A2D40C8F48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4908842" y="980"/>
            <a:ext cx="3589903" cy="2331219"/>
          </a:xfrm>
          <a:solidFill>
            <a:srgbClr val="B8BBBD"/>
          </a:solidFill>
        </p:spPr>
        <p:txBody>
          <a:bodyPr rIns="0" anchor="ctr" anchorCtr="1"/>
          <a:lstStyle>
            <a:lvl1pPr algn="ctr">
              <a:buNone/>
              <a:defRPr lang="en-GB"/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B009BC5-5182-481A-895C-D902464FFD5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3910" y="2392756"/>
            <a:ext cx="3987692" cy="332270"/>
          </a:xfrm>
        </p:spPr>
        <p:txBody>
          <a:bodyPr anchor="b">
            <a:spAutoFit/>
          </a:bodyPr>
          <a:lstStyle>
            <a:lvl1pPr>
              <a:defRPr lang="en-US" sz="2399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Freeform: Shape 14">
            <a:extLst>
              <a:ext uri="{FF2B5EF4-FFF2-40B4-BE49-F238E27FC236}">
                <a16:creationId xmlns:a16="http://schemas.microsoft.com/office/drawing/2014/main" id="{9F0AEFF2-BB25-4855-88A5-741E3275F581}"/>
              </a:ext>
            </a:extLst>
          </p:cNvPr>
          <p:cNvSpPr/>
          <p:nvPr/>
        </p:nvSpPr>
        <p:spPr>
          <a:xfrm rot="5400013">
            <a:off x="8690662" y="287231"/>
            <a:ext cx="262627" cy="14273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0168"/>
              <a:gd name="f7" fmla="val 154638"/>
              <a:gd name="f8" fmla="val 242136"/>
              <a:gd name="f9" fmla="val 141700"/>
              <a:gd name="f10" fmla="val 62944"/>
              <a:gd name="f11" fmla="val 154337"/>
              <a:gd name="f12" fmla="val 102688"/>
              <a:gd name="f13" fmla="val 141020"/>
              <a:gd name="f14" fmla="val 104707"/>
              <a:gd name="f15" fmla="val 179755"/>
              <a:gd name="f16" fmla="val 217481"/>
              <a:gd name="f17" fmla="val 187825"/>
              <a:gd name="f18" fmla="val 53263"/>
              <a:gd name="f19" fmla="val 151309"/>
              <a:gd name="f20" fmla="val 152117"/>
              <a:gd name="f21" fmla="val 128915"/>
              <a:gd name="f22" fmla="val 92601"/>
              <a:gd name="f23" fmla="val 52051"/>
              <a:gd name="f24" fmla="val 30867"/>
              <a:gd name="f25" fmla="+- 0 0 -90"/>
              <a:gd name="f26" fmla="*/ f3 1 350168"/>
              <a:gd name="f27" fmla="*/ f4 1 154638"/>
              <a:gd name="f28" fmla="+- f7 0 f5"/>
              <a:gd name="f29" fmla="+- f6 0 f5"/>
              <a:gd name="f30" fmla="*/ f25 f0 1"/>
              <a:gd name="f31" fmla="*/ f29 1 350168"/>
              <a:gd name="f32" fmla="*/ f28 1 154638"/>
              <a:gd name="f33" fmla="*/ 242136 f29 1"/>
              <a:gd name="f34" fmla="*/ 154638 f28 1"/>
              <a:gd name="f35" fmla="*/ 141700 f28 1"/>
              <a:gd name="f36" fmla="*/ 350168 f29 1"/>
              <a:gd name="f37" fmla="*/ 62944 f29 1"/>
              <a:gd name="f38" fmla="*/ 154337 f28 1"/>
              <a:gd name="f39" fmla="*/ 0 f28 1"/>
              <a:gd name="f40" fmla="*/ 102688 f29 1"/>
              <a:gd name="f41" fmla="*/ 141020 f29 1"/>
              <a:gd name="f42" fmla="*/ 104707 f28 1"/>
              <a:gd name="f43" fmla="*/ 179755 f29 1"/>
              <a:gd name="f44" fmla="*/ 217481 f29 1"/>
              <a:gd name="f45" fmla="*/ 187825 f29 1"/>
              <a:gd name="f46" fmla="*/ 53263 f28 1"/>
              <a:gd name="f47" fmla="*/ 151309 f29 1"/>
              <a:gd name="f48" fmla="*/ 152117 f28 1"/>
              <a:gd name="f49" fmla="*/ 128915 f29 1"/>
              <a:gd name="f50" fmla="*/ 92601 f29 1"/>
              <a:gd name="f51" fmla="*/ 52051 f28 1"/>
              <a:gd name="f52" fmla="*/ 0 f29 1"/>
              <a:gd name="f53" fmla="*/ 30867 f29 1"/>
              <a:gd name="f54" fmla="*/ f30 1 f2"/>
              <a:gd name="f55" fmla="*/ f33 1 350168"/>
              <a:gd name="f56" fmla="*/ f34 1 154638"/>
              <a:gd name="f57" fmla="*/ f35 1 154638"/>
              <a:gd name="f58" fmla="*/ f36 1 350168"/>
              <a:gd name="f59" fmla="*/ f37 1 350168"/>
              <a:gd name="f60" fmla="*/ f38 1 154638"/>
              <a:gd name="f61" fmla="*/ f39 1 154638"/>
              <a:gd name="f62" fmla="*/ f40 1 350168"/>
              <a:gd name="f63" fmla="*/ f41 1 350168"/>
              <a:gd name="f64" fmla="*/ f42 1 154638"/>
              <a:gd name="f65" fmla="*/ f43 1 350168"/>
              <a:gd name="f66" fmla="*/ f44 1 350168"/>
              <a:gd name="f67" fmla="*/ f45 1 350168"/>
              <a:gd name="f68" fmla="*/ f46 1 154638"/>
              <a:gd name="f69" fmla="*/ f47 1 350168"/>
              <a:gd name="f70" fmla="*/ f48 1 154638"/>
              <a:gd name="f71" fmla="*/ f49 1 350168"/>
              <a:gd name="f72" fmla="*/ f50 1 350168"/>
              <a:gd name="f73" fmla="*/ f51 1 154638"/>
              <a:gd name="f74" fmla="*/ f52 1 350168"/>
              <a:gd name="f75" fmla="*/ f53 1 350168"/>
              <a:gd name="f76" fmla="*/ f5 1 f31"/>
              <a:gd name="f77" fmla="*/ f6 1 f31"/>
              <a:gd name="f78" fmla="*/ f5 1 f32"/>
              <a:gd name="f79" fmla="*/ f7 1 f32"/>
              <a:gd name="f80" fmla="+- f54 0 f1"/>
              <a:gd name="f81" fmla="*/ f55 1 f31"/>
              <a:gd name="f82" fmla="*/ f56 1 f32"/>
              <a:gd name="f83" fmla="*/ f57 1 f32"/>
              <a:gd name="f84" fmla="*/ f58 1 f31"/>
              <a:gd name="f85" fmla="*/ f59 1 f31"/>
              <a:gd name="f86" fmla="*/ f60 1 f32"/>
              <a:gd name="f87" fmla="*/ f61 1 f32"/>
              <a:gd name="f88" fmla="*/ f62 1 f31"/>
              <a:gd name="f89" fmla="*/ f63 1 f31"/>
              <a:gd name="f90" fmla="*/ f64 1 f32"/>
              <a:gd name="f91" fmla="*/ f65 1 f31"/>
              <a:gd name="f92" fmla="*/ f66 1 f31"/>
              <a:gd name="f93" fmla="*/ f67 1 f31"/>
              <a:gd name="f94" fmla="*/ f68 1 f32"/>
              <a:gd name="f95" fmla="*/ f69 1 f31"/>
              <a:gd name="f96" fmla="*/ f70 1 f32"/>
              <a:gd name="f97" fmla="*/ f71 1 f31"/>
              <a:gd name="f98" fmla="*/ f72 1 f31"/>
              <a:gd name="f99" fmla="*/ f73 1 f32"/>
              <a:gd name="f100" fmla="*/ f74 1 f31"/>
              <a:gd name="f101" fmla="*/ f75 1 f31"/>
              <a:gd name="f102" fmla="*/ f76 f26 1"/>
              <a:gd name="f103" fmla="*/ f77 f26 1"/>
              <a:gd name="f104" fmla="*/ f79 f27 1"/>
              <a:gd name="f105" fmla="*/ f78 f27 1"/>
              <a:gd name="f106" fmla="*/ f81 f26 1"/>
              <a:gd name="f107" fmla="*/ f82 f27 1"/>
              <a:gd name="f108" fmla="*/ f83 f27 1"/>
              <a:gd name="f109" fmla="*/ f84 f26 1"/>
              <a:gd name="f110" fmla="*/ f85 f26 1"/>
              <a:gd name="f111" fmla="*/ f86 f27 1"/>
              <a:gd name="f112" fmla="*/ f87 f27 1"/>
              <a:gd name="f113" fmla="*/ f88 f26 1"/>
              <a:gd name="f114" fmla="*/ f89 f26 1"/>
              <a:gd name="f115" fmla="*/ f90 f27 1"/>
              <a:gd name="f116" fmla="*/ f91 f26 1"/>
              <a:gd name="f117" fmla="*/ f92 f26 1"/>
              <a:gd name="f118" fmla="*/ f93 f26 1"/>
              <a:gd name="f119" fmla="*/ f94 f27 1"/>
              <a:gd name="f120" fmla="*/ f95 f26 1"/>
              <a:gd name="f121" fmla="*/ f96 f27 1"/>
              <a:gd name="f122" fmla="*/ f97 f26 1"/>
              <a:gd name="f123" fmla="*/ f98 f26 1"/>
              <a:gd name="f124" fmla="*/ f99 f27 1"/>
              <a:gd name="f125" fmla="*/ f100 f26 1"/>
              <a:gd name="f126" fmla="*/ f101 f2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80">
                <a:pos x="f106" y="f107"/>
              </a:cxn>
              <a:cxn ang="f80">
                <a:pos x="f106" y="f108"/>
              </a:cxn>
              <a:cxn ang="f80">
                <a:pos x="f109" y="f108"/>
              </a:cxn>
              <a:cxn ang="f80">
                <a:pos x="f109" y="f107"/>
              </a:cxn>
              <a:cxn ang="f80">
                <a:pos x="f110" y="f111"/>
              </a:cxn>
              <a:cxn ang="f80">
                <a:pos x="f110" y="f112"/>
              </a:cxn>
              <a:cxn ang="f80">
                <a:pos x="f113" y="f112"/>
              </a:cxn>
              <a:cxn ang="f80">
                <a:pos x="f114" y="f115"/>
              </a:cxn>
              <a:cxn ang="f80">
                <a:pos x="f116" y="f112"/>
              </a:cxn>
              <a:cxn ang="f80">
                <a:pos x="f117" y="f112"/>
              </a:cxn>
              <a:cxn ang="f80">
                <a:pos x="f117" y="f111"/>
              </a:cxn>
              <a:cxn ang="f80">
                <a:pos x="f118" y="f111"/>
              </a:cxn>
              <a:cxn ang="f80">
                <a:pos x="f118" y="f119"/>
              </a:cxn>
              <a:cxn ang="f80">
                <a:pos x="f120" y="f121"/>
              </a:cxn>
              <a:cxn ang="f80">
                <a:pos x="f122" y="f121"/>
              </a:cxn>
              <a:cxn ang="f80">
                <a:pos x="f123" y="f124"/>
              </a:cxn>
              <a:cxn ang="f80">
                <a:pos x="f123" y="f111"/>
              </a:cxn>
              <a:cxn ang="f80">
                <a:pos x="f125" y="f111"/>
              </a:cxn>
              <a:cxn ang="f80">
                <a:pos x="f125" y="f112"/>
              </a:cxn>
              <a:cxn ang="f80">
                <a:pos x="f126" y="f112"/>
              </a:cxn>
              <a:cxn ang="f80">
                <a:pos x="f126" y="f111"/>
              </a:cxn>
            </a:cxnLst>
            <a:rect l="f102" t="f105" r="f103" b="f104"/>
            <a:pathLst>
              <a:path w="350168" h="154638">
                <a:moveTo>
                  <a:pt x="f8" y="f7"/>
                </a:moveTo>
                <a:lnTo>
                  <a:pt x="f8" y="f9"/>
                </a:lnTo>
                <a:lnTo>
                  <a:pt x="f6" y="f9"/>
                </a:lnTo>
                <a:lnTo>
                  <a:pt x="f6" y="f7"/>
                </a:lnTo>
                <a:close/>
                <a:moveTo>
                  <a:pt x="f10" y="f11"/>
                </a:moveTo>
                <a:lnTo>
                  <a:pt x="f10" y="f5"/>
                </a:lnTo>
                <a:lnTo>
                  <a:pt x="f12" y="f5"/>
                </a:lnTo>
                <a:lnTo>
                  <a:pt x="f13" y="f14"/>
                </a:lnTo>
                <a:lnTo>
                  <a:pt x="f15" y="f5"/>
                </a:lnTo>
                <a:lnTo>
                  <a:pt x="f16" y="f5"/>
                </a:lnTo>
                <a:lnTo>
                  <a:pt x="f16" y="f11"/>
                </a:lnTo>
                <a:lnTo>
                  <a:pt x="f17" y="f11"/>
                </a:lnTo>
                <a:lnTo>
                  <a:pt x="f17" y="f18"/>
                </a:lnTo>
                <a:lnTo>
                  <a:pt x="f19" y="f20"/>
                </a:lnTo>
                <a:lnTo>
                  <a:pt x="f21" y="f20"/>
                </a:lnTo>
                <a:lnTo>
                  <a:pt x="f22" y="f23"/>
                </a:lnTo>
                <a:lnTo>
                  <a:pt x="f22" y="f11"/>
                </a:lnTo>
                <a:close/>
                <a:moveTo>
                  <a:pt x="f5" y="f11"/>
                </a:moveTo>
                <a:lnTo>
                  <a:pt x="f5" y="f5"/>
                </a:lnTo>
                <a:lnTo>
                  <a:pt x="f24" y="f5"/>
                </a:lnTo>
                <a:lnTo>
                  <a:pt x="f24" y="f11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cxnSp>
        <p:nvCxnSpPr>
          <p:cNvPr id="9" name="Straight Connector 21">
            <a:extLst>
              <a:ext uri="{FF2B5EF4-FFF2-40B4-BE49-F238E27FC236}">
                <a16:creationId xmlns:a16="http://schemas.microsoft.com/office/drawing/2014/main" id="{9DF71B02-F3AF-4FB0-90C5-E3BCA5F61831}"/>
              </a:ext>
            </a:extLst>
          </p:cNvPr>
          <p:cNvCxnSpPr/>
          <p:nvPr/>
        </p:nvCxnSpPr>
        <p:spPr>
          <a:xfrm>
            <a:off x="253910" y="3373306"/>
            <a:ext cx="3987693" cy="0"/>
          </a:xfrm>
          <a:prstGeom prst="straightConnector1">
            <a:avLst/>
          </a:prstGeom>
          <a:noFill/>
          <a:ln w="12701" cap="flat">
            <a:solidFill>
              <a:srgbClr val="30373B"/>
            </a:solidFill>
            <a:prstDash val="solid"/>
            <a:miter/>
          </a:ln>
        </p:spPr>
      </p:cxnSp>
      <p:cxnSp>
        <p:nvCxnSpPr>
          <p:cNvPr id="10" name="Straight Connector 22">
            <a:extLst>
              <a:ext uri="{FF2B5EF4-FFF2-40B4-BE49-F238E27FC236}">
                <a16:creationId xmlns:a16="http://schemas.microsoft.com/office/drawing/2014/main" id="{957B9089-B42D-4030-B199-BCAE3208B354}"/>
              </a:ext>
            </a:extLst>
          </p:cNvPr>
          <p:cNvCxnSpPr/>
          <p:nvPr/>
        </p:nvCxnSpPr>
        <p:spPr>
          <a:xfrm>
            <a:off x="4909973" y="3373306"/>
            <a:ext cx="3987693" cy="0"/>
          </a:xfrm>
          <a:prstGeom prst="straightConnector1">
            <a:avLst/>
          </a:prstGeom>
          <a:noFill/>
          <a:ln w="12701" cap="flat">
            <a:solidFill>
              <a:srgbClr val="30373B"/>
            </a:solidFill>
            <a:prstDash val="solid"/>
            <a:miter/>
          </a:ln>
        </p:spPr>
      </p:cxnSp>
      <p:sp>
        <p:nvSpPr>
          <p:cNvPr id="11" name="Rectangle 23">
            <a:extLst>
              <a:ext uri="{FF2B5EF4-FFF2-40B4-BE49-F238E27FC236}">
                <a16:creationId xmlns:a16="http://schemas.microsoft.com/office/drawing/2014/main" id="{79B580E2-8115-4513-9384-E032E05AED5F}"/>
              </a:ext>
            </a:extLst>
          </p:cNvPr>
          <p:cNvSpPr/>
          <p:nvPr/>
        </p:nvSpPr>
        <p:spPr>
          <a:xfrm>
            <a:off x="253910" y="3188421"/>
            <a:ext cx="807913" cy="128818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spAutoFit/>
          </a:bodyPr>
          <a:lstStyle/>
          <a:p>
            <a:pPr marL="107999" marR="0" lvl="1" indent="-107999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1" i="0" u="none" strike="noStrike" kern="1200" cap="none" spc="0" baseline="0">
                <a:solidFill>
                  <a:srgbClr val="30373B"/>
                </a:solidFill>
                <a:uFillTx/>
                <a:latin typeface="Arial"/>
              </a:rPr>
              <a:t>THE PROJECT</a:t>
            </a:r>
            <a:endParaRPr lang="en-GB" sz="750" b="0" i="0" u="none" strike="noStrike" kern="1200" cap="none" spc="0" baseline="0">
              <a:solidFill>
                <a:srgbClr val="30373B"/>
              </a:solidFill>
              <a:uFillTx/>
              <a:latin typeface="Arial"/>
            </a:endParaRPr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AA06F226-F02F-4CAA-8741-20D977227DAE}"/>
              </a:ext>
            </a:extLst>
          </p:cNvPr>
          <p:cNvSpPr/>
          <p:nvPr/>
        </p:nvSpPr>
        <p:spPr>
          <a:xfrm>
            <a:off x="4908842" y="3188421"/>
            <a:ext cx="705321" cy="128818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spAutoFit/>
          </a:bodyPr>
          <a:lstStyle/>
          <a:p>
            <a:pPr marL="107999" marR="0" lvl="1" indent="-107999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1" i="0" u="none" strike="noStrike" kern="1200" cap="none" spc="0" baseline="0">
                <a:solidFill>
                  <a:srgbClr val="30373B"/>
                </a:solidFill>
                <a:uFillTx/>
                <a:latin typeface="Arial"/>
              </a:rPr>
              <a:t>THE IMPACT</a:t>
            </a:r>
            <a:endParaRPr lang="en-GB" sz="750" b="0" i="0" u="none" strike="noStrike" kern="1200" cap="none" spc="0" baseline="0">
              <a:solidFill>
                <a:srgbClr val="30373B"/>
              </a:solidFill>
              <a:uFillTx/>
              <a:latin typeface="Arial"/>
            </a:endParaRPr>
          </a:p>
        </p:txBody>
      </p:sp>
      <p:sp>
        <p:nvSpPr>
          <p:cNvPr id="13" name="Text Placeholder 34">
            <a:extLst>
              <a:ext uri="{FF2B5EF4-FFF2-40B4-BE49-F238E27FC236}">
                <a16:creationId xmlns:a16="http://schemas.microsoft.com/office/drawing/2014/main" id="{A1A37030-9CA7-4828-9897-57BF2DBAADF9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53910" y="3486251"/>
            <a:ext cx="3987692" cy="1247675"/>
          </a:xfrm>
        </p:spPr>
        <p:txBody>
          <a:bodyPr/>
          <a:lstStyle>
            <a:lvl1pPr>
              <a:buNone/>
              <a:defRPr sz="75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4" name="Text Placeholder 36">
            <a:extLst>
              <a:ext uri="{FF2B5EF4-FFF2-40B4-BE49-F238E27FC236}">
                <a16:creationId xmlns:a16="http://schemas.microsoft.com/office/drawing/2014/main" id="{1D28164F-4031-4781-8BC1-7131EA55173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909973" y="3486251"/>
            <a:ext cx="3987692" cy="1247675"/>
          </a:xfrm>
        </p:spPr>
        <p:txBody>
          <a:bodyPr/>
          <a:lstStyle>
            <a:lvl1pPr>
              <a:buNone/>
              <a:defRPr sz="75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5" name="Rectangle 37">
            <a:extLst>
              <a:ext uri="{FF2B5EF4-FFF2-40B4-BE49-F238E27FC236}">
                <a16:creationId xmlns:a16="http://schemas.microsoft.com/office/drawing/2014/main" id="{F8826878-009D-43A2-89EF-91CF8A5952D3}"/>
              </a:ext>
            </a:extLst>
          </p:cNvPr>
          <p:cNvSpPr/>
          <p:nvPr/>
        </p:nvSpPr>
        <p:spPr>
          <a:xfrm>
            <a:off x="253910" y="1133333"/>
            <a:ext cx="321098" cy="103875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1F2023"/>
                </a:solidFill>
                <a:uFillTx/>
                <a:latin typeface="Arial"/>
              </a:rPr>
              <a:t>CAS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B6FF52D-01D5-4E89-B71C-2CE4DDAB4301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0E8EF0B0-E092-4C48-9008-BB3A719FC5F2}" type="slidenum">
              <a:t>‹nr.›</a:t>
            </a:fld>
            <a:endParaRPr lang="en-GB"/>
          </a:p>
        </p:txBody>
      </p:sp>
      <p:sp>
        <p:nvSpPr>
          <p:cNvPr id="17" name="Date Placeholder 3" hidden="1">
            <a:extLst>
              <a:ext uri="{FF2B5EF4-FFF2-40B4-BE49-F238E27FC236}">
                <a16:creationId xmlns:a16="http://schemas.microsoft.com/office/drawing/2014/main" id="{09EF580D-53E2-465D-984C-261596CA89AF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89745143-C98D-48CA-BA4A-278AB5555861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18" name="Footer Placeholder 4" hidden="1">
            <a:extLst>
              <a:ext uri="{FF2B5EF4-FFF2-40B4-BE49-F238E27FC236}">
                <a16:creationId xmlns:a16="http://schemas.microsoft.com/office/drawing/2014/main" id="{EDEEDACD-59EB-4E1A-BB63-F5C17F6994C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Footer</a:t>
            </a:r>
          </a:p>
        </p:txBody>
      </p:sp>
      <p:sp>
        <p:nvSpPr>
          <p:cNvPr id="19" name="TextBox 33">
            <a:extLst>
              <a:ext uri="{FF2B5EF4-FFF2-40B4-BE49-F238E27FC236}">
                <a16:creationId xmlns:a16="http://schemas.microsoft.com/office/drawing/2014/main" id="{3CD241B0-E2F0-4993-A23B-6124D7C7691F}"/>
              </a:ext>
            </a:extLst>
          </p:cNvPr>
          <p:cNvSpPr txBox="1"/>
          <p:nvPr/>
        </p:nvSpPr>
        <p:spPr>
          <a:xfrm>
            <a:off x="9329581" y="0"/>
            <a:ext cx="1449599" cy="1654757"/>
          </a:xfrm>
          <a:prstGeom prst="rect">
            <a:avLst/>
          </a:prstGeom>
          <a:solidFill>
            <a:srgbClr val="E2DED9"/>
          </a:solidFill>
          <a:ln cap="flat">
            <a:noFill/>
          </a:ln>
        </p:spPr>
        <p:txBody>
          <a:bodyPr vert="horz" wrap="square" lIns="80999" tIns="80999" rIns="80999" bIns="80999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1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ASE DATA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For internal use only – delete before sharing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00" b="0" i="0" u="none" strike="noStrike" kern="1200" cap="none" spc="0" baseline="0">
              <a:solidFill>
                <a:srgbClr val="000000"/>
              </a:solidFill>
              <a:uFillTx/>
              <a:latin typeface="Arial"/>
            </a:endParaRP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lient name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Maconomy project name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Industry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Keywords: xx, xx,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Year(s): 20xx – 20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Implement contact person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00" b="0" i="0" u="none" strike="noStrike" kern="1200" cap="none" spc="0" baseline="0">
              <a:solidFill>
                <a:srgbClr val="000000"/>
              </a:solidFill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26553639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case_lo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2E0A8F3B-7E3D-4FB7-8BBC-763D32F60167}"/>
              </a:ext>
            </a:extLst>
          </p:cNvPr>
          <p:cNvGraphicFramePr/>
          <p:nvPr/>
        </p:nvGraphicFramePr>
        <p:xfrm>
          <a:off x="1469" y="1194"/>
          <a:ext cx="1469" cy="11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4354" imgH="4354" progId="TCLayout.ActiveDocument.1">
                  <p:embed/>
                </p:oleObj>
              </mc:Choice>
              <mc:Fallback>
                <p:oleObj name="think-cell Slide" r:id="rId2" imgW="4354" imgH="4354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2E0A8F3B-7E3D-4FB7-8BBC-763D32F601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69" y="1194"/>
                        <a:ext cx="1469" cy="11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 hidden="1">
            <a:extLst>
              <a:ext uri="{FF2B5EF4-FFF2-40B4-BE49-F238E27FC236}">
                <a16:creationId xmlns:a16="http://schemas.microsoft.com/office/drawing/2014/main" id="{D75C2B57-4537-4A31-BE1D-49A32EF4CD89}"/>
              </a:ext>
            </a:extLst>
          </p:cNvPr>
          <p:cNvSpPr/>
          <p:nvPr/>
        </p:nvSpPr>
        <p:spPr>
          <a:xfrm>
            <a:off x="0" y="0"/>
            <a:ext cx="146537" cy="119061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399" b="0" i="0" u="none" strike="noStrike" kern="1200" cap="none" spc="0" baseline="0">
              <a:solidFill>
                <a:srgbClr val="2F363B"/>
              </a:solidFill>
              <a:uFillTx/>
              <a:latin typeface="Arial" pitchFamily="34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1C0C7357-779A-49C9-8A51-F004F046F634}"/>
              </a:ext>
            </a:extLst>
          </p:cNvPr>
          <p:cNvSpPr/>
          <p:nvPr/>
        </p:nvSpPr>
        <p:spPr>
          <a:xfrm>
            <a:off x="0" y="0"/>
            <a:ext cx="9143996" cy="5143500"/>
          </a:xfrm>
          <a:prstGeom prst="rect">
            <a:avLst/>
          </a:prstGeom>
          <a:solidFill>
            <a:srgbClr val="EEEBE8"/>
          </a:solidFill>
          <a:ln cap="flat">
            <a:noFill/>
            <a:prstDash val="solid"/>
          </a:ln>
        </p:spPr>
        <p:txBody>
          <a:bodyPr vert="horz" wrap="square" lIns="26999" tIns="26999" rIns="26999" bIns="26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5" name="TextBox 12">
            <a:extLst>
              <a:ext uri="{FF2B5EF4-FFF2-40B4-BE49-F238E27FC236}">
                <a16:creationId xmlns:a16="http://schemas.microsoft.com/office/drawing/2014/main" id="{D0B12E0B-E565-4A09-8907-F51CEF746BE0}"/>
              </a:ext>
            </a:extLst>
          </p:cNvPr>
          <p:cNvSpPr txBox="1"/>
          <p:nvPr/>
        </p:nvSpPr>
        <p:spPr>
          <a:xfrm>
            <a:off x="6029924" y="1"/>
            <a:ext cx="3114072" cy="2657474"/>
          </a:xfrm>
          <a:prstGeom prst="rect">
            <a:avLst/>
          </a:prstGeom>
          <a:solidFill>
            <a:srgbClr val="8AA299"/>
          </a:solidFill>
          <a:ln cap="flat">
            <a:noFill/>
          </a:ln>
        </p:spPr>
        <p:txBody>
          <a:bodyPr vert="horz" wrap="square" lIns="80999" tIns="80999" rIns="80999" bIns="80999" anchor="t" anchorCtr="0" compatLnSpc="1">
            <a:noAutofit/>
          </a:bodyPr>
          <a:lstStyle/>
          <a:p>
            <a:pPr marL="0" marR="0" lvl="1" indent="0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826" b="0" i="0" u="none" strike="noStrike" kern="1200" cap="none" spc="0" baseline="0">
              <a:solidFill>
                <a:srgbClr val="30373B"/>
              </a:solidFill>
              <a:uFillTx/>
              <a:latin typeface="Arial" pitchFamily="34"/>
            </a:endParaRPr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22C60D6D-5463-4469-BBA3-EDB00738AE64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4908842" y="980"/>
            <a:ext cx="3589903" cy="2331219"/>
          </a:xfrm>
          <a:solidFill>
            <a:srgbClr val="B8BBBD"/>
          </a:solidFill>
        </p:spPr>
        <p:txBody>
          <a:bodyPr rIns="0" anchor="ctr" anchorCtr="1"/>
          <a:lstStyle>
            <a:lvl1pPr algn="ctr">
              <a:buNone/>
              <a:defRPr lang="en-GB"/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30E8B9E-5016-4A62-9EC3-C6B5D9859FB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3910" y="2392756"/>
            <a:ext cx="3987692" cy="332270"/>
          </a:xfrm>
        </p:spPr>
        <p:txBody>
          <a:bodyPr anchor="b">
            <a:spAutoFit/>
          </a:bodyPr>
          <a:lstStyle>
            <a:lvl1pPr>
              <a:defRPr lang="en-US" sz="2399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Freeform: Shape 14">
            <a:extLst>
              <a:ext uri="{FF2B5EF4-FFF2-40B4-BE49-F238E27FC236}">
                <a16:creationId xmlns:a16="http://schemas.microsoft.com/office/drawing/2014/main" id="{195ECF57-0741-4318-9CAE-389FD8788DCD}"/>
              </a:ext>
            </a:extLst>
          </p:cNvPr>
          <p:cNvSpPr/>
          <p:nvPr/>
        </p:nvSpPr>
        <p:spPr>
          <a:xfrm rot="5400013">
            <a:off x="8690662" y="287231"/>
            <a:ext cx="262627" cy="14273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0168"/>
              <a:gd name="f7" fmla="val 154638"/>
              <a:gd name="f8" fmla="val 242136"/>
              <a:gd name="f9" fmla="val 141700"/>
              <a:gd name="f10" fmla="val 62944"/>
              <a:gd name="f11" fmla="val 154337"/>
              <a:gd name="f12" fmla="val 102688"/>
              <a:gd name="f13" fmla="val 141020"/>
              <a:gd name="f14" fmla="val 104707"/>
              <a:gd name="f15" fmla="val 179755"/>
              <a:gd name="f16" fmla="val 217481"/>
              <a:gd name="f17" fmla="val 187825"/>
              <a:gd name="f18" fmla="val 53263"/>
              <a:gd name="f19" fmla="val 151309"/>
              <a:gd name="f20" fmla="val 152117"/>
              <a:gd name="f21" fmla="val 128915"/>
              <a:gd name="f22" fmla="val 92601"/>
              <a:gd name="f23" fmla="val 52051"/>
              <a:gd name="f24" fmla="val 30867"/>
              <a:gd name="f25" fmla="+- 0 0 -90"/>
              <a:gd name="f26" fmla="*/ f3 1 350168"/>
              <a:gd name="f27" fmla="*/ f4 1 154638"/>
              <a:gd name="f28" fmla="+- f7 0 f5"/>
              <a:gd name="f29" fmla="+- f6 0 f5"/>
              <a:gd name="f30" fmla="*/ f25 f0 1"/>
              <a:gd name="f31" fmla="*/ f29 1 350168"/>
              <a:gd name="f32" fmla="*/ f28 1 154638"/>
              <a:gd name="f33" fmla="*/ 242136 f29 1"/>
              <a:gd name="f34" fmla="*/ 154638 f28 1"/>
              <a:gd name="f35" fmla="*/ 141700 f28 1"/>
              <a:gd name="f36" fmla="*/ 350168 f29 1"/>
              <a:gd name="f37" fmla="*/ 62944 f29 1"/>
              <a:gd name="f38" fmla="*/ 154337 f28 1"/>
              <a:gd name="f39" fmla="*/ 0 f28 1"/>
              <a:gd name="f40" fmla="*/ 102688 f29 1"/>
              <a:gd name="f41" fmla="*/ 141020 f29 1"/>
              <a:gd name="f42" fmla="*/ 104707 f28 1"/>
              <a:gd name="f43" fmla="*/ 179755 f29 1"/>
              <a:gd name="f44" fmla="*/ 217481 f29 1"/>
              <a:gd name="f45" fmla="*/ 187825 f29 1"/>
              <a:gd name="f46" fmla="*/ 53263 f28 1"/>
              <a:gd name="f47" fmla="*/ 151309 f29 1"/>
              <a:gd name="f48" fmla="*/ 152117 f28 1"/>
              <a:gd name="f49" fmla="*/ 128915 f29 1"/>
              <a:gd name="f50" fmla="*/ 92601 f29 1"/>
              <a:gd name="f51" fmla="*/ 52051 f28 1"/>
              <a:gd name="f52" fmla="*/ 0 f29 1"/>
              <a:gd name="f53" fmla="*/ 30867 f29 1"/>
              <a:gd name="f54" fmla="*/ f30 1 f2"/>
              <a:gd name="f55" fmla="*/ f33 1 350168"/>
              <a:gd name="f56" fmla="*/ f34 1 154638"/>
              <a:gd name="f57" fmla="*/ f35 1 154638"/>
              <a:gd name="f58" fmla="*/ f36 1 350168"/>
              <a:gd name="f59" fmla="*/ f37 1 350168"/>
              <a:gd name="f60" fmla="*/ f38 1 154638"/>
              <a:gd name="f61" fmla="*/ f39 1 154638"/>
              <a:gd name="f62" fmla="*/ f40 1 350168"/>
              <a:gd name="f63" fmla="*/ f41 1 350168"/>
              <a:gd name="f64" fmla="*/ f42 1 154638"/>
              <a:gd name="f65" fmla="*/ f43 1 350168"/>
              <a:gd name="f66" fmla="*/ f44 1 350168"/>
              <a:gd name="f67" fmla="*/ f45 1 350168"/>
              <a:gd name="f68" fmla="*/ f46 1 154638"/>
              <a:gd name="f69" fmla="*/ f47 1 350168"/>
              <a:gd name="f70" fmla="*/ f48 1 154638"/>
              <a:gd name="f71" fmla="*/ f49 1 350168"/>
              <a:gd name="f72" fmla="*/ f50 1 350168"/>
              <a:gd name="f73" fmla="*/ f51 1 154638"/>
              <a:gd name="f74" fmla="*/ f52 1 350168"/>
              <a:gd name="f75" fmla="*/ f53 1 350168"/>
              <a:gd name="f76" fmla="*/ f5 1 f31"/>
              <a:gd name="f77" fmla="*/ f6 1 f31"/>
              <a:gd name="f78" fmla="*/ f5 1 f32"/>
              <a:gd name="f79" fmla="*/ f7 1 f32"/>
              <a:gd name="f80" fmla="+- f54 0 f1"/>
              <a:gd name="f81" fmla="*/ f55 1 f31"/>
              <a:gd name="f82" fmla="*/ f56 1 f32"/>
              <a:gd name="f83" fmla="*/ f57 1 f32"/>
              <a:gd name="f84" fmla="*/ f58 1 f31"/>
              <a:gd name="f85" fmla="*/ f59 1 f31"/>
              <a:gd name="f86" fmla="*/ f60 1 f32"/>
              <a:gd name="f87" fmla="*/ f61 1 f32"/>
              <a:gd name="f88" fmla="*/ f62 1 f31"/>
              <a:gd name="f89" fmla="*/ f63 1 f31"/>
              <a:gd name="f90" fmla="*/ f64 1 f32"/>
              <a:gd name="f91" fmla="*/ f65 1 f31"/>
              <a:gd name="f92" fmla="*/ f66 1 f31"/>
              <a:gd name="f93" fmla="*/ f67 1 f31"/>
              <a:gd name="f94" fmla="*/ f68 1 f32"/>
              <a:gd name="f95" fmla="*/ f69 1 f31"/>
              <a:gd name="f96" fmla="*/ f70 1 f32"/>
              <a:gd name="f97" fmla="*/ f71 1 f31"/>
              <a:gd name="f98" fmla="*/ f72 1 f31"/>
              <a:gd name="f99" fmla="*/ f73 1 f32"/>
              <a:gd name="f100" fmla="*/ f74 1 f31"/>
              <a:gd name="f101" fmla="*/ f75 1 f31"/>
              <a:gd name="f102" fmla="*/ f76 f26 1"/>
              <a:gd name="f103" fmla="*/ f77 f26 1"/>
              <a:gd name="f104" fmla="*/ f79 f27 1"/>
              <a:gd name="f105" fmla="*/ f78 f27 1"/>
              <a:gd name="f106" fmla="*/ f81 f26 1"/>
              <a:gd name="f107" fmla="*/ f82 f27 1"/>
              <a:gd name="f108" fmla="*/ f83 f27 1"/>
              <a:gd name="f109" fmla="*/ f84 f26 1"/>
              <a:gd name="f110" fmla="*/ f85 f26 1"/>
              <a:gd name="f111" fmla="*/ f86 f27 1"/>
              <a:gd name="f112" fmla="*/ f87 f27 1"/>
              <a:gd name="f113" fmla="*/ f88 f26 1"/>
              <a:gd name="f114" fmla="*/ f89 f26 1"/>
              <a:gd name="f115" fmla="*/ f90 f27 1"/>
              <a:gd name="f116" fmla="*/ f91 f26 1"/>
              <a:gd name="f117" fmla="*/ f92 f26 1"/>
              <a:gd name="f118" fmla="*/ f93 f26 1"/>
              <a:gd name="f119" fmla="*/ f94 f27 1"/>
              <a:gd name="f120" fmla="*/ f95 f26 1"/>
              <a:gd name="f121" fmla="*/ f96 f27 1"/>
              <a:gd name="f122" fmla="*/ f97 f26 1"/>
              <a:gd name="f123" fmla="*/ f98 f26 1"/>
              <a:gd name="f124" fmla="*/ f99 f27 1"/>
              <a:gd name="f125" fmla="*/ f100 f26 1"/>
              <a:gd name="f126" fmla="*/ f101 f2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80">
                <a:pos x="f106" y="f107"/>
              </a:cxn>
              <a:cxn ang="f80">
                <a:pos x="f106" y="f108"/>
              </a:cxn>
              <a:cxn ang="f80">
                <a:pos x="f109" y="f108"/>
              </a:cxn>
              <a:cxn ang="f80">
                <a:pos x="f109" y="f107"/>
              </a:cxn>
              <a:cxn ang="f80">
                <a:pos x="f110" y="f111"/>
              </a:cxn>
              <a:cxn ang="f80">
                <a:pos x="f110" y="f112"/>
              </a:cxn>
              <a:cxn ang="f80">
                <a:pos x="f113" y="f112"/>
              </a:cxn>
              <a:cxn ang="f80">
                <a:pos x="f114" y="f115"/>
              </a:cxn>
              <a:cxn ang="f80">
                <a:pos x="f116" y="f112"/>
              </a:cxn>
              <a:cxn ang="f80">
                <a:pos x="f117" y="f112"/>
              </a:cxn>
              <a:cxn ang="f80">
                <a:pos x="f117" y="f111"/>
              </a:cxn>
              <a:cxn ang="f80">
                <a:pos x="f118" y="f111"/>
              </a:cxn>
              <a:cxn ang="f80">
                <a:pos x="f118" y="f119"/>
              </a:cxn>
              <a:cxn ang="f80">
                <a:pos x="f120" y="f121"/>
              </a:cxn>
              <a:cxn ang="f80">
                <a:pos x="f122" y="f121"/>
              </a:cxn>
              <a:cxn ang="f80">
                <a:pos x="f123" y="f124"/>
              </a:cxn>
              <a:cxn ang="f80">
                <a:pos x="f123" y="f111"/>
              </a:cxn>
              <a:cxn ang="f80">
                <a:pos x="f125" y="f111"/>
              </a:cxn>
              <a:cxn ang="f80">
                <a:pos x="f125" y="f112"/>
              </a:cxn>
              <a:cxn ang="f80">
                <a:pos x="f126" y="f112"/>
              </a:cxn>
              <a:cxn ang="f80">
                <a:pos x="f126" y="f111"/>
              </a:cxn>
            </a:cxnLst>
            <a:rect l="f102" t="f105" r="f103" b="f104"/>
            <a:pathLst>
              <a:path w="350168" h="154638">
                <a:moveTo>
                  <a:pt x="f8" y="f7"/>
                </a:moveTo>
                <a:lnTo>
                  <a:pt x="f8" y="f9"/>
                </a:lnTo>
                <a:lnTo>
                  <a:pt x="f6" y="f9"/>
                </a:lnTo>
                <a:lnTo>
                  <a:pt x="f6" y="f7"/>
                </a:lnTo>
                <a:close/>
                <a:moveTo>
                  <a:pt x="f10" y="f11"/>
                </a:moveTo>
                <a:lnTo>
                  <a:pt x="f10" y="f5"/>
                </a:lnTo>
                <a:lnTo>
                  <a:pt x="f12" y="f5"/>
                </a:lnTo>
                <a:lnTo>
                  <a:pt x="f13" y="f14"/>
                </a:lnTo>
                <a:lnTo>
                  <a:pt x="f15" y="f5"/>
                </a:lnTo>
                <a:lnTo>
                  <a:pt x="f16" y="f5"/>
                </a:lnTo>
                <a:lnTo>
                  <a:pt x="f16" y="f11"/>
                </a:lnTo>
                <a:lnTo>
                  <a:pt x="f17" y="f11"/>
                </a:lnTo>
                <a:lnTo>
                  <a:pt x="f17" y="f18"/>
                </a:lnTo>
                <a:lnTo>
                  <a:pt x="f19" y="f20"/>
                </a:lnTo>
                <a:lnTo>
                  <a:pt x="f21" y="f20"/>
                </a:lnTo>
                <a:lnTo>
                  <a:pt x="f22" y="f23"/>
                </a:lnTo>
                <a:lnTo>
                  <a:pt x="f22" y="f11"/>
                </a:lnTo>
                <a:close/>
                <a:moveTo>
                  <a:pt x="f5" y="f11"/>
                </a:moveTo>
                <a:lnTo>
                  <a:pt x="f5" y="f5"/>
                </a:lnTo>
                <a:lnTo>
                  <a:pt x="f24" y="f5"/>
                </a:lnTo>
                <a:lnTo>
                  <a:pt x="f24" y="f11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cxnSp>
        <p:nvCxnSpPr>
          <p:cNvPr id="9" name="Straight Connector 21">
            <a:extLst>
              <a:ext uri="{FF2B5EF4-FFF2-40B4-BE49-F238E27FC236}">
                <a16:creationId xmlns:a16="http://schemas.microsoft.com/office/drawing/2014/main" id="{541CBB0C-86F9-4255-8EB9-0943D0B52B53}"/>
              </a:ext>
            </a:extLst>
          </p:cNvPr>
          <p:cNvCxnSpPr/>
          <p:nvPr/>
        </p:nvCxnSpPr>
        <p:spPr>
          <a:xfrm>
            <a:off x="253910" y="3373306"/>
            <a:ext cx="3987693" cy="0"/>
          </a:xfrm>
          <a:prstGeom prst="straightConnector1">
            <a:avLst/>
          </a:prstGeom>
          <a:noFill/>
          <a:ln w="12701" cap="flat">
            <a:solidFill>
              <a:srgbClr val="30373B"/>
            </a:solidFill>
            <a:prstDash val="solid"/>
            <a:miter/>
          </a:ln>
        </p:spPr>
      </p:cxnSp>
      <p:cxnSp>
        <p:nvCxnSpPr>
          <p:cNvPr id="10" name="Straight Connector 22">
            <a:extLst>
              <a:ext uri="{FF2B5EF4-FFF2-40B4-BE49-F238E27FC236}">
                <a16:creationId xmlns:a16="http://schemas.microsoft.com/office/drawing/2014/main" id="{4D006855-E4E2-42E9-83F6-0B481A01C62B}"/>
              </a:ext>
            </a:extLst>
          </p:cNvPr>
          <p:cNvCxnSpPr/>
          <p:nvPr/>
        </p:nvCxnSpPr>
        <p:spPr>
          <a:xfrm>
            <a:off x="4909973" y="3373306"/>
            <a:ext cx="3987693" cy="0"/>
          </a:xfrm>
          <a:prstGeom prst="straightConnector1">
            <a:avLst/>
          </a:prstGeom>
          <a:noFill/>
          <a:ln w="12701" cap="flat">
            <a:solidFill>
              <a:srgbClr val="30373B"/>
            </a:solidFill>
            <a:prstDash val="solid"/>
            <a:miter/>
          </a:ln>
        </p:spPr>
      </p:cxnSp>
      <p:sp>
        <p:nvSpPr>
          <p:cNvPr id="11" name="Rectangle 23">
            <a:extLst>
              <a:ext uri="{FF2B5EF4-FFF2-40B4-BE49-F238E27FC236}">
                <a16:creationId xmlns:a16="http://schemas.microsoft.com/office/drawing/2014/main" id="{648BBA02-CA0F-4F22-B906-5C49D42C1BFA}"/>
              </a:ext>
            </a:extLst>
          </p:cNvPr>
          <p:cNvSpPr/>
          <p:nvPr/>
        </p:nvSpPr>
        <p:spPr>
          <a:xfrm>
            <a:off x="253910" y="3188421"/>
            <a:ext cx="807913" cy="128818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spAutoFit/>
          </a:bodyPr>
          <a:lstStyle/>
          <a:p>
            <a:pPr marL="107999" marR="0" lvl="1" indent="-107999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1" i="0" u="none" strike="noStrike" kern="1200" cap="none" spc="0" baseline="0">
                <a:solidFill>
                  <a:srgbClr val="30373B"/>
                </a:solidFill>
                <a:uFillTx/>
                <a:latin typeface="Arial"/>
              </a:rPr>
              <a:t>THE PROJECT</a:t>
            </a:r>
            <a:endParaRPr lang="en-GB" sz="750" b="0" i="0" u="none" strike="noStrike" kern="1200" cap="none" spc="0" baseline="0">
              <a:solidFill>
                <a:srgbClr val="30373B"/>
              </a:solidFill>
              <a:uFillTx/>
              <a:latin typeface="Arial"/>
            </a:endParaRPr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19B56092-07DC-4069-B482-EF405C2A6D89}"/>
              </a:ext>
            </a:extLst>
          </p:cNvPr>
          <p:cNvSpPr/>
          <p:nvPr/>
        </p:nvSpPr>
        <p:spPr>
          <a:xfrm>
            <a:off x="4908842" y="3188421"/>
            <a:ext cx="705321" cy="128818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spAutoFit/>
          </a:bodyPr>
          <a:lstStyle/>
          <a:p>
            <a:pPr marL="107999" marR="0" lvl="1" indent="-107999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1" i="0" u="none" strike="noStrike" kern="1200" cap="none" spc="0" baseline="0">
                <a:solidFill>
                  <a:srgbClr val="30373B"/>
                </a:solidFill>
                <a:uFillTx/>
                <a:latin typeface="Arial"/>
              </a:rPr>
              <a:t>THE IMPACT</a:t>
            </a:r>
            <a:endParaRPr lang="en-GB" sz="750" b="0" i="0" u="none" strike="noStrike" kern="1200" cap="none" spc="0" baseline="0">
              <a:solidFill>
                <a:srgbClr val="30373B"/>
              </a:solidFill>
              <a:uFillTx/>
              <a:latin typeface="Arial"/>
            </a:endParaRPr>
          </a:p>
        </p:txBody>
      </p:sp>
      <p:sp>
        <p:nvSpPr>
          <p:cNvPr id="13" name="Text Placeholder 34">
            <a:extLst>
              <a:ext uri="{FF2B5EF4-FFF2-40B4-BE49-F238E27FC236}">
                <a16:creationId xmlns:a16="http://schemas.microsoft.com/office/drawing/2014/main" id="{45B3D56A-7B48-40B1-A042-DDDA30816A0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53910" y="3486251"/>
            <a:ext cx="3987692" cy="1247675"/>
          </a:xfrm>
        </p:spPr>
        <p:txBody>
          <a:bodyPr/>
          <a:lstStyle>
            <a:lvl1pPr>
              <a:buNone/>
              <a:defRPr sz="75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4" name="Text Placeholder 36">
            <a:extLst>
              <a:ext uri="{FF2B5EF4-FFF2-40B4-BE49-F238E27FC236}">
                <a16:creationId xmlns:a16="http://schemas.microsoft.com/office/drawing/2014/main" id="{C4DBAE5B-A479-441C-BE94-71F4AD437AB3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909973" y="3486251"/>
            <a:ext cx="3987692" cy="1247675"/>
          </a:xfrm>
        </p:spPr>
        <p:txBody>
          <a:bodyPr/>
          <a:lstStyle>
            <a:lvl1pPr>
              <a:buNone/>
              <a:defRPr sz="75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5" name="Rectangle 37">
            <a:extLst>
              <a:ext uri="{FF2B5EF4-FFF2-40B4-BE49-F238E27FC236}">
                <a16:creationId xmlns:a16="http://schemas.microsoft.com/office/drawing/2014/main" id="{06F219E2-E682-4319-80E9-227923AA8FE7}"/>
              </a:ext>
            </a:extLst>
          </p:cNvPr>
          <p:cNvSpPr/>
          <p:nvPr/>
        </p:nvSpPr>
        <p:spPr>
          <a:xfrm>
            <a:off x="253910" y="1133333"/>
            <a:ext cx="321098" cy="103875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1F2023"/>
                </a:solidFill>
                <a:uFillTx/>
                <a:latin typeface="Arial"/>
              </a:rPr>
              <a:t>CASE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34530ADB-EBF8-4D83-BF98-03DADE44C369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CAF60636-DFA3-4990-BD98-985717563765}" type="slidenum">
              <a:t>‹nr.›</a:t>
            </a:fld>
            <a:endParaRPr lang="en-GB"/>
          </a:p>
        </p:txBody>
      </p:sp>
      <p:sp>
        <p:nvSpPr>
          <p:cNvPr id="17" name="TextBox 33">
            <a:extLst>
              <a:ext uri="{FF2B5EF4-FFF2-40B4-BE49-F238E27FC236}">
                <a16:creationId xmlns:a16="http://schemas.microsoft.com/office/drawing/2014/main" id="{B09A622D-D18C-41A5-B83C-BFC02E32786D}"/>
              </a:ext>
            </a:extLst>
          </p:cNvPr>
          <p:cNvSpPr txBox="1"/>
          <p:nvPr/>
        </p:nvSpPr>
        <p:spPr>
          <a:xfrm>
            <a:off x="9329581" y="0"/>
            <a:ext cx="1449599" cy="1654757"/>
          </a:xfrm>
          <a:prstGeom prst="rect">
            <a:avLst/>
          </a:prstGeom>
          <a:solidFill>
            <a:srgbClr val="E2DED9"/>
          </a:solidFill>
          <a:ln cap="flat">
            <a:noFill/>
          </a:ln>
        </p:spPr>
        <p:txBody>
          <a:bodyPr vert="horz" wrap="square" lIns="80999" tIns="80999" rIns="80999" bIns="80999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1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ASE DATA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For internal use only – delete before sharing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00" b="0" i="0" u="none" strike="noStrike" kern="1200" cap="none" spc="0" baseline="0">
              <a:solidFill>
                <a:srgbClr val="000000"/>
              </a:solidFill>
              <a:uFillTx/>
              <a:latin typeface="Arial"/>
            </a:endParaRP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lient name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Maconomy project name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Industry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Keywords: xx, xx,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Year(s): 20xx – 20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Implement contact person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00" b="0" i="0" u="none" strike="noStrike" kern="1200" cap="none" spc="0" baseline="0">
              <a:solidFill>
                <a:srgbClr val="000000"/>
              </a:solidFill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52510383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Reference case_lo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1C944601-E91E-4616-BB16-C38E9FA83048}"/>
              </a:ext>
            </a:extLst>
          </p:cNvPr>
          <p:cNvGraphicFramePr/>
          <p:nvPr/>
        </p:nvGraphicFramePr>
        <p:xfrm>
          <a:off x="1469" y="1194"/>
          <a:ext cx="1469" cy="11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4354" imgH="4354" progId="TCLayout.ActiveDocument.1">
                  <p:embed/>
                </p:oleObj>
              </mc:Choice>
              <mc:Fallback>
                <p:oleObj name="think-cell Slide" r:id="rId2" imgW="4354" imgH="4354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1C944601-E91E-4616-BB16-C38E9FA830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69" y="1194"/>
                        <a:ext cx="1469" cy="11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 hidden="1">
            <a:extLst>
              <a:ext uri="{FF2B5EF4-FFF2-40B4-BE49-F238E27FC236}">
                <a16:creationId xmlns:a16="http://schemas.microsoft.com/office/drawing/2014/main" id="{16E37FAB-E950-449A-BFC7-E25C7462ECC9}"/>
              </a:ext>
            </a:extLst>
          </p:cNvPr>
          <p:cNvSpPr/>
          <p:nvPr/>
        </p:nvSpPr>
        <p:spPr>
          <a:xfrm>
            <a:off x="0" y="0"/>
            <a:ext cx="146537" cy="119061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399" b="0" i="0" u="none" strike="noStrike" kern="1200" cap="none" spc="0" baseline="0">
              <a:solidFill>
                <a:srgbClr val="2F363B"/>
              </a:solidFill>
              <a:uFillTx/>
              <a:latin typeface="Arial" pitchFamily="34"/>
            </a:endParaRP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7EFE90CD-7235-46EE-9146-6D899CD7D4E2}"/>
              </a:ext>
            </a:extLst>
          </p:cNvPr>
          <p:cNvSpPr/>
          <p:nvPr/>
        </p:nvSpPr>
        <p:spPr>
          <a:xfrm>
            <a:off x="0" y="0"/>
            <a:ext cx="9143996" cy="5143500"/>
          </a:xfrm>
          <a:prstGeom prst="rect">
            <a:avLst/>
          </a:prstGeom>
          <a:solidFill>
            <a:srgbClr val="EEEBE8"/>
          </a:solidFill>
          <a:ln cap="flat">
            <a:noFill/>
            <a:prstDash val="solid"/>
          </a:ln>
        </p:spPr>
        <p:txBody>
          <a:bodyPr vert="horz" wrap="square" lIns="26999" tIns="26999" rIns="26999" bIns="26999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5" name="TextBox 12">
            <a:extLst>
              <a:ext uri="{FF2B5EF4-FFF2-40B4-BE49-F238E27FC236}">
                <a16:creationId xmlns:a16="http://schemas.microsoft.com/office/drawing/2014/main" id="{56CD7D69-2C92-4868-9F60-C8434362E8CF}"/>
              </a:ext>
            </a:extLst>
          </p:cNvPr>
          <p:cNvSpPr txBox="1"/>
          <p:nvPr/>
        </p:nvSpPr>
        <p:spPr>
          <a:xfrm>
            <a:off x="6029924" y="1"/>
            <a:ext cx="3114072" cy="2657474"/>
          </a:xfrm>
          <a:prstGeom prst="rect">
            <a:avLst/>
          </a:prstGeom>
          <a:solidFill>
            <a:srgbClr val="595F62"/>
          </a:solidFill>
          <a:ln cap="flat">
            <a:noFill/>
          </a:ln>
        </p:spPr>
        <p:txBody>
          <a:bodyPr vert="horz" wrap="square" lIns="80999" tIns="80999" rIns="80999" bIns="80999" anchor="t" anchorCtr="0" compatLnSpc="1">
            <a:noAutofit/>
          </a:bodyPr>
          <a:lstStyle/>
          <a:p>
            <a:pPr marL="0" marR="0" lvl="1" indent="0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826" b="0" i="0" u="none" strike="noStrike" kern="1200" cap="none" spc="0" baseline="0">
              <a:solidFill>
                <a:srgbClr val="30373B"/>
              </a:solidFill>
              <a:uFillTx/>
              <a:latin typeface="Arial" pitchFamily="34"/>
            </a:endParaRPr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8EDECD2C-22E2-487E-BDEB-547ABCF6AB91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4908842" y="980"/>
            <a:ext cx="3589903" cy="2331219"/>
          </a:xfrm>
          <a:solidFill>
            <a:srgbClr val="B8BBBD"/>
          </a:solidFill>
        </p:spPr>
        <p:txBody>
          <a:bodyPr rIns="0" anchor="ctr" anchorCtr="1"/>
          <a:lstStyle>
            <a:lvl1pPr algn="ctr">
              <a:buNone/>
              <a:defRPr lang="en-GB"/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E9E2899-830B-4193-9C91-B46CB14B1AB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3910" y="2392756"/>
            <a:ext cx="3987692" cy="332270"/>
          </a:xfrm>
        </p:spPr>
        <p:txBody>
          <a:bodyPr anchor="b">
            <a:spAutoFit/>
          </a:bodyPr>
          <a:lstStyle>
            <a:lvl1pPr>
              <a:defRPr lang="en-US" sz="2399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cxnSp>
        <p:nvCxnSpPr>
          <p:cNvPr id="8" name="Straight Connector 21">
            <a:extLst>
              <a:ext uri="{FF2B5EF4-FFF2-40B4-BE49-F238E27FC236}">
                <a16:creationId xmlns:a16="http://schemas.microsoft.com/office/drawing/2014/main" id="{B56C957C-B7BE-4F29-A918-BC1C0F810C90}"/>
              </a:ext>
            </a:extLst>
          </p:cNvPr>
          <p:cNvCxnSpPr/>
          <p:nvPr/>
        </p:nvCxnSpPr>
        <p:spPr>
          <a:xfrm>
            <a:off x="253910" y="3373306"/>
            <a:ext cx="3987693" cy="0"/>
          </a:xfrm>
          <a:prstGeom prst="straightConnector1">
            <a:avLst/>
          </a:prstGeom>
          <a:noFill/>
          <a:ln w="12701" cap="flat">
            <a:solidFill>
              <a:srgbClr val="30373B"/>
            </a:solidFill>
            <a:prstDash val="solid"/>
            <a:miter/>
          </a:ln>
        </p:spPr>
      </p:cxnSp>
      <p:cxnSp>
        <p:nvCxnSpPr>
          <p:cNvPr id="9" name="Straight Connector 22">
            <a:extLst>
              <a:ext uri="{FF2B5EF4-FFF2-40B4-BE49-F238E27FC236}">
                <a16:creationId xmlns:a16="http://schemas.microsoft.com/office/drawing/2014/main" id="{DDA96BE1-50B9-4264-BFE2-0A79CC8F94D7}"/>
              </a:ext>
            </a:extLst>
          </p:cNvPr>
          <p:cNvCxnSpPr/>
          <p:nvPr/>
        </p:nvCxnSpPr>
        <p:spPr>
          <a:xfrm>
            <a:off x="4909973" y="3373306"/>
            <a:ext cx="3987693" cy="0"/>
          </a:xfrm>
          <a:prstGeom prst="straightConnector1">
            <a:avLst/>
          </a:prstGeom>
          <a:noFill/>
          <a:ln w="12701" cap="flat">
            <a:solidFill>
              <a:srgbClr val="30373B"/>
            </a:solidFill>
            <a:prstDash val="solid"/>
            <a:miter/>
          </a:ln>
        </p:spPr>
      </p:cxnSp>
      <p:sp>
        <p:nvSpPr>
          <p:cNvPr id="10" name="Rectangle 23">
            <a:extLst>
              <a:ext uri="{FF2B5EF4-FFF2-40B4-BE49-F238E27FC236}">
                <a16:creationId xmlns:a16="http://schemas.microsoft.com/office/drawing/2014/main" id="{35081EF1-4545-4888-A203-1DC7A863C91A}"/>
              </a:ext>
            </a:extLst>
          </p:cNvPr>
          <p:cNvSpPr/>
          <p:nvPr/>
        </p:nvSpPr>
        <p:spPr>
          <a:xfrm>
            <a:off x="253910" y="3188421"/>
            <a:ext cx="807913" cy="128818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spAutoFit/>
          </a:bodyPr>
          <a:lstStyle/>
          <a:p>
            <a:pPr marL="107999" marR="0" lvl="1" indent="-107999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1" i="0" u="none" strike="noStrike" kern="1200" cap="none" spc="0" baseline="0">
                <a:solidFill>
                  <a:srgbClr val="30373B"/>
                </a:solidFill>
                <a:uFillTx/>
                <a:latin typeface="Arial"/>
              </a:rPr>
              <a:t>THE PROJECT</a:t>
            </a:r>
            <a:endParaRPr lang="en-GB" sz="750" b="0" i="0" u="none" strike="noStrike" kern="1200" cap="none" spc="0" baseline="0">
              <a:solidFill>
                <a:srgbClr val="30373B"/>
              </a:solidFill>
              <a:uFillTx/>
              <a:latin typeface="Arial"/>
            </a:endParaRPr>
          </a:p>
        </p:txBody>
      </p:sp>
      <p:sp>
        <p:nvSpPr>
          <p:cNvPr id="11" name="Rectangle 24">
            <a:extLst>
              <a:ext uri="{FF2B5EF4-FFF2-40B4-BE49-F238E27FC236}">
                <a16:creationId xmlns:a16="http://schemas.microsoft.com/office/drawing/2014/main" id="{50B217A3-E863-4A65-842A-869DAE276AE5}"/>
              </a:ext>
            </a:extLst>
          </p:cNvPr>
          <p:cNvSpPr/>
          <p:nvPr/>
        </p:nvSpPr>
        <p:spPr>
          <a:xfrm>
            <a:off x="4908842" y="3188421"/>
            <a:ext cx="705321" cy="128818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spAutoFit/>
          </a:bodyPr>
          <a:lstStyle/>
          <a:p>
            <a:pPr marL="107999" marR="0" lvl="1" indent="-107999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1" i="0" u="none" strike="noStrike" kern="1200" cap="none" spc="0" baseline="0">
                <a:solidFill>
                  <a:srgbClr val="30373B"/>
                </a:solidFill>
                <a:uFillTx/>
                <a:latin typeface="Arial"/>
              </a:rPr>
              <a:t>THE IMPACT</a:t>
            </a:r>
            <a:endParaRPr lang="en-GB" sz="750" b="0" i="0" u="none" strike="noStrike" kern="1200" cap="none" spc="0" baseline="0">
              <a:solidFill>
                <a:srgbClr val="30373B"/>
              </a:solidFill>
              <a:uFillTx/>
              <a:latin typeface="Arial"/>
            </a:endParaRPr>
          </a:p>
        </p:txBody>
      </p:sp>
      <p:sp>
        <p:nvSpPr>
          <p:cNvPr id="12" name="Text Placeholder 34">
            <a:extLst>
              <a:ext uri="{FF2B5EF4-FFF2-40B4-BE49-F238E27FC236}">
                <a16:creationId xmlns:a16="http://schemas.microsoft.com/office/drawing/2014/main" id="{2010F1FB-D723-482A-89B4-1E568957D707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53910" y="3486251"/>
            <a:ext cx="3987692" cy="1247675"/>
          </a:xfrm>
        </p:spPr>
        <p:txBody>
          <a:bodyPr/>
          <a:lstStyle>
            <a:lvl1pPr>
              <a:buNone/>
              <a:defRPr sz="75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3" name="Text Placeholder 36">
            <a:extLst>
              <a:ext uri="{FF2B5EF4-FFF2-40B4-BE49-F238E27FC236}">
                <a16:creationId xmlns:a16="http://schemas.microsoft.com/office/drawing/2014/main" id="{7FB1912F-C134-4020-A736-C3DBB19A7AE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909973" y="3486251"/>
            <a:ext cx="3987692" cy="1247675"/>
          </a:xfrm>
        </p:spPr>
        <p:txBody>
          <a:bodyPr/>
          <a:lstStyle>
            <a:lvl1pPr>
              <a:buNone/>
              <a:defRPr sz="750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4" name="Rectangle 37">
            <a:extLst>
              <a:ext uri="{FF2B5EF4-FFF2-40B4-BE49-F238E27FC236}">
                <a16:creationId xmlns:a16="http://schemas.microsoft.com/office/drawing/2014/main" id="{B1E15756-9AC3-467F-98FF-8276CD557681}"/>
              </a:ext>
            </a:extLst>
          </p:cNvPr>
          <p:cNvSpPr/>
          <p:nvPr/>
        </p:nvSpPr>
        <p:spPr>
          <a:xfrm>
            <a:off x="253910" y="1133333"/>
            <a:ext cx="321098" cy="103875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1F2023"/>
                </a:solidFill>
                <a:uFillTx/>
                <a:latin typeface="Arial"/>
              </a:rPr>
              <a:t>CASE</a:t>
            </a:r>
          </a:p>
        </p:txBody>
      </p:sp>
      <p:sp>
        <p:nvSpPr>
          <p:cNvPr id="15" name="Freeform: Shape 17">
            <a:extLst>
              <a:ext uri="{FF2B5EF4-FFF2-40B4-BE49-F238E27FC236}">
                <a16:creationId xmlns:a16="http://schemas.microsoft.com/office/drawing/2014/main" id="{AF29DF9C-43ED-41C0-96D2-79C5E4746514}"/>
              </a:ext>
            </a:extLst>
          </p:cNvPr>
          <p:cNvSpPr/>
          <p:nvPr/>
        </p:nvSpPr>
        <p:spPr>
          <a:xfrm rot="5400013">
            <a:off x="8690662" y="287231"/>
            <a:ext cx="262627" cy="14273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0168"/>
              <a:gd name="f7" fmla="val 154638"/>
              <a:gd name="f8" fmla="val 242136"/>
              <a:gd name="f9" fmla="val 141700"/>
              <a:gd name="f10" fmla="val 62944"/>
              <a:gd name="f11" fmla="val 154337"/>
              <a:gd name="f12" fmla="val 102688"/>
              <a:gd name="f13" fmla="val 141020"/>
              <a:gd name="f14" fmla="val 104707"/>
              <a:gd name="f15" fmla="val 179755"/>
              <a:gd name="f16" fmla="val 217481"/>
              <a:gd name="f17" fmla="val 187825"/>
              <a:gd name="f18" fmla="val 53263"/>
              <a:gd name="f19" fmla="val 151309"/>
              <a:gd name="f20" fmla="val 152117"/>
              <a:gd name="f21" fmla="val 128915"/>
              <a:gd name="f22" fmla="val 92601"/>
              <a:gd name="f23" fmla="val 52051"/>
              <a:gd name="f24" fmla="val 30867"/>
              <a:gd name="f25" fmla="+- 0 0 -90"/>
              <a:gd name="f26" fmla="*/ f3 1 350168"/>
              <a:gd name="f27" fmla="*/ f4 1 154638"/>
              <a:gd name="f28" fmla="+- f7 0 f5"/>
              <a:gd name="f29" fmla="+- f6 0 f5"/>
              <a:gd name="f30" fmla="*/ f25 f0 1"/>
              <a:gd name="f31" fmla="*/ f29 1 350168"/>
              <a:gd name="f32" fmla="*/ f28 1 154638"/>
              <a:gd name="f33" fmla="*/ 242136 f29 1"/>
              <a:gd name="f34" fmla="*/ 154638 f28 1"/>
              <a:gd name="f35" fmla="*/ 141700 f28 1"/>
              <a:gd name="f36" fmla="*/ 350168 f29 1"/>
              <a:gd name="f37" fmla="*/ 62944 f29 1"/>
              <a:gd name="f38" fmla="*/ 154337 f28 1"/>
              <a:gd name="f39" fmla="*/ 0 f28 1"/>
              <a:gd name="f40" fmla="*/ 102688 f29 1"/>
              <a:gd name="f41" fmla="*/ 141020 f29 1"/>
              <a:gd name="f42" fmla="*/ 104707 f28 1"/>
              <a:gd name="f43" fmla="*/ 179755 f29 1"/>
              <a:gd name="f44" fmla="*/ 217481 f29 1"/>
              <a:gd name="f45" fmla="*/ 187825 f29 1"/>
              <a:gd name="f46" fmla="*/ 53263 f28 1"/>
              <a:gd name="f47" fmla="*/ 151309 f29 1"/>
              <a:gd name="f48" fmla="*/ 152117 f28 1"/>
              <a:gd name="f49" fmla="*/ 128915 f29 1"/>
              <a:gd name="f50" fmla="*/ 92601 f29 1"/>
              <a:gd name="f51" fmla="*/ 52051 f28 1"/>
              <a:gd name="f52" fmla="*/ 0 f29 1"/>
              <a:gd name="f53" fmla="*/ 30867 f29 1"/>
              <a:gd name="f54" fmla="*/ f30 1 f2"/>
              <a:gd name="f55" fmla="*/ f33 1 350168"/>
              <a:gd name="f56" fmla="*/ f34 1 154638"/>
              <a:gd name="f57" fmla="*/ f35 1 154638"/>
              <a:gd name="f58" fmla="*/ f36 1 350168"/>
              <a:gd name="f59" fmla="*/ f37 1 350168"/>
              <a:gd name="f60" fmla="*/ f38 1 154638"/>
              <a:gd name="f61" fmla="*/ f39 1 154638"/>
              <a:gd name="f62" fmla="*/ f40 1 350168"/>
              <a:gd name="f63" fmla="*/ f41 1 350168"/>
              <a:gd name="f64" fmla="*/ f42 1 154638"/>
              <a:gd name="f65" fmla="*/ f43 1 350168"/>
              <a:gd name="f66" fmla="*/ f44 1 350168"/>
              <a:gd name="f67" fmla="*/ f45 1 350168"/>
              <a:gd name="f68" fmla="*/ f46 1 154638"/>
              <a:gd name="f69" fmla="*/ f47 1 350168"/>
              <a:gd name="f70" fmla="*/ f48 1 154638"/>
              <a:gd name="f71" fmla="*/ f49 1 350168"/>
              <a:gd name="f72" fmla="*/ f50 1 350168"/>
              <a:gd name="f73" fmla="*/ f51 1 154638"/>
              <a:gd name="f74" fmla="*/ f52 1 350168"/>
              <a:gd name="f75" fmla="*/ f53 1 350168"/>
              <a:gd name="f76" fmla="*/ f5 1 f31"/>
              <a:gd name="f77" fmla="*/ f6 1 f31"/>
              <a:gd name="f78" fmla="*/ f5 1 f32"/>
              <a:gd name="f79" fmla="*/ f7 1 f32"/>
              <a:gd name="f80" fmla="+- f54 0 f1"/>
              <a:gd name="f81" fmla="*/ f55 1 f31"/>
              <a:gd name="f82" fmla="*/ f56 1 f32"/>
              <a:gd name="f83" fmla="*/ f57 1 f32"/>
              <a:gd name="f84" fmla="*/ f58 1 f31"/>
              <a:gd name="f85" fmla="*/ f59 1 f31"/>
              <a:gd name="f86" fmla="*/ f60 1 f32"/>
              <a:gd name="f87" fmla="*/ f61 1 f32"/>
              <a:gd name="f88" fmla="*/ f62 1 f31"/>
              <a:gd name="f89" fmla="*/ f63 1 f31"/>
              <a:gd name="f90" fmla="*/ f64 1 f32"/>
              <a:gd name="f91" fmla="*/ f65 1 f31"/>
              <a:gd name="f92" fmla="*/ f66 1 f31"/>
              <a:gd name="f93" fmla="*/ f67 1 f31"/>
              <a:gd name="f94" fmla="*/ f68 1 f32"/>
              <a:gd name="f95" fmla="*/ f69 1 f31"/>
              <a:gd name="f96" fmla="*/ f70 1 f32"/>
              <a:gd name="f97" fmla="*/ f71 1 f31"/>
              <a:gd name="f98" fmla="*/ f72 1 f31"/>
              <a:gd name="f99" fmla="*/ f73 1 f32"/>
              <a:gd name="f100" fmla="*/ f74 1 f31"/>
              <a:gd name="f101" fmla="*/ f75 1 f31"/>
              <a:gd name="f102" fmla="*/ f76 f26 1"/>
              <a:gd name="f103" fmla="*/ f77 f26 1"/>
              <a:gd name="f104" fmla="*/ f79 f27 1"/>
              <a:gd name="f105" fmla="*/ f78 f27 1"/>
              <a:gd name="f106" fmla="*/ f81 f26 1"/>
              <a:gd name="f107" fmla="*/ f82 f27 1"/>
              <a:gd name="f108" fmla="*/ f83 f27 1"/>
              <a:gd name="f109" fmla="*/ f84 f26 1"/>
              <a:gd name="f110" fmla="*/ f85 f26 1"/>
              <a:gd name="f111" fmla="*/ f86 f27 1"/>
              <a:gd name="f112" fmla="*/ f87 f27 1"/>
              <a:gd name="f113" fmla="*/ f88 f26 1"/>
              <a:gd name="f114" fmla="*/ f89 f26 1"/>
              <a:gd name="f115" fmla="*/ f90 f27 1"/>
              <a:gd name="f116" fmla="*/ f91 f26 1"/>
              <a:gd name="f117" fmla="*/ f92 f26 1"/>
              <a:gd name="f118" fmla="*/ f93 f26 1"/>
              <a:gd name="f119" fmla="*/ f94 f27 1"/>
              <a:gd name="f120" fmla="*/ f95 f26 1"/>
              <a:gd name="f121" fmla="*/ f96 f27 1"/>
              <a:gd name="f122" fmla="*/ f97 f26 1"/>
              <a:gd name="f123" fmla="*/ f98 f26 1"/>
              <a:gd name="f124" fmla="*/ f99 f27 1"/>
              <a:gd name="f125" fmla="*/ f100 f26 1"/>
              <a:gd name="f126" fmla="*/ f101 f2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80">
                <a:pos x="f106" y="f107"/>
              </a:cxn>
              <a:cxn ang="f80">
                <a:pos x="f106" y="f108"/>
              </a:cxn>
              <a:cxn ang="f80">
                <a:pos x="f109" y="f108"/>
              </a:cxn>
              <a:cxn ang="f80">
                <a:pos x="f109" y="f107"/>
              </a:cxn>
              <a:cxn ang="f80">
                <a:pos x="f110" y="f111"/>
              </a:cxn>
              <a:cxn ang="f80">
                <a:pos x="f110" y="f112"/>
              </a:cxn>
              <a:cxn ang="f80">
                <a:pos x="f113" y="f112"/>
              </a:cxn>
              <a:cxn ang="f80">
                <a:pos x="f114" y="f115"/>
              </a:cxn>
              <a:cxn ang="f80">
                <a:pos x="f116" y="f112"/>
              </a:cxn>
              <a:cxn ang="f80">
                <a:pos x="f117" y="f112"/>
              </a:cxn>
              <a:cxn ang="f80">
                <a:pos x="f117" y="f111"/>
              </a:cxn>
              <a:cxn ang="f80">
                <a:pos x="f118" y="f111"/>
              </a:cxn>
              <a:cxn ang="f80">
                <a:pos x="f118" y="f119"/>
              </a:cxn>
              <a:cxn ang="f80">
                <a:pos x="f120" y="f121"/>
              </a:cxn>
              <a:cxn ang="f80">
                <a:pos x="f122" y="f121"/>
              </a:cxn>
              <a:cxn ang="f80">
                <a:pos x="f123" y="f124"/>
              </a:cxn>
              <a:cxn ang="f80">
                <a:pos x="f123" y="f111"/>
              </a:cxn>
              <a:cxn ang="f80">
                <a:pos x="f125" y="f111"/>
              </a:cxn>
              <a:cxn ang="f80">
                <a:pos x="f125" y="f112"/>
              </a:cxn>
              <a:cxn ang="f80">
                <a:pos x="f126" y="f112"/>
              </a:cxn>
              <a:cxn ang="f80">
                <a:pos x="f126" y="f111"/>
              </a:cxn>
            </a:cxnLst>
            <a:rect l="f102" t="f105" r="f103" b="f104"/>
            <a:pathLst>
              <a:path w="350168" h="154638">
                <a:moveTo>
                  <a:pt x="f8" y="f7"/>
                </a:moveTo>
                <a:lnTo>
                  <a:pt x="f8" y="f9"/>
                </a:lnTo>
                <a:lnTo>
                  <a:pt x="f6" y="f9"/>
                </a:lnTo>
                <a:lnTo>
                  <a:pt x="f6" y="f7"/>
                </a:lnTo>
                <a:close/>
                <a:moveTo>
                  <a:pt x="f10" y="f11"/>
                </a:moveTo>
                <a:lnTo>
                  <a:pt x="f10" y="f5"/>
                </a:lnTo>
                <a:lnTo>
                  <a:pt x="f12" y="f5"/>
                </a:lnTo>
                <a:lnTo>
                  <a:pt x="f13" y="f14"/>
                </a:lnTo>
                <a:lnTo>
                  <a:pt x="f15" y="f5"/>
                </a:lnTo>
                <a:lnTo>
                  <a:pt x="f16" y="f5"/>
                </a:lnTo>
                <a:lnTo>
                  <a:pt x="f16" y="f11"/>
                </a:lnTo>
                <a:lnTo>
                  <a:pt x="f17" y="f11"/>
                </a:lnTo>
                <a:lnTo>
                  <a:pt x="f17" y="f18"/>
                </a:lnTo>
                <a:lnTo>
                  <a:pt x="f19" y="f20"/>
                </a:lnTo>
                <a:lnTo>
                  <a:pt x="f21" y="f20"/>
                </a:lnTo>
                <a:lnTo>
                  <a:pt x="f22" y="f23"/>
                </a:lnTo>
                <a:lnTo>
                  <a:pt x="f22" y="f11"/>
                </a:lnTo>
                <a:close/>
                <a:moveTo>
                  <a:pt x="f5" y="f11"/>
                </a:moveTo>
                <a:lnTo>
                  <a:pt x="f5" y="f5"/>
                </a:lnTo>
                <a:lnTo>
                  <a:pt x="f24" y="f5"/>
                </a:lnTo>
                <a:lnTo>
                  <a:pt x="f24" y="f11"/>
                </a:lnTo>
                <a:close/>
              </a:path>
            </a:pathLst>
          </a:custGeom>
          <a:solidFill>
            <a:srgbClr val="FFFFFF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A682958F-BE0A-4A7D-8F7C-6E5F9471B75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3FC81267-FFA2-40A5-A559-2F4259C78C56}" type="slidenum">
              <a:t>‹nr.›</a:t>
            </a:fld>
            <a:endParaRPr lang="en-GB"/>
          </a:p>
        </p:txBody>
      </p:sp>
      <p:sp>
        <p:nvSpPr>
          <p:cNvPr id="17" name="Date Placeholder 3" hidden="1">
            <a:extLst>
              <a:ext uri="{FF2B5EF4-FFF2-40B4-BE49-F238E27FC236}">
                <a16:creationId xmlns:a16="http://schemas.microsoft.com/office/drawing/2014/main" id="{4527BEF1-73E0-48B4-A38B-8019D746311E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CD9DE654-6AA3-41AE-A86E-4317BDF1A8A9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18" name="Footer Placeholder 4" hidden="1">
            <a:extLst>
              <a:ext uri="{FF2B5EF4-FFF2-40B4-BE49-F238E27FC236}">
                <a16:creationId xmlns:a16="http://schemas.microsoft.com/office/drawing/2014/main" id="{74D690EA-E232-429D-8814-EB33EB4FD955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Footer</a:t>
            </a:r>
          </a:p>
        </p:txBody>
      </p:sp>
      <p:sp>
        <p:nvSpPr>
          <p:cNvPr id="19" name="TextBox 33">
            <a:extLst>
              <a:ext uri="{FF2B5EF4-FFF2-40B4-BE49-F238E27FC236}">
                <a16:creationId xmlns:a16="http://schemas.microsoft.com/office/drawing/2014/main" id="{08526AD9-644E-428F-AF5B-57033C8ACF40}"/>
              </a:ext>
            </a:extLst>
          </p:cNvPr>
          <p:cNvSpPr txBox="1"/>
          <p:nvPr/>
        </p:nvSpPr>
        <p:spPr>
          <a:xfrm>
            <a:off x="9329581" y="0"/>
            <a:ext cx="1449599" cy="1654757"/>
          </a:xfrm>
          <a:prstGeom prst="rect">
            <a:avLst/>
          </a:prstGeom>
          <a:solidFill>
            <a:srgbClr val="E2DED9"/>
          </a:solidFill>
          <a:ln cap="flat">
            <a:noFill/>
          </a:ln>
        </p:spPr>
        <p:txBody>
          <a:bodyPr vert="horz" wrap="square" lIns="80999" tIns="80999" rIns="80999" bIns="80999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1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ASE DATA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For internal use only – delete before sharing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00" b="0" i="0" u="none" strike="noStrike" kern="1200" cap="none" spc="0" baseline="0">
              <a:solidFill>
                <a:srgbClr val="000000"/>
              </a:solidFill>
              <a:uFillTx/>
              <a:latin typeface="Arial"/>
            </a:endParaRP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lient name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Maconomy project name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Industry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Keywords: xx, xx,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Year(s): 20xx – 20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Implement contact person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00" b="0" i="0" u="none" strike="noStrike" kern="1200" cap="none" spc="0" baseline="0">
              <a:solidFill>
                <a:srgbClr val="000000"/>
              </a:solidFill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51371299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eference case_long text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6AF3EDB6-3D92-4657-A44D-525CF72401BC}"/>
              </a:ext>
            </a:extLst>
          </p:cNvPr>
          <p:cNvGraphicFramePr/>
          <p:nvPr/>
        </p:nvGraphicFramePr>
        <p:xfrm>
          <a:off x="1469" y="1194"/>
          <a:ext cx="1469" cy="11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4354" imgH="4354" progId="TCLayout.ActiveDocument.1">
                  <p:embed/>
                </p:oleObj>
              </mc:Choice>
              <mc:Fallback>
                <p:oleObj name="think-cell Slide" r:id="rId2" imgW="4354" imgH="4354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6AF3EDB6-3D92-4657-A44D-525CF72401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69" y="1194"/>
                        <a:ext cx="1469" cy="11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 hidden="1">
            <a:extLst>
              <a:ext uri="{FF2B5EF4-FFF2-40B4-BE49-F238E27FC236}">
                <a16:creationId xmlns:a16="http://schemas.microsoft.com/office/drawing/2014/main" id="{CB9FDEFB-E749-4B3F-91A2-1F8412D98F77}"/>
              </a:ext>
            </a:extLst>
          </p:cNvPr>
          <p:cNvSpPr/>
          <p:nvPr/>
        </p:nvSpPr>
        <p:spPr>
          <a:xfrm>
            <a:off x="0" y="0"/>
            <a:ext cx="146537" cy="119061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399" b="0" i="0" u="none" strike="noStrike" kern="1200" cap="none" spc="0" baseline="0">
              <a:solidFill>
                <a:srgbClr val="2F363B"/>
              </a:solidFill>
              <a:uFillTx/>
              <a:latin typeface="Arial" pitchFamily="34"/>
            </a:endParaRPr>
          </a:p>
        </p:txBody>
      </p:sp>
      <p:sp>
        <p:nvSpPr>
          <p:cNvPr id="4" name="Rectangle 25">
            <a:extLst>
              <a:ext uri="{FF2B5EF4-FFF2-40B4-BE49-F238E27FC236}">
                <a16:creationId xmlns:a16="http://schemas.microsoft.com/office/drawing/2014/main" id="{8E53CB1F-6B03-4BDD-AC91-4788404EE0DB}"/>
              </a:ext>
            </a:extLst>
          </p:cNvPr>
          <p:cNvSpPr/>
          <p:nvPr/>
        </p:nvSpPr>
        <p:spPr>
          <a:xfrm>
            <a:off x="0" y="0"/>
            <a:ext cx="9143996" cy="5143500"/>
          </a:xfrm>
          <a:prstGeom prst="rect">
            <a:avLst/>
          </a:prstGeom>
          <a:solidFill>
            <a:srgbClr val="30373B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marL="0" marR="0" lvl="0" indent="0" algn="ctr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5" name="TextBox 12">
            <a:extLst>
              <a:ext uri="{FF2B5EF4-FFF2-40B4-BE49-F238E27FC236}">
                <a16:creationId xmlns:a16="http://schemas.microsoft.com/office/drawing/2014/main" id="{CF1778DA-454C-43FE-BD83-E64D69FD6839}"/>
              </a:ext>
            </a:extLst>
          </p:cNvPr>
          <p:cNvSpPr txBox="1"/>
          <p:nvPr/>
        </p:nvSpPr>
        <p:spPr>
          <a:xfrm>
            <a:off x="6029924" y="1"/>
            <a:ext cx="3114072" cy="2657474"/>
          </a:xfrm>
          <a:prstGeom prst="rect">
            <a:avLst/>
          </a:prstGeom>
          <a:solidFill>
            <a:srgbClr val="9A6E3A"/>
          </a:solidFill>
          <a:ln cap="flat">
            <a:noFill/>
          </a:ln>
        </p:spPr>
        <p:txBody>
          <a:bodyPr vert="horz" wrap="square" lIns="80999" tIns="80999" rIns="80999" bIns="80999" anchor="t" anchorCtr="0" compatLnSpc="1">
            <a:noAutofit/>
          </a:bodyPr>
          <a:lstStyle/>
          <a:p>
            <a:pPr marL="0" marR="0" lvl="1" indent="0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826" b="0" i="0" u="none" strike="noStrike" kern="1200" cap="none" spc="0" baseline="0">
              <a:solidFill>
                <a:srgbClr val="30373B"/>
              </a:solidFill>
              <a:uFillTx/>
              <a:latin typeface="Arial" pitchFamily="34"/>
            </a:endParaRPr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8F0AF4C4-1B04-4F49-91D0-52CD3D0E7ECD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4908842" y="980"/>
            <a:ext cx="3589903" cy="2331219"/>
          </a:xfrm>
          <a:solidFill>
            <a:srgbClr val="B8BBBD"/>
          </a:solidFill>
        </p:spPr>
        <p:txBody>
          <a:bodyPr rIns="0" anchor="ctr" anchorCtr="1"/>
          <a:lstStyle>
            <a:lvl1pPr algn="ctr">
              <a:buNone/>
              <a:defRPr lang="en-GB"/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9A3A128-8831-450D-9FD1-5AF43DC6554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3910" y="2392756"/>
            <a:ext cx="3987692" cy="332270"/>
          </a:xfrm>
        </p:spPr>
        <p:txBody>
          <a:bodyPr anchor="b">
            <a:spAutoFit/>
          </a:bodyPr>
          <a:lstStyle>
            <a:lvl1pPr>
              <a:defRPr lang="en-US" sz="2399">
                <a:solidFill>
                  <a:srgbClr val="F8F5E7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Freeform: Shape 14">
            <a:extLst>
              <a:ext uri="{FF2B5EF4-FFF2-40B4-BE49-F238E27FC236}">
                <a16:creationId xmlns:a16="http://schemas.microsoft.com/office/drawing/2014/main" id="{558CC4CE-F3F5-4CCA-808C-CC426165E458}"/>
              </a:ext>
            </a:extLst>
          </p:cNvPr>
          <p:cNvSpPr/>
          <p:nvPr/>
        </p:nvSpPr>
        <p:spPr>
          <a:xfrm rot="5400013">
            <a:off x="8690662" y="287231"/>
            <a:ext cx="262627" cy="14273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0168"/>
              <a:gd name="f7" fmla="val 154638"/>
              <a:gd name="f8" fmla="val 242136"/>
              <a:gd name="f9" fmla="val 141700"/>
              <a:gd name="f10" fmla="val 62944"/>
              <a:gd name="f11" fmla="val 154337"/>
              <a:gd name="f12" fmla="val 102688"/>
              <a:gd name="f13" fmla="val 141020"/>
              <a:gd name="f14" fmla="val 104707"/>
              <a:gd name="f15" fmla="val 179755"/>
              <a:gd name="f16" fmla="val 217481"/>
              <a:gd name="f17" fmla="val 187825"/>
              <a:gd name="f18" fmla="val 53263"/>
              <a:gd name="f19" fmla="val 151309"/>
              <a:gd name="f20" fmla="val 152117"/>
              <a:gd name="f21" fmla="val 128915"/>
              <a:gd name="f22" fmla="val 92601"/>
              <a:gd name="f23" fmla="val 52051"/>
              <a:gd name="f24" fmla="val 30867"/>
              <a:gd name="f25" fmla="+- 0 0 -90"/>
              <a:gd name="f26" fmla="*/ f3 1 350168"/>
              <a:gd name="f27" fmla="*/ f4 1 154638"/>
              <a:gd name="f28" fmla="+- f7 0 f5"/>
              <a:gd name="f29" fmla="+- f6 0 f5"/>
              <a:gd name="f30" fmla="*/ f25 f0 1"/>
              <a:gd name="f31" fmla="*/ f29 1 350168"/>
              <a:gd name="f32" fmla="*/ f28 1 154638"/>
              <a:gd name="f33" fmla="*/ 242136 f29 1"/>
              <a:gd name="f34" fmla="*/ 154638 f28 1"/>
              <a:gd name="f35" fmla="*/ 141700 f28 1"/>
              <a:gd name="f36" fmla="*/ 350168 f29 1"/>
              <a:gd name="f37" fmla="*/ 62944 f29 1"/>
              <a:gd name="f38" fmla="*/ 154337 f28 1"/>
              <a:gd name="f39" fmla="*/ 0 f28 1"/>
              <a:gd name="f40" fmla="*/ 102688 f29 1"/>
              <a:gd name="f41" fmla="*/ 141020 f29 1"/>
              <a:gd name="f42" fmla="*/ 104707 f28 1"/>
              <a:gd name="f43" fmla="*/ 179755 f29 1"/>
              <a:gd name="f44" fmla="*/ 217481 f29 1"/>
              <a:gd name="f45" fmla="*/ 187825 f29 1"/>
              <a:gd name="f46" fmla="*/ 53263 f28 1"/>
              <a:gd name="f47" fmla="*/ 151309 f29 1"/>
              <a:gd name="f48" fmla="*/ 152117 f28 1"/>
              <a:gd name="f49" fmla="*/ 128915 f29 1"/>
              <a:gd name="f50" fmla="*/ 92601 f29 1"/>
              <a:gd name="f51" fmla="*/ 52051 f28 1"/>
              <a:gd name="f52" fmla="*/ 0 f29 1"/>
              <a:gd name="f53" fmla="*/ 30867 f29 1"/>
              <a:gd name="f54" fmla="*/ f30 1 f2"/>
              <a:gd name="f55" fmla="*/ f33 1 350168"/>
              <a:gd name="f56" fmla="*/ f34 1 154638"/>
              <a:gd name="f57" fmla="*/ f35 1 154638"/>
              <a:gd name="f58" fmla="*/ f36 1 350168"/>
              <a:gd name="f59" fmla="*/ f37 1 350168"/>
              <a:gd name="f60" fmla="*/ f38 1 154638"/>
              <a:gd name="f61" fmla="*/ f39 1 154638"/>
              <a:gd name="f62" fmla="*/ f40 1 350168"/>
              <a:gd name="f63" fmla="*/ f41 1 350168"/>
              <a:gd name="f64" fmla="*/ f42 1 154638"/>
              <a:gd name="f65" fmla="*/ f43 1 350168"/>
              <a:gd name="f66" fmla="*/ f44 1 350168"/>
              <a:gd name="f67" fmla="*/ f45 1 350168"/>
              <a:gd name="f68" fmla="*/ f46 1 154638"/>
              <a:gd name="f69" fmla="*/ f47 1 350168"/>
              <a:gd name="f70" fmla="*/ f48 1 154638"/>
              <a:gd name="f71" fmla="*/ f49 1 350168"/>
              <a:gd name="f72" fmla="*/ f50 1 350168"/>
              <a:gd name="f73" fmla="*/ f51 1 154638"/>
              <a:gd name="f74" fmla="*/ f52 1 350168"/>
              <a:gd name="f75" fmla="*/ f53 1 350168"/>
              <a:gd name="f76" fmla="*/ f5 1 f31"/>
              <a:gd name="f77" fmla="*/ f6 1 f31"/>
              <a:gd name="f78" fmla="*/ f5 1 f32"/>
              <a:gd name="f79" fmla="*/ f7 1 f32"/>
              <a:gd name="f80" fmla="+- f54 0 f1"/>
              <a:gd name="f81" fmla="*/ f55 1 f31"/>
              <a:gd name="f82" fmla="*/ f56 1 f32"/>
              <a:gd name="f83" fmla="*/ f57 1 f32"/>
              <a:gd name="f84" fmla="*/ f58 1 f31"/>
              <a:gd name="f85" fmla="*/ f59 1 f31"/>
              <a:gd name="f86" fmla="*/ f60 1 f32"/>
              <a:gd name="f87" fmla="*/ f61 1 f32"/>
              <a:gd name="f88" fmla="*/ f62 1 f31"/>
              <a:gd name="f89" fmla="*/ f63 1 f31"/>
              <a:gd name="f90" fmla="*/ f64 1 f32"/>
              <a:gd name="f91" fmla="*/ f65 1 f31"/>
              <a:gd name="f92" fmla="*/ f66 1 f31"/>
              <a:gd name="f93" fmla="*/ f67 1 f31"/>
              <a:gd name="f94" fmla="*/ f68 1 f32"/>
              <a:gd name="f95" fmla="*/ f69 1 f31"/>
              <a:gd name="f96" fmla="*/ f70 1 f32"/>
              <a:gd name="f97" fmla="*/ f71 1 f31"/>
              <a:gd name="f98" fmla="*/ f72 1 f31"/>
              <a:gd name="f99" fmla="*/ f73 1 f32"/>
              <a:gd name="f100" fmla="*/ f74 1 f31"/>
              <a:gd name="f101" fmla="*/ f75 1 f31"/>
              <a:gd name="f102" fmla="*/ f76 f26 1"/>
              <a:gd name="f103" fmla="*/ f77 f26 1"/>
              <a:gd name="f104" fmla="*/ f79 f27 1"/>
              <a:gd name="f105" fmla="*/ f78 f27 1"/>
              <a:gd name="f106" fmla="*/ f81 f26 1"/>
              <a:gd name="f107" fmla="*/ f82 f27 1"/>
              <a:gd name="f108" fmla="*/ f83 f27 1"/>
              <a:gd name="f109" fmla="*/ f84 f26 1"/>
              <a:gd name="f110" fmla="*/ f85 f26 1"/>
              <a:gd name="f111" fmla="*/ f86 f27 1"/>
              <a:gd name="f112" fmla="*/ f87 f27 1"/>
              <a:gd name="f113" fmla="*/ f88 f26 1"/>
              <a:gd name="f114" fmla="*/ f89 f26 1"/>
              <a:gd name="f115" fmla="*/ f90 f27 1"/>
              <a:gd name="f116" fmla="*/ f91 f26 1"/>
              <a:gd name="f117" fmla="*/ f92 f26 1"/>
              <a:gd name="f118" fmla="*/ f93 f26 1"/>
              <a:gd name="f119" fmla="*/ f94 f27 1"/>
              <a:gd name="f120" fmla="*/ f95 f26 1"/>
              <a:gd name="f121" fmla="*/ f96 f27 1"/>
              <a:gd name="f122" fmla="*/ f97 f26 1"/>
              <a:gd name="f123" fmla="*/ f98 f26 1"/>
              <a:gd name="f124" fmla="*/ f99 f27 1"/>
              <a:gd name="f125" fmla="*/ f100 f26 1"/>
              <a:gd name="f126" fmla="*/ f101 f2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80">
                <a:pos x="f106" y="f107"/>
              </a:cxn>
              <a:cxn ang="f80">
                <a:pos x="f106" y="f108"/>
              </a:cxn>
              <a:cxn ang="f80">
                <a:pos x="f109" y="f108"/>
              </a:cxn>
              <a:cxn ang="f80">
                <a:pos x="f109" y="f107"/>
              </a:cxn>
              <a:cxn ang="f80">
                <a:pos x="f110" y="f111"/>
              </a:cxn>
              <a:cxn ang="f80">
                <a:pos x="f110" y="f112"/>
              </a:cxn>
              <a:cxn ang="f80">
                <a:pos x="f113" y="f112"/>
              </a:cxn>
              <a:cxn ang="f80">
                <a:pos x="f114" y="f115"/>
              </a:cxn>
              <a:cxn ang="f80">
                <a:pos x="f116" y="f112"/>
              </a:cxn>
              <a:cxn ang="f80">
                <a:pos x="f117" y="f112"/>
              </a:cxn>
              <a:cxn ang="f80">
                <a:pos x="f117" y="f111"/>
              </a:cxn>
              <a:cxn ang="f80">
                <a:pos x="f118" y="f111"/>
              </a:cxn>
              <a:cxn ang="f80">
                <a:pos x="f118" y="f119"/>
              </a:cxn>
              <a:cxn ang="f80">
                <a:pos x="f120" y="f121"/>
              </a:cxn>
              <a:cxn ang="f80">
                <a:pos x="f122" y="f121"/>
              </a:cxn>
              <a:cxn ang="f80">
                <a:pos x="f123" y="f124"/>
              </a:cxn>
              <a:cxn ang="f80">
                <a:pos x="f123" y="f111"/>
              </a:cxn>
              <a:cxn ang="f80">
                <a:pos x="f125" y="f111"/>
              </a:cxn>
              <a:cxn ang="f80">
                <a:pos x="f125" y="f112"/>
              </a:cxn>
              <a:cxn ang="f80">
                <a:pos x="f126" y="f112"/>
              </a:cxn>
              <a:cxn ang="f80">
                <a:pos x="f126" y="f111"/>
              </a:cxn>
            </a:cxnLst>
            <a:rect l="f102" t="f105" r="f103" b="f104"/>
            <a:pathLst>
              <a:path w="350168" h="154638">
                <a:moveTo>
                  <a:pt x="f8" y="f7"/>
                </a:moveTo>
                <a:lnTo>
                  <a:pt x="f8" y="f9"/>
                </a:lnTo>
                <a:lnTo>
                  <a:pt x="f6" y="f9"/>
                </a:lnTo>
                <a:lnTo>
                  <a:pt x="f6" y="f7"/>
                </a:lnTo>
                <a:close/>
                <a:moveTo>
                  <a:pt x="f10" y="f11"/>
                </a:moveTo>
                <a:lnTo>
                  <a:pt x="f10" y="f5"/>
                </a:lnTo>
                <a:lnTo>
                  <a:pt x="f12" y="f5"/>
                </a:lnTo>
                <a:lnTo>
                  <a:pt x="f13" y="f14"/>
                </a:lnTo>
                <a:lnTo>
                  <a:pt x="f15" y="f5"/>
                </a:lnTo>
                <a:lnTo>
                  <a:pt x="f16" y="f5"/>
                </a:lnTo>
                <a:lnTo>
                  <a:pt x="f16" y="f11"/>
                </a:lnTo>
                <a:lnTo>
                  <a:pt x="f17" y="f11"/>
                </a:lnTo>
                <a:lnTo>
                  <a:pt x="f17" y="f18"/>
                </a:lnTo>
                <a:lnTo>
                  <a:pt x="f19" y="f20"/>
                </a:lnTo>
                <a:lnTo>
                  <a:pt x="f21" y="f20"/>
                </a:lnTo>
                <a:lnTo>
                  <a:pt x="f22" y="f23"/>
                </a:lnTo>
                <a:lnTo>
                  <a:pt x="f22" y="f11"/>
                </a:lnTo>
                <a:close/>
                <a:moveTo>
                  <a:pt x="f5" y="f11"/>
                </a:moveTo>
                <a:lnTo>
                  <a:pt x="f5" y="f5"/>
                </a:lnTo>
                <a:lnTo>
                  <a:pt x="f24" y="f5"/>
                </a:lnTo>
                <a:lnTo>
                  <a:pt x="f24" y="f11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cxnSp>
        <p:nvCxnSpPr>
          <p:cNvPr id="9" name="Straight Connector 21">
            <a:extLst>
              <a:ext uri="{FF2B5EF4-FFF2-40B4-BE49-F238E27FC236}">
                <a16:creationId xmlns:a16="http://schemas.microsoft.com/office/drawing/2014/main" id="{0382807D-1F8F-4778-8F2C-288A3D350B45}"/>
              </a:ext>
            </a:extLst>
          </p:cNvPr>
          <p:cNvCxnSpPr/>
          <p:nvPr/>
        </p:nvCxnSpPr>
        <p:spPr>
          <a:xfrm>
            <a:off x="253910" y="3373306"/>
            <a:ext cx="3987693" cy="0"/>
          </a:xfrm>
          <a:prstGeom prst="straightConnector1">
            <a:avLst/>
          </a:prstGeom>
          <a:noFill/>
          <a:ln w="12701" cap="flat">
            <a:solidFill>
              <a:srgbClr val="F8F5E7"/>
            </a:solidFill>
            <a:prstDash val="solid"/>
            <a:miter/>
          </a:ln>
        </p:spPr>
      </p:cxnSp>
      <p:cxnSp>
        <p:nvCxnSpPr>
          <p:cNvPr id="10" name="Straight Connector 22">
            <a:extLst>
              <a:ext uri="{FF2B5EF4-FFF2-40B4-BE49-F238E27FC236}">
                <a16:creationId xmlns:a16="http://schemas.microsoft.com/office/drawing/2014/main" id="{261018F7-5175-46B5-8F96-84685826CB17}"/>
              </a:ext>
            </a:extLst>
          </p:cNvPr>
          <p:cNvCxnSpPr/>
          <p:nvPr/>
        </p:nvCxnSpPr>
        <p:spPr>
          <a:xfrm>
            <a:off x="4909973" y="3373306"/>
            <a:ext cx="3987693" cy="0"/>
          </a:xfrm>
          <a:prstGeom prst="straightConnector1">
            <a:avLst/>
          </a:prstGeom>
          <a:noFill/>
          <a:ln w="12701" cap="flat">
            <a:solidFill>
              <a:srgbClr val="F8F5E7"/>
            </a:solidFill>
            <a:prstDash val="solid"/>
            <a:miter/>
          </a:ln>
        </p:spPr>
      </p:cxnSp>
      <p:sp>
        <p:nvSpPr>
          <p:cNvPr id="11" name="Rectangle 23">
            <a:extLst>
              <a:ext uri="{FF2B5EF4-FFF2-40B4-BE49-F238E27FC236}">
                <a16:creationId xmlns:a16="http://schemas.microsoft.com/office/drawing/2014/main" id="{23DB6E66-CB84-4F24-A804-A92FA7B8C569}"/>
              </a:ext>
            </a:extLst>
          </p:cNvPr>
          <p:cNvSpPr/>
          <p:nvPr/>
        </p:nvSpPr>
        <p:spPr>
          <a:xfrm>
            <a:off x="253910" y="3188421"/>
            <a:ext cx="807913" cy="128818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spAutoFit/>
          </a:bodyPr>
          <a:lstStyle/>
          <a:p>
            <a:pPr marL="107999" marR="0" lvl="1" indent="-107999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1" i="0" u="none" strike="noStrike" kern="1200" cap="none" spc="0" baseline="0">
                <a:solidFill>
                  <a:srgbClr val="F8F5E7"/>
                </a:solidFill>
                <a:uFillTx/>
                <a:latin typeface="Arial"/>
              </a:rPr>
              <a:t>THE PROJECT</a:t>
            </a:r>
            <a:endParaRPr lang="en-GB" sz="750" b="0" i="0" u="none" strike="noStrike" kern="1200" cap="none" spc="0" baseline="0">
              <a:solidFill>
                <a:srgbClr val="F8F5E7"/>
              </a:solidFill>
              <a:uFillTx/>
              <a:latin typeface="Arial"/>
            </a:endParaRPr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1DD0237A-B46A-4C32-9F46-936F4E892F3F}"/>
              </a:ext>
            </a:extLst>
          </p:cNvPr>
          <p:cNvSpPr/>
          <p:nvPr/>
        </p:nvSpPr>
        <p:spPr>
          <a:xfrm>
            <a:off x="4908842" y="3188421"/>
            <a:ext cx="705321" cy="128818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spAutoFit/>
          </a:bodyPr>
          <a:lstStyle/>
          <a:p>
            <a:pPr marL="107999" marR="0" lvl="1" indent="-107999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1" i="0" u="none" strike="noStrike" kern="1200" cap="none" spc="0" baseline="0">
                <a:solidFill>
                  <a:srgbClr val="F8F5E7"/>
                </a:solidFill>
                <a:uFillTx/>
                <a:latin typeface="Arial"/>
              </a:rPr>
              <a:t>THE IMPACT</a:t>
            </a:r>
            <a:endParaRPr lang="en-GB" sz="750" b="0" i="0" u="none" strike="noStrike" kern="1200" cap="none" spc="0" baseline="0">
              <a:solidFill>
                <a:srgbClr val="F8F5E7"/>
              </a:solidFill>
              <a:uFillTx/>
              <a:latin typeface="Arial"/>
            </a:endParaRP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E474AAD3-71CF-4730-9F32-60D19BDF377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53910" y="3482561"/>
            <a:ext cx="3987313" cy="1251365"/>
          </a:xfrm>
        </p:spPr>
        <p:txBody>
          <a:bodyPr/>
          <a:lstStyle>
            <a:lvl1pPr>
              <a:buNone/>
              <a:defRPr sz="750">
                <a:solidFill>
                  <a:srgbClr val="F8F5E7"/>
                </a:solidFill>
              </a:defRPr>
            </a:lvl1pPr>
            <a:lvl2pPr>
              <a:defRPr sz="750">
                <a:solidFill>
                  <a:srgbClr val="F8F5E7"/>
                </a:solidFill>
              </a:defRPr>
            </a:lvl2pPr>
            <a:lvl3pPr>
              <a:defRPr sz="750">
                <a:solidFill>
                  <a:srgbClr val="F8F5E7"/>
                </a:solidFill>
              </a:defRPr>
            </a:lvl3pPr>
            <a:lvl4pPr>
              <a:defRPr sz="750">
                <a:solidFill>
                  <a:srgbClr val="F8F5E7"/>
                </a:solidFill>
              </a:defRPr>
            </a:lvl4pPr>
            <a:lvl5pPr>
              <a:defRPr sz="75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4" name="Text Placeholder 34">
            <a:extLst>
              <a:ext uri="{FF2B5EF4-FFF2-40B4-BE49-F238E27FC236}">
                <a16:creationId xmlns:a16="http://schemas.microsoft.com/office/drawing/2014/main" id="{40C07C56-16C7-4241-8050-39DDBBA8A854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909973" y="3482561"/>
            <a:ext cx="3987692" cy="1251365"/>
          </a:xfrm>
        </p:spPr>
        <p:txBody>
          <a:bodyPr/>
          <a:lstStyle>
            <a:lvl1pPr>
              <a:buNone/>
              <a:defRPr sz="750">
                <a:solidFill>
                  <a:srgbClr val="F8F5E7"/>
                </a:solidFill>
              </a:defRPr>
            </a:lvl1pPr>
            <a:lvl2pPr>
              <a:defRPr sz="750">
                <a:solidFill>
                  <a:srgbClr val="F8F5E7"/>
                </a:solidFill>
              </a:defRPr>
            </a:lvl2pPr>
            <a:lvl3pPr>
              <a:defRPr sz="750">
                <a:solidFill>
                  <a:srgbClr val="F8F5E7"/>
                </a:solidFill>
              </a:defRPr>
            </a:lvl3pPr>
            <a:lvl4pPr>
              <a:defRPr sz="750">
                <a:solidFill>
                  <a:srgbClr val="F8F5E7"/>
                </a:solidFill>
              </a:defRPr>
            </a:lvl4pPr>
            <a:lvl5pPr>
              <a:defRPr sz="75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5" name="Rectangle 19">
            <a:extLst>
              <a:ext uri="{FF2B5EF4-FFF2-40B4-BE49-F238E27FC236}">
                <a16:creationId xmlns:a16="http://schemas.microsoft.com/office/drawing/2014/main" id="{B9DA5CD0-2E2E-482F-BB34-7515B7C86648}"/>
              </a:ext>
            </a:extLst>
          </p:cNvPr>
          <p:cNvSpPr/>
          <p:nvPr/>
        </p:nvSpPr>
        <p:spPr>
          <a:xfrm>
            <a:off x="253910" y="1133333"/>
            <a:ext cx="321098" cy="103875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FFFFFF"/>
                </a:solidFill>
                <a:uFillTx/>
                <a:latin typeface="Arial"/>
              </a:rPr>
              <a:t>CASE</a:t>
            </a:r>
          </a:p>
        </p:txBody>
      </p:sp>
      <p:sp>
        <p:nvSpPr>
          <p:cNvPr id="16" name="Slide Number Placeholder 11">
            <a:extLst>
              <a:ext uri="{FF2B5EF4-FFF2-40B4-BE49-F238E27FC236}">
                <a16:creationId xmlns:a16="http://schemas.microsoft.com/office/drawing/2014/main" id="{6689A33D-9A09-4004-B608-56F067861CB2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fld id="{1A9FB54E-AD1F-49BF-9AD4-8B8430CD2016}" type="slidenum">
              <a:t>‹nr.›</a:t>
            </a:fld>
            <a:endParaRPr lang="en-GB"/>
          </a:p>
        </p:txBody>
      </p:sp>
      <p:sp>
        <p:nvSpPr>
          <p:cNvPr id="17" name="TextBox 33">
            <a:extLst>
              <a:ext uri="{FF2B5EF4-FFF2-40B4-BE49-F238E27FC236}">
                <a16:creationId xmlns:a16="http://schemas.microsoft.com/office/drawing/2014/main" id="{66533003-31B0-49EC-9F7E-C7E6609DF152}"/>
              </a:ext>
            </a:extLst>
          </p:cNvPr>
          <p:cNvSpPr txBox="1"/>
          <p:nvPr/>
        </p:nvSpPr>
        <p:spPr>
          <a:xfrm>
            <a:off x="9329581" y="0"/>
            <a:ext cx="1449599" cy="1654757"/>
          </a:xfrm>
          <a:prstGeom prst="rect">
            <a:avLst/>
          </a:prstGeom>
          <a:solidFill>
            <a:srgbClr val="E2DED9"/>
          </a:solidFill>
          <a:ln cap="flat">
            <a:noFill/>
          </a:ln>
        </p:spPr>
        <p:txBody>
          <a:bodyPr vert="horz" wrap="square" lIns="80999" tIns="80999" rIns="80999" bIns="80999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1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ASE DATA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For internal use only – delete before sharing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00" b="0" i="0" u="none" strike="noStrike" kern="1200" cap="none" spc="0" baseline="0">
              <a:solidFill>
                <a:srgbClr val="000000"/>
              </a:solidFill>
              <a:uFillTx/>
              <a:latin typeface="Arial"/>
            </a:endParaRP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lient name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Maconomy project name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Industry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Keywords: xx, xx,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Year(s): 20xx – 20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Implement contact person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00" b="0" i="0" u="none" strike="noStrike" kern="1200" cap="none" spc="0" baseline="0">
              <a:solidFill>
                <a:srgbClr val="000000"/>
              </a:solidFill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10273068"/>
      </p:ext>
    </p:extLst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Reference case_long text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5">
            <a:extLst>
              <a:ext uri="{FF2B5EF4-FFF2-40B4-BE49-F238E27FC236}">
                <a16:creationId xmlns:a16="http://schemas.microsoft.com/office/drawing/2014/main" id="{21F49EED-44D2-4275-90CA-6EE8EACA7F7F}"/>
              </a:ext>
            </a:extLst>
          </p:cNvPr>
          <p:cNvSpPr/>
          <p:nvPr/>
        </p:nvSpPr>
        <p:spPr>
          <a:xfrm>
            <a:off x="0" y="0"/>
            <a:ext cx="9143996" cy="5143500"/>
          </a:xfrm>
          <a:prstGeom prst="rect">
            <a:avLst/>
          </a:prstGeom>
          <a:solidFill>
            <a:srgbClr val="30373B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marL="0" marR="0" lvl="0" indent="0" algn="ctr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3" name="TextBox 12">
            <a:extLst>
              <a:ext uri="{FF2B5EF4-FFF2-40B4-BE49-F238E27FC236}">
                <a16:creationId xmlns:a16="http://schemas.microsoft.com/office/drawing/2014/main" id="{17FEBA98-9504-4291-ABC8-8069CD1EDB7F}"/>
              </a:ext>
            </a:extLst>
          </p:cNvPr>
          <p:cNvSpPr txBox="1"/>
          <p:nvPr/>
        </p:nvSpPr>
        <p:spPr>
          <a:xfrm>
            <a:off x="6029924" y="1"/>
            <a:ext cx="3114072" cy="2657474"/>
          </a:xfrm>
          <a:prstGeom prst="rect">
            <a:avLst/>
          </a:prstGeom>
          <a:solidFill>
            <a:srgbClr val="893E45"/>
          </a:solidFill>
          <a:ln cap="flat">
            <a:noFill/>
          </a:ln>
        </p:spPr>
        <p:txBody>
          <a:bodyPr vert="horz" wrap="square" lIns="80999" tIns="80999" rIns="80999" bIns="80999" anchor="t" anchorCtr="0" compatLnSpc="1">
            <a:noAutofit/>
          </a:bodyPr>
          <a:lstStyle/>
          <a:p>
            <a:pPr marL="0" marR="0" lvl="1" indent="0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826" b="0" i="0" u="none" strike="noStrike" kern="1200" cap="none" spc="0" baseline="0">
              <a:solidFill>
                <a:srgbClr val="30373B"/>
              </a:solidFill>
              <a:uFillTx/>
              <a:latin typeface="Arial" pitchFamily="34"/>
            </a:endParaRPr>
          </a:p>
        </p:txBody>
      </p:sp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D5BF8F7A-D4CB-4BED-A7C2-84AA098EC3E4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4908842" y="980"/>
            <a:ext cx="3589903" cy="2331219"/>
          </a:xfrm>
          <a:solidFill>
            <a:srgbClr val="B8BBBD"/>
          </a:solidFill>
        </p:spPr>
        <p:txBody>
          <a:bodyPr rIns="0" anchor="ctr" anchorCtr="1"/>
          <a:lstStyle>
            <a:lvl1pPr algn="ctr">
              <a:buNone/>
              <a:defRPr lang="en-GB"/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8E057DF6-450B-4755-94F4-FB973E15662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3910" y="2392756"/>
            <a:ext cx="3987692" cy="332270"/>
          </a:xfrm>
        </p:spPr>
        <p:txBody>
          <a:bodyPr anchor="b">
            <a:spAutoFit/>
          </a:bodyPr>
          <a:lstStyle>
            <a:lvl1pPr>
              <a:defRPr lang="en-US" sz="2399">
                <a:solidFill>
                  <a:srgbClr val="F8F5E7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Freeform: Shape 14">
            <a:extLst>
              <a:ext uri="{FF2B5EF4-FFF2-40B4-BE49-F238E27FC236}">
                <a16:creationId xmlns:a16="http://schemas.microsoft.com/office/drawing/2014/main" id="{DA230FF2-B828-4F54-B030-325B64709335}"/>
              </a:ext>
            </a:extLst>
          </p:cNvPr>
          <p:cNvSpPr/>
          <p:nvPr/>
        </p:nvSpPr>
        <p:spPr>
          <a:xfrm rot="5400013">
            <a:off x="8690662" y="287231"/>
            <a:ext cx="262627" cy="14273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0168"/>
              <a:gd name="f7" fmla="val 154638"/>
              <a:gd name="f8" fmla="val 242136"/>
              <a:gd name="f9" fmla="val 141700"/>
              <a:gd name="f10" fmla="val 62944"/>
              <a:gd name="f11" fmla="val 154337"/>
              <a:gd name="f12" fmla="val 102688"/>
              <a:gd name="f13" fmla="val 141020"/>
              <a:gd name="f14" fmla="val 104707"/>
              <a:gd name="f15" fmla="val 179755"/>
              <a:gd name="f16" fmla="val 217481"/>
              <a:gd name="f17" fmla="val 187825"/>
              <a:gd name="f18" fmla="val 53263"/>
              <a:gd name="f19" fmla="val 151309"/>
              <a:gd name="f20" fmla="val 152117"/>
              <a:gd name="f21" fmla="val 128915"/>
              <a:gd name="f22" fmla="val 92601"/>
              <a:gd name="f23" fmla="val 52051"/>
              <a:gd name="f24" fmla="val 30867"/>
              <a:gd name="f25" fmla="+- 0 0 -90"/>
              <a:gd name="f26" fmla="*/ f3 1 350168"/>
              <a:gd name="f27" fmla="*/ f4 1 154638"/>
              <a:gd name="f28" fmla="+- f7 0 f5"/>
              <a:gd name="f29" fmla="+- f6 0 f5"/>
              <a:gd name="f30" fmla="*/ f25 f0 1"/>
              <a:gd name="f31" fmla="*/ f29 1 350168"/>
              <a:gd name="f32" fmla="*/ f28 1 154638"/>
              <a:gd name="f33" fmla="*/ 242136 f29 1"/>
              <a:gd name="f34" fmla="*/ 154638 f28 1"/>
              <a:gd name="f35" fmla="*/ 141700 f28 1"/>
              <a:gd name="f36" fmla="*/ 350168 f29 1"/>
              <a:gd name="f37" fmla="*/ 62944 f29 1"/>
              <a:gd name="f38" fmla="*/ 154337 f28 1"/>
              <a:gd name="f39" fmla="*/ 0 f28 1"/>
              <a:gd name="f40" fmla="*/ 102688 f29 1"/>
              <a:gd name="f41" fmla="*/ 141020 f29 1"/>
              <a:gd name="f42" fmla="*/ 104707 f28 1"/>
              <a:gd name="f43" fmla="*/ 179755 f29 1"/>
              <a:gd name="f44" fmla="*/ 217481 f29 1"/>
              <a:gd name="f45" fmla="*/ 187825 f29 1"/>
              <a:gd name="f46" fmla="*/ 53263 f28 1"/>
              <a:gd name="f47" fmla="*/ 151309 f29 1"/>
              <a:gd name="f48" fmla="*/ 152117 f28 1"/>
              <a:gd name="f49" fmla="*/ 128915 f29 1"/>
              <a:gd name="f50" fmla="*/ 92601 f29 1"/>
              <a:gd name="f51" fmla="*/ 52051 f28 1"/>
              <a:gd name="f52" fmla="*/ 0 f29 1"/>
              <a:gd name="f53" fmla="*/ 30867 f29 1"/>
              <a:gd name="f54" fmla="*/ f30 1 f2"/>
              <a:gd name="f55" fmla="*/ f33 1 350168"/>
              <a:gd name="f56" fmla="*/ f34 1 154638"/>
              <a:gd name="f57" fmla="*/ f35 1 154638"/>
              <a:gd name="f58" fmla="*/ f36 1 350168"/>
              <a:gd name="f59" fmla="*/ f37 1 350168"/>
              <a:gd name="f60" fmla="*/ f38 1 154638"/>
              <a:gd name="f61" fmla="*/ f39 1 154638"/>
              <a:gd name="f62" fmla="*/ f40 1 350168"/>
              <a:gd name="f63" fmla="*/ f41 1 350168"/>
              <a:gd name="f64" fmla="*/ f42 1 154638"/>
              <a:gd name="f65" fmla="*/ f43 1 350168"/>
              <a:gd name="f66" fmla="*/ f44 1 350168"/>
              <a:gd name="f67" fmla="*/ f45 1 350168"/>
              <a:gd name="f68" fmla="*/ f46 1 154638"/>
              <a:gd name="f69" fmla="*/ f47 1 350168"/>
              <a:gd name="f70" fmla="*/ f48 1 154638"/>
              <a:gd name="f71" fmla="*/ f49 1 350168"/>
              <a:gd name="f72" fmla="*/ f50 1 350168"/>
              <a:gd name="f73" fmla="*/ f51 1 154638"/>
              <a:gd name="f74" fmla="*/ f52 1 350168"/>
              <a:gd name="f75" fmla="*/ f53 1 350168"/>
              <a:gd name="f76" fmla="*/ f5 1 f31"/>
              <a:gd name="f77" fmla="*/ f6 1 f31"/>
              <a:gd name="f78" fmla="*/ f5 1 f32"/>
              <a:gd name="f79" fmla="*/ f7 1 f32"/>
              <a:gd name="f80" fmla="+- f54 0 f1"/>
              <a:gd name="f81" fmla="*/ f55 1 f31"/>
              <a:gd name="f82" fmla="*/ f56 1 f32"/>
              <a:gd name="f83" fmla="*/ f57 1 f32"/>
              <a:gd name="f84" fmla="*/ f58 1 f31"/>
              <a:gd name="f85" fmla="*/ f59 1 f31"/>
              <a:gd name="f86" fmla="*/ f60 1 f32"/>
              <a:gd name="f87" fmla="*/ f61 1 f32"/>
              <a:gd name="f88" fmla="*/ f62 1 f31"/>
              <a:gd name="f89" fmla="*/ f63 1 f31"/>
              <a:gd name="f90" fmla="*/ f64 1 f32"/>
              <a:gd name="f91" fmla="*/ f65 1 f31"/>
              <a:gd name="f92" fmla="*/ f66 1 f31"/>
              <a:gd name="f93" fmla="*/ f67 1 f31"/>
              <a:gd name="f94" fmla="*/ f68 1 f32"/>
              <a:gd name="f95" fmla="*/ f69 1 f31"/>
              <a:gd name="f96" fmla="*/ f70 1 f32"/>
              <a:gd name="f97" fmla="*/ f71 1 f31"/>
              <a:gd name="f98" fmla="*/ f72 1 f31"/>
              <a:gd name="f99" fmla="*/ f73 1 f32"/>
              <a:gd name="f100" fmla="*/ f74 1 f31"/>
              <a:gd name="f101" fmla="*/ f75 1 f31"/>
              <a:gd name="f102" fmla="*/ f76 f26 1"/>
              <a:gd name="f103" fmla="*/ f77 f26 1"/>
              <a:gd name="f104" fmla="*/ f79 f27 1"/>
              <a:gd name="f105" fmla="*/ f78 f27 1"/>
              <a:gd name="f106" fmla="*/ f81 f26 1"/>
              <a:gd name="f107" fmla="*/ f82 f27 1"/>
              <a:gd name="f108" fmla="*/ f83 f27 1"/>
              <a:gd name="f109" fmla="*/ f84 f26 1"/>
              <a:gd name="f110" fmla="*/ f85 f26 1"/>
              <a:gd name="f111" fmla="*/ f86 f27 1"/>
              <a:gd name="f112" fmla="*/ f87 f27 1"/>
              <a:gd name="f113" fmla="*/ f88 f26 1"/>
              <a:gd name="f114" fmla="*/ f89 f26 1"/>
              <a:gd name="f115" fmla="*/ f90 f27 1"/>
              <a:gd name="f116" fmla="*/ f91 f26 1"/>
              <a:gd name="f117" fmla="*/ f92 f26 1"/>
              <a:gd name="f118" fmla="*/ f93 f26 1"/>
              <a:gd name="f119" fmla="*/ f94 f27 1"/>
              <a:gd name="f120" fmla="*/ f95 f26 1"/>
              <a:gd name="f121" fmla="*/ f96 f27 1"/>
              <a:gd name="f122" fmla="*/ f97 f26 1"/>
              <a:gd name="f123" fmla="*/ f98 f26 1"/>
              <a:gd name="f124" fmla="*/ f99 f27 1"/>
              <a:gd name="f125" fmla="*/ f100 f26 1"/>
              <a:gd name="f126" fmla="*/ f101 f2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80">
                <a:pos x="f106" y="f107"/>
              </a:cxn>
              <a:cxn ang="f80">
                <a:pos x="f106" y="f108"/>
              </a:cxn>
              <a:cxn ang="f80">
                <a:pos x="f109" y="f108"/>
              </a:cxn>
              <a:cxn ang="f80">
                <a:pos x="f109" y="f107"/>
              </a:cxn>
              <a:cxn ang="f80">
                <a:pos x="f110" y="f111"/>
              </a:cxn>
              <a:cxn ang="f80">
                <a:pos x="f110" y="f112"/>
              </a:cxn>
              <a:cxn ang="f80">
                <a:pos x="f113" y="f112"/>
              </a:cxn>
              <a:cxn ang="f80">
                <a:pos x="f114" y="f115"/>
              </a:cxn>
              <a:cxn ang="f80">
                <a:pos x="f116" y="f112"/>
              </a:cxn>
              <a:cxn ang="f80">
                <a:pos x="f117" y="f112"/>
              </a:cxn>
              <a:cxn ang="f80">
                <a:pos x="f117" y="f111"/>
              </a:cxn>
              <a:cxn ang="f80">
                <a:pos x="f118" y="f111"/>
              </a:cxn>
              <a:cxn ang="f80">
                <a:pos x="f118" y="f119"/>
              </a:cxn>
              <a:cxn ang="f80">
                <a:pos x="f120" y="f121"/>
              </a:cxn>
              <a:cxn ang="f80">
                <a:pos x="f122" y="f121"/>
              </a:cxn>
              <a:cxn ang="f80">
                <a:pos x="f123" y="f124"/>
              </a:cxn>
              <a:cxn ang="f80">
                <a:pos x="f123" y="f111"/>
              </a:cxn>
              <a:cxn ang="f80">
                <a:pos x="f125" y="f111"/>
              </a:cxn>
              <a:cxn ang="f80">
                <a:pos x="f125" y="f112"/>
              </a:cxn>
              <a:cxn ang="f80">
                <a:pos x="f126" y="f112"/>
              </a:cxn>
              <a:cxn ang="f80">
                <a:pos x="f126" y="f111"/>
              </a:cxn>
            </a:cxnLst>
            <a:rect l="f102" t="f105" r="f103" b="f104"/>
            <a:pathLst>
              <a:path w="350168" h="154638">
                <a:moveTo>
                  <a:pt x="f8" y="f7"/>
                </a:moveTo>
                <a:lnTo>
                  <a:pt x="f8" y="f9"/>
                </a:lnTo>
                <a:lnTo>
                  <a:pt x="f6" y="f9"/>
                </a:lnTo>
                <a:lnTo>
                  <a:pt x="f6" y="f7"/>
                </a:lnTo>
                <a:close/>
                <a:moveTo>
                  <a:pt x="f10" y="f11"/>
                </a:moveTo>
                <a:lnTo>
                  <a:pt x="f10" y="f5"/>
                </a:lnTo>
                <a:lnTo>
                  <a:pt x="f12" y="f5"/>
                </a:lnTo>
                <a:lnTo>
                  <a:pt x="f13" y="f14"/>
                </a:lnTo>
                <a:lnTo>
                  <a:pt x="f15" y="f5"/>
                </a:lnTo>
                <a:lnTo>
                  <a:pt x="f16" y="f5"/>
                </a:lnTo>
                <a:lnTo>
                  <a:pt x="f16" y="f11"/>
                </a:lnTo>
                <a:lnTo>
                  <a:pt x="f17" y="f11"/>
                </a:lnTo>
                <a:lnTo>
                  <a:pt x="f17" y="f18"/>
                </a:lnTo>
                <a:lnTo>
                  <a:pt x="f19" y="f20"/>
                </a:lnTo>
                <a:lnTo>
                  <a:pt x="f21" y="f20"/>
                </a:lnTo>
                <a:lnTo>
                  <a:pt x="f22" y="f23"/>
                </a:lnTo>
                <a:lnTo>
                  <a:pt x="f22" y="f11"/>
                </a:lnTo>
                <a:close/>
                <a:moveTo>
                  <a:pt x="f5" y="f11"/>
                </a:moveTo>
                <a:lnTo>
                  <a:pt x="f5" y="f5"/>
                </a:lnTo>
                <a:lnTo>
                  <a:pt x="f24" y="f5"/>
                </a:lnTo>
                <a:lnTo>
                  <a:pt x="f24" y="f11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cxnSp>
        <p:nvCxnSpPr>
          <p:cNvPr id="7" name="Straight Connector 21">
            <a:extLst>
              <a:ext uri="{FF2B5EF4-FFF2-40B4-BE49-F238E27FC236}">
                <a16:creationId xmlns:a16="http://schemas.microsoft.com/office/drawing/2014/main" id="{DB70D1BA-11B2-445C-A006-CA980E876759}"/>
              </a:ext>
            </a:extLst>
          </p:cNvPr>
          <p:cNvCxnSpPr/>
          <p:nvPr/>
        </p:nvCxnSpPr>
        <p:spPr>
          <a:xfrm>
            <a:off x="253910" y="3373306"/>
            <a:ext cx="3987693" cy="0"/>
          </a:xfrm>
          <a:prstGeom prst="straightConnector1">
            <a:avLst/>
          </a:prstGeom>
          <a:noFill/>
          <a:ln w="12701" cap="flat">
            <a:solidFill>
              <a:srgbClr val="F8F5E7"/>
            </a:solidFill>
            <a:prstDash val="solid"/>
            <a:miter/>
          </a:ln>
        </p:spPr>
      </p:cxnSp>
      <p:cxnSp>
        <p:nvCxnSpPr>
          <p:cNvPr id="8" name="Straight Connector 22">
            <a:extLst>
              <a:ext uri="{FF2B5EF4-FFF2-40B4-BE49-F238E27FC236}">
                <a16:creationId xmlns:a16="http://schemas.microsoft.com/office/drawing/2014/main" id="{163CA2DC-1097-4B9E-87DC-2268A8EC1F61}"/>
              </a:ext>
            </a:extLst>
          </p:cNvPr>
          <p:cNvCxnSpPr/>
          <p:nvPr/>
        </p:nvCxnSpPr>
        <p:spPr>
          <a:xfrm>
            <a:off x="4909973" y="3373306"/>
            <a:ext cx="3987693" cy="0"/>
          </a:xfrm>
          <a:prstGeom prst="straightConnector1">
            <a:avLst/>
          </a:prstGeom>
          <a:noFill/>
          <a:ln w="12701" cap="flat">
            <a:solidFill>
              <a:srgbClr val="F8F5E7"/>
            </a:solidFill>
            <a:prstDash val="solid"/>
            <a:miter/>
          </a:ln>
        </p:spPr>
      </p:cxnSp>
      <p:sp>
        <p:nvSpPr>
          <p:cNvPr id="9" name="Rectangle 23">
            <a:extLst>
              <a:ext uri="{FF2B5EF4-FFF2-40B4-BE49-F238E27FC236}">
                <a16:creationId xmlns:a16="http://schemas.microsoft.com/office/drawing/2014/main" id="{FDC1E8CC-5F32-4947-9500-9CA914A59038}"/>
              </a:ext>
            </a:extLst>
          </p:cNvPr>
          <p:cNvSpPr/>
          <p:nvPr/>
        </p:nvSpPr>
        <p:spPr>
          <a:xfrm>
            <a:off x="253910" y="3188421"/>
            <a:ext cx="807913" cy="128818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spAutoFit/>
          </a:bodyPr>
          <a:lstStyle/>
          <a:p>
            <a:pPr marL="107999" marR="0" lvl="1" indent="-107999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1" i="0" u="none" strike="noStrike" kern="1200" cap="none" spc="0" baseline="0">
                <a:solidFill>
                  <a:srgbClr val="F8F5E7"/>
                </a:solidFill>
                <a:uFillTx/>
                <a:latin typeface="Arial"/>
              </a:rPr>
              <a:t>THE PROJECT</a:t>
            </a:r>
            <a:endParaRPr lang="en-GB" sz="750" b="0" i="0" u="none" strike="noStrike" kern="1200" cap="none" spc="0" baseline="0">
              <a:solidFill>
                <a:srgbClr val="F8F5E7"/>
              </a:solidFill>
              <a:uFillTx/>
              <a:latin typeface="Arial"/>
            </a:endParaRPr>
          </a:p>
        </p:txBody>
      </p:sp>
      <p:sp>
        <p:nvSpPr>
          <p:cNvPr id="10" name="Rectangle 24">
            <a:extLst>
              <a:ext uri="{FF2B5EF4-FFF2-40B4-BE49-F238E27FC236}">
                <a16:creationId xmlns:a16="http://schemas.microsoft.com/office/drawing/2014/main" id="{0DAF8D20-2FA9-4E0E-B8EE-6AC0DA7D3E6B}"/>
              </a:ext>
            </a:extLst>
          </p:cNvPr>
          <p:cNvSpPr/>
          <p:nvPr/>
        </p:nvSpPr>
        <p:spPr>
          <a:xfrm>
            <a:off x="4908842" y="3188421"/>
            <a:ext cx="705321" cy="128818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spAutoFit/>
          </a:bodyPr>
          <a:lstStyle/>
          <a:p>
            <a:pPr marL="107999" marR="0" lvl="1" indent="-107999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1" i="0" u="none" strike="noStrike" kern="1200" cap="none" spc="0" baseline="0">
                <a:solidFill>
                  <a:srgbClr val="F8F5E7"/>
                </a:solidFill>
                <a:uFillTx/>
                <a:latin typeface="Arial"/>
              </a:rPr>
              <a:t>THE IMPACT</a:t>
            </a:r>
            <a:endParaRPr lang="en-GB" sz="750" b="0" i="0" u="none" strike="noStrike" kern="1200" cap="none" spc="0" baseline="0">
              <a:solidFill>
                <a:srgbClr val="F8F5E7"/>
              </a:solidFill>
              <a:uFillTx/>
              <a:latin typeface="Arial"/>
            </a:endParaRPr>
          </a:p>
        </p:txBody>
      </p:sp>
      <p:sp>
        <p:nvSpPr>
          <p:cNvPr id="11" name="Text Placeholder 17">
            <a:extLst>
              <a:ext uri="{FF2B5EF4-FFF2-40B4-BE49-F238E27FC236}">
                <a16:creationId xmlns:a16="http://schemas.microsoft.com/office/drawing/2014/main" id="{529D09AF-2B94-44AB-B106-0821480A23BA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53910" y="3482561"/>
            <a:ext cx="3987313" cy="1251365"/>
          </a:xfrm>
        </p:spPr>
        <p:txBody>
          <a:bodyPr/>
          <a:lstStyle>
            <a:lvl1pPr>
              <a:buNone/>
              <a:defRPr sz="750">
                <a:solidFill>
                  <a:srgbClr val="F8F5E7"/>
                </a:solidFill>
              </a:defRPr>
            </a:lvl1pPr>
            <a:lvl2pPr>
              <a:defRPr sz="750">
                <a:solidFill>
                  <a:srgbClr val="F8F5E7"/>
                </a:solidFill>
              </a:defRPr>
            </a:lvl2pPr>
            <a:lvl3pPr>
              <a:defRPr sz="750">
                <a:solidFill>
                  <a:srgbClr val="F8F5E7"/>
                </a:solidFill>
              </a:defRPr>
            </a:lvl3pPr>
            <a:lvl4pPr>
              <a:defRPr sz="750">
                <a:solidFill>
                  <a:srgbClr val="F8F5E7"/>
                </a:solidFill>
              </a:defRPr>
            </a:lvl4pPr>
            <a:lvl5pPr>
              <a:defRPr sz="75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2" name="Text Placeholder 34">
            <a:extLst>
              <a:ext uri="{FF2B5EF4-FFF2-40B4-BE49-F238E27FC236}">
                <a16:creationId xmlns:a16="http://schemas.microsoft.com/office/drawing/2014/main" id="{A3D2770E-4E66-4821-80D9-53CB8EAE879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909973" y="3482561"/>
            <a:ext cx="3987692" cy="1251365"/>
          </a:xfrm>
        </p:spPr>
        <p:txBody>
          <a:bodyPr/>
          <a:lstStyle>
            <a:lvl1pPr>
              <a:buNone/>
              <a:defRPr sz="750">
                <a:solidFill>
                  <a:srgbClr val="F8F5E7"/>
                </a:solidFill>
              </a:defRPr>
            </a:lvl1pPr>
            <a:lvl2pPr>
              <a:defRPr sz="750">
                <a:solidFill>
                  <a:srgbClr val="F8F5E7"/>
                </a:solidFill>
              </a:defRPr>
            </a:lvl2pPr>
            <a:lvl3pPr>
              <a:defRPr sz="750">
                <a:solidFill>
                  <a:srgbClr val="F8F5E7"/>
                </a:solidFill>
              </a:defRPr>
            </a:lvl3pPr>
            <a:lvl4pPr>
              <a:defRPr sz="750">
                <a:solidFill>
                  <a:srgbClr val="F8F5E7"/>
                </a:solidFill>
              </a:defRPr>
            </a:lvl4pPr>
            <a:lvl5pPr>
              <a:defRPr sz="75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3" name="Rectangle 19">
            <a:extLst>
              <a:ext uri="{FF2B5EF4-FFF2-40B4-BE49-F238E27FC236}">
                <a16:creationId xmlns:a16="http://schemas.microsoft.com/office/drawing/2014/main" id="{E80E2A4D-B168-4481-A980-A252A98B26CA}"/>
              </a:ext>
            </a:extLst>
          </p:cNvPr>
          <p:cNvSpPr/>
          <p:nvPr/>
        </p:nvSpPr>
        <p:spPr>
          <a:xfrm>
            <a:off x="253910" y="1133333"/>
            <a:ext cx="321098" cy="103875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FFFFFF"/>
                </a:solidFill>
                <a:uFillTx/>
                <a:latin typeface="Arial"/>
              </a:rPr>
              <a:t>CAS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9F84B0BC-2984-408D-A0D4-09D143AD7B85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fld id="{537934C9-3AB5-4DE9-A36E-1032892F0095}" type="slidenum">
              <a:t>‹nr.›</a:t>
            </a:fld>
            <a:endParaRPr lang="en-GB"/>
          </a:p>
        </p:txBody>
      </p:sp>
      <p:sp>
        <p:nvSpPr>
          <p:cNvPr id="15" name="Date Placeholder 3" hidden="1">
            <a:extLst>
              <a:ext uri="{FF2B5EF4-FFF2-40B4-BE49-F238E27FC236}">
                <a16:creationId xmlns:a16="http://schemas.microsoft.com/office/drawing/2014/main" id="{3FFF1A06-3466-403F-88E7-8A1B00BC32CC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E855FEF7-E61D-43C8-BA98-3A296EC3B501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16" name="Footer Placeholder 4" hidden="1">
            <a:extLst>
              <a:ext uri="{FF2B5EF4-FFF2-40B4-BE49-F238E27FC236}">
                <a16:creationId xmlns:a16="http://schemas.microsoft.com/office/drawing/2014/main" id="{62D36F74-7407-42BD-9B96-B2704C5FCF4B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Footer</a:t>
            </a:r>
          </a:p>
        </p:txBody>
      </p:sp>
      <p:sp>
        <p:nvSpPr>
          <p:cNvPr id="17" name="TextBox 33">
            <a:extLst>
              <a:ext uri="{FF2B5EF4-FFF2-40B4-BE49-F238E27FC236}">
                <a16:creationId xmlns:a16="http://schemas.microsoft.com/office/drawing/2014/main" id="{15E91FAD-658E-4BBB-A61A-6B69BB475167}"/>
              </a:ext>
            </a:extLst>
          </p:cNvPr>
          <p:cNvSpPr txBox="1"/>
          <p:nvPr/>
        </p:nvSpPr>
        <p:spPr>
          <a:xfrm>
            <a:off x="9329581" y="0"/>
            <a:ext cx="1449599" cy="1654757"/>
          </a:xfrm>
          <a:prstGeom prst="rect">
            <a:avLst/>
          </a:prstGeom>
          <a:solidFill>
            <a:srgbClr val="E2DED9"/>
          </a:solidFill>
          <a:ln cap="flat">
            <a:noFill/>
          </a:ln>
        </p:spPr>
        <p:txBody>
          <a:bodyPr vert="horz" wrap="square" lIns="80999" tIns="80999" rIns="80999" bIns="80999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1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ASE DATA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For internal use only – delete before sharing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00" b="0" i="0" u="none" strike="noStrike" kern="1200" cap="none" spc="0" baseline="0">
              <a:solidFill>
                <a:srgbClr val="000000"/>
              </a:solidFill>
              <a:uFillTx/>
              <a:latin typeface="Arial"/>
            </a:endParaRP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lient name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Maconomy project name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Industry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Keywords: xx, xx,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Year(s): 20xx – 20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Implement contact person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00" b="0" i="0" u="none" strike="noStrike" kern="1200" cap="none" spc="0" baseline="0">
              <a:solidFill>
                <a:srgbClr val="000000"/>
              </a:solidFill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842193"/>
      </p:ext>
    </p:extLst>
  </p:cSld>
  <p:clrMapOvr>
    <a:masterClrMapping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Reference case_long text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 hidden="1">
            <a:extLst>
              <a:ext uri="{FF2B5EF4-FFF2-40B4-BE49-F238E27FC236}">
                <a16:creationId xmlns:a16="http://schemas.microsoft.com/office/drawing/2014/main" id="{35139CAD-B201-4315-9AD0-9CBF3DB4D80D}"/>
              </a:ext>
            </a:extLst>
          </p:cNvPr>
          <p:cNvGraphicFramePr/>
          <p:nvPr/>
        </p:nvGraphicFramePr>
        <p:xfrm>
          <a:off x="1469" y="1194"/>
          <a:ext cx="1469" cy="11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4354" imgH="4354" progId="TCLayout.ActiveDocument.1">
                  <p:embed/>
                </p:oleObj>
              </mc:Choice>
              <mc:Fallback>
                <p:oleObj name="think-cell Slide" r:id="rId2" imgW="4354" imgH="4354" progId="TCLayout.ActiveDocument.1">
                  <p:embed/>
                  <p:pic>
                    <p:nvPicPr>
                      <p:cNvPr id="2" name="Object 2" hidden="1">
                        <a:extLst>
                          <a:ext uri="{FF2B5EF4-FFF2-40B4-BE49-F238E27FC236}">
                            <a16:creationId xmlns:a16="http://schemas.microsoft.com/office/drawing/2014/main" id="{35139CAD-B201-4315-9AD0-9CBF3DB4D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69" y="1194"/>
                        <a:ext cx="1469" cy="11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 hidden="1">
            <a:extLst>
              <a:ext uri="{FF2B5EF4-FFF2-40B4-BE49-F238E27FC236}">
                <a16:creationId xmlns:a16="http://schemas.microsoft.com/office/drawing/2014/main" id="{B3DDC68D-7520-4C14-A607-5DAB51017E50}"/>
              </a:ext>
            </a:extLst>
          </p:cNvPr>
          <p:cNvSpPr/>
          <p:nvPr/>
        </p:nvSpPr>
        <p:spPr>
          <a:xfrm>
            <a:off x="0" y="0"/>
            <a:ext cx="146537" cy="119061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2399" b="0" i="0" u="none" strike="noStrike" kern="1200" cap="none" spc="0" baseline="0">
              <a:solidFill>
                <a:srgbClr val="2F363B"/>
              </a:solidFill>
              <a:uFillTx/>
              <a:latin typeface="Arial" pitchFamily="34"/>
            </a:endParaRPr>
          </a:p>
        </p:txBody>
      </p:sp>
      <p:sp>
        <p:nvSpPr>
          <p:cNvPr id="4" name="Rectangle 25">
            <a:extLst>
              <a:ext uri="{FF2B5EF4-FFF2-40B4-BE49-F238E27FC236}">
                <a16:creationId xmlns:a16="http://schemas.microsoft.com/office/drawing/2014/main" id="{0AF621C3-EB15-4FC6-B4EE-354913614676}"/>
              </a:ext>
            </a:extLst>
          </p:cNvPr>
          <p:cNvSpPr/>
          <p:nvPr/>
        </p:nvSpPr>
        <p:spPr>
          <a:xfrm>
            <a:off x="0" y="0"/>
            <a:ext cx="9143996" cy="5143500"/>
          </a:xfrm>
          <a:prstGeom prst="rect">
            <a:avLst/>
          </a:prstGeom>
          <a:solidFill>
            <a:srgbClr val="30373B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ctr" anchorCtr="1" compatLnSpc="1">
            <a:noAutofit/>
          </a:bodyPr>
          <a:lstStyle/>
          <a:p>
            <a:pPr marL="0" marR="0" lvl="0" indent="0" algn="ctr" defTabSz="33788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65" b="0" i="0" u="none" strike="noStrike" kern="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5" name="TextBox 12">
            <a:extLst>
              <a:ext uri="{FF2B5EF4-FFF2-40B4-BE49-F238E27FC236}">
                <a16:creationId xmlns:a16="http://schemas.microsoft.com/office/drawing/2014/main" id="{2CD4CE35-2708-4FAA-B142-29F491D6F255}"/>
              </a:ext>
            </a:extLst>
          </p:cNvPr>
          <p:cNvSpPr txBox="1"/>
          <p:nvPr/>
        </p:nvSpPr>
        <p:spPr>
          <a:xfrm>
            <a:off x="6029924" y="1"/>
            <a:ext cx="3114072" cy="2657474"/>
          </a:xfrm>
          <a:prstGeom prst="rect">
            <a:avLst/>
          </a:prstGeom>
          <a:solidFill>
            <a:srgbClr val="E2DED9"/>
          </a:solidFill>
          <a:ln cap="flat">
            <a:noFill/>
          </a:ln>
        </p:spPr>
        <p:txBody>
          <a:bodyPr vert="horz" wrap="square" lIns="80999" tIns="80999" rIns="80999" bIns="80999" anchor="t" anchorCtr="0" compatLnSpc="1">
            <a:noAutofit/>
          </a:bodyPr>
          <a:lstStyle/>
          <a:p>
            <a:pPr marL="0" marR="0" lvl="1" indent="0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826" b="0" i="0" u="none" strike="noStrike" kern="1200" cap="none" spc="0" baseline="0">
              <a:solidFill>
                <a:srgbClr val="30373B"/>
              </a:solidFill>
              <a:uFillTx/>
              <a:latin typeface="Arial" pitchFamily="34"/>
            </a:endParaRPr>
          </a:p>
        </p:txBody>
      </p:sp>
      <p:sp>
        <p:nvSpPr>
          <p:cNvPr id="6" name="Picture Placeholder 13">
            <a:extLst>
              <a:ext uri="{FF2B5EF4-FFF2-40B4-BE49-F238E27FC236}">
                <a16:creationId xmlns:a16="http://schemas.microsoft.com/office/drawing/2014/main" id="{B7743D59-502B-4532-89EE-47B6D6F7BE6B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4908842" y="980"/>
            <a:ext cx="3589903" cy="2331219"/>
          </a:xfrm>
          <a:solidFill>
            <a:srgbClr val="B8BBBD"/>
          </a:solidFill>
        </p:spPr>
        <p:txBody>
          <a:bodyPr rIns="0" anchor="ctr" anchorCtr="1"/>
          <a:lstStyle>
            <a:lvl1pPr algn="ctr">
              <a:buNone/>
              <a:defRPr lang="en-GB"/>
            </a:lvl1pPr>
          </a:lstStyle>
          <a:p>
            <a:pPr lvl="0"/>
            <a:r>
              <a:rPr lang="en-GB"/>
              <a:t>Click icon to add pictu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32975F3-3E98-43FB-A986-1F2F74E0475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53910" y="2392756"/>
            <a:ext cx="3987692" cy="332270"/>
          </a:xfrm>
        </p:spPr>
        <p:txBody>
          <a:bodyPr anchor="b">
            <a:spAutoFit/>
          </a:bodyPr>
          <a:lstStyle>
            <a:lvl1pPr>
              <a:defRPr lang="en-US" sz="2399">
                <a:solidFill>
                  <a:srgbClr val="F8F5E7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Freeform: Shape 14">
            <a:extLst>
              <a:ext uri="{FF2B5EF4-FFF2-40B4-BE49-F238E27FC236}">
                <a16:creationId xmlns:a16="http://schemas.microsoft.com/office/drawing/2014/main" id="{C5DD5C3F-FE3C-4D63-9A14-11E9452F43E0}"/>
              </a:ext>
            </a:extLst>
          </p:cNvPr>
          <p:cNvSpPr/>
          <p:nvPr/>
        </p:nvSpPr>
        <p:spPr>
          <a:xfrm rot="5400013">
            <a:off x="8690662" y="287231"/>
            <a:ext cx="262627" cy="14273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0168"/>
              <a:gd name="f7" fmla="val 154638"/>
              <a:gd name="f8" fmla="val 242136"/>
              <a:gd name="f9" fmla="val 141700"/>
              <a:gd name="f10" fmla="val 62944"/>
              <a:gd name="f11" fmla="val 154337"/>
              <a:gd name="f12" fmla="val 102688"/>
              <a:gd name="f13" fmla="val 141020"/>
              <a:gd name="f14" fmla="val 104707"/>
              <a:gd name="f15" fmla="val 179755"/>
              <a:gd name="f16" fmla="val 217481"/>
              <a:gd name="f17" fmla="val 187825"/>
              <a:gd name="f18" fmla="val 53263"/>
              <a:gd name="f19" fmla="val 151309"/>
              <a:gd name="f20" fmla="val 152117"/>
              <a:gd name="f21" fmla="val 128915"/>
              <a:gd name="f22" fmla="val 92601"/>
              <a:gd name="f23" fmla="val 52051"/>
              <a:gd name="f24" fmla="val 30867"/>
              <a:gd name="f25" fmla="+- 0 0 -90"/>
              <a:gd name="f26" fmla="*/ f3 1 350168"/>
              <a:gd name="f27" fmla="*/ f4 1 154638"/>
              <a:gd name="f28" fmla="+- f7 0 f5"/>
              <a:gd name="f29" fmla="+- f6 0 f5"/>
              <a:gd name="f30" fmla="*/ f25 f0 1"/>
              <a:gd name="f31" fmla="*/ f29 1 350168"/>
              <a:gd name="f32" fmla="*/ f28 1 154638"/>
              <a:gd name="f33" fmla="*/ 242136 f29 1"/>
              <a:gd name="f34" fmla="*/ 154638 f28 1"/>
              <a:gd name="f35" fmla="*/ 141700 f28 1"/>
              <a:gd name="f36" fmla="*/ 350168 f29 1"/>
              <a:gd name="f37" fmla="*/ 62944 f29 1"/>
              <a:gd name="f38" fmla="*/ 154337 f28 1"/>
              <a:gd name="f39" fmla="*/ 0 f28 1"/>
              <a:gd name="f40" fmla="*/ 102688 f29 1"/>
              <a:gd name="f41" fmla="*/ 141020 f29 1"/>
              <a:gd name="f42" fmla="*/ 104707 f28 1"/>
              <a:gd name="f43" fmla="*/ 179755 f29 1"/>
              <a:gd name="f44" fmla="*/ 217481 f29 1"/>
              <a:gd name="f45" fmla="*/ 187825 f29 1"/>
              <a:gd name="f46" fmla="*/ 53263 f28 1"/>
              <a:gd name="f47" fmla="*/ 151309 f29 1"/>
              <a:gd name="f48" fmla="*/ 152117 f28 1"/>
              <a:gd name="f49" fmla="*/ 128915 f29 1"/>
              <a:gd name="f50" fmla="*/ 92601 f29 1"/>
              <a:gd name="f51" fmla="*/ 52051 f28 1"/>
              <a:gd name="f52" fmla="*/ 0 f29 1"/>
              <a:gd name="f53" fmla="*/ 30867 f29 1"/>
              <a:gd name="f54" fmla="*/ f30 1 f2"/>
              <a:gd name="f55" fmla="*/ f33 1 350168"/>
              <a:gd name="f56" fmla="*/ f34 1 154638"/>
              <a:gd name="f57" fmla="*/ f35 1 154638"/>
              <a:gd name="f58" fmla="*/ f36 1 350168"/>
              <a:gd name="f59" fmla="*/ f37 1 350168"/>
              <a:gd name="f60" fmla="*/ f38 1 154638"/>
              <a:gd name="f61" fmla="*/ f39 1 154638"/>
              <a:gd name="f62" fmla="*/ f40 1 350168"/>
              <a:gd name="f63" fmla="*/ f41 1 350168"/>
              <a:gd name="f64" fmla="*/ f42 1 154638"/>
              <a:gd name="f65" fmla="*/ f43 1 350168"/>
              <a:gd name="f66" fmla="*/ f44 1 350168"/>
              <a:gd name="f67" fmla="*/ f45 1 350168"/>
              <a:gd name="f68" fmla="*/ f46 1 154638"/>
              <a:gd name="f69" fmla="*/ f47 1 350168"/>
              <a:gd name="f70" fmla="*/ f48 1 154638"/>
              <a:gd name="f71" fmla="*/ f49 1 350168"/>
              <a:gd name="f72" fmla="*/ f50 1 350168"/>
              <a:gd name="f73" fmla="*/ f51 1 154638"/>
              <a:gd name="f74" fmla="*/ f52 1 350168"/>
              <a:gd name="f75" fmla="*/ f53 1 350168"/>
              <a:gd name="f76" fmla="*/ f5 1 f31"/>
              <a:gd name="f77" fmla="*/ f6 1 f31"/>
              <a:gd name="f78" fmla="*/ f5 1 f32"/>
              <a:gd name="f79" fmla="*/ f7 1 f32"/>
              <a:gd name="f80" fmla="+- f54 0 f1"/>
              <a:gd name="f81" fmla="*/ f55 1 f31"/>
              <a:gd name="f82" fmla="*/ f56 1 f32"/>
              <a:gd name="f83" fmla="*/ f57 1 f32"/>
              <a:gd name="f84" fmla="*/ f58 1 f31"/>
              <a:gd name="f85" fmla="*/ f59 1 f31"/>
              <a:gd name="f86" fmla="*/ f60 1 f32"/>
              <a:gd name="f87" fmla="*/ f61 1 f32"/>
              <a:gd name="f88" fmla="*/ f62 1 f31"/>
              <a:gd name="f89" fmla="*/ f63 1 f31"/>
              <a:gd name="f90" fmla="*/ f64 1 f32"/>
              <a:gd name="f91" fmla="*/ f65 1 f31"/>
              <a:gd name="f92" fmla="*/ f66 1 f31"/>
              <a:gd name="f93" fmla="*/ f67 1 f31"/>
              <a:gd name="f94" fmla="*/ f68 1 f32"/>
              <a:gd name="f95" fmla="*/ f69 1 f31"/>
              <a:gd name="f96" fmla="*/ f70 1 f32"/>
              <a:gd name="f97" fmla="*/ f71 1 f31"/>
              <a:gd name="f98" fmla="*/ f72 1 f31"/>
              <a:gd name="f99" fmla="*/ f73 1 f32"/>
              <a:gd name="f100" fmla="*/ f74 1 f31"/>
              <a:gd name="f101" fmla="*/ f75 1 f31"/>
              <a:gd name="f102" fmla="*/ f76 f26 1"/>
              <a:gd name="f103" fmla="*/ f77 f26 1"/>
              <a:gd name="f104" fmla="*/ f79 f27 1"/>
              <a:gd name="f105" fmla="*/ f78 f27 1"/>
              <a:gd name="f106" fmla="*/ f81 f26 1"/>
              <a:gd name="f107" fmla="*/ f82 f27 1"/>
              <a:gd name="f108" fmla="*/ f83 f27 1"/>
              <a:gd name="f109" fmla="*/ f84 f26 1"/>
              <a:gd name="f110" fmla="*/ f85 f26 1"/>
              <a:gd name="f111" fmla="*/ f86 f27 1"/>
              <a:gd name="f112" fmla="*/ f87 f27 1"/>
              <a:gd name="f113" fmla="*/ f88 f26 1"/>
              <a:gd name="f114" fmla="*/ f89 f26 1"/>
              <a:gd name="f115" fmla="*/ f90 f27 1"/>
              <a:gd name="f116" fmla="*/ f91 f26 1"/>
              <a:gd name="f117" fmla="*/ f92 f26 1"/>
              <a:gd name="f118" fmla="*/ f93 f26 1"/>
              <a:gd name="f119" fmla="*/ f94 f27 1"/>
              <a:gd name="f120" fmla="*/ f95 f26 1"/>
              <a:gd name="f121" fmla="*/ f96 f27 1"/>
              <a:gd name="f122" fmla="*/ f97 f26 1"/>
              <a:gd name="f123" fmla="*/ f98 f26 1"/>
              <a:gd name="f124" fmla="*/ f99 f27 1"/>
              <a:gd name="f125" fmla="*/ f100 f26 1"/>
              <a:gd name="f126" fmla="*/ f101 f2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80">
                <a:pos x="f106" y="f107"/>
              </a:cxn>
              <a:cxn ang="f80">
                <a:pos x="f106" y="f108"/>
              </a:cxn>
              <a:cxn ang="f80">
                <a:pos x="f109" y="f108"/>
              </a:cxn>
              <a:cxn ang="f80">
                <a:pos x="f109" y="f107"/>
              </a:cxn>
              <a:cxn ang="f80">
                <a:pos x="f110" y="f111"/>
              </a:cxn>
              <a:cxn ang="f80">
                <a:pos x="f110" y="f112"/>
              </a:cxn>
              <a:cxn ang="f80">
                <a:pos x="f113" y="f112"/>
              </a:cxn>
              <a:cxn ang="f80">
                <a:pos x="f114" y="f115"/>
              </a:cxn>
              <a:cxn ang="f80">
                <a:pos x="f116" y="f112"/>
              </a:cxn>
              <a:cxn ang="f80">
                <a:pos x="f117" y="f112"/>
              </a:cxn>
              <a:cxn ang="f80">
                <a:pos x="f117" y="f111"/>
              </a:cxn>
              <a:cxn ang="f80">
                <a:pos x="f118" y="f111"/>
              </a:cxn>
              <a:cxn ang="f80">
                <a:pos x="f118" y="f119"/>
              </a:cxn>
              <a:cxn ang="f80">
                <a:pos x="f120" y="f121"/>
              </a:cxn>
              <a:cxn ang="f80">
                <a:pos x="f122" y="f121"/>
              </a:cxn>
              <a:cxn ang="f80">
                <a:pos x="f123" y="f124"/>
              </a:cxn>
              <a:cxn ang="f80">
                <a:pos x="f123" y="f111"/>
              </a:cxn>
              <a:cxn ang="f80">
                <a:pos x="f125" y="f111"/>
              </a:cxn>
              <a:cxn ang="f80">
                <a:pos x="f125" y="f112"/>
              </a:cxn>
              <a:cxn ang="f80">
                <a:pos x="f126" y="f112"/>
              </a:cxn>
              <a:cxn ang="f80">
                <a:pos x="f126" y="f111"/>
              </a:cxn>
            </a:cxnLst>
            <a:rect l="f102" t="f105" r="f103" b="f104"/>
            <a:pathLst>
              <a:path w="350168" h="154638">
                <a:moveTo>
                  <a:pt x="f8" y="f7"/>
                </a:moveTo>
                <a:lnTo>
                  <a:pt x="f8" y="f9"/>
                </a:lnTo>
                <a:lnTo>
                  <a:pt x="f6" y="f9"/>
                </a:lnTo>
                <a:lnTo>
                  <a:pt x="f6" y="f7"/>
                </a:lnTo>
                <a:close/>
                <a:moveTo>
                  <a:pt x="f10" y="f11"/>
                </a:moveTo>
                <a:lnTo>
                  <a:pt x="f10" y="f5"/>
                </a:lnTo>
                <a:lnTo>
                  <a:pt x="f12" y="f5"/>
                </a:lnTo>
                <a:lnTo>
                  <a:pt x="f13" y="f14"/>
                </a:lnTo>
                <a:lnTo>
                  <a:pt x="f15" y="f5"/>
                </a:lnTo>
                <a:lnTo>
                  <a:pt x="f16" y="f5"/>
                </a:lnTo>
                <a:lnTo>
                  <a:pt x="f16" y="f11"/>
                </a:lnTo>
                <a:lnTo>
                  <a:pt x="f17" y="f11"/>
                </a:lnTo>
                <a:lnTo>
                  <a:pt x="f17" y="f18"/>
                </a:lnTo>
                <a:lnTo>
                  <a:pt x="f19" y="f20"/>
                </a:lnTo>
                <a:lnTo>
                  <a:pt x="f21" y="f20"/>
                </a:lnTo>
                <a:lnTo>
                  <a:pt x="f22" y="f23"/>
                </a:lnTo>
                <a:lnTo>
                  <a:pt x="f22" y="f11"/>
                </a:lnTo>
                <a:close/>
                <a:moveTo>
                  <a:pt x="f5" y="f11"/>
                </a:moveTo>
                <a:lnTo>
                  <a:pt x="f5" y="f5"/>
                </a:lnTo>
                <a:lnTo>
                  <a:pt x="f24" y="f5"/>
                </a:lnTo>
                <a:lnTo>
                  <a:pt x="f24" y="f11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cxnSp>
        <p:nvCxnSpPr>
          <p:cNvPr id="9" name="Straight Connector 21">
            <a:extLst>
              <a:ext uri="{FF2B5EF4-FFF2-40B4-BE49-F238E27FC236}">
                <a16:creationId xmlns:a16="http://schemas.microsoft.com/office/drawing/2014/main" id="{8F116EBD-3029-4070-8443-A71C8098DCE2}"/>
              </a:ext>
            </a:extLst>
          </p:cNvPr>
          <p:cNvCxnSpPr/>
          <p:nvPr/>
        </p:nvCxnSpPr>
        <p:spPr>
          <a:xfrm>
            <a:off x="253910" y="3373306"/>
            <a:ext cx="3987693" cy="0"/>
          </a:xfrm>
          <a:prstGeom prst="straightConnector1">
            <a:avLst/>
          </a:prstGeom>
          <a:noFill/>
          <a:ln w="12701" cap="flat">
            <a:solidFill>
              <a:srgbClr val="F8F5E7"/>
            </a:solidFill>
            <a:prstDash val="solid"/>
            <a:miter/>
          </a:ln>
        </p:spPr>
      </p:cxnSp>
      <p:cxnSp>
        <p:nvCxnSpPr>
          <p:cNvPr id="10" name="Straight Connector 22">
            <a:extLst>
              <a:ext uri="{FF2B5EF4-FFF2-40B4-BE49-F238E27FC236}">
                <a16:creationId xmlns:a16="http://schemas.microsoft.com/office/drawing/2014/main" id="{BDC81770-0409-4F88-B0AC-7FEE89D8D61B}"/>
              </a:ext>
            </a:extLst>
          </p:cNvPr>
          <p:cNvCxnSpPr/>
          <p:nvPr/>
        </p:nvCxnSpPr>
        <p:spPr>
          <a:xfrm>
            <a:off x="4909973" y="3373306"/>
            <a:ext cx="3987693" cy="0"/>
          </a:xfrm>
          <a:prstGeom prst="straightConnector1">
            <a:avLst/>
          </a:prstGeom>
          <a:noFill/>
          <a:ln w="12701" cap="flat">
            <a:solidFill>
              <a:srgbClr val="F8F5E7"/>
            </a:solidFill>
            <a:prstDash val="solid"/>
            <a:miter/>
          </a:ln>
        </p:spPr>
      </p:cxnSp>
      <p:sp>
        <p:nvSpPr>
          <p:cNvPr id="11" name="Rectangle 23">
            <a:extLst>
              <a:ext uri="{FF2B5EF4-FFF2-40B4-BE49-F238E27FC236}">
                <a16:creationId xmlns:a16="http://schemas.microsoft.com/office/drawing/2014/main" id="{FD468451-36BC-4C65-8581-54DAA5AC6566}"/>
              </a:ext>
            </a:extLst>
          </p:cNvPr>
          <p:cNvSpPr/>
          <p:nvPr/>
        </p:nvSpPr>
        <p:spPr>
          <a:xfrm>
            <a:off x="253910" y="3188421"/>
            <a:ext cx="807913" cy="128818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spAutoFit/>
          </a:bodyPr>
          <a:lstStyle/>
          <a:p>
            <a:pPr marL="107999" marR="0" lvl="1" indent="-107999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1" i="0" u="none" strike="noStrike" kern="1200" cap="none" spc="0" baseline="0">
                <a:solidFill>
                  <a:srgbClr val="F8F5E7"/>
                </a:solidFill>
                <a:uFillTx/>
                <a:latin typeface="Arial"/>
              </a:rPr>
              <a:t>THE PROJECT</a:t>
            </a:r>
            <a:endParaRPr lang="en-GB" sz="750" b="0" i="0" u="none" strike="noStrike" kern="1200" cap="none" spc="0" baseline="0">
              <a:solidFill>
                <a:srgbClr val="F8F5E7"/>
              </a:solidFill>
              <a:uFillTx/>
              <a:latin typeface="Arial"/>
            </a:endParaRPr>
          </a:p>
        </p:txBody>
      </p:sp>
      <p:sp>
        <p:nvSpPr>
          <p:cNvPr id="12" name="Rectangle 24">
            <a:extLst>
              <a:ext uri="{FF2B5EF4-FFF2-40B4-BE49-F238E27FC236}">
                <a16:creationId xmlns:a16="http://schemas.microsoft.com/office/drawing/2014/main" id="{CDC6E7C2-EF53-45AE-B444-6726F7FA3192}"/>
              </a:ext>
            </a:extLst>
          </p:cNvPr>
          <p:cNvSpPr/>
          <p:nvPr/>
        </p:nvSpPr>
        <p:spPr>
          <a:xfrm>
            <a:off x="4908842" y="3188421"/>
            <a:ext cx="705321" cy="128818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spAutoFit/>
          </a:bodyPr>
          <a:lstStyle/>
          <a:p>
            <a:pPr marL="107999" marR="0" lvl="1" indent="-107999" algn="l" defTabSz="557213" rtl="0" fontAlgn="auto" hangingPunct="1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900" b="1" i="0" u="none" strike="noStrike" kern="1200" cap="none" spc="0" baseline="0">
                <a:solidFill>
                  <a:srgbClr val="F8F5E7"/>
                </a:solidFill>
                <a:uFillTx/>
                <a:latin typeface="Arial"/>
              </a:rPr>
              <a:t>THE IMPACT</a:t>
            </a:r>
            <a:endParaRPr lang="en-GB" sz="750" b="0" i="0" u="none" strike="noStrike" kern="1200" cap="none" spc="0" baseline="0">
              <a:solidFill>
                <a:srgbClr val="F8F5E7"/>
              </a:solidFill>
              <a:uFillTx/>
              <a:latin typeface="Arial"/>
            </a:endParaRPr>
          </a:p>
        </p:txBody>
      </p:sp>
      <p:sp>
        <p:nvSpPr>
          <p:cNvPr id="13" name="Text Placeholder 17">
            <a:extLst>
              <a:ext uri="{FF2B5EF4-FFF2-40B4-BE49-F238E27FC236}">
                <a16:creationId xmlns:a16="http://schemas.microsoft.com/office/drawing/2014/main" id="{7DB2F2A6-B886-4675-881E-26197D3E0E2D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53910" y="3482561"/>
            <a:ext cx="3987313" cy="1251365"/>
          </a:xfrm>
        </p:spPr>
        <p:txBody>
          <a:bodyPr/>
          <a:lstStyle>
            <a:lvl1pPr>
              <a:buNone/>
              <a:defRPr sz="750">
                <a:solidFill>
                  <a:srgbClr val="F8F5E7"/>
                </a:solidFill>
              </a:defRPr>
            </a:lvl1pPr>
            <a:lvl2pPr>
              <a:defRPr sz="750">
                <a:solidFill>
                  <a:srgbClr val="F8F5E7"/>
                </a:solidFill>
              </a:defRPr>
            </a:lvl2pPr>
            <a:lvl3pPr>
              <a:defRPr sz="750">
                <a:solidFill>
                  <a:srgbClr val="F8F5E7"/>
                </a:solidFill>
              </a:defRPr>
            </a:lvl3pPr>
            <a:lvl4pPr>
              <a:defRPr sz="750">
                <a:solidFill>
                  <a:srgbClr val="F8F5E7"/>
                </a:solidFill>
              </a:defRPr>
            </a:lvl4pPr>
            <a:lvl5pPr>
              <a:defRPr sz="75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4" name="Text Placeholder 34">
            <a:extLst>
              <a:ext uri="{FF2B5EF4-FFF2-40B4-BE49-F238E27FC236}">
                <a16:creationId xmlns:a16="http://schemas.microsoft.com/office/drawing/2014/main" id="{E7647FDE-FD73-4E45-B7E4-213128A292F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909973" y="3482561"/>
            <a:ext cx="3987692" cy="1251365"/>
          </a:xfrm>
        </p:spPr>
        <p:txBody>
          <a:bodyPr/>
          <a:lstStyle>
            <a:lvl1pPr>
              <a:buNone/>
              <a:defRPr sz="750">
                <a:solidFill>
                  <a:srgbClr val="F8F5E7"/>
                </a:solidFill>
              </a:defRPr>
            </a:lvl1pPr>
            <a:lvl2pPr>
              <a:defRPr sz="750">
                <a:solidFill>
                  <a:srgbClr val="F8F5E7"/>
                </a:solidFill>
              </a:defRPr>
            </a:lvl2pPr>
            <a:lvl3pPr>
              <a:defRPr sz="750">
                <a:solidFill>
                  <a:srgbClr val="F8F5E7"/>
                </a:solidFill>
              </a:defRPr>
            </a:lvl3pPr>
            <a:lvl4pPr>
              <a:defRPr sz="750">
                <a:solidFill>
                  <a:srgbClr val="F8F5E7"/>
                </a:solidFill>
              </a:defRPr>
            </a:lvl4pPr>
            <a:lvl5pPr>
              <a:defRPr sz="750">
                <a:solidFill>
                  <a:srgbClr val="F8F5E7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15" name="Rectangle 19">
            <a:extLst>
              <a:ext uri="{FF2B5EF4-FFF2-40B4-BE49-F238E27FC236}">
                <a16:creationId xmlns:a16="http://schemas.microsoft.com/office/drawing/2014/main" id="{E511E1B1-0D56-4384-A6BF-432B48D4F941}"/>
              </a:ext>
            </a:extLst>
          </p:cNvPr>
          <p:cNvSpPr/>
          <p:nvPr/>
        </p:nvSpPr>
        <p:spPr>
          <a:xfrm>
            <a:off x="253910" y="1133333"/>
            <a:ext cx="321098" cy="103875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0" tIns="0" rIns="0" bIns="0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FFFFFF"/>
                </a:solidFill>
                <a:uFillTx/>
                <a:latin typeface="Arial"/>
              </a:rPr>
              <a:t>CASE</a:t>
            </a:r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C2D8F30B-ECD4-4289-AA54-153DA24BAEF6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fld id="{81EB9D09-4192-46F0-AB5E-FC930AE5BCCD}" type="slidenum">
              <a:t>‹nr.›</a:t>
            </a:fld>
            <a:endParaRPr lang="en-GB"/>
          </a:p>
        </p:txBody>
      </p:sp>
      <p:sp>
        <p:nvSpPr>
          <p:cNvPr id="17" name="Date Placeholder 8" hidden="1">
            <a:extLst>
              <a:ext uri="{FF2B5EF4-FFF2-40B4-BE49-F238E27FC236}">
                <a16:creationId xmlns:a16="http://schemas.microsoft.com/office/drawing/2014/main" id="{75DEC3E8-A361-418C-A721-C25478C2A0ED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8C714780-191D-476E-A349-C5B16998A433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18" name="Footer Placeholder 11" hidden="1">
            <a:extLst>
              <a:ext uri="{FF2B5EF4-FFF2-40B4-BE49-F238E27FC236}">
                <a16:creationId xmlns:a16="http://schemas.microsoft.com/office/drawing/2014/main" id="{27A59A6B-CEDA-4E10-B507-89D57068B6BF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Footer</a:t>
            </a:r>
          </a:p>
        </p:txBody>
      </p:sp>
      <p:sp>
        <p:nvSpPr>
          <p:cNvPr id="19" name="TextBox 33">
            <a:extLst>
              <a:ext uri="{FF2B5EF4-FFF2-40B4-BE49-F238E27FC236}">
                <a16:creationId xmlns:a16="http://schemas.microsoft.com/office/drawing/2014/main" id="{4BD814D8-89B8-4BA4-B1EF-E7783F461CA8}"/>
              </a:ext>
            </a:extLst>
          </p:cNvPr>
          <p:cNvSpPr txBox="1"/>
          <p:nvPr/>
        </p:nvSpPr>
        <p:spPr>
          <a:xfrm>
            <a:off x="9329581" y="0"/>
            <a:ext cx="1449599" cy="1654757"/>
          </a:xfrm>
          <a:prstGeom prst="rect">
            <a:avLst/>
          </a:prstGeom>
          <a:solidFill>
            <a:srgbClr val="E2DED9"/>
          </a:solidFill>
          <a:ln cap="flat">
            <a:noFill/>
          </a:ln>
        </p:spPr>
        <p:txBody>
          <a:bodyPr vert="horz" wrap="square" lIns="80999" tIns="80999" rIns="80999" bIns="80999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1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ASE DATA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For internal use only – delete before sharing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00" b="0" i="0" u="none" strike="noStrike" kern="1200" cap="none" spc="0" baseline="0">
              <a:solidFill>
                <a:srgbClr val="000000"/>
              </a:solidFill>
              <a:uFillTx/>
              <a:latin typeface="Arial"/>
            </a:endParaRP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Client name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Maconomy project name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Industry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Keywords: xx, xx,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Year(s): 20xx – 20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00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rPr>
              <a:t>Implement contact person: xx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600" b="0" i="0" u="none" strike="noStrike" kern="1200" cap="none" spc="0" baseline="0">
              <a:solidFill>
                <a:srgbClr val="000000"/>
              </a:solidFill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93146659"/>
      </p:ext>
    </p:extLst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y 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20">
            <a:extLst>
              <a:ext uri="{FF2B5EF4-FFF2-40B4-BE49-F238E27FC236}">
                <a16:creationId xmlns:a16="http://schemas.microsoft.com/office/drawing/2014/main" id="{478F1817-7B8D-4043-B550-DB41755A1ED2}"/>
              </a:ext>
            </a:extLst>
          </p:cNvPr>
          <p:cNvSpPr txBox="1"/>
          <p:nvPr/>
        </p:nvSpPr>
        <p:spPr>
          <a:xfrm>
            <a:off x="1" y="2310974"/>
            <a:ext cx="8891951" cy="2832525"/>
          </a:xfrm>
          <a:prstGeom prst="rect">
            <a:avLst/>
          </a:prstGeom>
          <a:solidFill>
            <a:srgbClr val="30373B"/>
          </a:solidFill>
          <a:ln cap="flat">
            <a:noFill/>
          </a:ln>
        </p:spPr>
        <p:txBody>
          <a:bodyPr vert="horz" wrap="square" lIns="80999" tIns="80999" rIns="80999" bIns="80999" anchor="t" anchorCtr="0" compatLnSpc="1">
            <a:noAutofit/>
          </a:bodyPr>
          <a:lstStyle/>
          <a:p>
            <a:pPr marL="0" marR="0" lvl="1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e-DE" sz="826" b="0" i="0" u="none" strike="noStrike" kern="1200" cap="none" spc="0" baseline="0">
              <a:solidFill>
                <a:srgbClr val="2F363B"/>
              </a:solidFill>
              <a:uFillTx/>
              <a:latin typeface="Arial" pitchFamily="34"/>
            </a:endParaRP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1ACC5298-BEDA-4A2D-9319-A7B0CEE00BBB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7175992" y="3430269"/>
            <a:ext cx="1714499" cy="148825"/>
          </a:xfrm>
        </p:spPr>
        <p:txBody>
          <a:bodyPr lIns="270004" rIns="270004" anchor="ctr"/>
          <a:lstStyle>
            <a:lvl1pPr>
              <a:defRPr sz="75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January 2020</a:t>
            </a:r>
            <a:endParaRPr lang="da-DK"/>
          </a:p>
        </p:txBody>
      </p:sp>
      <p:grpSp>
        <p:nvGrpSpPr>
          <p:cNvPr id="4" name="Group 1">
            <a:extLst>
              <a:ext uri="{FF2B5EF4-FFF2-40B4-BE49-F238E27FC236}">
                <a16:creationId xmlns:a16="http://schemas.microsoft.com/office/drawing/2014/main" id="{2F1AE71B-B09E-48B0-9F5A-673B757724A0}"/>
              </a:ext>
            </a:extLst>
          </p:cNvPr>
          <p:cNvGrpSpPr/>
          <p:nvPr/>
        </p:nvGrpSpPr>
        <p:grpSpPr>
          <a:xfrm>
            <a:off x="249117" y="1"/>
            <a:ext cx="8894888" cy="4956386"/>
            <a:chOff x="269876" y="0"/>
            <a:chExt cx="9636129" cy="6608515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965D2AD0-42DE-4639-9A43-4F03CC9E12D3}"/>
                </a:ext>
              </a:extLst>
            </p:cNvPr>
            <p:cNvSpPr/>
            <p:nvPr/>
          </p:nvSpPr>
          <p:spPr>
            <a:xfrm>
              <a:off x="269876" y="280739"/>
              <a:ext cx="9364663" cy="6327776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9586368"/>
                <a:gd name="f7" fmla="val 6479439"/>
                <a:gd name="f8" fmla="val 2157895"/>
                <a:gd name="f9" fmla="val 6461491"/>
                <a:gd name="f10" fmla="val 2167802"/>
                <a:gd name="f11" fmla="val 2171820"/>
                <a:gd name="f12" fmla="val 6465529"/>
                <a:gd name="f13" fmla="val 6475400"/>
                <a:gd name="f14" fmla="val 2153871"/>
                <a:gd name="f15" fmla="val 1918509"/>
                <a:gd name="f16" fmla="val 1928419"/>
                <a:gd name="f17" fmla="val 1932437"/>
                <a:gd name="f18" fmla="val 1914490"/>
                <a:gd name="f19" fmla="val 1679200"/>
                <a:gd name="f20" fmla="val 1689110"/>
                <a:gd name="f21" fmla="val 1693128"/>
                <a:gd name="f22" fmla="val 1675180"/>
                <a:gd name="f23" fmla="val 1439885"/>
                <a:gd name="f24" fmla="val 1449795"/>
                <a:gd name="f25" fmla="val 1453813"/>
                <a:gd name="f26" fmla="val 1435865"/>
                <a:gd name="f27" fmla="val 1200570"/>
                <a:gd name="f28" fmla="val 1210480"/>
                <a:gd name="f29" fmla="val 1214498"/>
                <a:gd name="f30" fmla="val 1196551"/>
                <a:gd name="f31" fmla="val 961257"/>
                <a:gd name="f32" fmla="val 971167"/>
                <a:gd name="f33" fmla="val 975186"/>
                <a:gd name="f34" fmla="val 957238"/>
                <a:gd name="f35" fmla="val 9572438"/>
                <a:gd name="f36" fmla="val 6461440"/>
                <a:gd name="f37" fmla="val 9582349"/>
                <a:gd name="f38" fmla="val 6465478"/>
                <a:gd name="f39" fmla="val 6475349"/>
                <a:gd name="f40" fmla="val 6479388"/>
                <a:gd name="f41" fmla="val 9568419"/>
                <a:gd name="f42" fmla="val 9333125"/>
                <a:gd name="f43" fmla="val 9343036"/>
                <a:gd name="f44" fmla="val 9347055"/>
                <a:gd name="f45" fmla="val 9329106"/>
                <a:gd name="f46" fmla="val 9093811"/>
                <a:gd name="f47" fmla="val 9103722"/>
                <a:gd name="f48" fmla="val 9107741"/>
                <a:gd name="f49" fmla="val 9089792"/>
                <a:gd name="f50" fmla="val 8854496"/>
                <a:gd name="f51" fmla="val 8864407"/>
                <a:gd name="f52" fmla="val 8868426"/>
                <a:gd name="f53" fmla="val 8850477"/>
                <a:gd name="f54" fmla="val 8615184"/>
                <a:gd name="f55" fmla="val 8625095"/>
                <a:gd name="f56" fmla="val 8629114"/>
                <a:gd name="f57" fmla="val 8611165"/>
                <a:gd name="f58" fmla="val 8375869"/>
                <a:gd name="f59" fmla="val 8385779"/>
                <a:gd name="f60" fmla="val 8389799"/>
                <a:gd name="f61" fmla="val 8371850"/>
                <a:gd name="f62" fmla="val 8136553"/>
                <a:gd name="f63" fmla="val 8146464"/>
                <a:gd name="f64" fmla="val 8150483"/>
                <a:gd name="f65" fmla="val 8132534"/>
                <a:gd name="f66" fmla="val 7897241"/>
                <a:gd name="f67" fmla="val 7907151"/>
                <a:gd name="f68" fmla="val 7911170"/>
                <a:gd name="f69" fmla="val 7893222"/>
                <a:gd name="f70" fmla="val 7657926"/>
                <a:gd name="f71" fmla="val 7667836"/>
                <a:gd name="f72" fmla="val 7671855"/>
                <a:gd name="f73" fmla="val 7653906"/>
                <a:gd name="f74" fmla="val 7418611"/>
                <a:gd name="f75" fmla="val 7428521"/>
                <a:gd name="f76" fmla="val 7432540"/>
                <a:gd name="f77" fmla="val 7414592"/>
                <a:gd name="f78" fmla="val 7179298"/>
                <a:gd name="f79" fmla="val 7189209"/>
                <a:gd name="f80" fmla="val 7193228"/>
                <a:gd name="f81" fmla="val 7175279"/>
                <a:gd name="f82" fmla="val 6939983"/>
                <a:gd name="f83" fmla="val 6949894"/>
                <a:gd name="f84" fmla="val 6953913"/>
                <a:gd name="f85" fmla="val 6935964"/>
                <a:gd name="f86" fmla="val 6700670"/>
                <a:gd name="f87" fmla="val 6710581"/>
                <a:gd name="f88" fmla="val 6714600"/>
                <a:gd name="f89" fmla="val 6696651"/>
                <a:gd name="f90" fmla="val 6461356"/>
                <a:gd name="f91" fmla="val 6471266"/>
                <a:gd name="f92" fmla="val 6475285"/>
                <a:gd name="f93" fmla="val 6457337"/>
                <a:gd name="f94" fmla="val 6222042"/>
                <a:gd name="f95" fmla="val 6231952"/>
                <a:gd name="f96" fmla="val 6235971"/>
                <a:gd name="f97" fmla="val 6218023"/>
                <a:gd name="f98" fmla="val 5982729"/>
                <a:gd name="f99" fmla="val 5992639"/>
                <a:gd name="f100" fmla="val 5996658"/>
                <a:gd name="f101" fmla="val 5978710"/>
                <a:gd name="f102" fmla="val 5743412"/>
                <a:gd name="f103" fmla="val 5753323"/>
                <a:gd name="f104" fmla="val 5757342"/>
                <a:gd name="f105" fmla="val 5739393"/>
                <a:gd name="f106" fmla="val 5504099"/>
                <a:gd name="f107" fmla="val 5514010"/>
                <a:gd name="f108" fmla="val 5518029"/>
                <a:gd name="f109" fmla="val 5500080"/>
                <a:gd name="f110" fmla="val 5264784"/>
                <a:gd name="f111" fmla="val 5274694"/>
                <a:gd name="f112" fmla="val 5278713"/>
                <a:gd name="f113" fmla="val 5260765"/>
                <a:gd name="f114" fmla="val 5025470"/>
                <a:gd name="f115" fmla="val 5035381"/>
                <a:gd name="f116" fmla="val 5039400"/>
                <a:gd name="f117" fmla="val 5021451"/>
                <a:gd name="f118" fmla="val 4786241"/>
                <a:gd name="f119" fmla="val 4796152"/>
                <a:gd name="f120" fmla="val 4800171"/>
                <a:gd name="f121" fmla="val 4782224"/>
                <a:gd name="f122" fmla="val 4546929"/>
                <a:gd name="f123" fmla="val 4556840"/>
                <a:gd name="f124" fmla="val 4560859"/>
                <a:gd name="f125" fmla="val 4542910"/>
                <a:gd name="f126" fmla="val 4307612"/>
                <a:gd name="f127" fmla="val 4317523"/>
                <a:gd name="f128" fmla="val 4321543"/>
                <a:gd name="f129" fmla="val 4303595"/>
                <a:gd name="f130" fmla="val 4068297"/>
                <a:gd name="f131" fmla="val 4078210"/>
                <a:gd name="f132" fmla="val 4082229"/>
                <a:gd name="f133" fmla="val 4064278"/>
                <a:gd name="f134" fmla="val 3828990"/>
                <a:gd name="f135" fmla="val 3838899"/>
                <a:gd name="f136" fmla="val 3842917"/>
                <a:gd name="f137" fmla="val 3824971"/>
                <a:gd name="f138" fmla="val 3589676"/>
                <a:gd name="f139" fmla="val 3599585"/>
                <a:gd name="f140" fmla="val 3603604"/>
                <a:gd name="f141" fmla="val 3585657"/>
                <a:gd name="f142" fmla="val 3350359"/>
                <a:gd name="f143" fmla="val 3360268"/>
                <a:gd name="f144" fmla="val 3364287"/>
                <a:gd name="f145" fmla="val 3346340"/>
                <a:gd name="f146" fmla="val 3111048"/>
                <a:gd name="f147" fmla="val 3120959"/>
                <a:gd name="f148" fmla="val 3124977"/>
                <a:gd name="f149" fmla="val 3107029"/>
                <a:gd name="f150" fmla="val 2871737"/>
                <a:gd name="f151" fmla="val 2881646"/>
                <a:gd name="f152" fmla="val 2885666"/>
                <a:gd name="f153" fmla="val 2867717"/>
                <a:gd name="f154" fmla="val 2632423"/>
                <a:gd name="f155" fmla="val 2642334"/>
                <a:gd name="f156" fmla="val 2646352"/>
                <a:gd name="f157" fmla="val 2628404"/>
                <a:gd name="f158" fmla="val 2393104"/>
                <a:gd name="f159" fmla="val 2403015"/>
                <a:gd name="f160" fmla="val 2407034"/>
                <a:gd name="f161" fmla="val 2389087"/>
                <a:gd name="f162" fmla="val 721958"/>
                <a:gd name="f163" fmla="val 731868"/>
                <a:gd name="f164" fmla="val 735887"/>
                <a:gd name="f165" fmla="val 717939"/>
                <a:gd name="f166" fmla="val 482646"/>
                <a:gd name="f167" fmla="val 492556"/>
                <a:gd name="f168" fmla="val 496575"/>
                <a:gd name="f169" fmla="val 478627"/>
                <a:gd name="f170" fmla="val 243332"/>
                <a:gd name="f171" fmla="val 253242"/>
                <a:gd name="f172" fmla="val 257261"/>
                <a:gd name="f173" fmla="val 239313"/>
                <a:gd name="f174" fmla="val 4019"/>
                <a:gd name="f175" fmla="val 13929"/>
                <a:gd name="f176" fmla="val 17949"/>
                <a:gd name="f177" fmla="val 6222160"/>
                <a:gd name="f178" fmla="val 6226198"/>
                <a:gd name="f179" fmla="val 6236069"/>
                <a:gd name="f180" fmla="val 6240109"/>
                <a:gd name="f181" fmla="val 2157818"/>
                <a:gd name="f182" fmla="val 2167728"/>
                <a:gd name="f183" fmla="val 2171746"/>
                <a:gd name="f184" fmla="val 2153799"/>
                <a:gd name="f185" fmla="val 1932438"/>
                <a:gd name="f186" fmla="val 1693129"/>
                <a:gd name="f187" fmla="val 1675182"/>
                <a:gd name="f188" fmla="val 1453814"/>
                <a:gd name="f189" fmla="val 1435866"/>
                <a:gd name="f190" fmla="val 1210481"/>
                <a:gd name="f191" fmla="val 1214499"/>
                <a:gd name="f192" fmla="val 961258"/>
                <a:gd name="f193" fmla="val 957239"/>
                <a:gd name="f194" fmla="val 721959"/>
                <a:gd name="f195" fmla="val 731869"/>
                <a:gd name="f196" fmla="val 735888"/>
                <a:gd name="f197" fmla="val 717940"/>
                <a:gd name="f198" fmla="val 492557"/>
                <a:gd name="f199" fmla="val 496576"/>
                <a:gd name="f200" fmla="val 243333"/>
                <a:gd name="f201" fmla="val 253243"/>
                <a:gd name="f202" fmla="val 257263"/>
                <a:gd name="f203" fmla="val 239314"/>
                <a:gd name="f204" fmla="val 4020"/>
                <a:gd name="f205" fmla="val 13930"/>
                <a:gd name="f206" fmla="val 1"/>
                <a:gd name="f207" fmla="val 5982881"/>
                <a:gd name="f208" fmla="val 2171747"/>
                <a:gd name="f209" fmla="val 5986919"/>
                <a:gd name="f210" fmla="val 5996790"/>
                <a:gd name="f211" fmla="val 6000829"/>
                <a:gd name="f212" fmla="val 1928420"/>
                <a:gd name="f213" fmla="val 1679201"/>
                <a:gd name="f214" fmla="val 1689111"/>
                <a:gd name="f215" fmla="val 1439886"/>
                <a:gd name="f216" fmla="val 1449796"/>
                <a:gd name="f217" fmla="val 1200571"/>
                <a:gd name="f218" fmla="val 1214500"/>
                <a:gd name="f219" fmla="val 1196553"/>
                <a:gd name="f220" fmla="val 971168"/>
                <a:gd name="f221" fmla="val 975187"/>
                <a:gd name="f222" fmla="val 5982829"/>
                <a:gd name="f223" fmla="val 5986868"/>
                <a:gd name="f224" fmla="val 5996739"/>
                <a:gd name="f225" fmla="val 6000778"/>
                <a:gd name="f226" fmla="val 721960"/>
                <a:gd name="f227" fmla="val 482647"/>
                <a:gd name="f228" fmla="val 478628"/>
                <a:gd name="f229" fmla="val 243334"/>
                <a:gd name="f230" fmla="val 253244"/>
                <a:gd name="f231" fmla="val 239315"/>
                <a:gd name="f232" fmla="val 4021"/>
                <a:gd name="f233" fmla="val 13931"/>
                <a:gd name="f234" fmla="val 17950"/>
                <a:gd name="f235" fmla="val 5743551"/>
                <a:gd name="f236" fmla="val 5747589"/>
                <a:gd name="f237" fmla="val 5757460"/>
                <a:gd name="f238" fmla="val 5761499"/>
                <a:gd name="f239" fmla="val 1918510"/>
                <a:gd name="f240" fmla="val 1689112"/>
                <a:gd name="f241" fmla="val 1693131"/>
                <a:gd name="f242" fmla="val 1675183"/>
                <a:gd name="f243" fmla="val 1449797"/>
                <a:gd name="f244" fmla="val 1453815"/>
                <a:gd name="f245" fmla="val 1435868"/>
                <a:gd name="f246" fmla="val 1200572"/>
                <a:gd name="f247" fmla="val 1210482"/>
                <a:gd name="f248" fmla="val 961259"/>
                <a:gd name="f249" fmla="val 971169"/>
                <a:gd name="f250" fmla="val 975188"/>
                <a:gd name="f251" fmla="val 957240"/>
                <a:gd name="f252" fmla="val 5743499"/>
                <a:gd name="f253" fmla="val 5747537"/>
                <a:gd name="f254" fmla="val 5757408"/>
                <a:gd name="f255" fmla="val 5761447"/>
                <a:gd name="f256" fmla="val 731871"/>
                <a:gd name="f257" fmla="val 735889"/>
                <a:gd name="f258" fmla="val 717941"/>
                <a:gd name="f259" fmla="val 482648"/>
                <a:gd name="f260" fmla="val 492558"/>
                <a:gd name="f261" fmla="val 496578"/>
                <a:gd name="f262" fmla="val 478629"/>
                <a:gd name="f263" fmla="val 253245"/>
                <a:gd name="f264" fmla="val 257264"/>
                <a:gd name="f265" fmla="val 13932"/>
                <a:gd name="f266" fmla="val 2"/>
                <a:gd name="f267" fmla="val 5504220"/>
                <a:gd name="f268" fmla="val 5508258"/>
                <a:gd name="f269" fmla="val 5518129"/>
                <a:gd name="f270" fmla="val 5522168"/>
                <a:gd name="f271" fmla="val 2171748"/>
                <a:gd name="f272" fmla="val 1679202"/>
                <a:gd name="f273" fmla="val 1693132"/>
                <a:gd name="f274" fmla="val 1675184"/>
                <a:gd name="f275" fmla="val 1439887"/>
                <a:gd name="f276" fmla="val 1435869"/>
                <a:gd name="f277" fmla="val 1210483"/>
                <a:gd name="f278" fmla="val 1214501"/>
                <a:gd name="f279" fmla="val 1196554"/>
                <a:gd name="f280" fmla="val 961260"/>
                <a:gd name="f281" fmla="val 975189"/>
                <a:gd name="f282" fmla="val 957241"/>
                <a:gd name="f283" fmla="val 721961"/>
                <a:gd name="f284" fmla="val 735890"/>
                <a:gd name="f285" fmla="val 717942"/>
                <a:gd name="f286" fmla="val 482649"/>
                <a:gd name="f287" fmla="val 492559"/>
                <a:gd name="f288" fmla="val 478630"/>
                <a:gd name="f289" fmla="val 243335"/>
                <a:gd name="f290" fmla="val 239316"/>
                <a:gd name="f291" fmla="val 4022"/>
                <a:gd name="f292" fmla="val 17951"/>
                <a:gd name="f293" fmla="val 3"/>
                <a:gd name="f294" fmla="val 5264940"/>
                <a:gd name="f295" fmla="val 2167729"/>
                <a:gd name="f296" fmla="val 5268978"/>
                <a:gd name="f297" fmla="val 5278849"/>
                <a:gd name="f298" fmla="val 5282888"/>
                <a:gd name="f299" fmla="val 1914492"/>
                <a:gd name="f300" fmla="val 1679204"/>
                <a:gd name="f301" fmla="val 1689113"/>
                <a:gd name="f302" fmla="val 1439889"/>
                <a:gd name="f303" fmla="val 1449798"/>
                <a:gd name="f304" fmla="val 1453817"/>
                <a:gd name="f305" fmla="val 1200573"/>
                <a:gd name="f306" fmla="val 1214502"/>
                <a:gd name="f307" fmla="val 971171"/>
                <a:gd name="f308" fmla="val 5264889"/>
                <a:gd name="f309" fmla="val 5268928"/>
                <a:gd name="f310" fmla="val 5278799"/>
                <a:gd name="f311" fmla="val 5282838"/>
                <a:gd name="f312" fmla="val 731872"/>
                <a:gd name="f313" fmla="val 735891"/>
                <a:gd name="f314" fmla="val 717943"/>
                <a:gd name="f315" fmla="val 492560"/>
                <a:gd name="f316" fmla="val 496579"/>
                <a:gd name="f317" fmla="val 243336"/>
                <a:gd name="f318" fmla="val 253246"/>
                <a:gd name="f319" fmla="val 257265"/>
                <a:gd name="f320" fmla="val 239317"/>
                <a:gd name="f321" fmla="val 13933"/>
                <a:gd name="f322" fmla="val 17952"/>
                <a:gd name="f323" fmla="val 2157819"/>
                <a:gd name="f324" fmla="val 5025610"/>
                <a:gd name="f325" fmla="val 5029648"/>
                <a:gd name="f326" fmla="val 5039519"/>
                <a:gd name="f327" fmla="val 5043558"/>
                <a:gd name="f328" fmla="val 2153800"/>
                <a:gd name="f329" fmla="val 1932440"/>
                <a:gd name="f330" fmla="val 1689115"/>
                <a:gd name="f331" fmla="val 1693133"/>
                <a:gd name="f332" fmla="val 1675185"/>
                <a:gd name="f333" fmla="val 1453818"/>
                <a:gd name="f334" fmla="val 1435870"/>
                <a:gd name="f335" fmla="val 1210484"/>
                <a:gd name="f336" fmla="val 1196555"/>
                <a:gd name="f337" fmla="val 961261"/>
                <a:gd name="f338" fmla="val 975190"/>
                <a:gd name="f339" fmla="val 957242"/>
                <a:gd name="f340" fmla="val 5025558"/>
                <a:gd name="f341" fmla="val 5029597"/>
                <a:gd name="f342" fmla="val 5039468"/>
                <a:gd name="f343" fmla="val 5043507"/>
                <a:gd name="f344" fmla="val 721962"/>
                <a:gd name="f345" fmla="val 717944"/>
                <a:gd name="f346" fmla="val 482650"/>
                <a:gd name="f347" fmla="val 496580"/>
                <a:gd name="f348" fmla="val 478631"/>
                <a:gd name="f349" fmla="val 253247"/>
                <a:gd name="f350" fmla="val 257266"/>
                <a:gd name="f351" fmla="val 4024"/>
                <a:gd name="f352" fmla="val 4"/>
                <a:gd name="f353" fmla="val 4786279"/>
                <a:gd name="f354" fmla="val 4790317"/>
                <a:gd name="f355" fmla="val 4800188"/>
                <a:gd name="f356" fmla="val 4804227"/>
                <a:gd name="f357" fmla="val 1679205"/>
                <a:gd name="f358" fmla="val 1693134"/>
                <a:gd name="f359" fmla="val 1675187"/>
                <a:gd name="f360" fmla="val 1439890"/>
                <a:gd name="f361" fmla="val 1449800"/>
                <a:gd name="f362" fmla="val 1200574"/>
                <a:gd name="f363" fmla="val 1214503"/>
                <a:gd name="f364" fmla="val 961262"/>
                <a:gd name="f365" fmla="val 971172"/>
                <a:gd name="f366" fmla="val 721963"/>
                <a:gd name="f367" fmla="val 731873"/>
                <a:gd name="f368" fmla="val 735892"/>
                <a:gd name="f369" fmla="val 482651"/>
                <a:gd name="f370" fmla="val 492561"/>
                <a:gd name="f371" fmla="val 478632"/>
                <a:gd name="f372" fmla="val 243338"/>
                <a:gd name="f373" fmla="val 239318"/>
                <a:gd name="f374" fmla="val 13934"/>
                <a:gd name="f375" fmla="val 17954"/>
                <a:gd name="f376" fmla="val 5"/>
                <a:gd name="f377" fmla="val 4546999"/>
                <a:gd name="f378" fmla="val 4551038"/>
                <a:gd name="f379" fmla="val 4560909"/>
                <a:gd name="f380" fmla="val 4564948"/>
                <a:gd name="f381" fmla="val 2153801"/>
                <a:gd name="f382" fmla="val 1928421"/>
                <a:gd name="f383" fmla="val 1679206"/>
                <a:gd name="f384" fmla="val 1689116"/>
                <a:gd name="f385" fmla="val 1453819"/>
                <a:gd name="f386" fmla="val 1435871"/>
                <a:gd name="f387" fmla="val 1200575"/>
                <a:gd name="f388" fmla="val 1210485"/>
                <a:gd name="f389" fmla="val 1214504"/>
                <a:gd name="f390" fmla="val 1196556"/>
                <a:gd name="f391" fmla="val 975191"/>
                <a:gd name="f392" fmla="val 957243"/>
                <a:gd name="f393" fmla="val 4546948"/>
                <a:gd name="f394" fmla="val 4550987"/>
                <a:gd name="f395" fmla="val 4560858"/>
                <a:gd name="f396" fmla="val 4564897"/>
                <a:gd name="f397" fmla="val 721964"/>
                <a:gd name="f398" fmla="val 731874"/>
                <a:gd name="f399" fmla="val 735893"/>
                <a:gd name="f400" fmla="val 717945"/>
                <a:gd name="f401" fmla="val 492562"/>
                <a:gd name="f402" fmla="val 496581"/>
                <a:gd name="f403" fmla="val 253248"/>
                <a:gd name="f404" fmla="val 257267"/>
                <a:gd name="f405" fmla="val 239319"/>
                <a:gd name="f406" fmla="val 4025"/>
                <a:gd name="f407" fmla="val 13935"/>
                <a:gd name="f408" fmla="val 6"/>
                <a:gd name="f409" fmla="val 4307669"/>
                <a:gd name="f410" fmla="val 2171749"/>
                <a:gd name="f411" fmla="val 4311708"/>
                <a:gd name="f412" fmla="val 4321579"/>
                <a:gd name="f413" fmla="val 4325618"/>
                <a:gd name="f414" fmla="val 1918511"/>
                <a:gd name="f415" fmla="val 1689117"/>
                <a:gd name="f416" fmla="val 1693136"/>
                <a:gd name="f417" fmla="val 1675188"/>
                <a:gd name="f418" fmla="val 1439891"/>
                <a:gd name="f419" fmla="val 1449801"/>
                <a:gd name="f420" fmla="val 1210486"/>
                <a:gd name="f421" fmla="val 1214505"/>
                <a:gd name="f422" fmla="val 961263"/>
                <a:gd name="f423" fmla="val 971173"/>
                <a:gd name="f424" fmla="val 957244"/>
                <a:gd name="f425" fmla="val 4307617"/>
                <a:gd name="f426" fmla="val 4311656"/>
                <a:gd name="f427" fmla="val 4321527"/>
                <a:gd name="f428" fmla="val 4325566"/>
                <a:gd name="f429" fmla="val 721965"/>
                <a:gd name="f430" fmla="val 482652"/>
                <a:gd name="f431" fmla="val 478633"/>
                <a:gd name="f432" fmla="val 243339"/>
                <a:gd name="f433" fmla="val 253249"/>
                <a:gd name="f434" fmla="val 257268"/>
                <a:gd name="f435" fmla="val 239320"/>
                <a:gd name="f436" fmla="val 13936"/>
                <a:gd name="f437" fmla="val 17955"/>
                <a:gd name="f438" fmla="val 7"/>
                <a:gd name="f439" fmla="val 4068339"/>
                <a:gd name="f440" fmla="val 4072377"/>
                <a:gd name="f441" fmla="val 4082248"/>
                <a:gd name="f442" fmla="val 4086287"/>
                <a:gd name="f443" fmla="val 1679207"/>
                <a:gd name="f444" fmla="val 1693137"/>
                <a:gd name="f445" fmla="val 1675189"/>
                <a:gd name="f446" fmla="val 1449802"/>
                <a:gd name="f447" fmla="val 1453820"/>
                <a:gd name="f448" fmla="val 1435873"/>
                <a:gd name="f449" fmla="val 1200576"/>
                <a:gd name="f450" fmla="val 1196558"/>
                <a:gd name="f451" fmla="val 971174"/>
                <a:gd name="f452" fmla="val 975192"/>
                <a:gd name="f453" fmla="val 731876"/>
                <a:gd name="f454" fmla="val 735894"/>
                <a:gd name="f455" fmla="val 717946"/>
                <a:gd name="f456" fmla="val 482653"/>
                <a:gd name="f457" fmla="val 492563"/>
                <a:gd name="f458" fmla="val 496583"/>
                <a:gd name="f459" fmla="val 478634"/>
                <a:gd name="f460" fmla="val 253250"/>
                <a:gd name="f461" fmla="val 257269"/>
                <a:gd name="f462" fmla="val 4026"/>
                <a:gd name="f463" fmla="val 17956"/>
                <a:gd name="f464" fmla="val 2157820"/>
                <a:gd name="f465" fmla="val 3829058"/>
                <a:gd name="f466" fmla="val 2167731"/>
                <a:gd name="f467" fmla="val 3833097"/>
                <a:gd name="f468" fmla="val 3842968"/>
                <a:gd name="f469" fmla="val 3847007"/>
                <a:gd name="f470" fmla="val 1914493"/>
                <a:gd name="f471" fmla="val 1679209"/>
                <a:gd name="f472" fmla="val 1689118"/>
                <a:gd name="f473" fmla="val 1439892"/>
                <a:gd name="f474" fmla="val 1435874"/>
                <a:gd name="f475" fmla="val 1200577"/>
                <a:gd name="f476" fmla="val 1210487"/>
                <a:gd name="f477" fmla="val 1214506"/>
                <a:gd name="f478" fmla="val 961264"/>
                <a:gd name="f479" fmla="val 975193"/>
                <a:gd name="f480" fmla="val 957245"/>
                <a:gd name="f481" fmla="val 3829008"/>
                <a:gd name="f482" fmla="val 3833046"/>
                <a:gd name="f483" fmla="val 3846956"/>
                <a:gd name="f484" fmla="val 721966"/>
                <a:gd name="f485" fmla="val 735895"/>
                <a:gd name="f486" fmla="val 717947"/>
                <a:gd name="f487" fmla="val 482654"/>
                <a:gd name="f488" fmla="val 492564"/>
                <a:gd name="f489" fmla="val 478635"/>
                <a:gd name="f490" fmla="val 243340"/>
                <a:gd name="f491" fmla="val 239321"/>
                <a:gd name="f492" fmla="val 4027"/>
                <a:gd name="f493" fmla="val 13937"/>
                <a:gd name="f494" fmla="val 8"/>
                <a:gd name="f495" fmla="val 3589728"/>
                <a:gd name="f496" fmla="val 3593767"/>
                <a:gd name="f497" fmla="val 3603637"/>
                <a:gd name="f498" fmla="val 3607676"/>
                <a:gd name="f499" fmla="val 1932441"/>
                <a:gd name="f500" fmla="val 1693138"/>
                <a:gd name="f501" fmla="val 1675190"/>
                <a:gd name="f502" fmla="val 1449803"/>
                <a:gd name="f503" fmla="val 1453822"/>
                <a:gd name="f504" fmla="val 1210488"/>
                <a:gd name="f505" fmla="val 1196559"/>
                <a:gd name="f506" fmla="val 961265"/>
                <a:gd name="f507" fmla="val 971175"/>
                <a:gd name="f508" fmla="val 957246"/>
                <a:gd name="f509" fmla="val 3589677"/>
                <a:gd name="f510" fmla="val 3593716"/>
                <a:gd name="f511" fmla="val 3603586"/>
                <a:gd name="f512" fmla="val 3607625"/>
                <a:gd name="f513" fmla="val 731877"/>
                <a:gd name="f514" fmla="val 735896"/>
                <a:gd name="f515" fmla="val 717948"/>
                <a:gd name="f516" fmla="val 492565"/>
                <a:gd name="f517" fmla="val 496584"/>
                <a:gd name="f518" fmla="val 243341"/>
                <a:gd name="f519" fmla="val 253251"/>
                <a:gd name="f520" fmla="val 257270"/>
                <a:gd name="f521" fmla="val 13938"/>
                <a:gd name="f522" fmla="val 17957"/>
                <a:gd name="f523" fmla="val 3350398"/>
                <a:gd name="f524" fmla="val 3354436"/>
                <a:gd name="f525" fmla="val 3364306"/>
                <a:gd name="f526" fmla="val 3368345"/>
                <a:gd name="f527" fmla="val 2153802"/>
                <a:gd name="f528" fmla="val 1928422"/>
                <a:gd name="f529" fmla="val 1679210"/>
                <a:gd name="f530" fmla="val 1689120"/>
                <a:gd name="f531" fmla="val 1675191"/>
                <a:gd name="f532" fmla="val 1439893"/>
                <a:gd name="f533" fmla="val 1453823"/>
                <a:gd name="f534" fmla="val 1435875"/>
                <a:gd name="f535" fmla="val 1200578"/>
                <a:gd name="f536" fmla="val 1214507"/>
                <a:gd name="f537" fmla="val 971176"/>
                <a:gd name="f538" fmla="val 975194"/>
                <a:gd name="f539" fmla="val 721967"/>
                <a:gd name="f540" fmla="val 717949"/>
                <a:gd name="f541" fmla="val 482655"/>
                <a:gd name="f542" fmla="val 478636"/>
                <a:gd name="f543" fmla="val 253252"/>
                <a:gd name="f544" fmla="val 257271"/>
                <a:gd name="f545" fmla="val 239322"/>
                <a:gd name="f546" fmla="val 4029"/>
                <a:gd name="f547" fmla="val 9"/>
                <a:gd name="f548" fmla="val 3111118"/>
                <a:gd name="f549" fmla="val 2171750"/>
                <a:gd name="f550" fmla="val 3115157"/>
                <a:gd name="f551" fmla="val 3125027"/>
                <a:gd name="f552" fmla="val 3129066"/>
                <a:gd name="f553" fmla="val 1918513"/>
                <a:gd name="f554" fmla="val 1679211"/>
                <a:gd name="f555" fmla="val 1689121"/>
                <a:gd name="f556" fmla="val 1693139"/>
                <a:gd name="f557" fmla="val 1439895"/>
                <a:gd name="f558" fmla="val 1449805"/>
                <a:gd name="f559" fmla="val 1210489"/>
                <a:gd name="f560" fmla="val 1196560"/>
                <a:gd name="f561" fmla="val 961266"/>
                <a:gd name="f562" fmla="val 975195"/>
                <a:gd name="f563" fmla="val 957247"/>
                <a:gd name="f564" fmla="val 3111067"/>
                <a:gd name="f565" fmla="val 3115105"/>
                <a:gd name="f566" fmla="val 3124976"/>
                <a:gd name="f567" fmla="val 3129015"/>
                <a:gd name="f568" fmla="val 721968"/>
                <a:gd name="f569" fmla="val 731878"/>
                <a:gd name="f570" fmla="val 735897"/>
                <a:gd name="f571" fmla="val 482656"/>
                <a:gd name="f572" fmla="val 492566"/>
                <a:gd name="f573" fmla="val 496585"/>
                <a:gd name="f574" fmla="val 478637"/>
                <a:gd name="f575" fmla="val 243342"/>
                <a:gd name="f576" fmla="val 239323"/>
                <a:gd name="f577" fmla="val 13939"/>
                <a:gd name="f578" fmla="val 17959"/>
                <a:gd name="f579" fmla="val 10"/>
                <a:gd name="f580" fmla="val 2871788"/>
                <a:gd name="f581" fmla="val 2167732"/>
                <a:gd name="f582" fmla="val 2875826"/>
                <a:gd name="f583" fmla="val 2885696"/>
                <a:gd name="f584" fmla="val 2889735"/>
                <a:gd name="f585" fmla="val 1693141"/>
                <a:gd name="f586" fmla="val 1675193"/>
                <a:gd name="f587" fmla="val 1453824"/>
                <a:gd name="f588" fmla="val 1435876"/>
                <a:gd name="f589" fmla="val 1200579"/>
                <a:gd name="f590" fmla="val 1214509"/>
                <a:gd name="f591" fmla="val 961267"/>
                <a:gd name="f592" fmla="val 971177"/>
                <a:gd name="f593" fmla="val 2871736"/>
                <a:gd name="f594" fmla="val 2875775"/>
                <a:gd name="f595" fmla="val 2885645"/>
                <a:gd name="f596" fmla="val 2889684"/>
                <a:gd name="f597" fmla="val 721969"/>
                <a:gd name="f598" fmla="val 731879"/>
                <a:gd name="f599" fmla="val 735898"/>
                <a:gd name="f600" fmla="val 717950"/>
                <a:gd name="f601" fmla="val 492567"/>
                <a:gd name="f602" fmla="val 496586"/>
                <a:gd name="f603" fmla="val 243343"/>
                <a:gd name="f604" fmla="val 253253"/>
                <a:gd name="f605" fmla="val 257272"/>
                <a:gd name="f606" fmla="val 239324"/>
                <a:gd name="f607" fmla="val 4030"/>
                <a:gd name="f608" fmla="val 13940"/>
                <a:gd name="f609" fmla="val 11"/>
                <a:gd name="f610" fmla="val 2632457"/>
                <a:gd name="f611" fmla="val 2636496"/>
                <a:gd name="f612" fmla="val 2646366"/>
                <a:gd name="f613" fmla="val 2650405"/>
                <a:gd name="f614" fmla="val 2157821"/>
                <a:gd name="f615" fmla="val 1914494"/>
                <a:gd name="f616" fmla="val 1679212"/>
                <a:gd name="f617" fmla="val 1689122"/>
                <a:gd name="f618" fmla="val 1439896"/>
                <a:gd name="f619" fmla="val 1449806"/>
                <a:gd name="f620" fmla="val 1200580"/>
                <a:gd name="f621" fmla="val 1210490"/>
                <a:gd name="f622" fmla="val 1196561"/>
                <a:gd name="f623" fmla="val 971178"/>
                <a:gd name="f624" fmla="val 975196"/>
                <a:gd name="f625" fmla="val 957249"/>
                <a:gd name="f626" fmla="val 721970"/>
                <a:gd name="f627" fmla="val 717951"/>
                <a:gd name="f628" fmla="val 482657"/>
                <a:gd name="f629" fmla="val 478638"/>
                <a:gd name="f630" fmla="val 243344"/>
                <a:gd name="f631" fmla="val 253254"/>
                <a:gd name="f632" fmla="val 257273"/>
                <a:gd name="f633" fmla="val 239325"/>
                <a:gd name="f634" fmla="val 13941"/>
                <a:gd name="f635" fmla="val 17960"/>
                <a:gd name="f636" fmla="val 2393178"/>
                <a:gd name="f637" fmla="val 2397216"/>
                <a:gd name="f638" fmla="val 2407087"/>
                <a:gd name="f639" fmla="val 2411126"/>
                <a:gd name="f640" fmla="val 1932443"/>
                <a:gd name="f641" fmla="val 1689123"/>
                <a:gd name="f642" fmla="val 1693142"/>
                <a:gd name="f643" fmla="val 1675194"/>
                <a:gd name="f644" fmla="val 1453826"/>
                <a:gd name="f645" fmla="val 1435878"/>
                <a:gd name="f646" fmla="val 1210491"/>
                <a:gd name="f647" fmla="val 1214510"/>
                <a:gd name="f648" fmla="val 1196562"/>
                <a:gd name="f649" fmla="val 961268"/>
                <a:gd name="f650" fmla="val 2393127"/>
                <a:gd name="f651" fmla="val 2397165"/>
                <a:gd name="f652" fmla="val 2407036"/>
                <a:gd name="f653" fmla="val 2411074"/>
                <a:gd name="f654" fmla="val 731881"/>
                <a:gd name="f655" fmla="val 735899"/>
                <a:gd name="f656" fmla="val 482658"/>
                <a:gd name="f657" fmla="val 492568"/>
                <a:gd name="f658" fmla="val 496588"/>
                <a:gd name="f659" fmla="val 478639"/>
                <a:gd name="f660" fmla="val 253255"/>
                <a:gd name="f661" fmla="val 257274"/>
                <a:gd name="f662" fmla="val 4031"/>
                <a:gd name="f663" fmla="val 17961"/>
                <a:gd name="f664" fmla="val 12"/>
                <a:gd name="f665" fmla="val 2153996"/>
                <a:gd name="f666" fmla="val 2158034"/>
                <a:gd name="f667" fmla="val 2167907"/>
                <a:gd name="f668" fmla="val 2171946"/>
                <a:gd name="f669" fmla="val 2171947"/>
                <a:gd name="f670" fmla="val 2153995"/>
                <a:gd name="f671" fmla="val 2153976"/>
                <a:gd name="f672" fmla="val 2158014"/>
                <a:gd name="f673" fmla="val 2167886"/>
                <a:gd name="f674" fmla="val 2171926"/>
                <a:gd name="f675" fmla="val 2167887"/>
                <a:gd name="f676" fmla="val 2153956"/>
                <a:gd name="f677" fmla="val 2157994"/>
                <a:gd name="f678" fmla="val 2167867"/>
                <a:gd name="f679" fmla="val 2171905"/>
                <a:gd name="f680" fmla="val 2171906"/>
                <a:gd name="f681" fmla="val 2153955"/>
                <a:gd name="f682" fmla="val 2167866"/>
                <a:gd name="f683" fmla="val 2153936"/>
                <a:gd name="f684" fmla="val 2157974"/>
                <a:gd name="f685" fmla="val 2167846"/>
                <a:gd name="f686" fmla="val 2171885"/>
                <a:gd name="f687" fmla="val 2153935"/>
                <a:gd name="f688" fmla="val 2167845"/>
                <a:gd name="f689" fmla="val 2153916"/>
                <a:gd name="f690" fmla="val 2157955"/>
                <a:gd name="f691" fmla="val 2167826"/>
                <a:gd name="f692" fmla="val 2171865"/>
                <a:gd name="f693" fmla="val 2153915"/>
                <a:gd name="f694" fmla="val 2167825"/>
                <a:gd name="f695" fmla="val 2171864"/>
                <a:gd name="f696" fmla="val 2153896"/>
                <a:gd name="f697" fmla="val 2157935"/>
                <a:gd name="f698" fmla="val 2167805"/>
                <a:gd name="f699" fmla="val 2171844"/>
                <a:gd name="f700" fmla="val 2153895"/>
                <a:gd name="f701" fmla="val 2157934"/>
                <a:gd name="f702" fmla="val 2153876"/>
                <a:gd name="f703" fmla="val 2157914"/>
                <a:gd name="f704" fmla="val 2167786"/>
                <a:gd name="f705" fmla="val 2171824"/>
                <a:gd name="f706" fmla="val 1200582"/>
                <a:gd name="f707" fmla="val 2153867"/>
                <a:gd name="f708" fmla="val 2157906"/>
                <a:gd name="f709" fmla="val 2167776"/>
                <a:gd name="f710" fmla="val 2171815"/>
                <a:gd name="f711" fmla="val 971179"/>
                <a:gd name="f712" fmla="val 975198"/>
                <a:gd name="f713" fmla="val 957250"/>
                <a:gd name="f714" fmla="val 1679214"/>
                <a:gd name="f715" fmla="val 1693144"/>
                <a:gd name="f716" fmla="val 2157905"/>
                <a:gd name="f717" fmla="val 2167775"/>
                <a:gd name="f718" fmla="val 2171814"/>
                <a:gd name="f719" fmla="val 1675195"/>
                <a:gd name="f720" fmla="val 1439897"/>
                <a:gd name="f721" fmla="val 1449807"/>
                <a:gd name="f722" fmla="val 2153855"/>
                <a:gd name="f723" fmla="val 2157892"/>
                <a:gd name="f724" fmla="val 2167763"/>
                <a:gd name="f725" fmla="val 2171803"/>
                <a:gd name="f726" fmla="val 2153850"/>
                <a:gd name="f727" fmla="val 2157889"/>
                <a:gd name="f728" fmla="val 2167759"/>
                <a:gd name="f729" fmla="val 2171798"/>
                <a:gd name="f730" fmla="val 2153803"/>
                <a:gd name="f731" fmla="val 4032"/>
                <a:gd name="f732" fmla="val 2153832"/>
                <a:gd name="f733" fmla="val 13942"/>
                <a:gd name="f734" fmla="val 2157870"/>
                <a:gd name="f735" fmla="val 2167741"/>
                <a:gd name="f736" fmla="val 2171780"/>
                <a:gd name="f737" fmla="val 13"/>
                <a:gd name="f738" fmla="val 721971"/>
                <a:gd name="f739" fmla="val 735900"/>
                <a:gd name="f740" fmla="val 2167740"/>
                <a:gd name="f741" fmla="val 717952"/>
                <a:gd name="f742" fmla="val 482659"/>
                <a:gd name="f743" fmla="val 492569"/>
                <a:gd name="f744" fmla="val 478640"/>
                <a:gd name="f745" fmla="val 243345"/>
                <a:gd name="f746" fmla="val 239326"/>
                <a:gd name="f747" fmla="val 1914701"/>
                <a:gd name="f748" fmla="val 1918739"/>
                <a:gd name="f749" fmla="val 1928610"/>
                <a:gd name="f750" fmla="val 1932649"/>
                <a:gd name="f751" fmla="val 1914699"/>
                <a:gd name="f752" fmla="val 1918738"/>
                <a:gd name="f753" fmla="val 1914682"/>
                <a:gd name="f754" fmla="val 1918721"/>
                <a:gd name="f755" fmla="val 1928592"/>
                <a:gd name="f756" fmla="val 1932631"/>
                <a:gd name="f757" fmla="val 1914681"/>
                <a:gd name="f758" fmla="val 1918719"/>
                <a:gd name="f759" fmla="val 1918720"/>
                <a:gd name="f760" fmla="val 1914664"/>
                <a:gd name="f761" fmla="val 1918702"/>
                <a:gd name="f762" fmla="val 1928573"/>
                <a:gd name="f763" fmla="val 1932612"/>
                <a:gd name="f764" fmla="val 1914663"/>
                <a:gd name="f765" fmla="val 1928572"/>
                <a:gd name="f766" fmla="val 1914662"/>
                <a:gd name="f767" fmla="val 1918701"/>
                <a:gd name="f768" fmla="val 1914645"/>
                <a:gd name="f769" fmla="val 1918684"/>
                <a:gd name="f770" fmla="val 1928555"/>
                <a:gd name="f771" fmla="val 1932594"/>
                <a:gd name="f772" fmla="val 1918682"/>
                <a:gd name="f773" fmla="val 1928554"/>
                <a:gd name="f774" fmla="val 1918683"/>
                <a:gd name="f775" fmla="val 1914627"/>
                <a:gd name="f776" fmla="val 1918666"/>
                <a:gd name="f777" fmla="val 1928536"/>
                <a:gd name="f778" fmla="val 1932575"/>
                <a:gd name="f779" fmla="val 1918664"/>
                <a:gd name="f780" fmla="val 1928535"/>
                <a:gd name="f781" fmla="val 1914626"/>
                <a:gd name="f782" fmla="val 1914608"/>
                <a:gd name="f783" fmla="val 1918647"/>
                <a:gd name="f784" fmla="val 1928518"/>
                <a:gd name="f785" fmla="val 1932557"/>
                <a:gd name="f786" fmla="val 1918646"/>
                <a:gd name="f787" fmla="val 1928517"/>
                <a:gd name="f788" fmla="val 1914590"/>
                <a:gd name="f789" fmla="val 1918629"/>
                <a:gd name="f790" fmla="val 1928499"/>
                <a:gd name="f791" fmla="val 1932538"/>
                <a:gd name="f792" fmla="val 243346"/>
                <a:gd name="f793" fmla="val 1914550"/>
                <a:gd name="f794" fmla="val 253256"/>
                <a:gd name="f795" fmla="val 257275"/>
                <a:gd name="f796" fmla="val 1918589"/>
                <a:gd name="f797" fmla="val 1928459"/>
                <a:gd name="f798" fmla="val 1932498"/>
                <a:gd name="f799" fmla="val 239327"/>
                <a:gd name="f800" fmla="val 13943"/>
                <a:gd name="f801" fmla="val 17962"/>
                <a:gd name="f802" fmla="val 731882"/>
                <a:gd name="f803" fmla="val 735901"/>
                <a:gd name="f804" fmla="val 1918588"/>
                <a:gd name="f805" fmla="val 1932497"/>
                <a:gd name="f806" fmla="val 717953"/>
                <a:gd name="f807" fmla="val 482660"/>
                <a:gd name="f808" fmla="val 492570"/>
                <a:gd name="f809" fmla="val 496589"/>
                <a:gd name="f810" fmla="val 1679215"/>
                <a:gd name="f811" fmla="val 1914535"/>
                <a:gd name="f812" fmla="val 1689125"/>
                <a:gd name="f813" fmla="val 1918573"/>
                <a:gd name="f814" fmla="val 1928444"/>
                <a:gd name="f815" fmla="val 1932482"/>
                <a:gd name="f816" fmla="val 1449808"/>
                <a:gd name="f817" fmla="val 1453827"/>
                <a:gd name="f818" fmla="val 1932483"/>
                <a:gd name="f819" fmla="val 1435879"/>
                <a:gd name="f820" fmla="val 1210492"/>
                <a:gd name="f821" fmla="val 1214511"/>
                <a:gd name="f822" fmla="val 1196563"/>
                <a:gd name="f823" fmla="val 961269"/>
                <a:gd name="f824" fmla="val 1914523"/>
                <a:gd name="f825" fmla="val 1928424"/>
                <a:gd name="f826" fmla="val 1918562"/>
                <a:gd name="f827" fmla="val 1928432"/>
                <a:gd name="f828" fmla="val 1932471"/>
                <a:gd name="f829" fmla="val 1914520"/>
                <a:gd name="f830" fmla="val 2171751"/>
                <a:gd name="f831" fmla="val 1918558"/>
                <a:gd name="f832" fmla="val 1928428"/>
                <a:gd name="f833" fmla="val 1932467"/>
                <a:gd name="f834" fmla="val 1675350"/>
                <a:gd name="f835" fmla="val 1679389"/>
                <a:gd name="f836" fmla="val 1689260"/>
                <a:gd name="f837" fmla="val 1693299"/>
                <a:gd name="f838" fmla="val 1675349"/>
                <a:gd name="f839" fmla="val 1679388"/>
                <a:gd name="f840" fmla="val 1693298"/>
                <a:gd name="f841" fmla="val 1675334"/>
                <a:gd name="f842" fmla="val 1679373"/>
                <a:gd name="f843" fmla="val 1689243"/>
                <a:gd name="f844" fmla="val 1693282"/>
                <a:gd name="f845" fmla="val 1675333"/>
                <a:gd name="f846" fmla="val 1679372"/>
                <a:gd name="f847" fmla="val 1693281"/>
                <a:gd name="f848" fmla="val 1675318"/>
                <a:gd name="f849" fmla="val 1679357"/>
                <a:gd name="f850" fmla="val 1689227"/>
                <a:gd name="f851" fmla="val 1693266"/>
                <a:gd name="f852" fmla="val 1675316"/>
                <a:gd name="f853" fmla="val 1679356"/>
                <a:gd name="f854" fmla="val 1675301"/>
                <a:gd name="f855" fmla="val 1679339"/>
                <a:gd name="f856" fmla="val 1689210"/>
                <a:gd name="f857" fmla="val 1693249"/>
                <a:gd name="f858" fmla="val 1689211"/>
                <a:gd name="f859" fmla="val 1693251"/>
                <a:gd name="f860" fmla="val 1675300"/>
                <a:gd name="f861" fmla="val 1675285"/>
                <a:gd name="f862" fmla="val 1679323"/>
                <a:gd name="f863" fmla="val 1689193"/>
                <a:gd name="f864" fmla="val 1693232"/>
                <a:gd name="f865" fmla="val 1689195"/>
                <a:gd name="f866" fmla="val 1693234"/>
                <a:gd name="f867" fmla="val 1675268"/>
                <a:gd name="f868" fmla="val 1679306"/>
                <a:gd name="f869" fmla="val 1689177"/>
                <a:gd name="f870" fmla="val 1693216"/>
                <a:gd name="f871" fmla="val 1693217"/>
                <a:gd name="f872" fmla="val 1679307"/>
                <a:gd name="f873" fmla="val 1689178"/>
                <a:gd name="f874" fmla="val 961270"/>
                <a:gd name="f875" fmla="val 1675255"/>
                <a:gd name="f876" fmla="val 971180"/>
                <a:gd name="f877" fmla="val 975199"/>
                <a:gd name="f878" fmla="val 1679292"/>
                <a:gd name="f879" fmla="val 1689163"/>
                <a:gd name="f880" fmla="val 1693202"/>
                <a:gd name="f881" fmla="val 957251"/>
                <a:gd name="f882" fmla="val 1675254"/>
                <a:gd name="f883" fmla="val 1689126"/>
                <a:gd name="f884" fmla="val 1693145"/>
                <a:gd name="f885" fmla="val 1675196"/>
                <a:gd name="f886" fmla="val 1439898"/>
                <a:gd name="f887" fmla="val 1453828"/>
                <a:gd name="f888" fmla="val 1435880"/>
                <a:gd name="f889" fmla="val 1200583"/>
                <a:gd name="f890" fmla="val 1210493"/>
                <a:gd name="f891" fmla="val 1196564"/>
                <a:gd name="f892" fmla="val 1675251"/>
                <a:gd name="f893" fmla="val 1679290"/>
                <a:gd name="f894" fmla="val 1689161"/>
                <a:gd name="f895" fmla="val 1693201"/>
                <a:gd name="f896" fmla="val 1918514"/>
                <a:gd name="f897" fmla="val 1675243"/>
                <a:gd name="f898" fmla="val 1679282"/>
                <a:gd name="f899" fmla="val 1689153"/>
                <a:gd name="f900" fmla="val 1693191"/>
                <a:gd name="f901" fmla="val 1675240"/>
                <a:gd name="f902" fmla="val 1679279"/>
                <a:gd name="f903" fmla="val 1689149"/>
                <a:gd name="f904" fmla="val 1693188"/>
                <a:gd name="f905" fmla="val 1675216"/>
                <a:gd name="f906" fmla="val 253257"/>
                <a:gd name="f907" fmla="val 257276"/>
                <a:gd name="f908" fmla="val 1679254"/>
                <a:gd name="f909" fmla="val 1693164"/>
                <a:gd name="f910" fmla="val 4034"/>
                <a:gd name="f911" fmla="val 14"/>
                <a:gd name="f912" fmla="val 721972"/>
                <a:gd name="f913" fmla="val 735902"/>
                <a:gd name="f914" fmla="val 717954"/>
                <a:gd name="f915" fmla="val 492571"/>
                <a:gd name="f916" fmla="val 478641"/>
                <a:gd name="f917" fmla="val 1436001"/>
                <a:gd name="f918" fmla="val 1440038"/>
                <a:gd name="f919" fmla="val 1449910"/>
                <a:gd name="f920" fmla="val 1453949"/>
                <a:gd name="f921" fmla="val 1436000"/>
                <a:gd name="f922" fmla="val 1449909"/>
                <a:gd name="f923" fmla="val 1435986"/>
                <a:gd name="f924" fmla="val 1440024"/>
                <a:gd name="f925" fmla="val 1449895"/>
                <a:gd name="f926" fmla="val 1453934"/>
                <a:gd name="f927" fmla="val 1435972"/>
                <a:gd name="f928" fmla="val 1440010"/>
                <a:gd name="f929" fmla="val 1449881"/>
                <a:gd name="f930" fmla="val 1453920"/>
                <a:gd name="f931" fmla="val 1435971"/>
                <a:gd name="f932" fmla="val 1449880"/>
                <a:gd name="f933" fmla="val 1453919"/>
                <a:gd name="f934" fmla="val 1435958"/>
                <a:gd name="f935" fmla="val 1439995"/>
                <a:gd name="f936" fmla="val 1449866"/>
                <a:gd name="f937" fmla="val 1453905"/>
                <a:gd name="f938" fmla="val 1435956"/>
                <a:gd name="f939" fmla="val 1449865"/>
                <a:gd name="f940" fmla="val 1435943"/>
                <a:gd name="f941" fmla="val 1439981"/>
                <a:gd name="f942" fmla="val 1449852"/>
                <a:gd name="f943" fmla="val 1453891"/>
                <a:gd name="f944" fmla="val 1439980"/>
                <a:gd name="f945" fmla="val 1449851"/>
                <a:gd name="f946" fmla="val 1453890"/>
                <a:gd name="f947" fmla="val 1435928"/>
                <a:gd name="f948" fmla="val 1439967"/>
                <a:gd name="f949" fmla="val 1449837"/>
                <a:gd name="f950" fmla="val 1453877"/>
                <a:gd name="f951" fmla="val 1449836"/>
                <a:gd name="f952" fmla="val 1453876"/>
                <a:gd name="f953" fmla="val 1679216"/>
                <a:gd name="f954" fmla="val 1435922"/>
                <a:gd name="f955" fmla="val 1693146"/>
                <a:gd name="f956" fmla="val 1439960"/>
                <a:gd name="f957" fmla="val 1449831"/>
                <a:gd name="f958" fmla="val 1453870"/>
                <a:gd name="f959" fmla="val 1675198"/>
                <a:gd name="f960" fmla="val 1439900"/>
                <a:gd name="f961" fmla="val 1449810"/>
                <a:gd name="f962" fmla="val 1214512"/>
                <a:gd name="f963" fmla="val 971181"/>
                <a:gd name="f964" fmla="val 975200"/>
                <a:gd name="f965" fmla="val 957252"/>
                <a:gd name="f966" fmla="val 1435914"/>
                <a:gd name="f967" fmla="val 1439952"/>
                <a:gd name="f968" fmla="val 1449823"/>
                <a:gd name="f969" fmla="val 1453862"/>
                <a:gd name="f970" fmla="val 1435912"/>
                <a:gd name="f971" fmla="val 1439950"/>
                <a:gd name="f972" fmla="val 1449821"/>
                <a:gd name="f973" fmla="val 1453860"/>
                <a:gd name="f974" fmla="val 2157823"/>
                <a:gd name="f975" fmla="val 1435909"/>
                <a:gd name="f976" fmla="val 2167733"/>
                <a:gd name="f977" fmla="val 1439947"/>
                <a:gd name="f978" fmla="val 1449818"/>
                <a:gd name="f979" fmla="val 1453857"/>
                <a:gd name="f980" fmla="val 243347"/>
                <a:gd name="f981" fmla="val 1435883"/>
                <a:gd name="f982" fmla="val 1439920"/>
                <a:gd name="f983" fmla="val 1449791"/>
                <a:gd name="f984" fmla="val 1453830"/>
                <a:gd name="f985" fmla="val 239328"/>
                <a:gd name="f986" fmla="val 13944"/>
                <a:gd name="f987" fmla="val 17964"/>
                <a:gd name="f988" fmla="val 15"/>
                <a:gd name="f989" fmla="val 721973"/>
                <a:gd name="f990" fmla="val 1435882"/>
                <a:gd name="f991" fmla="val 731883"/>
                <a:gd name="f992" fmla="val 482661"/>
                <a:gd name="f993" fmla="val 496590"/>
                <a:gd name="f994" fmla="val 478642"/>
                <a:gd name="f995" fmla="val 1196701"/>
                <a:gd name="f996" fmla="val 1200738"/>
                <a:gd name="f997" fmla="val 1210610"/>
                <a:gd name="f998" fmla="val 1214650"/>
                <a:gd name="f999" fmla="val 1200740"/>
                <a:gd name="f1000" fmla="val 1196689"/>
                <a:gd name="f1001" fmla="val 1200726"/>
                <a:gd name="f1002" fmla="val 1210598"/>
                <a:gd name="f1003" fmla="val 1214637"/>
                <a:gd name="f1004" fmla="val 1200728"/>
                <a:gd name="f1005" fmla="val 1196676"/>
                <a:gd name="f1006" fmla="val 1200714"/>
                <a:gd name="f1007" fmla="val 1210586"/>
                <a:gd name="f1008" fmla="val 1214625"/>
                <a:gd name="f1009" fmla="val 1200715"/>
                <a:gd name="f1010" fmla="val 1196664"/>
                <a:gd name="f1011" fmla="val 1200703"/>
                <a:gd name="f1012" fmla="val 1210573"/>
                <a:gd name="f1013" fmla="val 1214612"/>
                <a:gd name="f1014" fmla="val 1200702"/>
                <a:gd name="f1015" fmla="val 1196652"/>
                <a:gd name="f1016" fmla="val 1200690"/>
                <a:gd name="f1017" fmla="val 1210561"/>
                <a:gd name="f1018" fmla="val 1214600"/>
                <a:gd name="f1019" fmla="val 1196651"/>
                <a:gd name="f1020" fmla="val 1200689"/>
                <a:gd name="f1021" fmla="val 1196639"/>
                <a:gd name="f1022" fmla="val 1200678"/>
                <a:gd name="f1023" fmla="val 1210548"/>
                <a:gd name="f1024" fmla="val 1214587"/>
                <a:gd name="f1025" fmla="val 1210549"/>
                <a:gd name="f1026" fmla="val 1200677"/>
                <a:gd name="f1027" fmla="val 1196627"/>
                <a:gd name="f1028" fmla="val 1200665"/>
                <a:gd name="f1029" fmla="val 1210536"/>
                <a:gd name="f1030" fmla="val 1214575"/>
                <a:gd name="f1031" fmla="val 4035"/>
                <a:gd name="f1032" fmla="val 1196600"/>
                <a:gd name="f1033" fmla="val 13945"/>
                <a:gd name="f1034" fmla="val 1200638"/>
                <a:gd name="f1035" fmla="val 1210509"/>
                <a:gd name="f1036" fmla="val 1214548"/>
                <a:gd name="f1037" fmla="val 16"/>
                <a:gd name="f1038" fmla="val 721974"/>
                <a:gd name="f1039" fmla="val 1196599"/>
                <a:gd name="f1040" fmla="val 731884"/>
                <a:gd name="f1041" fmla="val 735903"/>
                <a:gd name="f1042" fmla="val 1214547"/>
                <a:gd name="f1043" fmla="val 717955"/>
                <a:gd name="f1044" fmla="val 492572"/>
                <a:gd name="f1045" fmla="val 496591"/>
                <a:gd name="f1046" fmla="val 243348"/>
                <a:gd name="f1047" fmla="val 253258"/>
                <a:gd name="f1048" fmla="val 257278"/>
                <a:gd name="f1049" fmla="val 239329"/>
                <a:gd name="f1050" fmla="val 1196589"/>
                <a:gd name="f1051" fmla="val 1453829"/>
                <a:gd name="f1052" fmla="val 1200628"/>
                <a:gd name="f1053" fmla="val 1210498"/>
                <a:gd name="f1054" fmla="val 1214537"/>
                <a:gd name="f1055" fmla="val 1435881"/>
                <a:gd name="f1056" fmla="val 1200584"/>
                <a:gd name="f1057" fmla="val 1210494"/>
                <a:gd name="f1058" fmla="val 1196565"/>
                <a:gd name="f1059" fmla="val 961271"/>
                <a:gd name="f1060" fmla="val 1210499"/>
                <a:gd name="f1061" fmla="val 957253"/>
                <a:gd name="f1062" fmla="val 1679217"/>
                <a:gd name="f1063" fmla="val 1689127"/>
                <a:gd name="f1064" fmla="val 1200627"/>
                <a:gd name="f1065" fmla="val 1196581"/>
                <a:gd name="f1066" fmla="val 1200619"/>
                <a:gd name="f1067" fmla="val 1214528"/>
                <a:gd name="f1068" fmla="val 1914495"/>
                <a:gd name="f1069" fmla="val 1196578"/>
                <a:gd name="f1070" fmla="val 1200617"/>
                <a:gd name="f1071" fmla="val 1214526"/>
                <a:gd name="f1072" fmla="val 957358"/>
                <a:gd name="f1073" fmla="val 961396"/>
                <a:gd name="f1074" fmla="val 971266"/>
                <a:gd name="f1075" fmla="val 975304"/>
                <a:gd name="f1076" fmla="val 975305"/>
                <a:gd name="f1077" fmla="val 957347"/>
                <a:gd name="f1078" fmla="val 961385"/>
                <a:gd name="f1079" fmla="val 971255"/>
                <a:gd name="f1080" fmla="val 975293"/>
                <a:gd name="f1081" fmla="val 957335"/>
                <a:gd name="f1082" fmla="val 961373"/>
                <a:gd name="f1083" fmla="val 971244"/>
                <a:gd name="f1084" fmla="val 975282"/>
                <a:gd name="f1085" fmla="val 975283"/>
                <a:gd name="f1086" fmla="val 961374"/>
                <a:gd name="f1087" fmla="val 957324"/>
                <a:gd name="f1088" fmla="val 961363"/>
                <a:gd name="f1089" fmla="val 971232"/>
                <a:gd name="f1090" fmla="val 975271"/>
                <a:gd name="f1091" fmla="val 957313"/>
                <a:gd name="f1092" fmla="val 961351"/>
                <a:gd name="f1093" fmla="val 971222"/>
                <a:gd name="f1094" fmla="val 975260"/>
                <a:gd name="f1095" fmla="val 957309"/>
                <a:gd name="f1096" fmla="val 1689128"/>
                <a:gd name="f1097" fmla="val 1693147"/>
                <a:gd name="f1098" fmla="val 961347"/>
                <a:gd name="f1099" fmla="val 971217"/>
                <a:gd name="f1100" fmla="val 975256"/>
                <a:gd name="f1101" fmla="val 1675199"/>
                <a:gd name="f1102" fmla="val 1439901"/>
                <a:gd name="f1103" fmla="val 1449811"/>
                <a:gd name="f1104" fmla="val 1210495"/>
                <a:gd name="f1105" fmla="val 1214513"/>
                <a:gd name="f1106" fmla="val 1196566"/>
                <a:gd name="f1107" fmla="val 971182"/>
                <a:gd name="f1108" fmla="val 975201"/>
                <a:gd name="f1109" fmla="val 971218"/>
                <a:gd name="f1110" fmla="val 957302"/>
                <a:gd name="f1111" fmla="val 961340"/>
                <a:gd name="f1112" fmla="val 971210"/>
                <a:gd name="f1113" fmla="val 975249"/>
                <a:gd name="f1114" fmla="val 957301"/>
                <a:gd name="f1115" fmla="val 1932444"/>
                <a:gd name="f1116" fmla="val 961339"/>
                <a:gd name="f1117" fmla="val 957299"/>
                <a:gd name="f1118" fmla="val 961337"/>
                <a:gd name="f1119" fmla="val 971207"/>
                <a:gd name="f1120" fmla="val 975246"/>
                <a:gd name="f1121" fmla="val 2153804"/>
                <a:gd name="f1122" fmla="val 957291"/>
                <a:gd name="f1123" fmla="val 961329"/>
                <a:gd name="f1124" fmla="val 971199"/>
                <a:gd name="f1125" fmla="val 975238"/>
                <a:gd name="f1126" fmla="val 957266"/>
                <a:gd name="f1127" fmla="val 961305"/>
                <a:gd name="f1128" fmla="val 975214"/>
                <a:gd name="f1129" fmla="val 717956"/>
                <a:gd name="f1130" fmla="val 482662"/>
                <a:gd name="f1131" fmla="val 478643"/>
                <a:gd name="f1132" fmla="val 243349"/>
                <a:gd name="f1133" fmla="val 253259"/>
                <a:gd name="f1134" fmla="val 239330"/>
                <a:gd name="f1135" fmla="val 4036"/>
                <a:gd name="f1136" fmla="val 13946"/>
                <a:gd name="f1137" fmla="val 17965"/>
                <a:gd name="f1138" fmla="val 718040"/>
                <a:gd name="f1139" fmla="val 722078"/>
                <a:gd name="f1140" fmla="val 731948"/>
                <a:gd name="f1141" fmla="val 735987"/>
                <a:gd name="f1142" fmla="val 731949"/>
                <a:gd name="f1143" fmla="val 735988"/>
                <a:gd name="f1144" fmla="val 718028"/>
                <a:gd name="f1145" fmla="val 722066"/>
                <a:gd name="f1146" fmla="val 731935"/>
                <a:gd name="f1147" fmla="val 735975"/>
                <a:gd name="f1148" fmla="val 731936"/>
                <a:gd name="f1149" fmla="val 718015"/>
                <a:gd name="f1150" fmla="val 722053"/>
                <a:gd name="f1151" fmla="val 731924"/>
                <a:gd name="f1152" fmla="val 735963"/>
                <a:gd name="f1153" fmla="val 718003"/>
                <a:gd name="f1154" fmla="val 722041"/>
                <a:gd name="f1155" fmla="val 731911"/>
                <a:gd name="f1156" fmla="val 735950"/>
                <a:gd name="f1157" fmla="val 731912"/>
                <a:gd name="f1158" fmla="val 735951"/>
                <a:gd name="f1159" fmla="val 717990"/>
                <a:gd name="f1160" fmla="val 722028"/>
                <a:gd name="f1161" fmla="val 731899"/>
                <a:gd name="f1162" fmla="val 735938"/>
                <a:gd name="f1163" fmla="val 722029"/>
                <a:gd name="f1164" fmla="val 961272"/>
                <a:gd name="f1165" fmla="val 717980"/>
                <a:gd name="f1166" fmla="val 975202"/>
                <a:gd name="f1167" fmla="val 722018"/>
                <a:gd name="f1168" fmla="val 731889"/>
                <a:gd name="f1169" fmla="val 735928"/>
                <a:gd name="f1170" fmla="val 957254"/>
                <a:gd name="f1171" fmla="val 1679219"/>
                <a:gd name="f1172" fmla="val 717979"/>
                <a:gd name="f1173" fmla="val 1693149"/>
                <a:gd name="f1174" fmla="val 735927"/>
                <a:gd name="f1175" fmla="val 1675200"/>
                <a:gd name="f1176" fmla="val 1453831"/>
                <a:gd name="f1177" fmla="val 1200585"/>
                <a:gd name="f1178" fmla="val 717978"/>
                <a:gd name="f1179" fmla="val 722016"/>
                <a:gd name="f1180" fmla="val 731887"/>
                <a:gd name="f1181" fmla="val 735926"/>
                <a:gd name="f1182" fmla="val 717970"/>
                <a:gd name="f1183" fmla="val 722009"/>
                <a:gd name="f1184" fmla="val 735918"/>
                <a:gd name="f1185" fmla="val 717968"/>
                <a:gd name="f1186" fmla="val 2171753"/>
                <a:gd name="f1187" fmla="val 722006"/>
                <a:gd name="f1188" fmla="val 735916"/>
                <a:gd name="f1189" fmla="val 717966"/>
                <a:gd name="f1190" fmla="val 722004"/>
                <a:gd name="f1191" fmla="val 731875"/>
                <a:gd name="f1192" fmla="val 735914"/>
                <a:gd name="f1193" fmla="val 253260"/>
                <a:gd name="f1194" fmla="val 257279"/>
                <a:gd name="f1195" fmla="val 721977"/>
                <a:gd name="f1196" fmla="val 731847"/>
                <a:gd name="f1197" fmla="val 735886"/>
                <a:gd name="f1198" fmla="val 13947"/>
                <a:gd name="f1199" fmla="val 721978"/>
                <a:gd name="f1200" fmla="val 731848"/>
                <a:gd name="f1201" fmla="val 17"/>
                <a:gd name="f1202" fmla="val 721975"/>
                <a:gd name="f1203" fmla="val 731885"/>
                <a:gd name="f1204" fmla="val 735904"/>
                <a:gd name="f1205" fmla="val 482663"/>
                <a:gd name="f1206" fmla="val 492573"/>
                <a:gd name="f1207" fmla="val 496593"/>
                <a:gd name="f1208" fmla="val 478760"/>
                <a:gd name="f1209" fmla="val 482801"/>
                <a:gd name="f1210" fmla="val 492670"/>
                <a:gd name="f1211" fmla="val 496707"/>
                <a:gd name="f1212" fmla="val 478748"/>
                <a:gd name="f1213" fmla="val 482789"/>
                <a:gd name="f1214" fmla="val 492657"/>
                <a:gd name="f1215" fmla="val 496695"/>
                <a:gd name="f1216" fmla="val 478736"/>
                <a:gd name="f1217" fmla="val 482776"/>
                <a:gd name="f1218" fmla="val 492645"/>
                <a:gd name="f1219" fmla="val 496683"/>
                <a:gd name="f1220" fmla="val 478724"/>
                <a:gd name="f1221" fmla="val 482764"/>
                <a:gd name="f1222" fmla="val 492633"/>
                <a:gd name="f1223" fmla="val 496671"/>
                <a:gd name="f1224" fmla="val 478712"/>
                <a:gd name="f1225" fmla="val 482751"/>
                <a:gd name="f1226" fmla="val 492620"/>
                <a:gd name="f1227" fmla="val 496658"/>
                <a:gd name="f1228" fmla="val 496659"/>
                <a:gd name="f1229" fmla="val 478711"/>
                <a:gd name="f1230" fmla="val 478699"/>
                <a:gd name="f1231" fmla="val 482738"/>
                <a:gd name="f1232" fmla="val 492608"/>
                <a:gd name="f1233" fmla="val 496646"/>
                <a:gd name="f1234" fmla="val 496647"/>
                <a:gd name="f1235" fmla="val 482739"/>
                <a:gd name="f1236" fmla="val 478698"/>
                <a:gd name="f1237" fmla="val 478687"/>
                <a:gd name="f1238" fmla="val 482726"/>
                <a:gd name="f1239" fmla="val 492596"/>
                <a:gd name="f1240" fmla="val 496634"/>
                <a:gd name="f1241" fmla="val 721976"/>
                <a:gd name="f1242" fmla="val 478660"/>
                <a:gd name="f1243" fmla="val 731886"/>
                <a:gd name="f1244" fmla="val 735905"/>
                <a:gd name="f1245" fmla="val 482698"/>
                <a:gd name="f1246" fmla="val 496608"/>
                <a:gd name="f1247" fmla="val 717957"/>
                <a:gd name="f1248" fmla="val 482664"/>
                <a:gd name="f1249" fmla="val 492574"/>
                <a:gd name="f1250" fmla="val 478645"/>
                <a:gd name="f1251" fmla="val 243350"/>
                <a:gd name="f1252" fmla="val 239331"/>
                <a:gd name="f1253" fmla="val 4037"/>
                <a:gd name="f1254" fmla="val 17966"/>
                <a:gd name="f1255" fmla="val 18"/>
                <a:gd name="f1256" fmla="val 1679220"/>
                <a:gd name="f1257" fmla="val 478650"/>
                <a:gd name="f1258" fmla="val 1689130"/>
                <a:gd name="f1259" fmla="val 482688"/>
                <a:gd name="f1260" fmla="val 496598"/>
                <a:gd name="f1261" fmla="val 1439902"/>
                <a:gd name="f1262" fmla="val 1449812"/>
                <a:gd name="f1263" fmla="val 1210496"/>
                <a:gd name="f1264" fmla="val 1214515"/>
                <a:gd name="f1265" fmla="val 482689"/>
                <a:gd name="f1266" fmla="val 1196567"/>
                <a:gd name="f1267" fmla="val 961273"/>
                <a:gd name="f1268" fmla="val 971183"/>
                <a:gd name="f1269" fmla="val 1918515"/>
                <a:gd name="f1270" fmla="val 1928425"/>
                <a:gd name="f1271" fmla="val 482679"/>
                <a:gd name="f1272" fmla="val 492550"/>
                <a:gd name="f1273" fmla="val 2167734"/>
                <a:gd name="f1274" fmla="val 482677"/>
                <a:gd name="f1275" fmla="val 492548"/>
                <a:gd name="f1276" fmla="val 496587"/>
                <a:gd name="f1277" fmla="val 239432"/>
                <a:gd name="f1278" fmla="val 243470"/>
                <a:gd name="f1279" fmla="val 253341"/>
                <a:gd name="f1280" fmla="val 257380"/>
                <a:gd name="f1281" fmla="val 239420"/>
                <a:gd name="f1282" fmla="val 243457"/>
                <a:gd name="f1283" fmla="val 253328"/>
                <a:gd name="f1284" fmla="val 257367"/>
                <a:gd name="f1285" fmla="val 239419"/>
                <a:gd name="f1286" fmla="val 239407"/>
                <a:gd name="f1287" fmla="val 243445"/>
                <a:gd name="f1288" fmla="val 253316"/>
                <a:gd name="f1289" fmla="val 257355"/>
                <a:gd name="f1290" fmla="val 239395"/>
                <a:gd name="f1291" fmla="val 243432"/>
                <a:gd name="f1292" fmla="val 253303"/>
                <a:gd name="f1293" fmla="val 257342"/>
                <a:gd name="f1294" fmla="val 243433"/>
                <a:gd name="f1295" fmla="val 239394"/>
                <a:gd name="f1296" fmla="val 239382"/>
                <a:gd name="f1297" fmla="val 243420"/>
                <a:gd name="f1298" fmla="val 253291"/>
                <a:gd name="f1299" fmla="val 257330"/>
                <a:gd name="f1300" fmla="val 243421"/>
                <a:gd name="f1301" fmla="val 253292"/>
                <a:gd name="f1302" fmla="val 239371"/>
                <a:gd name="f1303" fmla="val 1689131"/>
                <a:gd name="f1304" fmla="val 1693150"/>
                <a:gd name="f1305" fmla="val 243409"/>
                <a:gd name="f1306" fmla="val 253280"/>
                <a:gd name="f1307" fmla="val 257319"/>
                <a:gd name="f1308" fmla="val 1675202"/>
                <a:gd name="f1309" fmla="val 1449813"/>
                <a:gd name="f1310" fmla="val 1453832"/>
                <a:gd name="f1311" fmla="val 1435884"/>
                <a:gd name="f1312" fmla="val 1200587"/>
                <a:gd name="f1313" fmla="val 971184"/>
                <a:gd name="f1314" fmla="val 975203"/>
                <a:gd name="f1315" fmla="val 957255"/>
                <a:gd name="f1316" fmla="val 239370"/>
                <a:gd name="f1317" fmla="val 243408"/>
                <a:gd name="f1318" fmla="val 253278"/>
                <a:gd name="f1319" fmla="val 257317"/>
                <a:gd name="f1320" fmla="val 253279"/>
                <a:gd name="f1321" fmla="val 257318"/>
                <a:gd name="f1322" fmla="val 239369"/>
                <a:gd name="f1323" fmla="val 243407"/>
                <a:gd name="f1324" fmla="val 239361"/>
                <a:gd name="f1325" fmla="val 243400"/>
                <a:gd name="f1326" fmla="val 253271"/>
                <a:gd name="f1327" fmla="val 257310"/>
                <a:gd name="f1328" fmla="val 2157824"/>
                <a:gd name="f1329" fmla="val 239359"/>
                <a:gd name="f1330" fmla="val 243397"/>
                <a:gd name="f1331" fmla="val 253268"/>
                <a:gd name="f1332" fmla="val 257307"/>
                <a:gd name="f1333" fmla="val 239357"/>
                <a:gd name="f1334" fmla="val 243395"/>
                <a:gd name="f1335" fmla="val 253267"/>
                <a:gd name="f1336" fmla="val 257306"/>
                <a:gd name="f1337" fmla="val 735906"/>
                <a:gd name="f1338" fmla="val 243368"/>
                <a:gd name="f1339" fmla="val 253239"/>
                <a:gd name="f1340" fmla="val 717958"/>
                <a:gd name="f1341" fmla="val 492575"/>
                <a:gd name="f1342" fmla="val 496594"/>
                <a:gd name="f1343" fmla="val 253261"/>
                <a:gd name="f1344" fmla="val 257280"/>
                <a:gd name="f1345" fmla="val 239332"/>
                <a:gd name="f1346" fmla="val 13948"/>
                <a:gd name="f1347" fmla="val 17967"/>
                <a:gd name="f1348" fmla="val 106"/>
                <a:gd name="f1349" fmla="val 4144"/>
                <a:gd name="f1350" fmla="val 14015"/>
                <a:gd name="f1351" fmla="val 18054"/>
                <a:gd name="f1352" fmla="val 4145"/>
                <a:gd name="f1353" fmla="val 14016"/>
                <a:gd name="f1354" fmla="val 18055"/>
                <a:gd name="f1355" fmla="val 93"/>
                <a:gd name="f1356" fmla="val 4132"/>
                <a:gd name="f1357" fmla="val 14002"/>
                <a:gd name="f1358" fmla="val 18041"/>
                <a:gd name="f1359" fmla="val 14003"/>
                <a:gd name="f1360" fmla="val 18042"/>
                <a:gd name="f1361" fmla="val 81"/>
                <a:gd name="f1362" fmla="val 4119"/>
                <a:gd name="f1363" fmla="val 13990"/>
                <a:gd name="f1364" fmla="val 18029"/>
                <a:gd name="f1365" fmla="val 80"/>
                <a:gd name="f1366" fmla="val 68"/>
                <a:gd name="f1367" fmla="val 4106"/>
                <a:gd name="f1368" fmla="val 13976"/>
                <a:gd name="f1369" fmla="val 18015"/>
                <a:gd name="f1370" fmla="val 13977"/>
                <a:gd name="f1371" fmla="val 18016"/>
                <a:gd name="f1372" fmla="val 67"/>
                <a:gd name="f1373" fmla="val 4105"/>
                <a:gd name="f1374" fmla="val 54"/>
                <a:gd name="f1375" fmla="val 4093"/>
                <a:gd name="f1376" fmla="val 13963"/>
                <a:gd name="f1377" fmla="val 18002"/>
                <a:gd name="f1378" fmla="val 13964"/>
                <a:gd name="f1379" fmla="val 18003"/>
                <a:gd name="f1380" fmla="val 42"/>
                <a:gd name="f1381" fmla="val 4080"/>
                <a:gd name="f1382" fmla="val 13951"/>
                <a:gd name="f1383" fmla="val 17990"/>
                <a:gd name="f1384" fmla="val 41"/>
                <a:gd name="f1385" fmla="val 961275"/>
                <a:gd name="f1386" fmla="val 975204"/>
                <a:gd name="f1387" fmla="val 957256"/>
                <a:gd name="f1388" fmla="val 1679221"/>
                <a:gd name="f1389" fmla="val 1693151"/>
                <a:gd name="f1390" fmla="val 4079"/>
                <a:gd name="f1391" fmla="val 13950"/>
                <a:gd name="f1392" fmla="val 17989"/>
                <a:gd name="f1393" fmla="val 1675203"/>
                <a:gd name="f1394" fmla="val 1439904"/>
                <a:gd name="f1395" fmla="val 1453833"/>
                <a:gd name="f1396" fmla="val 1435885"/>
                <a:gd name="f1397" fmla="val 1210497"/>
                <a:gd name="f1398" fmla="val 1214516"/>
                <a:gd name="f1399" fmla="val 1196568"/>
                <a:gd name="f1400" fmla="val 31"/>
                <a:gd name="f1401" fmla="val 4069"/>
                <a:gd name="f1402" fmla="val 17979"/>
                <a:gd name="f1403" fmla="val 1914497"/>
                <a:gd name="f1404" fmla="val 29"/>
                <a:gd name="f1405" fmla="val 4067"/>
                <a:gd name="f1406" fmla="val 17977"/>
                <a:gd name="f1407" fmla="val 28"/>
                <a:gd name="f1408" fmla="val 4039"/>
                <a:gd name="f1409" fmla="val 13910"/>
                <a:gd name="f1410" fmla="val 717959"/>
                <a:gd name="f1411" fmla="val 482665"/>
                <a:gd name="f1412" fmla="val 478646"/>
                <a:gd name="f1413" fmla="val 243351"/>
                <a:gd name="f1414" fmla="val 257281"/>
                <a:gd name="f1415" fmla="val 19"/>
                <a:gd name="f1416" fmla="+- 0 0 -90"/>
                <a:gd name="f1417" fmla="*/ f3 1 9586368"/>
                <a:gd name="f1418" fmla="*/ f4 1 6479439"/>
                <a:gd name="f1419" fmla="+- f7 0 f5"/>
                <a:gd name="f1420" fmla="+- f6 0 f5"/>
                <a:gd name="f1421" fmla="*/ f1416 f0 1"/>
                <a:gd name="f1422" fmla="*/ f1420 1 9586368"/>
                <a:gd name="f1423" fmla="*/ f1419 1 6479439"/>
                <a:gd name="f1424" fmla="*/ 2157895 f1420 1"/>
                <a:gd name="f1425" fmla="*/ 6461491 f1419 1"/>
                <a:gd name="f1426" fmla="*/ 2167802 f1420 1"/>
                <a:gd name="f1427" fmla="*/ 2171820 f1420 1"/>
                <a:gd name="f1428" fmla="*/ 6465529 f1419 1"/>
                <a:gd name="f1429" fmla="*/ 6475400 f1419 1"/>
                <a:gd name="f1430" fmla="*/ 6479439 f1419 1"/>
                <a:gd name="f1431" fmla="*/ 2153871 f1420 1"/>
                <a:gd name="f1432" fmla="*/ 1918509 f1420 1"/>
                <a:gd name="f1433" fmla="*/ 1928419 f1420 1"/>
                <a:gd name="f1434" fmla="*/ 1932437 f1420 1"/>
                <a:gd name="f1435" fmla="*/ 1914490 f1420 1"/>
                <a:gd name="f1436" fmla="*/ 1679200 f1420 1"/>
                <a:gd name="f1437" fmla="*/ 1689110 f1420 1"/>
                <a:gd name="f1438" fmla="*/ 1693128 f1420 1"/>
                <a:gd name="f1439" fmla="*/ 1675180 f1420 1"/>
                <a:gd name="f1440" fmla="*/ 1439885 f1420 1"/>
                <a:gd name="f1441" fmla="*/ 1449795 f1420 1"/>
                <a:gd name="f1442" fmla="*/ 1453813 f1420 1"/>
                <a:gd name="f1443" fmla="*/ 1435865 f1420 1"/>
                <a:gd name="f1444" fmla="*/ 1200570 f1420 1"/>
                <a:gd name="f1445" fmla="*/ 1210480 f1420 1"/>
                <a:gd name="f1446" fmla="*/ 1214498 f1420 1"/>
                <a:gd name="f1447" fmla="*/ 1196551 f1420 1"/>
                <a:gd name="f1448" fmla="*/ 961257 f1420 1"/>
                <a:gd name="f1449" fmla="*/ 971167 f1420 1"/>
                <a:gd name="f1450" fmla="*/ 975186 f1420 1"/>
                <a:gd name="f1451" fmla="*/ 957238 f1420 1"/>
                <a:gd name="f1452" fmla="*/ 9572438 f1420 1"/>
                <a:gd name="f1453" fmla="*/ 6461440 f1419 1"/>
                <a:gd name="f1454" fmla="*/ 9582349 f1420 1"/>
                <a:gd name="f1455" fmla="*/ 9586368 f1420 1"/>
                <a:gd name="f1456" fmla="*/ 6465478 f1419 1"/>
                <a:gd name="f1457" fmla="*/ 6475349 f1419 1"/>
                <a:gd name="f1458" fmla="*/ 6479388 f1419 1"/>
                <a:gd name="f1459" fmla="*/ 9568419 f1420 1"/>
                <a:gd name="f1460" fmla="*/ 9333125 f1420 1"/>
                <a:gd name="f1461" fmla="*/ 9343036 f1420 1"/>
                <a:gd name="f1462" fmla="*/ 9347055 f1420 1"/>
                <a:gd name="f1463" fmla="*/ 9329106 f1420 1"/>
                <a:gd name="f1464" fmla="*/ 9093811 f1420 1"/>
                <a:gd name="f1465" fmla="*/ 9103722 f1420 1"/>
                <a:gd name="f1466" fmla="*/ 9107741 f1420 1"/>
                <a:gd name="f1467" fmla="*/ 9089792 f1420 1"/>
                <a:gd name="f1468" fmla="*/ 8854496 f1420 1"/>
                <a:gd name="f1469" fmla="*/ 8864407 f1420 1"/>
                <a:gd name="f1470" fmla="*/ 8868426 f1420 1"/>
                <a:gd name="f1471" fmla="*/ 8850477 f1420 1"/>
                <a:gd name="f1472" fmla="*/ 8615184 f1420 1"/>
                <a:gd name="f1473" fmla="*/ 8625095 f1420 1"/>
                <a:gd name="f1474" fmla="*/ 8629114 f1420 1"/>
                <a:gd name="f1475" fmla="*/ 8611165 f1420 1"/>
                <a:gd name="f1476" fmla="*/ 8375869 f1420 1"/>
                <a:gd name="f1477" fmla="*/ 8385779 f1420 1"/>
                <a:gd name="f1478" fmla="*/ 8389799 f1420 1"/>
                <a:gd name="f1479" fmla="*/ 8371850 f1420 1"/>
                <a:gd name="f1480" fmla="*/ 8136553 f1420 1"/>
                <a:gd name="f1481" fmla="*/ 8146464 f1420 1"/>
                <a:gd name="f1482" fmla="*/ 8150483 f1420 1"/>
                <a:gd name="f1483" fmla="*/ 8132534 f1420 1"/>
                <a:gd name="f1484" fmla="*/ 7897241 f1420 1"/>
                <a:gd name="f1485" fmla="*/ 7907151 f1420 1"/>
                <a:gd name="f1486" fmla="*/ 7911170 f1420 1"/>
                <a:gd name="f1487" fmla="*/ 7893222 f1420 1"/>
                <a:gd name="f1488" fmla="*/ 7657926 f1420 1"/>
                <a:gd name="f1489" fmla="*/ 7667836 f1420 1"/>
                <a:gd name="f1490" fmla="*/ 7671855 f1420 1"/>
                <a:gd name="f1491" fmla="*/ 7653906 f1420 1"/>
                <a:gd name="f1492" fmla="*/ 7418611 f1420 1"/>
                <a:gd name="f1493" fmla="*/ 7428521 f1420 1"/>
                <a:gd name="f1494" fmla="*/ 7432540 f1420 1"/>
                <a:gd name="f1495" fmla="*/ 7414592 f1420 1"/>
                <a:gd name="f1496" fmla="*/ 7179298 f1420 1"/>
                <a:gd name="f1497" fmla="*/ 7189209 f1420 1"/>
                <a:gd name="f1498" fmla="*/ 7193228 f1420 1"/>
                <a:gd name="f1499" fmla="*/ 7175279 f1420 1"/>
                <a:gd name="f1500" fmla="*/ 6939983 f1420 1"/>
                <a:gd name="f1501" fmla="*/ 6949894 f1420 1"/>
                <a:gd name="f1502" fmla="*/ 6953913 f1420 1"/>
                <a:gd name="f1503" fmla="*/ 6935964 f1420 1"/>
                <a:gd name="f1504" fmla="*/ 6700670 f1420 1"/>
                <a:gd name="f1505" fmla="*/ 6710581 f1420 1"/>
                <a:gd name="f1506" fmla="*/ 6714600 f1420 1"/>
                <a:gd name="f1507" fmla="*/ 6696651 f1420 1"/>
                <a:gd name="f1508" fmla="*/ 6461356 f1420 1"/>
                <a:gd name="f1509" fmla="*/ 6471266 f1420 1"/>
                <a:gd name="f1510" fmla="*/ 6475285 f1420 1"/>
                <a:gd name="f1511" fmla="*/ 6457337 f1420 1"/>
                <a:gd name="f1512" fmla="*/ 6222042 f1420 1"/>
                <a:gd name="f1513" fmla="*/ 6231952 f1420 1"/>
                <a:gd name="f1514" fmla="*/ 6235971 f1420 1"/>
                <a:gd name="f1515" fmla="*/ 6218023 f1420 1"/>
                <a:gd name="f1516" fmla="*/ 5982729 f1420 1"/>
                <a:gd name="f1517" fmla="*/ 5992639 f1420 1"/>
                <a:gd name="f1518" fmla="*/ 5996658 f1420 1"/>
                <a:gd name="f1519" fmla="*/ 5978710 f1420 1"/>
                <a:gd name="f1520" fmla="*/ 5743412 f1420 1"/>
                <a:gd name="f1521" fmla="*/ 5753323 f1420 1"/>
                <a:gd name="f1522" fmla="*/ 5757342 f1420 1"/>
                <a:gd name="f1523" fmla="*/ 5739393 f1420 1"/>
                <a:gd name="f1524" fmla="*/ 5504099 f1420 1"/>
                <a:gd name="f1525" fmla="*/ 5514010 f1420 1"/>
                <a:gd name="f1526" fmla="*/ 5518029 f1420 1"/>
                <a:gd name="f1527" fmla="*/ 5500080 f1420 1"/>
                <a:gd name="f1528" fmla="*/ 5264784 f1420 1"/>
                <a:gd name="f1529" fmla="*/ 5274694 f1420 1"/>
                <a:gd name="f1530" fmla="*/ 5278713 f1420 1"/>
                <a:gd name="f1531" fmla="*/ 5260765 f1420 1"/>
                <a:gd name="f1532" fmla="*/ 5025470 f1420 1"/>
                <a:gd name="f1533" fmla="*/ 5035381 f1420 1"/>
                <a:gd name="f1534" fmla="*/ 5039400 f1420 1"/>
                <a:gd name="f1535" fmla="*/ 5021451 f1420 1"/>
                <a:gd name="f1536" fmla="*/ 4786241 f1420 1"/>
                <a:gd name="f1537" fmla="*/ 4796152 f1420 1"/>
                <a:gd name="f1538" fmla="*/ 4800171 f1420 1"/>
                <a:gd name="f1539" fmla="*/ 4782224 f1420 1"/>
                <a:gd name="f1540" fmla="*/ 4546929 f1420 1"/>
                <a:gd name="f1541" fmla="*/ 4556840 f1420 1"/>
                <a:gd name="f1542" fmla="*/ 4560859 f1420 1"/>
                <a:gd name="f1543" fmla="*/ 4542910 f1420 1"/>
                <a:gd name="f1544" fmla="*/ 4307612 f1420 1"/>
                <a:gd name="f1545" fmla="*/ 4317523 f1420 1"/>
                <a:gd name="f1546" fmla="*/ 4321543 f1420 1"/>
                <a:gd name="f1547" fmla="*/ 4303595 f1420 1"/>
                <a:gd name="f1548" fmla="*/ 4068297 f1420 1"/>
                <a:gd name="f1549" fmla="*/ 4078210 f1420 1"/>
                <a:gd name="f1550" fmla="*/ 4082229 f1420 1"/>
                <a:gd name="f1551" fmla="*/ 4064278 f1420 1"/>
                <a:gd name="f1552" fmla="*/ 3828990 f1420 1"/>
                <a:gd name="f1553" fmla="*/ 3838899 f1420 1"/>
                <a:gd name="f1554" fmla="*/ 3842917 f1420 1"/>
                <a:gd name="f1555" fmla="*/ 3824971 f1420 1"/>
                <a:gd name="f1556" fmla="*/ 3589676 f1420 1"/>
                <a:gd name="f1557" fmla="*/ 3599585 f1420 1"/>
                <a:gd name="f1558" fmla="*/ 3603604 f1420 1"/>
                <a:gd name="f1559" fmla="*/ 3585657 f1420 1"/>
                <a:gd name="f1560" fmla="*/ 3350359 f1420 1"/>
                <a:gd name="f1561" fmla="*/ 3360268 f1420 1"/>
                <a:gd name="f1562" fmla="*/ 3364287 f1420 1"/>
                <a:gd name="f1563" fmla="*/ 3346340 f1420 1"/>
                <a:gd name="f1564" fmla="*/ 3111048 f1420 1"/>
                <a:gd name="f1565" fmla="*/ 3120959 f1420 1"/>
                <a:gd name="f1566" fmla="*/ 3124977 f1420 1"/>
                <a:gd name="f1567" fmla="*/ 3107029 f1420 1"/>
                <a:gd name="f1568" fmla="*/ 2871737 f1420 1"/>
                <a:gd name="f1569" fmla="*/ 2881646 f1420 1"/>
                <a:gd name="f1570" fmla="*/ 2885666 f1420 1"/>
                <a:gd name="f1571" fmla="*/ 2867717 f1420 1"/>
                <a:gd name="f1572" fmla="*/ 2632423 f1420 1"/>
                <a:gd name="f1573" fmla="*/ 2642334 f1420 1"/>
                <a:gd name="f1574" fmla="*/ 2646352 f1420 1"/>
                <a:gd name="f1575" fmla="*/ 2628404 f1420 1"/>
                <a:gd name="f1576" fmla="*/ 2393104 f1420 1"/>
                <a:gd name="f1577" fmla="*/ 2403015 f1420 1"/>
                <a:gd name="f1578" fmla="*/ 2407034 f1420 1"/>
                <a:gd name="f1579" fmla="*/ 2389087 f1420 1"/>
                <a:gd name="f1580" fmla="*/ 721958 f1420 1"/>
                <a:gd name="f1581" fmla="*/ 731868 f1420 1"/>
                <a:gd name="f1582" fmla="*/ 735887 f1420 1"/>
                <a:gd name="f1583" fmla="*/ 717939 f1420 1"/>
                <a:gd name="f1584" fmla="*/ 482646 f1420 1"/>
                <a:gd name="f1585" fmla="*/ 492556 f1420 1"/>
                <a:gd name="f1586" fmla="*/ 496575 f1420 1"/>
                <a:gd name="f1587" fmla="*/ 478627 f1420 1"/>
                <a:gd name="f1588" fmla="*/ 243332 f1420 1"/>
                <a:gd name="f1589" fmla="*/ 253242 f1420 1"/>
                <a:gd name="f1590" fmla="*/ 257261 f1420 1"/>
                <a:gd name="f1591" fmla="*/ 239313 f1420 1"/>
                <a:gd name="f1592" fmla="*/ 4019 f1420 1"/>
                <a:gd name="f1593" fmla="*/ 13929 f1420 1"/>
                <a:gd name="f1594" fmla="*/ 17949 f1420 1"/>
                <a:gd name="f1595" fmla="*/ 0 f1420 1"/>
                <a:gd name="f1596" fmla="*/ 6222160 f1419 1"/>
                <a:gd name="f1597" fmla="*/ 6226198 f1419 1"/>
                <a:gd name="f1598" fmla="*/ 6236069 f1419 1"/>
                <a:gd name="f1599" fmla="*/ 6240109 f1419 1"/>
                <a:gd name="f1600" fmla="*/ 2157818 f1420 1"/>
                <a:gd name="f1601" fmla="*/ 2167728 f1420 1"/>
                <a:gd name="f1602" fmla="*/ 2171746 f1420 1"/>
                <a:gd name="f1603" fmla="*/ 2153799 f1420 1"/>
                <a:gd name="f1604" fmla="*/ 1932438 f1420 1"/>
                <a:gd name="f1605" fmla="*/ 1693129 f1420 1"/>
                <a:gd name="f1606" fmla="*/ 1675182 f1420 1"/>
                <a:gd name="f1607" fmla="*/ 1453814 f1420 1"/>
                <a:gd name="f1608" fmla="*/ 1435866 f1420 1"/>
                <a:gd name="f1609" fmla="*/ 1210481 f1420 1"/>
                <a:gd name="f1610" fmla="*/ 1214499 f1420 1"/>
                <a:gd name="f1611" fmla="*/ 961258 f1420 1"/>
                <a:gd name="f1612" fmla="*/ 957239 f1420 1"/>
                <a:gd name="f1613" fmla="*/ 721959 f1420 1"/>
                <a:gd name="f1614" fmla="*/ 731869 f1420 1"/>
                <a:gd name="f1615" fmla="*/ 735888 f1420 1"/>
                <a:gd name="f1616" fmla="*/ 717940 f1420 1"/>
                <a:gd name="f1617" fmla="*/ 492557 f1420 1"/>
                <a:gd name="f1618" fmla="*/ 496576 f1420 1"/>
                <a:gd name="f1619" fmla="*/ 243333 f1420 1"/>
                <a:gd name="f1620" fmla="*/ 253243 f1420 1"/>
                <a:gd name="f1621" fmla="*/ 257263 f1420 1"/>
                <a:gd name="f1622" fmla="*/ 239314 f1420 1"/>
                <a:gd name="f1623" fmla="*/ 4020 f1420 1"/>
                <a:gd name="f1624" fmla="*/ 13930 f1420 1"/>
                <a:gd name="f1625" fmla="*/ 1 f1420 1"/>
                <a:gd name="f1626" fmla="*/ 5982881 f1419 1"/>
                <a:gd name="f1627" fmla="*/ 2171747 f1420 1"/>
                <a:gd name="f1628" fmla="*/ 5986919 f1419 1"/>
                <a:gd name="f1629" fmla="*/ 5996790 f1419 1"/>
                <a:gd name="f1630" fmla="*/ 6000829 f1419 1"/>
                <a:gd name="f1631" fmla="*/ 1928420 f1420 1"/>
                <a:gd name="f1632" fmla="*/ 1679201 f1420 1"/>
                <a:gd name="f1633" fmla="*/ 1689111 f1420 1"/>
                <a:gd name="f1634" fmla="*/ 1439886 f1420 1"/>
                <a:gd name="f1635" fmla="*/ 1449796 f1420 1"/>
                <a:gd name="f1636" fmla="*/ 1200571 f1420 1"/>
                <a:gd name="f1637" fmla="*/ 1214500 f1420 1"/>
                <a:gd name="f1638" fmla="*/ 1196553 f1420 1"/>
                <a:gd name="f1639" fmla="*/ 971168 f1420 1"/>
                <a:gd name="f1640" fmla="*/ 975187 f1420 1"/>
                <a:gd name="f1641" fmla="*/ 5982829 f1419 1"/>
                <a:gd name="f1642" fmla="*/ 5986868 f1419 1"/>
                <a:gd name="f1643" fmla="*/ 5996739 f1419 1"/>
                <a:gd name="f1644" fmla="*/ 6000778 f1419 1"/>
                <a:gd name="f1645" fmla="*/ 721960 f1420 1"/>
                <a:gd name="f1646" fmla="*/ 482647 f1420 1"/>
                <a:gd name="f1647" fmla="*/ 478628 f1420 1"/>
                <a:gd name="f1648" fmla="*/ 243334 f1420 1"/>
                <a:gd name="f1649" fmla="*/ 253244 f1420 1"/>
                <a:gd name="f1650" fmla="*/ 239315 f1420 1"/>
                <a:gd name="f1651" fmla="*/ 4021 f1420 1"/>
                <a:gd name="f1652" fmla="*/ 13931 f1420 1"/>
                <a:gd name="f1653" fmla="*/ 17950 f1420 1"/>
                <a:gd name="f1654" fmla="*/ 5743551 f1419 1"/>
                <a:gd name="f1655" fmla="*/ 5747589 f1419 1"/>
                <a:gd name="f1656" fmla="*/ 5757460 f1419 1"/>
                <a:gd name="f1657" fmla="*/ 5761499 f1419 1"/>
                <a:gd name="f1658" fmla="*/ 1918510 f1420 1"/>
                <a:gd name="f1659" fmla="*/ 1689112 f1420 1"/>
                <a:gd name="f1660" fmla="*/ 1693131 f1420 1"/>
                <a:gd name="f1661" fmla="*/ 1675183 f1420 1"/>
                <a:gd name="f1662" fmla="*/ 1449797 f1420 1"/>
                <a:gd name="f1663" fmla="*/ 1453815 f1420 1"/>
                <a:gd name="f1664" fmla="*/ 1435868 f1420 1"/>
                <a:gd name="f1665" fmla="*/ 1200572 f1420 1"/>
                <a:gd name="f1666" fmla="*/ 1210482 f1420 1"/>
                <a:gd name="f1667" fmla="*/ 961259 f1420 1"/>
                <a:gd name="f1668" fmla="*/ 971169 f1420 1"/>
                <a:gd name="f1669" fmla="*/ 975188 f1420 1"/>
                <a:gd name="f1670" fmla="*/ 957240 f1420 1"/>
                <a:gd name="f1671" fmla="*/ 5743499 f1419 1"/>
                <a:gd name="f1672" fmla="*/ 5747537 f1419 1"/>
                <a:gd name="f1673" fmla="*/ 5757408 f1419 1"/>
                <a:gd name="f1674" fmla="*/ 5761447 f1419 1"/>
                <a:gd name="f1675" fmla="*/ 731871 f1420 1"/>
                <a:gd name="f1676" fmla="*/ 735889 f1420 1"/>
                <a:gd name="f1677" fmla="*/ 717941 f1420 1"/>
                <a:gd name="f1678" fmla="*/ 482648 f1420 1"/>
                <a:gd name="f1679" fmla="*/ 492558 f1420 1"/>
                <a:gd name="f1680" fmla="*/ 496578 f1420 1"/>
                <a:gd name="f1681" fmla="*/ 478629 f1420 1"/>
                <a:gd name="f1682" fmla="*/ 253245 f1420 1"/>
                <a:gd name="f1683" fmla="*/ 257264 f1420 1"/>
                <a:gd name="f1684" fmla="*/ 13932 f1420 1"/>
                <a:gd name="f1685" fmla="*/ 2 f1420 1"/>
                <a:gd name="f1686" fmla="*/ 5504220 f1419 1"/>
                <a:gd name="f1687" fmla="*/ 5508258 f1419 1"/>
                <a:gd name="f1688" fmla="*/ 5518129 f1419 1"/>
                <a:gd name="f1689" fmla="*/ 5522168 f1419 1"/>
                <a:gd name="f1690" fmla="*/ 2171748 f1420 1"/>
                <a:gd name="f1691" fmla="*/ 1679202 f1420 1"/>
                <a:gd name="f1692" fmla="*/ 1693132 f1420 1"/>
                <a:gd name="f1693" fmla="*/ 1675184 f1420 1"/>
                <a:gd name="f1694" fmla="*/ 1439887 f1420 1"/>
                <a:gd name="f1695" fmla="*/ 1435869 f1420 1"/>
                <a:gd name="f1696" fmla="*/ 1210483 f1420 1"/>
                <a:gd name="f1697" fmla="*/ 1214501 f1420 1"/>
                <a:gd name="f1698" fmla="*/ 1196554 f1420 1"/>
                <a:gd name="f1699" fmla="*/ 961260 f1420 1"/>
                <a:gd name="f1700" fmla="*/ 975189 f1420 1"/>
                <a:gd name="f1701" fmla="*/ 957241 f1420 1"/>
                <a:gd name="f1702" fmla="*/ 721961 f1420 1"/>
                <a:gd name="f1703" fmla="*/ 735890 f1420 1"/>
                <a:gd name="f1704" fmla="*/ 717942 f1420 1"/>
                <a:gd name="f1705" fmla="*/ 482649 f1420 1"/>
                <a:gd name="f1706" fmla="*/ 492559 f1420 1"/>
                <a:gd name="f1707" fmla="*/ 478630 f1420 1"/>
                <a:gd name="f1708" fmla="*/ 243335 f1420 1"/>
                <a:gd name="f1709" fmla="*/ 239316 f1420 1"/>
                <a:gd name="f1710" fmla="*/ 4022 f1420 1"/>
                <a:gd name="f1711" fmla="*/ 17951 f1420 1"/>
                <a:gd name="f1712" fmla="*/ 3 f1420 1"/>
                <a:gd name="f1713" fmla="*/ 5264940 f1419 1"/>
                <a:gd name="f1714" fmla="*/ 2167729 f1420 1"/>
                <a:gd name="f1715" fmla="*/ 5268978 f1419 1"/>
                <a:gd name="f1716" fmla="*/ 5278849 f1419 1"/>
                <a:gd name="f1717" fmla="*/ 5282888 f1419 1"/>
                <a:gd name="f1718" fmla="*/ 1914492 f1420 1"/>
                <a:gd name="f1719" fmla="*/ 1679204 f1420 1"/>
                <a:gd name="f1720" fmla="*/ 1689113 f1420 1"/>
                <a:gd name="f1721" fmla="*/ 1439889 f1420 1"/>
                <a:gd name="f1722" fmla="*/ 1449798 f1420 1"/>
                <a:gd name="f1723" fmla="*/ 1453817 f1420 1"/>
                <a:gd name="f1724" fmla="*/ 1200573 f1420 1"/>
                <a:gd name="f1725" fmla="*/ 1214502 f1420 1"/>
                <a:gd name="f1726" fmla="*/ 971171 f1420 1"/>
                <a:gd name="f1727" fmla="*/ 5264889 f1419 1"/>
                <a:gd name="f1728" fmla="*/ 5268928 f1419 1"/>
                <a:gd name="f1729" fmla="*/ 5278799 f1419 1"/>
                <a:gd name="f1730" fmla="*/ 5282838 f1419 1"/>
                <a:gd name="f1731" fmla="*/ 731872 f1420 1"/>
                <a:gd name="f1732" fmla="*/ 735891 f1420 1"/>
                <a:gd name="f1733" fmla="*/ 717943 f1420 1"/>
                <a:gd name="f1734" fmla="*/ 492560 f1420 1"/>
                <a:gd name="f1735" fmla="*/ 496579 f1420 1"/>
                <a:gd name="f1736" fmla="*/ 243336 f1420 1"/>
                <a:gd name="f1737" fmla="*/ 253246 f1420 1"/>
                <a:gd name="f1738" fmla="*/ 257265 f1420 1"/>
                <a:gd name="f1739" fmla="*/ 239317 f1420 1"/>
                <a:gd name="f1740" fmla="*/ 13933 f1420 1"/>
                <a:gd name="f1741" fmla="*/ 17952 f1420 1"/>
                <a:gd name="f1742" fmla="*/ 2157819 f1420 1"/>
                <a:gd name="f1743" fmla="*/ 5025610 f1419 1"/>
                <a:gd name="f1744" fmla="*/ 5029648 f1419 1"/>
                <a:gd name="f1745" fmla="*/ 5039519 f1419 1"/>
                <a:gd name="f1746" fmla="*/ 5043558 f1419 1"/>
                <a:gd name="f1747" fmla="*/ 2153800 f1420 1"/>
                <a:gd name="f1748" fmla="*/ 1932440 f1420 1"/>
                <a:gd name="f1749" fmla="*/ 1689115 f1420 1"/>
                <a:gd name="f1750" fmla="*/ 1693133 f1420 1"/>
                <a:gd name="f1751" fmla="*/ 1675185 f1420 1"/>
                <a:gd name="f1752" fmla="*/ 1453818 f1420 1"/>
                <a:gd name="f1753" fmla="*/ 1435870 f1420 1"/>
                <a:gd name="f1754" fmla="*/ 1210484 f1420 1"/>
                <a:gd name="f1755" fmla="*/ 1196555 f1420 1"/>
                <a:gd name="f1756" fmla="*/ 961261 f1420 1"/>
                <a:gd name="f1757" fmla="*/ 975190 f1420 1"/>
                <a:gd name="f1758" fmla="*/ 957242 f1420 1"/>
                <a:gd name="f1759" fmla="*/ 5025558 f1419 1"/>
                <a:gd name="f1760" fmla="*/ 5029597 f1419 1"/>
                <a:gd name="f1761" fmla="*/ 5039468 f1419 1"/>
                <a:gd name="f1762" fmla="*/ 5043507 f1419 1"/>
                <a:gd name="f1763" fmla="*/ 721962 f1420 1"/>
                <a:gd name="f1764" fmla="*/ 717944 f1420 1"/>
                <a:gd name="f1765" fmla="*/ 482650 f1420 1"/>
                <a:gd name="f1766" fmla="*/ 496580 f1420 1"/>
                <a:gd name="f1767" fmla="*/ 478631 f1420 1"/>
                <a:gd name="f1768" fmla="*/ 253247 f1420 1"/>
                <a:gd name="f1769" fmla="*/ 257266 f1420 1"/>
                <a:gd name="f1770" fmla="*/ 4024 f1420 1"/>
                <a:gd name="f1771" fmla="*/ 4 f1420 1"/>
                <a:gd name="f1772" fmla="*/ 4786279 f1419 1"/>
                <a:gd name="f1773" fmla="*/ 4790317 f1419 1"/>
                <a:gd name="f1774" fmla="*/ 4800188 f1419 1"/>
                <a:gd name="f1775" fmla="*/ 4804227 f1419 1"/>
                <a:gd name="f1776" fmla="*/ 1679205 f1420 1"/>
                <a:gd name="f1777" fmla="*/ 1693134 f1420 1"/>
                <a:gd name="f1778" fmla="*/ 1675187 f1420 1"/>
                <a:gd name="f1779" fmla="*/ 1439890 f1420 1"/>
                <a:gd name="f1780" fmla="*/ 1449800 f1420 1"/>
                <a:gd name="f1781" fmla="*/ 1200574 f1420 1"/>
                <a:gd name="f1782" fmla="*/ 1214503 f1420 1"/>
                <a:gd name="f1783" fmla="*/ 961262 f1420 1"/>
                <a:gd name="f1784" fmla="*/ 971172 f1420 1"/>
                <a:gd name="f1785" fmla="*/ 721963 f1420 1"/>
                <a:gd name="f1786" fmla="*/ 731873 f1420 1"/>
                <a:gd name="f1787" fmla="*/ 735892 f1420 1"/>
                <a:gd name="f1788" fmla="*/ 482651 f1420 1"/>
                <a:gd name="f1789" fmla="*/ 492561 f1420 1"/>
                <a:gd name="f1790" fmla="*/ 478632 f1420 1"/>
                <a:gd name="f1791" fmla="*/ 243338 f1420 1"/>
                <a:gd name="f1792" fmla="*/ 239318 f1420 1"/>
                <a:gd name="f1793" fmla="*/ 13934 f1420 1"/>
                <a:gd name="f1794" fmla="*/ 17954 f1420 1"/>
                <a:gd name="f1795" fmla="*/ 5 f1420 1"/>
                <a:gd name="f1796" fmla="*/ 4546999 f1419 1"/>
                <a:gd name="f1797" fmla="*/ 4551038 f1419 1"/>
                <a:gd name="f1798" fmla="*/ 4560909 f1419 1"/>
                <a:gd name="f1799" fmla="*/ 4564948 f1419 1"/>
                <a:gd name="f1800" fmla="*/ 2153801 f1420 1"/>
                <a:gd name="f1801" fmla="*/ 1928421 f1420 1"/>
                <a:gd name="f1802" fmla="*/ 1679206 f1420 1"/>
                <a:gd name="f1803" fmla="*/ 1689116 f1420 1"/>
                <a:gd name="f1804" fmla="*/ 1453819 f1420 1"/>
                <a:gd name="f1805" fmla="*/ 1435871 f1420 1"/>
                <a:gd name="f1806" fmla="*/ 1200575 f1420 1"/>
                <a:gd name="f1807" fmla="*/ 1210485 f1420 1"/>
                <a:gd name="f1808" fmla="*/ 1214504 f1420 1"/>
                <a:gd name="f1809" fmla="*/ 1196556 f1420 1"/>
                <a:gd name="f1810" fmla="*/ 975191 f1420 1"/>
                <a:gd name="f1811" fmla="*/ 957243 f1420 1"/>
                <a:gd name="f1812" fmla="*/ 4546948 f1419 1"/>
                <a:gd name="f1813" fmla="*/ 4550987 f1419 1"/>
                <a:gd name="f1814" fmla="*/ 4560858 f1419 1"/>
                <a:gd name="f1815" fmla="*/ 4564897 f1419 1"/>
                <a:gd name="f1816" fmla="*/ 721964 f1420 1"/>
                <a:gd name="f1817" fmla="*/ 731874 f1420 1"/>
                <a:gd name="f1818" fmla="*/ 735893 f1420 1"/>
                <a:gd name="f1819" fmla="*/ 717945 f1420 1"/>
                <a:gd name="f1820" fmla="*/ 492562 f1420 1"/>
                <a:gd name="f1821" fmla="*/ 496581 f1420 1"/>
                <a:gd name="f1822" fmla="*/ 253248 f1420 1"/>
                <a:gd name="f1823" fmla="*/ 257267 f1420 1"/>
                <a:gd name="f1824" fmla="*/ 239319 f1420 1"/>
                <a:gd name="f1825" fmla="*/ 4025 f1420 1"/>
                <a:gd name="f1826" fmla="*/ 13935 f1420 1"/>
                <a:gd name="f1827" fmla="*/ 6 f1420 1"/>
                <a:gd name="f1828" fmla="*/ 4307669 f1419 1"/>
                <a:gd name="f1829" fmla="*/ 2171749 f1420 1"/>
                <a:gd name="f1830" fmla="*/ 4311708 f1419 1"/>
                <a:gd name="f1831" fmla="*/ 4321579 f1419 1"/>
                <a:gd name="f1832" fmla="*/ 4325618 f1419 1"/>
                <a:gd name="f1833" fmla="*/ 1918511 f1420 1"/>
                <a:gd name="f1834" fmla="*/ 1689117 f1420 1"/>
                <a:gd name="f1835" fmla="*/ 1693136 f1420 1"/>
                <a:gd name="f1836" fmla="*/ 1675188 f1420 1"/>
                <a:gd name="f1837" fmla="*/ 1439891 f1420 1"/>
                <a:gd name="f1838" fmla="*/ 1449801 f1420 1"/>
                <a:gd name="f1839" fmla="*/ 1210486 f1420 1"/>
                <a:gd name="f1840" fmla="*/ 1214505 f1420 1"/>
                <a:gd name="f1841" fmla="*/ 961263 f1420 1"/>
                <a:gd name="f1842" fmla="*/ 971173 f1420 1"/>
                <a:gd name="f1843" fmla="*/ 957244 f1420 1"/>
                <a:gd name="f1844" fmla="*/ 4307617 f1419 1"/>
                <a:gd name="f1845" fmla="*/ 4311656 f1419 1"/>
                <a:gd name="f1846" fmla="*/ 4321527 f1419 1"/>
                <a:gd name="f1847" fmla="*/ 4325566 f1419 1"/>
                <a:gd name="f1848" fmla="*/ 721965 f1420 1"/>
                <a:gd name="f1849" fmla="*/ 482652 f1420 1"/>
                <a:gd name="f1850" fmla="*/ 478633 f1420 1"/>
                <a:gd name="f1851" fmla="*/ 243339 f1420 1"/>
                <a:gd name="f1852" fmla="*/ 253249 f1420 1"/>
                <a:gd name="f1853" fmla="*/ 257268 f1420 1"/>
                <a:gd name="f1854" fmla="*/ 239320 f1420 1"/>
                <a:gd name="f1855" fmla="*/ 13936 f1420 1"/>
                <a:gd name="f1856" fmla="*/ 17955 f1420 1"/>
                <a:gd name="f1857" fmla="*/ 7 f1420 1"/>
                <a:gd name="f1858" fmla="*/ 4068339 f1419 1"/>
                <a:gd name="f1859" fmla="*/ 4072377 f1419 1"/>
                <a:gd name="f1860" fmla="*/ 4082248 f1419 1"/>
                <a:gd name="f1861" fmla="*/ 4086287 f1419 1"/>
                <a:gd name="f1862" fmla="*/ 1679207 f1420 1"/>
                <a:gd name="f1863" fmla="*/ 1693137 f1420 1"/>
                <a:gd name="f1864" fmla="*/ 1675189 f1420 1"/>
                <a:gd name="f1865" fmla="*/ 1449802 f1420 1"/>
                <a:gd name="f1866" fmla="*/ 1453820 f1420 1"/>
                <a:gd name="f1867" fmla="*/ 1435873 f1420 1"/>
                <a:gd name="f1868" fmla="*/ 1200576 f1420 1"/>
                <a:gd name="f1869" fmla="*/ 1196558 f1420 1"/>
                <a:gd name="f1870" fmla="*/ 971174 f1420 1"/>
                <a:gd name="f1871" fmla="*/ 975192 f1420 1"/>
                <a:gd name="f1872" fmla="*/ 731876 f1420 1"/>
                <a:gd name="f1873" fmla="*/ 735894 f1420 1"/>
                <a:gd name="f1874" fmla="*/ 717946 f1420 1"/>
                <a:gd name="f1875" fmla="*/ 482653 f1420 1"/>
                <a:gd name="f1876" fmla="*/ 492563 f1420 1"/>
                <a:gd name="f1877" fmla="*/ 496583 f1420 1"/>
                <a:gd name="f1878" fmla="*/ 478634 f1420 1"/>
                <a:gd name="f1879" fmla="*/ 253250 f1420 1"/>
                <a:gd name="f1880" fmla="*/ 257269 f1420 1"/>
                <a:gd name="f1881" fmla="*/ 4026 f1420 1"/>
                <a:gd name="f1882" fmla="*/ 17956 f1420 1"/>
                <a:gd name="f1883" fmla="*/ 2157820 f1420 1"/>
                <a:gd name="f1884" fmla="*/ 3829058 f1419 1"/>
                <a:gd name="f1885" fmla="*/ 2167731 f1420 1"/>
                <a:gd name="f1886" fmla="*/ 3833097 f1419 1"/>
                <a:gd name="f1887" fmla="*/ 3842968 f1419 1"/>
                <a:gd name="f1888" fmla="*/ 3847007 f1419 1"/>
                <a:gd name="f1889" fmla="*/ 1914493 f1420 1"/>
                <a:gd name="f1890" fmla="*/ 1679209 f1420 1"/>
                <a:gd name="f1891" fmla="*/ 1689118 f1420 1"/>
                <a:gd name="f1892" fmla="*/ 1439892 f1420 1"/>
                <a:gd name="f1893" fmla="*/ 1435874 f1420 1"/>
                <a:gd name="f1894" fmla="*/ 1200577 f1420 1"/>
                <a:gd name="f1895" fmla="*/ 1210487 f1420 1"/>
                <a:gd name="f1896" fmla="*/ 1214506 f1420 1"/>
                <a:gd name="f1897" fmla="*/ 961264 f1420 1"/>
                <a:gd name="f1898" fmla="*/ 975193 f1420 1"/>
                <a:gd name="f1899" fmla="*/ 957245 f1420 1"/>
                <a:gd name="f1900" fmla="*/ 3829008 f1419 1"/>
                <a:gd name="f1901" fmla="*/ 3833046 f1419 1"/>
                <a:gd name="f1902" fmla="*/ 3842917 f1419 1"/>
                <a:gd name="f1903" fmla="*/ 3846956 f1419 1"/>
                <a:gd name="f1904" fmla="*/ 721966 f1420 1"/>
                <a:gd name="f1905" fmla="*/ 735895 f1420 1"/>
                <a:gd name="f1906" fmla="*/ 717947 f1420 1"/>
                <a:gd name="f1907" fmla="*/ 482654 f1420 1"/>
                <a:gd name="f1908" fmla="*/ 492564 f1420 1"/>
                <a:gd name="f1909" fmla="*/ 478635 f1420 1"/>
                <a:gd name="f1910" fmla="*/ 243340 f1420 1"/>
                <a:gd name="f1911" fmla="*/ 239321 f1420 1"/>
                <a:gd name="f1912" fmla="*/ 4027 f1420 1"/>
                <a:gd name="f1913" fmla="*/ 13937 f1420 1"/>
                <a:gd name="f1914" fmla="*/ 8 f1420 1"/>
                <a:gd name="f1915" fmla="*/ 3589728 f1419 1"/>
                <a:gd name="f1916" fmla="*/ 3593767 f1419 1"/>
                <a:gd name="f1917" fmla="*/ 3603637 f1419 1"/>
                <a:gd name="f1918" fmla="*/ 3607676 f1419 1"/>
                <a:gd name="f1919" fmla="*/ 1932441 f1420 1"/>
                <a:gd name="f1920" fmla="*/ 1693138 f1420 1"/>
                <a:gd name="f1921" fmla="*/ 1675190 f1420 1"/>
                <a:gd name="f1922" fmla="*/ 1449803 f1420 1"/>
                <a:gd name="f1923" fmla="*/ 1453822 f1420 1"/>
                <a:gd name="f1924" fmla="*/ 1210488 f1420 1"/>
                <a:gd name="f1925" fmla="*/ 1196559 f1420 1"/>
                <a:gd name="f1926" fmla="*/ 961265 f1420 1"/>
                <a:gd name="f1927" fmla="*/ 971175 f1420 1"/>
                <a:gd name="f1928" fmla="*/ 957246 f1420 1"/>
                <a:gd name="f1929" fmla="*/ 3589677 f1419 1"/>
                <a:gd name="f1930" fmla="*/ 3593716 f1419 1"/>
                <a:gd name="f1931" fmla="*/ 3603586 f1419 1"/>
                <a:gd name="f1932" fmla="*/ 3607625 f1419 1"/>
                <a:gd name="f1933" fmla="*/ 731877 f1420 1"/>
                <a:gd name="f1934" fmla="*/ 735896 f1420 1"/>
                <a:gd name="f1935" fmla="*/ 717948 f1420 1"/>
                <a:gd name="f1936" fmla="*/ 492565 f1420 1"/>
                <a:gd name="f1937" fmla="*/ 496584 f1420 1"/>
                <a:gd name="f1938" fmla="*/ 243341 f1420 1"/>
                <a:gd name="f1939" fmla="*/ 253251 f1420 1"/>
                <a:gd name="f1940" fmla="*/ 257270 f1420 1"/>
                <a:gd name="f1941" fmla="*/ 13938 f1420 1"/>
                <a:gd name="f1942" fmla="*/ 17957 f1420 1"/>
                <a:gd name="f1943" fmla="*/ 3350398 f1419 1"/>
                <a:gd name="f1944" fmla="*/ 3354436 f1419 1"/>
                <a:gd name="f1945" fmla="*/ 3364306 f1419 1"/>
                <a:gd name="f1946" fmla="*/ 3368345 f1419 1"/>
                <a:gd name="f1947" fmla="*/ 2153802 f1420 1"/>
                <a:gd name="f1948" fmla="*/ 1928422 f1420 1"/>
                <a:gd name="f1949" fmla="*/ 1679210 f1420 1"/>
                <a:gd name="f1950" fmla="*/ 1689120 f1420 1"/>
                <a:gd name="f1951" fmla="*/ 1675191 f1420 1"/>
                <a:gd name="f1952" fmla="*/ 1439893 f1420 1"/>
                <a:gd name="f1953" fmla="*/ 1453823 f1420 1"/>
                <a:gd name="f1954" fmla="*/ 1435875 f1420 1"/>
                <a:gd name="f1955" fmla="*/ 1200578 f1420 1"/>
                <a:gd name="f1956" fmla="*/ 1214507 f1420 1"/>
                <a:gd name="f1957" fmla="*/ 971176 f1420 1"/>
                <a:gd name="f1958" fmla="*/ 975194 f1420 1"/>
                <a:gd name="f1959" fmla="*/ 721967 f1420 1"/>
                <a:gd name="f1960" fmla="*/ 717949 f1420 1"/>
                <a:gd name="f1961" fmla="*/ 482655 f1420 1"/>
                <a:gd name="f1962" fmla="*/ 478636 f1420 1"/>
                <a:gd name="f1963" fmla="*/ 253252 f1420 1"/>
                <a:gd name="f1964" fmla="*/ 257271 f1420 1"/>
                <a:gd name="f1965" fmla="*/ 239322 f1420 1"/>
                <a:gd name="f1966" fmla="*/ 4029 f1420 1"/>
                <a:gd name="f1967" fmla="*/ 9 f1420 1"/>
                <a:gd name="f1968" fmla="*/ 3111118 f1419 1"/>
                <a:gd name="f1969" fmla="*/ 2171750 f1420 1"/>
                <a:gd name="f1970" fmla="*/ 3115157 f1419 1"/>
                <a:gd name="f1971" fmla="*/ 3125027 f1419 1"/>
                <a:gd name="f1972" fmla="*/ 3129066 f1419 1"/>
                <a:gd name="f1973" fmla="*/ 1918513 f1420 1"/>
                <a:gd name="f1974" fmla="*/ 1679211 f1420 1"/>
                <a:gd name="f1975" fmla="*/ 1689121 f1420 1"/>
                <a:gd name="f1976" fmla="*/ 1693139 f1420 1"/>
                <a:gd name="f1977" fmla="*/ 1439895 f1420 1"/>
                <a:gd name="f1978" fmla="*/ 1449805 f1420 1"/>
                <a:gd name="f1979" fmla="*/ 1210489 f1420 1"/>
                <a:gd name="f1980" fmla="*/ 1196560 f1420 1"/>
                <a:gd name="f1981" fmla="*/ 961266 f1420 1"/>
                <a:gd name="f1982" fmla="*/ 975195 f1420 1"/>
                <a:gd name="f1983" fmla="*/ 957247 f1420 1"/>
                <a:gd name="f1984" fmla="*/ 3111067 f1419 1"/>
                <a:gd name="f1985" fmla="*/ 3115105 f1419 1"/>
                <a:gd name="f1986" fmla="*/ 3124976 f1419 1"/>
                <a:gd name="f1987" fmla="*/ 3129015 f1419 1"/>
                <a:gd name="f1988" fmla="*/ 721968 f1420 1"/>
                <a:gd name="f1989" fmla="*/ 731878 f1420 1"/>
                <a:gd name="f1990" fmla="*/ 735897 f1420 1"/>
                <a:gd name="f1991" fmla="*/ 482656 f1420 1"/>
                <a:gd name="f1992" fmla="*/ 492566 f1420 1"/>
                <a:gd name="f1993" fmla="*/ 496585 f1420 1"/>
                <a:gd name="f1994" fmla="*/ 478637 f1420 1"/>
                <a:gd name="f1995" fmla="*/ 243342 f1420 1"/>
                <a:gd name="f1996" fmla="*/ 239323 f1420 1"/>
                <a:gd name="f1997" fmla="*/ 13939 f1420 1"/>
                <a:gd name="f1998" fmla="*/ 17959 f1420 1"/>
                <a:gd name="f1999" fmla="*/ 10 f1420 1"/>
                <a:gd name="f2000" fmla="*/ 2871788 f1419 1"/>
                <a:gd name="f2001" fmla="*/ 2167732 f1420 1"/>
                <a:gd name="f2002" fmla="*/ 2875826 f1419 1"/>
                <a:gd name="f2003" fmla="*/ 2885696 f1419 1"/>
                <a:gd name="f2004" fmla="*/ 2889735 f1419 1"/>
                <a:gd name="f2005" fmla="*/ 1693141 f1420 1"/>
                <a:gd name="f2006" fmla="*/ 1675193 f1420 1"/>
                <a:gd name="f2007" fmla="*/ 1453824 f1420 1"/>
                <a:gd name="f2008" fmla="*/ 1435876 f1420 1"/>
                <a:gd name="f2009" fmla="*/ 1200579 f1420 1"/>
                <a:gd name="f2010" fmla="*/ 1214509 f1420 1"/>
                <a:gd name="f2011" fmla="*/ 961267 f1420 1"/>
                <a:gd name="f2012" fmla="*/ 971177 f1420 1"/>
                <a:gd name="f2013" fmla="*/ 2871736 f1419 1"/>
                <a:gd name="f2014" fmla="*/ 2875775 f1419 1"/>
                <a:gd name="f2015" fmla="*/ 2885645 f1419 1"/>
                <a:gd name="f2016" fmla="*/ 2889684 f1419 1"/>
                <a:gd name="f2017" fmla="*/ 721969 f1420 1"/>
                <a:gd name="f2018" fmla="*/ 731879 f1420 1"/>
                <a:gd name="f2019" fmla="*/ 735898 f1420 1"/>
                <a:gd name="f2020" fmla="*/ 717950 f1420 1"/>
                <a:gd name="f2021" fmla="*/ 492567 f1420 1"/>
                <a:gd name="f2022" fmla="*/ 496586 f1420 1"/>
                <a:gd name="f2023" fmla="*/ 243343 f1420 1"/>
                <a:gd name="f2024" fmla="*/ 253253 f1420 1"/>
                <a:gd name="f2025" fmla="*/ 257272 f1420 1"/>
                <a:gd name="f2026" fmla="*/ 239324 f1420 1"/>
                <a:gd name="f2027" fmla="*/ 4030 f1420 1"/>
                <a:gd name="f2028" fmla="*/ 13940 f1420 1"/>
                <a:gd name="f2029" fmla="*/ 11 f1420 1"/>
                <a:gd name="f2030" fmla="*/ 2632457 f1419 1"/>
                <a:gd name="f2031" fmla="*/ 2636496 f1419 1"/>
                <a:gd name="f2032" fmla="*/ 2646366 f1419 1"/>
                <a:gd name="f2033" fmla="*/ 2650405 f1419 1"/>
                <a:gd name="f2034" fmla="*/ 2157821 f1420 1"/>
                <a:gd name="f2035" fmla="*/ 1914494 f1420 1"/>
                <a:gd name="f2036" fmla="*/ 1679212 f1420 1"/>
                <a:gd name="f2037" fmla="*/ 1689122 f1420 1"/>
                <a:gd name="f2038" fmla="*/ 1439896 f1420 1"/>
                <a:gd name="f2039" fmla="*/ 1449806 f1420 1"/>
                <a:gd name="f2040" fmla="*/ 1200580 f1420 1"/>
                <a:gd name="f2041" fmla="*/ 1210490 f1420 1"/>
                <a:gd name="f2042" fmla="*/ 1196561 f1420 1"/>
                <a:gd name="f2043" fmla="*/ 971178 f1420 1"/>
                <a:gd name="f2044" fmla="*/ 975196 f1420 1"/>
                <a:gd name="f2045" fmla="*/ 957249 f1420 1"/>
                <a:gd name="f2046" fmla="*/ 721970 f1420 1"/>
                <a:gd name="f2047" fmla="*/ 717951 f1420 1"/>
                <a:gd name="f2048" fmla="*/ 482657 f1420 1"/>
                <a:gd name="f2049" fmla="*/ 478638 f1420 1"/>
                <a:gd name="f2050" fmla="*/ 243344 f1420 1"/>
                <a:gd name="f2051" fmla="*/ 253254 f1420 1"/>
                <a:gd name="f2052" fmla="*/ 257273 f1420 1"/>
                <a:gd name="f2053" fmla="*/ 239325 f1420 1"/>
                <a:gd name="f2054" fmla="*/ 13941 f1420 1"/>
                <a:gd name="f2055" fmla="*/ 17960 f1420 1"/>
                <a:gd name="f2056" fmla="*/ 2393178 f1419 1"/>
                <a:gd name="f2057" fmla="*/ 2397216 f1419 1"/>
                <a:gd name="f2058" fmla="*/ 2407087 f1419 1"/>
                <a:gd name="f2059" fmla="*/ 2411126 f1419 1"/>
                <a:gd name="f2060" fmla="*/ 1932443 f1420 1"/>
                <a:gd name="f2061" fmla="*/ 1689123 f1420 1"/>
                <a:gd name="f2062" fmla="*/ 1693142 f1420 1"/>
                <a:gd name="f2063" fmla="*/ 1675194 f1420 1"/>
                <a:gd name="f2064" fmla="*/ 1453826 f1420 1"/>
                <a:gd name="f2065" fmla="*/ 1435878 f1420 1"/>
                <a:gd name="f2066" fmla="*/ 1210491 f1420 1"/>
                <a:gd name="f2067" fmla="*/ 1214510 f1420 1"/>
                <a:gd name="f2068" fmla="*/ 1196562 f1420 1"/>
                <a:gd name="f2069" fmla="*/ 961268 f1420 1"/>
                <a:gd name="f2070" fmla="*/ 2393127 f1419 1"/>
                <a:gd name="f2071" fmla="*/ 2397165 f1419 1"/>
                <a:gd name="f2072" fmla="*/ 2407036 f1419 1"/>
                <a:gd name="f2073" fmla="*/ 2411074 f1419 1"/>
                <a:gd name="f2074" fmla="*/ 731881 f1420 1"/>
                <a:gd name="f2075" fmla="*/ 735899 f1420 1"/>
                <a:gd name="f2076" fmla="*/ 482658 f1420 1"/>
                <a:gd name="f2077" fmla="*/ 492568 f1420 1"/>
                <a:gd name="f2078" fmla="*/ 496588 f1420 1"/>
                <a:gd name="f2079" fmla="*/ 478639 f1420 1"/>
                <a:gd name="f2080" fmla="*/ 253255 f1420 1"/>
                <a:gd name="f2081" fmla="*/ 257274 f1420 1"/>
                <a:gd name="f2082" fmla="*/ 4031 f1420 1"/>
                <a:gd name="f2083" fmla="*/ 17961 f1420 1"/>
                <a:gd name="f2084" fmla="*/ 12 f1420 1"/>
                <a:gd name="f2085" fmla="*/ 2153996 f1419 1"/>
                <a:gd name="f2086" fmla="*/ 2158034 f1419 1"/>
                <a:gd name="f2087" fmla="*/ 2167907 f1419 1"/>
                <a:gd name="f2088" fmla="*/ 2171946 f1419 1"/>
                <a:gd name="f2089" fmla="*/ 2171947 f1419 1"/>
                <a:gd name="f2090" fmla="*/ 2153995 f1419 1"/>
                <a:gd name="f2091" fmla="*/ 2153976 f1419 1"/>
                <a:gd name="f2092" fmla="*/ 2158014 f1419 1"/>
                <a:gd name="f2093" fmla="*/ 2167886 f1419 1"/>
                <a:gd name="f2094" fmla="*/ 2171926 f1419 1"/>
                <a:gd name="f2095" fmla="*/ 2167887 f1419 1"/>
                <a:gd name="f2096" fmla="*/ 2153956 f1419 1"/>
                <a:gd name="f2097" fmla="*/ 2157994 f1419 1"/>
                <a:gd name="f2098" fmla="*/ 2167867 f1419 1"/>
                <a:gd name="f2099" fmla="*/ 2171905 f1419 1"/>
                <a:gd name="f2100" fmla="*/ 2171906 f1419 1"/>
                <a:gd name="f2101" fmla="*/ 2153955 f1419 1"/>
                <a:gd name="f2102" fmla="*/ 2167866 f1419 1"/>
                <a:gd name="f2103" fmla="*/ 2153936 f1419 1"/>
                <a:gd name="f2104" fmla="*/ 2157974 f1419 1"/>
                <a:gd name="f2105" fmla="*/ 2167846 f1419 1"/>
                <a:gd name="f2106" fmla="*/ 2171885 f1419 1"/>
                <a:gd name="f2107" fmla="*/ 2153935 f1419 1"/>
                <a:gd name="f2108" fmla="*/ 2167845 f1419 1"/>
                <a:gd name="f2109" fmla="*/ 2153916 f1419 1"/>
                <a:gd name="f2110" fmla="*/ 2157955 f1419 1"/>
                <a:gd name="f2111" fmla="*/ 2167826 f1419 1"/>
                <a:gd name="f2112" fmla="*/ 2171865 f1419 1"/>
                <a:gd name="f2113" fmla="*/ 2153915 f1419 1"/>
                <a:gd name="f2114" fmla="*/ 2167825 f1419 1"/>
                <a:gd name="f2115" fmla="*/ 2171864 f1419 1"/>
                <a:gd name="f2116" fmla="*/ 2153896 f1419 1"/>
                <a:gd name="f2117" fmla="*/ 2157935 f1419 1"/>
                <a:gd name="f2118" fmla="*/ 2167805 f1419 1"/>
                <a:gd name="f2119" fmla="*/ 2171844 f1419 1"/>
                <a:gd name="f2120" fmla="*/ 2153895 f1419 1"/>
                <a:gd name="f2121" fmla="*/ 2157934 f1419 1"/>
                <a:gd name="f2122" fmla="*/ 2153876 f1419 1"/>
                <a:gd name="f2123" fmla="*/ 2157914 f1419 1"/>
                <a:gd name="f2124" fmla="*/ 2167786 f1419 1"/>
                <a:gd name="f2125" fmla="*/ 2171824 f1419 1"/>
                <a:gd name="f2126" fmla="*/ 1200582 f1420 1"/>
                <a:gd name="f2127" fmla="*/ 2153867 f1419 1"/>
                <a:gd name="f2128" fmla="*/ 2157906 f1419 1"/>
                <a:gd name="f2129" fmla="*/ 2167776 f1419 1"/>
                <a:gd name="f2130" fmla="*/ 2171815 f1419 1"/>
                <a:gd name="f2131" fmla="*/ 971179 f1420 1"/>
                <a:gd name="f2132" fmla="*/ 975198 f1420 1"/>
                <a:gd name="f2133" fmla="*/ 957250 f1420 1"/>
                <a:gd name="f2134" fmla="*/ 1679214 f1420 1"/>
                <a:gd name="f2135" fmla="*/ 1693144 f1420 1"/>
                <a:gd name="f2136" fmla="*/ 2157905 f1419 1"/>
                <a:gd name="f2137" fmla="*/ 2167775 f1419 1"/>
                <a:gd name="f2138" fmla="*/ 2171814 f1419 1"/>
                <a:gd name="f2139" fmla="*/ 1675195 f1420 1"/>
                <a:gd name="f2140" fmla="*/ 1439897 f1420 1"/>
                <a:gd name="f2141" fmla="*/ 1449807 f1420 1"/>
                <a:gd name="f2142" fmla="*/ 2153855 f1419 1"/>
                <a:gd name="f2143" fmla="*/ 2157892 f1419 1"/>
                <a:gd name="f2144" fmla="*/ 2167763 f1419 1"/>
                <a:gd name="f2145" fmla="*/ 2171803 f1419 1"/>
                <a:gd name="f2146" fmla="*/ 2153850 f1419 1"/>
                <a:gd name="f2147" fmla="*/ 2157889 f1419 1"/>
                <a:gd name="f2148" fmla="*/ 2167759 f1419 1"/>
                <a:gd name="f2149" fmla="*/ 2171798 f1419 1"/>
                <a:gd name="f2150" fmla="*/ 2153803 f1420 1"/>
                <a:gd name="f2151" fmla="*/ 4032 f1420 1"/>
                <a:gd name="f2152" fmla="*/ 2153832 f1419 1"/>
                <a:gd name="f2153" fmla="*/ 13942 f1420 1"/>
                <a:gd name="f2154" fmla="*/ 2157870 f1419 1"/>
                <a:gd name="f2155" fmla="*/ 2167741 f1419 1"/>
                <a:gd name="f2156" fmla="*/ 2171780 f1419 1"/>
                <a:gd name="f2157" fmla="*/ 13 f1420 1"/>
                <a:gd name="f2158" fmla="*/ 721971 f1420 1"/>
                <a:gd name="f2159" fmla="*/ 735900 f1420 1"/>
                <a:gd name="f2160" fmla="*/ 2167740 f1419 1"/>
                <a:gd name="f2161" fmla="*/ 717952 f1420 1"/>
                <a:gd name="f2162" fmla="*/ 482659 f1420 1"/>
                <a:gd name="f2163" fmla="*/ 492569 f1420 1"/>
                <a:gd name="f2164" fmla="*/ 478640 f1420 1"/>
                <a:gd name="f2165" fmla="*/ 243345 f1420 1"/>
                <a:gd name="f2166" fmla="*/ 239326 f1420 1"/>
                <a:gd name="f2167" fmla="*/ 1914701 f1419 1"/>
                <a:gd name="f2168" fmla="*/ 1918739 f1419 1"/>
                <a:gd name="f2169" fmla="*/ 1928610 f1419 1"/>
                <a:gd name="f2170" fmla="*/ 1932649 f1419 1"/>
                <a:gd name="f2171" fmla="*/ 1914699 f1419 1"/>
                <a:gd name="f2172" fmla="*/ 1918738 f1419 1"/>
                <a:gd name="f2173" fmla="*/ 1914682 f1419 1"/>
                <a:gd name="f2174" fmla="*/ 1918721 f1419 1"/>
                <a:gd name="f2175" fmla="*/ 1928592 f1419 1"/>
                <a:gd name="f2176" fmla="*/ 1932631 f1419 1"/>
                <a:gd name="f2177" fmla="*/ 1914681 f1419 1"/>
                <a:gd name="f2178" fmla="*/ 1918719 f1419 1"/>
                <a:gd name="f2179" fmla="*/ 1918720 f1419 1"/>
                <a:gd name="f2180" fmla="*/ 1914664 f1419 1"/>
                <a:gd name="f2181" fmla="*/ 1918702 f1419 1"/>
                <a:gd name="f2182" fmla="*/ 1928573 f1419 1"/>
                <a:gd name="f2183" fmla="*/ 1932612 f1419 1"/>
                <a:gd name="f2184" fmla="*/ 1914663 f1419 1"/>
                <a:gd name="f2185" fmla="*/ 1928572 f1419 1"/>
                <a:gd name="f2186" fmla="*/ 1914662 f1419 1"/>
                <a:gd name="f2187" fmla="*/ 1918701 f1419 1"/>
                <a:gd name="f2188" fmla="*/ 1914645 f1419 1"/>
                <a:gd name="f2189" fmla="*/ 1918684 f1419 1"/>
                <a:gd name="f2190" fmla="*/ 1928555 f1419 1"/>
                <a:gd name="f2191" fmla="*/ 1932594 f1419 1"/>
                <a:gd name="f2192" fmla="*/ 1918682 f1419 1"/>
                <a:gd name="f2193" fmla="*/ 1928554 f1419 1"/>
                <a:gd name="f2194" fmla="*/ 1918683 f1419 1"/>
                <a:gd name="f2195" fmla="*/ 1914627 f1419 1"/>
                <a:gd name="f2196" fmla="*/ 1918666 f1419 1"/>
                <a:gd name="f2197" fmla="*/ 1928536 f1419 1"/>
                <a:gd name="f2198" fmla="*/ 1932575 f1419 1"/>
                <a:gd name="f2199" fmla="*/ 1918664 f1419 1"/>
                <a:gd name="f2200" fmla="*/ 1928535 f1419 1"/>
                <a:gd name="f2201" fmla="*/ 1914626 f1419 1"/>
                <a:gd name="f2202" fmla="*/ 1914608 f1419 1"/>
                <a:gd name="f2203" fmla="*/ 1918647 f1419 1"/>
                <a:gd name="f2204" fmla="*/ 1928518 f1419 1"/>
                <a:gd name="f2205" fmla="*/ 1932557 f1419 1"/>
                <a:gd name="f2206" fmla="*/ 1918646 f1419 1"/>
                <a:gd name="f2207" fmla="*/ 1928517 f1419 1"/>
                <a:gd name="f2208" fmla="*/ 1914590 f1419 1"/>
                <a:gd name="f2209" fmla="*/ 1918629 f1419 1"/>
                <a:gd name="f2210" fmla="*/ 1928499 f1419 1"/>
                <a:gd name="f2211" fmla="*/ 1932538 f1419 1"/>
                <a:gd name="f2212" fmla="*/ 243346 f1420 1"/>
                <a:gd name="f2213" fmla="*/ 1914550 f1419 1"/>
                <a:gd name="f2214" fmla="*/ 253256 f1420 1"/>
                <a:gd name="f2215" fmla="*/ 257275 f1420 1"/>
                <a:gd name="f2216" fmla="*/ 1918589 f1419 1"/>
                <a:gd name="f2217" fmla="*/ 1928459 f1419 1"/>
                <a:gd name="f2218" fmla="*/ 1932498 f1419 1"/>
                <a:gd name="f2219" fmla="*/ 239327 f1420 1"/>
                <a:gd name="f2220" fmla="*/ 13943 f1420 1"/>
                <a:gd name="f2221" fmla="*/ 17962 f1420 1"/>
                <a:gd name="f2222" fmla="*/ 731882 f1420 1"/>
                <a:gd name="f2223" fmla="*/ 735901 f1420 1"/>
                <a:gd name="f2224" fmla="*/ 1918588 f1419 1"/>
                <a:gd name="f2225" fmla="*/ 1932497 f1419 1"/>
                <a:gd name="f2226" fmla="*/ 717953 f1420 1"/>
                <a:gd name="f2227" fmla="*/ 482660 f1420 1"/>
                <a:gd name="f2228" fmla="*/ 492570 f1420 1"/>
                <a:gd name="f2229" fmla="*/ 496589 f1420 1"/>
                <a:gd name="f2230" fmla="*/ 1679215 f1420 1"/>
                <a:gd name="f2231" fmla="*/ 1914535 f1419 1"/>
                <a:gd name="f2232" fmla="*/ 1689125 f1420 1"/>
                <a:gd name="f2233" fmla="*/ 1918573 f1419 1"/>
                <a:gd name="f2234" fmla="*/ 1928444 f1419 1"/>
                <a:gd name="f2235" fmla="*/ 1932482 f1419 1"/>
                <a:gd name="f2236" fmla="*/ 1449808 f1420 1"/>
                <a:gd name="f2237" fmla="*/ 1453827 f1420 1"/>
                <a:gd name="f2238" fmla="*/ 1932483 f1419 1"/>
                <a:gd name="f2239" fmla="*/ 1435879 f1420 1"/>
                <a:gd name="f2240" fmla="*/ 1210492 f1420 1"/>
                <a:gd name="f2241" fmla="*/ 1214511 f1420 1"/>
                <a:gd name="f2242" fmla="*/ 1196563 f1420 1"/>
                <a:gd name="f2243" fmla="*/ 961269 f1420 1"/>
                <a:gd name="f2244" fmla="*/ 1914523 f1419 1"/>
                <a:gd name="f2245" fmla="*/ 1928424 f1420 1"/>
                <a:gd name="f2246" fmla="*/ 1918562 f1419 1"/>
                <a:gd name="f2247" fmla="*/ 1928432 f1419 1"/>
                <a:gd name="f2248" fmla="*/ 1932471 f1419 1"/>
                <a:gd name="f2249" fmla="*/ 1914520 f1419 1"/>
                <a:gd name="f2250" fmla="*/ 2171751 f1420 1"/>
                <a:gd name="f2251" fmla="*/ 1918558 f1419 1"/>
                <a:gd name="f2252" fmla="*/ 1928428 f1419 1"/>
                <a:gd name="f2253" fmla="*/ 1932467 f1419 1"/>
                <a:gd name="f2254" fmla="*/ 1675350 f1419 1"/>
                <a:gd name="f2255" fmla="*/ 1679389 f1419 1"/>
                <a:gd name="f2256" fmla="*/ 1689260 f1419 1"/>
                <a:gd name="f2257" fmla="*/ 1693299 f1419 1"/>
                <a:gd name="f2258" fmla="*/ 1675349 f1419 1"/>
                <a:gd name="f2259" fmla="*/ 1679388 f1419 1"/>
                <a:gd name="f2260" fmla="*/ 1693298 f1419 1"/>
                <a:gd name="f2261" fmla="*/ 1675334 f1419 1"/>
                <a:gd name="f2262" fmla="*/ 1679373 f1419 1"/>
                <a:gd name="f2263" fmla="*/ 1689243 f1419 1"/>
                <a:gd name="f2264" fmla="*/ 1693282 f1419 1"/>
                <a:gd name="f2265" fmla="*/ 1675333 f1419 1"/>
                <a:gd name="f2266" fmla="*/ 1679372 f1419 1"/>
                <a:gd name="f2267" fmla="*/ 1693281 f1419 1"/>
                <a:gd name="f2268" fmla="*/ 1675318 f1419 1"/>
                <a:gd name="f2269" fmla="*/ 1679357 f1419 1"/>
                <a:gd name="f2270" fmla="*/ 1689227 f1419 1"/>
                <a:gd name="f2271" fmla="*/ 1693266 f1419 1"/>
                <a:gd name="f2272" fmla="*/ 1675316 f1419 1"/>
                <a:gd name="f2273" fmla="*/ 1679356 f1419 1"/>
                <a:gd name="f2274" fmla="*/ 1675301 f1419 1"/>
                <a:gd name="f2275" fmla="*/ 1679339 f1419 1"/>
                <a:gd name="f2276" fmla="*/ 1689210 f1419 1"/>
                <a:gd name="f2277" fmla="*/ 1693249 f1419 1"/>
                <a:gd name="f2278" fmla="*/ 1689211 f1419 1"/>
                <a:gd name="f2279" fmla="*/ 1693251 f1419 1"/>
                <a:gd name="f2280" fmla="*/ 1675300 f1419 1"/>
                <a:gd name="f2281" fmla="*/ 1675285 f1419 1"/>
                <a:gd name="f2282" fmla="*/ 1679323 f1419 1"/>
                <a:gd name="f2283" fmla="*/ 1689193 f1419 1"/>
                <a:gd name="f2284" fmla="*/ 1693232 f1419 1"/>
                <a:gd name="f2285" fmla="*/ 1689195 f1419 1"/>
                <a:gd name="f2286" fmla="*/ 1693234 f1419 1"/>
                <a:gd name="f2287" fmla="*/ 1675268 f1419 1"/>
                <a:gd name="f2288" fmla="*/ 1679306 f1419 1"/>
                <a:gd name="f2289" fmla="*/ 1689177 f1419 1"/>
                <a:gd name="f2290" fmla="*/ 1693216 f1419 1"/>
                <a:gd name="f2291" fmla="*/ 1693217 f1419 1"/>
                <a:gd name="f2292" fmla="*/ 1679307 f1419 1"/>
                <a:gd name="f2293" fmla="*/ 1689178 f1419 1"/>
                <a:gd name="f2294" fmla="*/ 961270 f1420 1"/>
                <a:gd name="f2295" fmla="*/ 1675255 f1419 1"/>
                <a:gd name="f2296" fmla="*/ 971180 f1420 1"/>
                <a:gd name="f2297" fmla="*/ 975199 f1420 1"/>
                <a:gd name="f2298" fmla="*/ 1679292 f1419 1"/>
                <a:gd name="f2299" fmla="*/ 1689163 f1419 1"/>
                <a:gd name="f2300" fmla="*/ 1693202 f1419 1"/>
                <a:gd name="f2301" fmla="*/ 957251 f1420 1"/>
                <a:gd name="f2302" fmla="*/ 1675254 f1419 1"/>
                <a:gd name="f2303" fmla="*/ 1689126 f1420 1"/>
                <a:gd name="f2304" fmla="*/ 1693145 f1420 1"/>
                <a:gd name="f2305" fmla="*/ 1675196 f1420 1"/>
                <a:gd name="f2306" fmla="*/ 1439898 f1420 1"/>
                <a:gd name="f2307" fmla="*/ 1453828 f1420 1"/>
                <a:gd name="f2308" fmla="*/ 1435880 f1420 1"/>
                <a:gd name="f2309" fmla="*/ 1200583 f1420 1"/>
                <a:gd name="f2310" fmla="*/ 1210493 f1420 1"/>
                <a:gd name="f2311" fmla="*/ 1196564 f1420 1"/>
                <a:gd name="f2312" fmla="*/ 1675251 f1419 1"/>
                <a:gd name="f2313" fmla="*/ 1679290 f1419 1"/>
                <a:gd name="f2314" fmla="*/ 1689161 f1419 1"/>
                <a:gd name="f2315" fmla="*/ 1693201 f1419 1"/>
                <a:gd name="f2316" fmla="*/ 1918514 f1420 1"/>
                <a:gd name="f2317" fmla="*/ 1675243 f1419 1"/>
                <a:gd name="f2318" fmla="*/ 1679282 f1419 1"/>
                <a:gd name="f2319" fmla="*/ 1689153 f1419 1"/>
                <a:gd name="f2320" fmla="*/ 1693191 f1419 1"/>
                <a:gd name="f2321" fmla="*/ 1675240 f1419 1"/>
                <a:gd name="f2322" fmla="*/ 1679279 f1419 1"/>
                <a:gd name="f2323" fmla="*/ 1689149 f1419 1"/>
                <a:gd name="f2324" fmla="*/ 1693188 f1419 1"/>
                <a:gd name="f2325" fmla="*/ 1675216 f1419 1"/>
                <a:gd name="f2326" fmla="*/ 253257 f1420 1"/>
                <a:gd name="f2327" fmla="*/ 257276 f1420 1"/>
                <a:gd name="f2328" fmla="*/ 1679254 f1419 1"/>
                <a:gd name="f2329" fmla="*/ 1689125 f1419 1"/>
                <a:gd name="f2330" fmla="*/ 1693164 f1419 1"/>
                <a:gd name="f2331" fmla="*/ 4034 f1420 1"/>
                <a:gd name="f2332" fmla="*/ 14 f1420 1"/>
                <a:gd name="f2333" fmla="*/ 721972 f1420 1"/>
                <a:gd name="f2334" fmla="*/ 735902 f1420 1"/>
                <a:gd name="f2335" fmla="*/ 717954 f1420 1"/>
                <a:gd name="f2336" fmla="*/ 492571 f1420 1"/>
                <a:gd name="f2337" fmla="*/ 478641 f1420 1"/>
                <a:gd name="f2338" fmla="*/ 1436001 f1419 1"/>
                <a:gd name="f2339" fmla="*/ 1440038 f1419 1"/>
                <a:gd name="f2340" fmla="*/ 1449910 f1419 1"/>
                <a:gd name="f2341" fmla="*/ 1453949 f1419 1"/>
                <a:gd name="f2342" fmla="*/ 1436000 f1419 1"/>
                <a:gd name="f2343" fmla="*/ 1449909 f1419 1"/>
                <a:gd name="f2344" fmla="*/ 1435986 f1419 1"/>
                <a:gd name="f2345" fmla="*/ 1440024 f1419 1"/>
                <a:gd name="f2346" fmla="*/ 1449895 f1419 1"/>
                <a:gd name="f2347" fmla="*/ 1453934 f1419 1"/>
                <a:gd name="f2348" fmla="*/ 1435972 f1419 1"/>
                <a:gd name="f2349" fmla="*/ 1440010 f1419 1"/>
                <a:gd name="f2350" fmla="*/ 1449881 f1419 1"/>
                <a:gd name="f2351" fmla="*/ 1453920 f1419 1"/>
                <a:gd name="f2352" fmla="*/ 1435971 f1419 1"/>
                <a:gd name="f2353" fmla="*/ 1449880 f1419 1"/>
                <a:gd name="f2354" fmla="*/ 1453919 f1419 1"/>
                <a:gd name="f2355" fmla="*/ 1435958 f1419 1"/>
                <a:gd name="f2356" fmla="*/ 1439995 f1419 1"/>
                <a:gd name="f2357" fmla="*/ 1449866 f1419 1"/>
                <a:gd name="f2358" fmla="*/ 1453905 f1419 1"/>
                <a:gd name="f2359" fmla="*/ 1435956 f1419 1"/>
                <a:gd name="f2360" fmla="*/ 1449865 f1419 1"/>
                <a:gd name="f2361" fmla="*/ 1435943 f1419 1"/>
                <a:gd name="f2362" fmla="*/ 1439981 f1419 1"/>
                <a:gd name="f2363" fmla="*/ 1449852 f1419 1"/>
                <a:gd name="f2364" fmla="*/ 1453891 f1419 1"/>
                <a:gd name="f2365" fmla="*/ 1439980 f1419 1"/>
                <a:gd name="f2366" fmla="*/ 1449851 f1419 1"/>
                <a:gd name="f2367" fmla="*/ 1453890 f1419 1"/>
                <a:gd name="f2368" fmla="*/ 1435928 f1419 1"/>
                <a:gd name="f2369" fmla="*/ 1439967 f1419 1"/>
                <a:gd name="f2370" fmla="*/ 1449837 f1419 1"/>
                <a:gd name="f2371" fmla="*/ 1453877 f1419 1"/>
                <a:gd name="f2372" fmla="*/ 1449836 f1419 1"/>
                <a:gd name="f2373" fmla="*/ 1453876 f1419 1"/>
                <a:gd name="f2374" fmla="*/ 1679216 f1420 1"/>
                <a:gd name="f2375" fmla="*/ 1435922 f1419 1"/>
                <a:gd name="f2376" fmla="*/ 1693146 f1420 1"/>
                <a:gd name="f2377" fmla="*/ 1439960 f1419 1"/>
                <a:gd name="f2378" fmla="*/ 1449831 f1419 1"/>
                <a:gd name="f2379" fmla="*/ 1453870 f1419 1"/>
                <a:gd name="f2380" fmla="*/ 1675198 f1420 1"/>
                <a:gd name="f2381" fmla="*/ 1439900 f1420 1"/>
                <a:gd name="f2382" fmla="*/ 1449810 f1420 1"/>
                <a:gd name="f2383" fmla="*/ 1214512 f1420 1"/>
                <a:gd name="f2384" fmla="*/ 971181 f1420 1"/>
                <a:gd name="f2385" fmla="*/ 975200 f1420 1"/>
                <a:gd name="f2386" fmla="*/ 957252 f1420 1"/>
                <a:gd name="f2387" fmla="*/ 1435914 f1419 1"/>
                <a:gd name="f2388" fmla="*/ 1439952 f1419 1"/>
                <a:gd name="f2389" fmla="*/ 1449823 f1419 1"/>
                <a:gd name="f2390" fmla="*/ 1453862 f1419 1"/>
                <a:gd name="f2391" fmla="*/ 1435912 f1419 1"/>
                <a:gd name="f2392" fmla="*/ 1439950 f1419 1"/>
                <a:gd name="f2393" fmla="*/ 1449821 f1419 1"/>
                <a:gd name="f2394" fmla="*/ 1453860 f1419 1"/>
                <a:gd name="f2395" fmla="*/ 2157823 f1420 1"/>
                <a:gd name="f2396" fmla="*/ 1435909 f1419 1"/>
                <a:gd name="f2397" fmla="*/ 2167733 f1420 1"/>
                <a:gd name="f2398" fmla="*/ 1439947 f1419 1"/>
                <a:gd name="f2399" fmla="*/ 1449818 f1419 1"/>
                <a:gd name="f2400" fmla="*/ 1453857 f1419 1"/>
                <a:gd name="f2401" fmla="*/ 243347 f1420 1"/>
                <a:gd name="f2402" fmla="*/ 1435883 f1419 1"/>
                <a:gd name="f2403" fmla="*/ 1439920 f1419 1"/>
                <a:gd name="f2404" fmla="*/ 1449791 f1419 1"/>
                <a:gd name="f2405" fmla="*/ 1453830 f1419 1"/>
                <a:gd name="f2406" fmla="*/ 239328 f1420 1"/>
                <a:gd name="f2407" fmla="*/ 13944 f1420 1"/>
                <a:gd name="f2408" fmla="*/ 17964 f1420 1"/>
                <a:gd name="f2409" fmla="*/ 15 f1420 1"/>
                <a:gd name="f2410" fmla="*/ 721973 f1420 1"/>
                <a:gd name="f2411" fmla="*/ 1435882 f1419 1"/>
                <a:gd name="f2412" fmla="*/ 731883 f1420 1"/>
                <a:gd name="f2413" fmla="*/ 482661 f1420 1"/>
                <a:gd name="f2414" fmla="*/ 496590 f1420 1"/>
                <a:gd name="f2415" fmla="*/ 478642 f1420 1"/>
                <a:gd name="f2416" fmla="*/ 1196701 f1419 1"/>
                <a:gd name="f2417" fmla="*/ 1200738 f1419 1"/>
                <a:gd name="f2418" fmla="*/ 1210610 f1419 1"/>
                <a:gd name="f2419" fmla="*/ 1214650 f1419 1"/>
                <a:gd name="f2420" fmla="*/ 1200740 f1419 1"/>
                <a:gd name="f2421" fmla="*/ 1196689 f1419 1"/>
                <a:gd name="f2422" fmla="*/ 1200726 f1419 1"/>
                <a:gd name="f2423" fmla="*/ 1210598 f1419 1"/>
                <a:gd name="f2424" fmla="*/ 1214637 f1419 1"/>
                <a:gd name="f2425" fmla="*/ 1200728 f1419 1"/>
                <a:gd name="f2426" fmla="*/ 1196676 f1419 1"/>
                <a:gd name="f2427" fmla="*/ 1200714 f1419 1"/>
                <a:gd name="f2428" fmla="*/ 1210586 f1419 1"/>
                <a:gd name="f2429" fmla="*/ 1214625 f1419 1"/>
                <a:gd name="f2430" fmla="*/ 1200715 f1419 1"/>
                <a:gd name="f2431" fmla="*/ 1196664 f1419 1"/>
                <a:gd name="f2432" fmla="*/ 1200703 f1419 1"/>
                <a:gd name="f2433" fmla="*/ 1210573 f1419 1"/>
                <a:gd name="f2434" fmla="*/ 1214612 f1419 1"/>
                <a:gd name="f2435" fmla="*/ 1200702 f1419 1"/>
                <a:gd name="f2436" fmla="*/ 1196652 f1419 1"/>
                <a:gd name="f2437" fmla="*/ 1200690 f1419 1"/>
                <a:gd name="f2438" fmla="*/ 1210561 f1419 1"/>
                <a:gd name="f2439" fmla="*/ 1214600 f1419 1"/>
                <a:gd name="f2440" fmla="*/ 1196651 f1419 1"/>
                <a:gd name="f2441" fmla="*/ 1200689 f1419 1"/>
                <a:gd name="f2442" fmla="*/ 1196639 f1419 1"/>
                <a:gd name="f2443" fmla="*/ 1200678 f1419 1"/>
                <a:gd name="f2444" fmla="*/ 1210548 f1419 1"/>
                <a:gd name="f2445" fmla="*/ 1214587 f1419 1"/>
                <a:gd name="f2446" fmla="*/ 1210549 f1419 1"/>
                <a:gd name="f2447" fmla="*/ 1200677 f1419 1"/>
                <a:gd name="f2448" fmla="*/ 1196627 f1419 1"/>
                <a:gd name="f2449" fmla="*/ 1200665 f1419 1"/>
                <a:gd name="f2450" fmla="*/ 1210536 f1419 1"/>
                <a:gd name="f2451" fmla="*/ 1214575 f1419 1"/>
                <a:gd name="f2452" fmla="*/ 4035 f1420 1"/>
                <a:gd name="f2453" fmla="*/ 1196600 f1419 1"/>
                <a:gd name="f2454" fmla="*/ 13945 f1420 1"/>
                <a:gd name="f2455" fmla="*/ 1200638 f1419 1"/>
                <a:gd name="f2456" fmla="*/ 1210509 f1419 1"/>
                <a:gd name="f2457" fmla="*/ 1214548 f1419 1"/>
                <a:gd name="f2458" fmla="*/ 16 f1420 1"/>
                <a:gd name="f2459" fmla="*/ 721974 f1420 1"/>
                <a:gd name="f2460" fmla="*/ 1196599 f1419 1"/>
                <a:gd name="f2461" fmla="*/ 731884 f1420 1"/>
                <a:gd name="f2462" fmla="*/ 735903 f1420 1"/>
                <a:gd name="f2463" fmla="*/ 1214547 f1419 1"/>
                <a:gd name="f2464" fmla="*/ 717955 f1420 1"/>
                <a:gd name="f2465" fmla="*/ 492572 f1420 1"/>
                <a:gd name="f2466" fmla="*/ 496591 f1420 1"/>
                <a:gd name="f2467" fmla="*/ 243348 f1420 1"/>
                <a:gd name="f2468" fmla="*/ 253258 f1420 1"/>
                <a:gd name="f2469" fmla="*/ 257278 f1420 1"/>
                <a:gd name="f2470" fmla="*/ 239329 f1420 1"/>
                <a:gd name="f2471" fmla="*/ 1196589 f1419 1"/>
                <a:gd name="f2472" fmla="*/ 1453829 f1420 1"/>
                <a:gd name="f2473" fmla="*/ 1200628 f1419 1"/>
                <a:gd name="f2474" fmla="*/ 1210498 f1419 1"/>
                <a:gd name="f2475" fmla="*/ 1214537 f1419 1"/>
                <a:gd name="f2476" fmla="*/ 1435881 f1420 1"/>
                <a:gd name="f2477" fmla="*/ 1200584 f1420 1"/>
                <a:gd name="f2478" fmla="*/ 1210494 f1420 1"/>
                <a:gd name="f2479" fmla="*/ 1196565 f1420 1"/>
                <a:gd name="f2480" fmla="*/ 961271 f1420 1"/>
                <a:gd name="f2481" fmla="*/ 1210499 f1419 1"/>
                <a:gd name="f2482" fmla="*/ 957253 f1420 1"/>
                <a:gd name="f2483" fmla="*/ 1679217 f1420 1"/>
                <a:gd name="f2484" fmla="*/ 1689127 f1420 1"/>
                <a:gd name="f2485" fmla="*/ 1200627 f1419 1"/>
                <a:gd name="f2486" fmla="*/ 1196581 f1419 1"/>
                <a:gd name="f2487" fmla="*/ 1200619 f1419 1"/>
                <a:gd name="f2488" fmla="*/ 1210489 f1419 1"/>
                <a:gd name="f2489" fmla="*/ 1214528 f1419 1"/>
                <a:gd name="f2490" fmla="*/ 1914495 f1420 1"/>
                <a:gd name="f2491" fmla="*/ 1196578 f1419 1"/>
                <a:gd name="f2492" fmla="*/ 1200617 f1419 1"/>
                <a:gd name="f2493" fmla="*/ 1210488 f1419 1"/>
                <a:gd name="f2494" fmla="*/ 1214526 f1419 1"/>
                <a:gd name="f2495" fmla="*/ 957358 f1419 1"/>
                <a:gd name="f2496" fmla="*/ 961396 f1419 1"/>
                <a:gd name="f2497" fmla="*/ 971266 f1419 1"/>
                <a:gd name="f2498" fmla="*/ 975304 f1419 1"/>
                <a:gd name="f2499" fmla="*/ 975305 f1419 1"/>
                <a:gd name="f2500" fmla="*/ 957347 f1419 1"/>
                <a:gd name="f2501" fmla="*/ 961385 f1419 1"/>
                <a:gd name="f2502" fmla="*/ 971255 f1419 1"/>
                <a:gd name="f2503" fmla="*/ 975293 f1419 1"/>
                <a:gd name="f2504" fmla="*/ 957335 f1419 1"/>
                <a:gd name="f2505" fmla="*/ 961373 f1419 1"/>
                <a:gd name="f2506" fmla="*/ 971244 f1419 1"/>
                <a:gd name="f2507" fmla="*/ 975282 f1419 1"/>
                <a:gd name="f2508" fmla="*/ 975283 f1419 1"/>
                <a:gd name="f2509" fmla="*/ 961374 f1419 1"/>
                <a:gd name="f2510" fmla="*/ 957324 f1419 1"/>
                <a:gd name="f2511" fmla="*/ 961363 f1419 1"/>
                <a:gd name="f2512" fmla="*/ 971232 f1419 1"/>
                <a:gd name="f2513" fmla="*/ 975271 f1419 1"/>
                <a:gd name="f2514" fmla="*/ 957313 f1419 1"/>
                <a:gd name="f2515" fmla="*/ 961351 f1419 1"/>
                <a:gd name="f2516" fmla="*/ 971222 f1419 1"/>
                <a:gd name="f2517" fmla="*/ 975260 f1419 1"/>
                <a:gd name="f2518" fmla="*/ 957309 f1419 1"/>
                <a:gd name="f2519" fmla="*/ 1689128 f1420 1"/>
                <a:gd name="f2520" fmla="*/ 1693147 f1420 1"/>
                <a:gd name="f2521" fmla="*/ 961347 f1419 1"/>
                <a:gd name="f2522" fmla="*/ 971217 f1419 1"/>
                <a:gd name="f2523" fmla="*/ 975256 f1419 1"/>
                <a:gd name="f2524" fmla="*/ 1675199 f1420 1"/>
                <a:gd name="f2525" fmla="*/ 1439901 f1420 1"/>
                <a:gd name="f2526" fmla="*/ 1449811 f1420 1"/>
                <a:gd name="f2527" fmla="*/ 1210495 f1420 1"/>
                <a:gd name="f2528" fmla="*/ 1214513 f1420 1"/>
                <a:gd name="f2529" fmla="*/ 1196566 f1420 1"/>
                <a:gd name="f2530" fmla="*/ 971182 f1420 1"/>
                <a:gd name="f2531" fmla="*/ 975201 f1420 1"/>
                <a:gd name="f2532" fmla="*/ 971218 f1419 1"/>
                <a:gd name="f2533" fmla="*/ 957302 f1419 1"/>
                <a:gd name="f2534" fmla="*/ 961340 f1419 1"/>
                <a:gd name="f2535" fmla="*/ 971210 f1419 1"/>
                <a:gd name="f2536" fmla="*/ 975249 f1419 1"/>
                <a:gd name="f2537" fmla="*/ 957301 f1419 1"/>
                <a:gd name="f2538" fmla="*/ 1932444 f1420 1"/>
                <a:gd name="f2539" fmla="*/ 961339 f1419 1"/>
                <a:gd name="f2540" fmla="*/ 957299 f1419 1"/>
                <a:gd name="f2541" fmla="*/ 961337 f1419 1"/>
                <a:gd name="f2542" fmla="*/ 971207 f1419 1"/>
                <a:gd name="f2543" fmla="*/ 975246 f1419 1"/>
                <a:gd name="f2544" fmla="*/ 2153804 f1420 1"/>
                <a:gd name="f2545" fmla="*/ 957291 f1419 1"/>
                <a:gd name="f2546" fmla="*/ 961329 f1419 1"/>
                <a:gd name="f2547" fmla="*/ 971199 f1419 1"/>
                <a:gd name="f2548" fmla="*/ 975238 f1419 1"/>
                <a:gd name="f2549" fmla="*/ 957266 f1419 1"/>
                <a:gd name="f2550" fmla="*/ 961305 f1419 1"/>
                <a:gd name="f2551" fmla="*/ 971175 f1419 1"/>
                <a:gd name="f2552" fmla="*/ 975214 f1419 1"/>
                <a:gd name="f2553" fmla="*/ 717956 f1420 1"/>
                <a:gd name="f2554" fmla="*/ 482662 f1420 1"/>
                <a:gd name="f2555" fmla="*/ 478643 f1420 1"/>
                <a:gd name="f2556" fmla="*/ 243349 f1420 1"/>
                <a:gd name="f2557" fmla="*/ 253259 f1420 1"/>
                <a:gd name="f2558" fmla="*/ 239330 f1420 1"/>
                <a:gd name="f2559" fmla="*/ 4036 f1420 1"/>
                <a:gd name="f2560" fmla="*/ 13946 f1420 1"/>
                <a:gd name="f2561" fmla="*/ 17965 f1420 1"/>
                <a:gd name="f2562" fmla="*/ 971176 f1419 1"/>
                <a:gd name="f2563" fmla="*/ 718040 f1419 1"/>
                <a:gd name="f2564" fmla="*/ 722078 f1419 1"/>
                <a:gd name="f2565" fmla="*/ 731948 f1419 1"/>
                <a:gd name="f2566" fmla="*/ 735987 f1419 1"/>
                <a:gd name="f2567" fmla="*/ 731949 f1419 1"/>
                <a:gd name="f2568" fmla="*/ 735988 f1419 1"/>
                <a:gd name="f2569" fmla="*/ 718028 f1419 1"/>
                <a:gd name="f2570" fmla="*/ 722066 f1419 1"/>
                <a:gd name="f2571" fmla="*/ 731935 f1419 1"/>
                <a:gd name="f2572" fmla="*/ 735975 f1419 1"/>
                <a:gd name="f2573" fmla="*/ 731936 f1419 1"/>
                <a:gd name="f2574" fmla="*/ 718015 f1419 1"/>
                <a:gd name="f2575" fmla="*/ 722053 f1419 1"/>
                <a:gd name="f2576" fmla="*/ 731924 f1419 1"/>
                <a:gd name="f2577" fmla="*/ 735963 f1419 1"/>
                <a:gd name="f2578" fmla="*/ 718003 f1419 1"/>
                <a:gd name="f2579" fmla="*/ 722041 f1419 1"/>
                <a:gd name="f2580" fmla="*/ 731911 f1419 1"/>
                <a:gd name="f2581" fmla="*/ 735950 f1419 1"/>
                <a:gd name="f2582" fmla="*/ 731912 f1419 1"/>
                <a:gd name="f2583" fmla="*/ 735951 f1419 1"/>
                <a:gd name="f2584" fmla="*/ 717990 f1419 1"/>
                <a:gd name="f2585" fmla="*/ 722028 f1419 1"/>
                <a:gd name="f2586" fmla="*/ 731899 f1419 1"/>
                <a:gd name="f2587" fmla="*/ 735938 f1419 1"/>
                <a:gd name="f2588" fmla="*/ 722029 f1419 1"/>
                <a:gd name="f2589" fmla="*/ 961272 f1420 1"/>
                <a:gd name="f2590" fmla="*/ 717980 f1419 1"/>
                <a:gd name="f2591" fmla="*/ 975202 f1420 1"/>
                <a:gd name="f2592" fmla="*/ 722018 f1419 1"/>
                <a:gd name="f2593" fmla="*/ 731889 f1419 1"/>
                <a:gd name="f2594" fmla="*/ 735928 f1419 1"/>
                <a:gd name="f2595" fmla="*/ 957254 f1420 1"/>
                <a:gd name="f2596" fmla="*/ 1679219 f1420 1"/>
                <a:gd name="f2597" fmla="*/ 717979 f1419 1"/>
                <a:gd name="f2598" fmla="*/ 1693149 f1420 1"/>
                <a:gd name="f2599" fmla="*/ 735927 f1419 1"/>
                <a:gd name="f2600" fmla="*/ 1675200 f1420 1"/>
                <a:gd name="f2601" fmla="*/ 1453831 f1420 1"/>
                <a:gd name="f2602" fmla="*/ 1435883 f1420 1"/>
                <a:gd name="f2603" fmla="*/ 1200585 f1420 1"/>
                <a:gd name="f2604" fmla="*/ 717978 f1419 1"/>
                <a:gd name="f2605" fmla="*/ 722016 f1419 1"/>
                <a:gd name="f2606" fmla="*/ 731887 f1419 1"/>
                <a:gd name="f2607" fmla="*/ 735926 f1419 1"/>
                <a:gd name="f2608" fmla="*/ 717970 f1419 1"/>
                <a:gd name="f2609" fmla="*/ 722009 f1419 1"/>
                <a:gd name="f2610" fmla="*/ 731879 f1419 1"/>
                <a:gd name="f2611" fmla="*/ 735918 f1419 1"/>
                <a:gd name="f2612" fmla="*/ 717968 f1419 1"/>
                <a:gd name="f2613" fmla="*/ 2171753 f1420 1"/>
                <a:gd name="f2614" fmla="*/ 722006 f1419 1"/>
                <a:gd name="f2615" fmla="*/ 731877 f1419 1"/>
                <a:gd name="f2616" fmla="*/ 735916 f1419 1"/>
                <a:gd name="f2617" fmla="*/ 717966 f1419 1"/>
                <a:gd name="f2618" fmla="*/ 722004 f1419 1"/>
                <a:gd name="f2619" fmla="*/ 731875 f1419 1"/>
                <a:gd name="f2620" fmla="*/ 735914 f1419 1"/>
                <a:gd name="f2621" fmla="*/ 717939 f1419 1"/>
                <a:gd name="f2622" fmla="*/ 253260 f1420 1"/>
                <a:gd name="f2623" fmla="*/ 257279 f1420 1"/>
                <a:gd name="f2624" fmla="*/ 721977 f1419 1"/>
                <a:gd name="f2625" fmla="*/ 731847 f1419 1"/>
                <a:gd name="f2626" fmla="*/ 735886 f1419 1"/>
                <a:gd name="f2627" fmla="*/ 13947 f1420 1"/>
                <a:gd name="f2628" fmla="*/ 721978 f1419 1"/>
                <a:gd name="f2629" fmla="*/ 731848 f1419 1"/>
                <a:gd name="f2630" fmla="*/ 17 f1420 1"/>
                <a:gd name="f2631" fmla="*/ 721975 f1420 1"/>
                <a:gd name="f2632" fmla="*/ 731885 f1420 1"/>
                <a:gd name="f2633" fmla="*/ 735904 f1420 1"/>
                <a:gd name="f2634" fmla="*/ 482663 f1420 1"/>
                <a:gd name="f2635" fmla="*/ 492573 f1420 1"/>
                <a:gd name="f2636" fmla="*/ 496593 f1420 1"/>
                <a:gd name="f2637" fmla="*/ 478760 f1419 1"/>
                <a:gd name="f2638" fmla="*/ 482801 f1419 1"/>
                <a:gd name="f2639" fmla="*/ 492670 f1419 1"/>
                <a:gd name="f2640" fmla="*/ 496707 f1419 1"/>
                <a:gd name="f2641" fmla="*/ 478748 f1419 1"/>
                <a:gd name="f2642" fmla="*/ 482789 f1419 1"/>
                <a:gd name="f2643" fmla="*/ 492657 f1419 1"/>
                <a:gd name="f2644" fmla="*/ 496695 f1419 1"/>
                <a:gd name="f2645" fmla="*/ 478736 f1419 1"/>
                <a:gd name="f2646" fmla="*/ 482776 f1419 1"/>
                <a:gd name="f2647" fmla="*/ 492645 f1419 1"/>
                <a:gd name="f2648" fmla="*/ 496683 f1419 1"/>
                <a:gd name="f2649" fmla="*/ 478724 f1419 1"/>
                <a:gd name="f2650" fmla="*/ 482764 f1419 1"/>
                <a:gd name="f2651" fmla="*/ 492633 f1419 1"/>
                <a:gd name="f2652" fmla="*/ 496671 f1419 1"/>
                <a:gd name="f2653" fmla="*/ 478712 f1419 1"/>
                <a:gd name="f2654" fmla="*/ 482751 f1419 1"/>
                <a:gd name="f2655" fmla="*/ 492620 f1419 1"/>
                <a:gd name="f2656" fmla="*/ 496658 f1419 1"/>
                <a:gd name="f2657" fmla="*/ 496659 f1419 1"/>
                <a:gd name="f2658" fmla="*/ 478711 f1419 1"/>
                <a:gd name="f2659" fmla="*/ 478699 f1419 1"/>
                <a:gd name="f2660" fmla="*/ 482738 f1419 1"/>
                <a:gd name="f2661" fmla="*/ 492608 f1419 1"/>
                <a:gd name="f2662" fmla="*/ 496646 f1419 1"/>
                <a:gd name="f2663" fmla="*/ 496647 f1419 1"/>
                <a:gd name="f2664" fmla="*/ 482739 f1419 1"/>
                <a:gd name="f2665" fmla="*/ 478698 f1419 1"/>
                <a:gd name="f2666" fmla="*/ 478687 f1419 1"/>
                <a:gd name="f2667" fmla="*/ 482726 f1419 1"/>
                <a:gd name="f2668" fmla="*/ 492596 f1419 1"/>
                <a:gd name="f2669" fmla="*/ 496634 f1419 1"/>
                <a:gd name="f2670" fmla="*/ 721976 f1420 1"/>
                <a:gd name="f2671" fmla="*/ 478660 f1419 1"/>
                <a:gd name="f2672" fmla="*/ 731886 f1420 1"/>
                <a:gd name="f2673" fmla="*/ 735905 f1420 1"/>
                <a:gd name="f2674" fmla="*/ 482698 f1419 1"/>
                <a:gd name="f2675" fmla="*/ 492569 f1419 1"/>
                <a:gd name="f2676" fmla="*/ 496608 f1419 1"/>
                <a:gd name="f2677" fmla="*/ 717957 f1420 1"/>
                <a:gd name="f2678" fmla="*/ 482664 f1420 1"/>
                <a:gd name="f2679" fmla="*/ 492574 f1420 1"/>
                <a:gd name="f2680" fmla="*/ 478645 f1420 1"/>
                <a:gd name="f2681" fmla="*/ 243350 f1420 1"/>
                <a:gd name="f2682" fmla="*/ 239331 f1420 1"/>
                <a:gd name="f2683" fmla="*/ 4037 f1420 1"/>
                <a:gd name="f2684" fmla="*/ 17966 f1420 1"/>
                <a:gd name="f2685" fmla="*/ 18 f1420 1"/>
                <a:gd name="f2686" fmla="*/ 1679220 f1420 1"/>
                <a:gd name="f2687" fmla="*/ 478650 f1419 1"/>
                <a:gd name="f2688" fmla="*/ 1689130 f1420 1"/>
                <a:gd name="f2689" fmla="*/ 482688 f1419 1"/>
                <a:gd name="f2690" fmla="*/ 492559 f1419 1"/>
                <a:gd name="f2691" fmla="*/ 496598 f1419 1"/>
                <a:gd name="f2692" fmla="*/ 1439902 f1420 1"/>
                <a:gd name="f2693" fmla="*/ 1449812 f1420 1"/>
                <a:gd name="f2694" fmla="*/ 1210496 f1420 1"/>
                <a:gd name="f2695" fmla="*/ 1214515 f1420 1"/>
                <a:gd name="f2696" fmla="*/ 482689 f1419 1"/>
                <a:gd name="f2697" fmla="*/ 1196567 f1420 1"/>
                <a:gd name="f2698" fmla="*/ 961273 f1420 1"/>
                <a:gd name="f2699" fmla="*/ 971183 f1420 1"/>
                <a:gd name="f2700" fmla="*/ 1918515 f1420 1"/>
                <a:gd name="f2701" fmla="*/ 478641 f1419 1"/>
                <a:gd name="f2702" fmla="*/ 1928425 f1420 1"/>
                <a:gd name="f2703" fmla="*/ 482679 f1419 1"/>
                <a:gd name="f2704" fmla="*/ 492550 f1419 1"/>
                <a:gd name="f2705" fmla="*/ 496589 f1419 1"/>
                <a:gd name="f2706" fmla="*/ 478638 f1419 1"/>
                <a:gd name="f2707" fmla="*/ 2167734 f1420 1"/>
                <a:gd name="f2708" fmla="*/ 482677 f1419 1"/>
                <a:gd name="f2709" fmla="*/ 492548 f1419 1"/>
                <a:gd name="f2710" fmla="*/ 496587 f1419 1"/>
                <a:gd name="f2711" fmla="*/ 239432 f1419 1"/>
                <a:gd name="f2712" fmla="*/ 243470 f1419 1"/>
                <a:gd name="f2713" fmla="*/ 253341 f1419 1"/>
                <a:gd name="f2714" fmla="*/ 257380 f1419 1"/>
                <a:gd name="f2715" fmla="*/ 239420 f1419 1"/>
                <a:gd name="f2716" fmla="*/ 243457 f1419 1"/>
                <a:gd name="f2717" fmla="*/ 253328 f1419 1"/>
                <a:gd name="f2718" fmla="*/ 257367 f1419 1"/>
                <a:gd name="f2719" fmla="*/ 239419 f1419 1"/>
                <a:gd name="f2720" fmla="*/ 239407 f1419 1"/>
                <a:gd name="f2721" fmla="*/ 243445 f1419 1"/>
                <a:gd name="f2722" fmla="*/ 253316 f1419 1"/>
                <a:gd name="f2723" fmla="*/ 257355 f1419 1"/>
                <a:gd name="f2724" fmla="*/ 239395 f1419 1"/>
                <a:gd name="f2725" fmla="*/ 243432 f1419 1"/>
                <a:gd name="f2726" fmla="*/ 253303 f1419 1"/>
                <a:gd name="f2727" fmla="*/ 257342 f1419 1"/>
                <a:gd name="f2728" fmla="*/ 243433 f1419 1"/>
                <a:gd name="f2729" fmla="*/ 239394 f1419 1"/>
                <a:gd name="f2730" fmla="*/ 239382 f1419 1"/>
                <a:gd name="f2731" fmla="*/ 243420 f1419 1"/>
                <a:gd name="f2732" fmla="*/ 253291 f1419 1"/>
                <a:gd name="f2733" fmla="*/ 257330 f1419 1"/>
                <a:gd name="f2734" fmla="*/ 243421 f1419 1"/>
                <a:gd name="f2735" fmla="*/ 253292 f1419 1"/>
                <a:gd name="f2736" fmla="*/ 239371 f1419 1"/>
                <a:gd name="f2737" fmla="*/ 1689131 f1420 1"/>
                <a:gd name="f2738" fmla="*/ 1693150 f1420 1"/>
                <a:gd name="f2739" fmla="*/ 243409 f1419 1"/>
                <a:gd name="f2740" fmla="*/ 253280 f1419 1"/>
                <a:gd name="f2741" fmla="*/ 257319 f1419 1"/>
                <a:gd name="f2742" fmla="*/ 1675202 f1420 1"/>
                <a:gd name="f2743" fmla="*/ 1449813 f1420 1"/>
                <a:gd name="f2744" fmla="*/ 1453832 f1420 1"/>
                <a:gd name="f2745" fmla="*/ 1435884 f1420 1"/>
                <a:gd name="f2746" fmla="*/ 1200587 f1420 1"/>
                <a:gd name="f2747" fmla="*/ 971184 f1420 1"/>
                <a:gd name="f2748" fmla="*/ 975203 f1420 1"/>
                <a:gd name="f2749" fmla="*/ 957255 f1420 1"/>
                <a:gd name="f2750" fmla="*/ 239370 f1419 1"/>
                <a:gd name="f2751" fmla="*/ 243408 f1419 1"/>
                <a:gd name="f2752" fmla="*/ 253278 f1419 1"/>
                <a:gd name="f2753" fmla="*/ 257317 f1419 1"/>
                <a:gd name="f2754" fmla="*/ 253279 f1419 1"/>
                <a:gd name="f2755" fmla="*/ 257318 f1419 1"/>
                <a:gd name="f2756" fmla="*/ 239369 f1419 1"/>
                <a:gd name="f2757" fmla="*/ 243407 f1419 1"/>
                <a:gd name="f2758" fmla="*/ 239361 f1419 1"/>
                <a:gd name="f2759" fmla="*/ 243400 f1419 1"/>
                <a:gd name="f2760" fmla="*/ 253271 f1419 1"/>
                <a:gd name="f2761" fmla="*/ 257310 f1419 1"/>
                <a:gd name="f2762" fmla="*/ 2157824 f1420 1"/>
                <a:gd name="f2763" fmla="*/ 239359 f1419 1"/>
                <a:gd name="f2764" fmla="*/ 243397 f1419 1"/>
                <a:gd name="f2765" fmla="*/ 253268 f1419 1"/>
                <a:gd name="f2766" fmla="*/ 257307 f1419 1"/>
                <a:gd name="f2767" fmla="*/ 239357 f1419 1"/>
                <a:gd name="f2768" fmla="*/ 243395 f1419 1"/>
                <a:gd name="f2769" fmla="*/ 253267 f1419 1"/>
                <a:gd name="f2770" fmla="*/ 257306 f1419 1"/>
                <a:gd name="f2771" fmla="*/ 239330 f1419 1"/>
                <a:gd name="f2772" fmla="*/ 731887 f1420 1"/>
                <a:gd name="f2773" fmla="*/ 735906 f1420 1"/>
                <a:gd name="f2774" fmla="*/ 243368 f1419 1"/>
                <a:gd name="f2775" fmla="*/ 253239 f1419 1"/>
                <a:gd name="f2776" fmla="*/ 257278 f1419 1"/>
                <a:gd name="f2777" fmla="*/ 717958 f1420 1"/>
                <a:gd name="f2778" fmla="*/ 492575 f1420 1"/>
                <a:gd name="f2779" fmla="*/ 496594 f1420 1"/>
                <a:gd name="f2780" fmla="*/ 253261 f1420 1"/>
                <a:gd name="f2781" fmla="*/ 257280 f1420 1"/>
                <a:gd name="f2782" fmla="*/ 239332 f1420 1"/>
                <a:gd name="f2783" fmla="*/ 13948 f1420 1"/>
                <a:gd name="f2784" fmla="*/ 17967 f1420 1"/>
                <a:gd name="f2785" fmla="*/ 106 f1419 1"/>
                <a:gd name="f2786" fmla="*/ 4144 f1419 1"/>
                <a:gd name="f2787" fmla="*/ 14015 f1419 1"/>
                <a:gd name="f2788" fmla="*/ 18054 f1419 1"/>
                <a:gd name="f2789" fmla="*/ 4145 f1419 1"/>
                <a:gd name="f2790" fmla="*/ 14016 f1419 1"/>
                <a:gd name="f2791" fmla="*/ 18055 f1419 1"/>
                <a:gd name="f2792" fmla="*/ 93 f1419 1"/>
                <a:gd name="f2793" fmla="*/ 4132 f1419 1"/>
                <a:gd name="f2794" fmla="*/ 14002 f1419 1"/>
                <a:gd name="f2795" fmla="*/ 18041 f1419 1"/>
                <a:gd name="f2796" fmla="*/ 14003 f1419 1"/>
                <a:gd name="f2797" fmla="*/ 18042 f1419 1"/>
                <a:gd name="f2798" fmla="*/ 81 f1419 1"/>
                <a:gd name="f2799" fmla="*/ 4119 f1419 1"/>
                <a:gd name="f2800" fmla="*/ 13990 f1419 1"/>
                <a:gd name="f2801" fmla="*/ 18029 f1419 1"/>
                <a:gd name="f2802" fmla="*/ 80 f1419 1"/>
                <a:gd name="f2803" fmla="*/ 68 f1419 1"/>
                <a:gd name="f2804" fmla="*/ 4106 f1419 1"/>
                <a:gd name="f2805" fmla="*/ 13976 f1419 1"/>
                <a:gd name="f2806" fmla="*/ 18015 f1419 1"/>
                <a:gd name="f2807" fmla="*/ 13977 f1419 1"/>
                <a:gd name="f2808" fmla="*/ 18016 f1419 1"/>
                <a:gd name="f2809" fmla="*/ 67 f1419 1"/>
                <a:gd name="f2810" fmla="*/ 4105 f1419 1"/>
                <a:gd name="f2811" fmla="*/ 54 f1419 1"/>
                <a:gd name="f2812" fmla="*/ 4093 f1419 1"/>
                <a:gd name="f2813" fmla="*/ 13963 f1419 1"/>
                <a:gd name="f2814" fmla="*/ 18002 f1419 1"/>
                <a:gd name="f2815" fmla="*/ 13964 f1419 1"/>
                <a:gd name="f2816" fmla="*/ 18003 f1419 1"/>
                <a:gd name="f2817" fmla="*/ 42 f1419 1"/>
                <a:gd name="f2818" fmla="*/ 4080 f1419 1"/>
                <a:gd name="f2819" fmla="*/ 13951 f1419 1"/>
                <a:gd name="f2820" fmla="*/ 17990 f1419 1"/>
                <a:gd name="f2821" fmla="*/ 41 f1419 1"/>
                <a:gd name="f2822" fmla="*/ 961275 f1420 1"/>
                <a:gd name="f2823" fmla="*/ 975204 f1420 1"/>
                <a:gd name="f2824" fmla="*/ 957256 f1420 1"/>
                <a:gd name="f2825" fmla="*/ 1679221 f1420 1"/>
                <a:gd name="f2826" fmla="*/ 1693151 f1420 1"/>
                <a:gd name="f2827" fmla="*/ 4079 f1419 1"/>
                <a:gd name="f2828" fmla="*/ 13950 f1419 1"/>
                <a:gd name="f2829" fmla="*/ 17989 f1419 1"/>
                <a:gd name="f2830" fmla="*/ 1675203 f1420 1"/>
                <a:gd name="f2831" fmla="*/ 1439904 f1420 1"/>
                <a:gd name="f2832" fmla="*/ 1453833 f1420 1"/>
                <a:gd name="f2833" fmla="*/ 1435885 f1420 1"/>
                <a:gd name="f2834" fmla="*/ 1210497 f1420 1"/>
                <a:gd name="f2835" fmla="*/ 1214516 f1420 1"/>
                <a:gd name="f2836" fmla="*/ 1196568 f1420 1"/>
                <a:gd name="f2837" fmla="*/ 31 f1419 1"/>
                <a:gd name="f2838" fmla="*/ 4069 f1419 1"/>
                <a:gd name="f2839" fmla="*/ 13940 f1419 1"/>
                <a:gd name="f2840" fmla="*/ 17979 f1419 1"/>
                <a:gd name="f2841" fmla="*/ 1914497 f1420 1"/>
                <a:gd name="f2842" fmla="*/ 29 f1419 1"/>
                <a:gd name="f2843" fmla="*/ 4067 f1419 1"/>
                <a:gd name="f2844" fmla="*/ 13938 f1419 1"/>
                <a:gd name="f2845" fmla="*/ 17977 f1419 1"/>
                <a:gd name="f2846" fmla="*/ 28 f1419 1"/>
                <a:gd name="f2847" fmla="*/ 721977 f1420 1"/>
                <a:gd name="f2848" fmla="*/ 0 f1419 1"/>
                <a:gd name="f2849" fmla="*/ 4039 f1419 1"/>
                <a:gd name="f2850" fmla="*/ 13910 f1419 1"/>
                <a:gd name="f2851" fmla="*/ 17949 f1419 1"/>
                <a:gd name="f2852" fmla="*/ 717959 f1420 1"/>
                <a:gd name="f2853" fmla="*/ 482665 f1420 1"/>
                <a:gd name="f2854" fmla="*/ 478646 f1420 1"/>
                <a:gd name="f2855" fmla="*/ 243351 f1420 1"/>
                <a:gd name="f2856" fmla="*/ 257281 f1420 1"/>
                <a:gd name="f2857" fmla="*/ 4039 f1420 1"/>
                <a:gd name="f2858" fmla="*/ 19 f1420 1"/>
                <a:gd name="f2859" fmla="*/ f1421 1 f2"/>
                <a:gd name="f2860" fmla="*/ f1424 1 9586368"/>
                <a:gd name="f2861" fmla="*/ f1425 1 6479439"/>
                <a:gd name="f2862" fmla="*/ f1426 1 9586368"/>
                <a:gd name="f2863" fmla="*/ f1427 1 9586368"/>
                <a:gd name="f2864" fmla="*/ f1428 1 6479439"/>
                <a:gd name="f2865" fmla="*/ f1429 1 6479439"/>
                <a:gd name="f2866" fmla="*/ f1430 1 6479439"/>
                <a:gd name="f2867" fmla="*/ f1431 1 9586368"/>
                <a:gd name="f2868" fmla="*/ f1432 1 9586368"/>
                <a:gd name="f2869" fmla="*/ f1433 1 9586368"/>
                <a:gd name="f2870" fmla="*/ f1434 1 9586368"/>
                <a:gd name="f2871" fmla="*/ f1435 1 9586368"/>
                <a:gd name="f2872" fmla="*/ f1436 1 9586368"/>
                <a:gd name="f2873" fmla="*/ f1437 1 9586368"/>
                <a:gd name="f2874" fmla="*/ f1438 1 9586368"/>
                <a:gd name="f2875" fmla="*/ f1439 1 9586368"/>
                <a:gd name="f2876" fmla="*/ f1440 1 9586368"/>
                <a:gd name="f2877" fmla="*/ f1441 1 9586368"/>
                <a:gd name="f2878" fmla="*/ f1442 1 9586368"/>
                <a:gd name="f2879" fmla="*/ f1443 1 9586368"/>
                <a:gd name="f2880" fmla="*/ f1444 1 9586368"/>
                <a:gd name="f2881" fmla="*/ f1445 1 9586368"/>
                <a:gd name="f2882" fmla="*/ f1446 1 9586368"/>
                <a:gd name="f2883" fmla="*/ f1447 1 9586368"/>
                <a:gd name="f2884" fmla="*/ f1448 1 9586368"/>
                <a:gd name="f2885" fmla="*/ f1449 1 9586368"/>
                <a:gd name="f2886" fmla="*/ f1450 1 9586368"/>
                <a:gd name="f2887" fmla="*/ f1451 1 9586368"/>
                <a:gd name="f2888" fmla="*/ f1452 1 9586368"/>
                <a:gd name="f2889" fmla="*/ f1453 1 6479439"/>
                <a:gd name="f2890" fmla="*/ f1454 1 9586368"/>
                <a:gd name="f2891" fmla="*/ f1455 1 9586368"/>
                <a:gd name="f2892" fmla="*/ f1456 1 6479439"/>
                <a:gd name="f2893" fmla="*/ f1457 1 6479439"/>
                <a:gd name="f2894" fmla="*/ f1458 1 6479439"/>
                <a:gd name="f2895" fmla="*/ f1459 1 9586368"/>
                <a:gd name="f2896" fmla="*/ f1460 1 9586368"/>
                <a:gd name="f2897" fmla="*/ f1461 1 9586368"/>
                <a:gd name="f2898" fmla="*/ f1462 1 9586368"/>
                <a:gd name="f2899" fmla="*/ f1463 1 9586368"/>
                <a:gd name="f2900" fmla="*/ f1464 1 9586368"/>
                <a:gd name="f2901" fmla="*/ f1465 1 9586368"/>
                <a:gd name="f2902" fmla="*/ f1466 1 9586368"/>
                <a:gd name="f2903" fmla="*/ f1467 1 9586368"/>
                <a:gd name="f2904" fmla="*/ f1468 1 9586368"/>
                <a:gd name="f2905" fmla="*/ f1469 1 9586368"/>
                <a:gd name="f2906" fmla="*/ f1470 1 9586368"/>
                <a:gd name="f2907" fmla="*/ f1471 1 9586368"/>
                <a:gd name="f2908" fmla="*/ f1472 1 9586368"/>
                <a:gd name="f2909" fmla="*/ f1473 1 9586368"/>
                <a:gd name="f2910" fmla="*/ f1474 1 9586368"/>
                <a:gd name="f2911" fmla="*/ f1475 1 9586368"/>
                <a:gd name="f2912" fmla="*/ f1476 1 9586368"/>
                <a:gd name="f2913" fmla="*/ f1477 1 9586368"/>
                <a:gd name="f2914" fmla="*/ f1478 1 9586368"/>
                <a:gd name="f2915" fmla="*/ f1479 1 9586368"/>
                <a:gd name="f2916" fmla="*/ f1480 1 9586368"/>
                <a:gd name="f2917" fmla="*/ f1481 1 9586368"/>
                <a:gd name="f2918" fmla="*/ f1482 1 9586368"/>
                <a:gd name="f2919" fmla="*/ f1483 1 9586368"/>
                <a:gd name="f2920" fmla="*/ f1484 1 9586368"/>
                <a:gd name="f2921" fmla="*/ f1485 1 9586368"/>
                <a:gd name="f2922" fmla="*/ f1486 1 9586368"/>
                <a:gd name="f2923" fmla="*/ f1487 1 9586368"/>
                <a:gd name="f2924" fmla="*/ f1488 1 9586368"/>
                <a:gd name="f2925" fmla="*/ f1489 1 9586368"/>
                <a:gd name="f2926" fmla="*/ f1490 1 9586368"/>
                <a:gd name="f2927" fmla="*/ f1491 1 9586368"/>
                <a:gd name="f2928" fmla="*/ f1492 1 9586368"/>
                <a:gd name="f2929" fmla="*/ f1493 1 9586368"/>
                <a:gd name="f2930" fmla="*/ f1494 1 9586368"/>
                <a:gd name="f2931" fmla="*/ f1495 1 9586368"/>
                <a:gd name="f2932" fmla="*/ f1496 1 9586368"/>
                <a:gd name="f2933" fmla="*/ f1497 1 9586368"/>
                <a:gd name="f2934" fmla="*/ f1498 1 9586368"/>
                <a:gd name="f2935" fmla="*/ f1499 1 9586368"/>
                <a:gd name="f2936" fmla="*/ f1500 1 9586368"/>
                <a:gd name="f2937" fmla="*/ f1501 1 9586368"/>
                <a:gd name="f2938" fmla="*/ f1502 1 9586368"/>
                <a:gd name="f2939" fmla="*/ f1503 1 9586368"/>
                <a:gd name="f2940" fmla="*/ f1504 1 9586368"/>
                <a:gd name="f2941" fmla="*/ f1505 1 9586368"/>
                <a:gd name="f2942" fmla="*/ f1506 1 9586368"/>
                <a:gd name="f2943" fmla="*/ f1507 1 9586368"/>
                <a:gd name="f2944" fmla="*/ f1508 1 9586368"/>
                <a:gd name="f2945" fmla="*/ f1509 1 9586368"/>
                <a:gd name="f2946" fmla="*/ f1510 1 9586368"/>
                <a:gd name="f2947" fmla="*/ f1511 1 9586368"/>
                <a:gd name="f2948" fmla="*/ f1512 1 9586368"/>
                <a:gd name="f2949" fmla="*/ f1513 1 9586368"/>
                <a:gd name="f2950" fmla="*/ f1514 1 9586368"/>
                <a:gd name="f2951" fmla="*/ f1515 1 9586368"/>
                <a:gd name="f2952" fmla="*/ f1516 1 9586368"/>
                <a:gd name="f2953" fmla="*/ f1517 1 9586368"/>
                <a:gd name="f2954" fmla="*/ f1518 1 9586368"/>
                <a:gd name="f2955" fmla="*/ f1519 1 9586368"/>
                <a:gd name="f2956" fmla="*/ f1520 1 9586368"/>
                <a:gd name="f2957" fmla="*/ f1521 1 9586368"/>
                <a:gd name="f2958" fmla="*/ f1522 1 9586368"/>
                <a:gd name="f2959" fmla="*/ f1523 1 9586368"/>
                <a:gd name="f2960" fmla="*/ f1524 1 9586368"/>
                <a:gd name="f2961" fmla="*/ f1525 1 9586368"/>
                <a:gd name="f2962" fmla="*/ f1526 1 9586368"/>
                <a:gd name="f2963" fmla="*/ f1527 1 9586368"/>
                <a:gd name="f2964" fmla="*/ f1528 1 9586368"/>
                <a:gd name="f2965" fmla="*/ f1529 1 9586368"/>
                <a:gd name="f2966" fmla="*/ f1530 1 9586368"/>
                <a:gd name="f2967" fmla="*/ f1531 1 9586368"/>
                <a:gd name="f2968" fmla="*/ f1532 1 9586368"/>
                <a:gd name="f2969" fmla="*/ f1533 1 9586368"/>
                <a:gd name="f2970" fmla="*/ f1534 1 9586368"/>
                <a:gd name="f2971" fmla="*/ f1535 1 9586368"/>
                <a:gd name="f2972" fmla="*/ f1536 1 9586368"/>
                <a:gd name="f2973" fmla="*/ f1537 1 9586368"/>
                <a:gd name="f2974" fmla="*/ f1538 1 9586368"/>
                <a:gd name="f2975" fmla="*/ f1539 1 9586368"/>
                <a:gd name="f2976" fmla="*/ f1540 1 9586368"/>
                <a:gd name="f2977" fmla="*/ f1541 1 9586368"/>
                <a:gd name="f2978" fmla="*/ f1542 1 9586368"/>
                <a:gd name="f2979" fmla="*/ f1543 1 9586368"/>
                <a:gd name="f2980" fmla="*/ f1544 1 9586368"/>
                <a:gd name="f2981" fmla="*/ f1545 1 9586368"/>
                <a:gd name="f2982" fmla="*/ f1546 1 9586368"/>
                <a:gd name="f2983" fmla="*/ f1547 1 9586368"/>
                <a:gd name="f2984" fmla="*/ f1548 1 9586368"/>
                <a:gd name="f2985" fmla="*/ f1549 1 9586368"/>
                <a:gd name="f2986" fmla="*/ f1550 1 9586368"/>
                <a:gd name="f2987" fmla="*/ f1551 1 9586368"/>
                <a:gd name="f2988" fmla="*/ f1552 1 9586368"/>
                <a:gd name="f2989" fmla="*/ f1553 1 9586368"/>
                <a:gd name="f2990" fmla="*/ f1554 1 9586368"/>
                <a:gd name="f2991" fmla="*/ f1555 1 9586368"/>
                <a:gd name="f2992" fmla="*/ f1556 1 9586368"/>
                <a:gd name="f2993" fmla="*/ f1557 1 9586368"/>
                <a:gd name="f2994" fmla="*/ f1558 1 9586368"/>
                <a:gd name="f2995" fmla="*/ f1559 1 9586368"/>
                <a:gd name="f2996" fmla="*/ f1560 1 9586368"/>
                <a:gd name="f2997" fmla="*/ f1561 1 9586368"/>
                <a:gd name="f2998" fmla="*/ f1562 1 9586368"/>
                <a:gd name="f2999" fmla="*/ f1563 1 9586368"/>
                <a:gd name="f3000" fmla="*/ f1564 1 9586368"/>
                <a:gd name="f3001" fmla="*/ f1565 1 9586368"/>
                <a:gd name="f3002" fmla="*/ f1566 1 9586368"/>
                <a:gd name="f3003" fmla="*/ f1567 1 9586368"/>
                <a:gd name="f3004" fmla="*/ f1568 1 9586368"/>
                <a:gd name="f3005" fmla="*/ f1569 1 9586368"/>
                <a:gd name="f3006" fmla="*/ f1570 1 9586368"/>
                <a:gd name="f3007" fmla="*/ f1571 1 9586368"/>
                <a:gd name="f3008" fmla="*/ f1572 1 9586368"/>
                <a:gd name="f3009" fmla="*/ f1573 1 9586368"/>
                <a:gd name="f3010" fmla="*/ f1574 1 9586368"/>
                <a:gd name="f3011" fmla="*/ f1575 1 9586368"/>
                <a:gd name="f3012" fmla="*/ f1576 1 9586368"/>
                <a:gd name="f3013" fmla="*/ f1577 1 9586368"/>
                <a:gd name="f3014" fmla="*/ f1578 1 9586368"/>
                <a:gd name="f3015" fmla="*/ f1579 1 9586368"/>
                <a:gd name="f3016" fmla="*/ f1580 1 9586368"/>
                <a:gd name="f3017" fmla="*/ f1581 1 9586368"/>
                <a:gd name="f3018" fmla="*/ f1582 1 9586368"/>
                <a:gd name="f3019" fmla="*/ f1583 1 9586368"/>
                <a:gd name="f3020" fmla="*/ f1584 1 9586368"/>
                <a:gd name="f3021" fmla="*/ f1585 1 9586368"/>
                <a:gd name="f3022" fmla="*/ f1586 1 9586368"/>
                <a:gd name="f3023" fmla="*/ f1587 1 9586368"/>
                <a:gd name="f3024" fmla="*/ f1588 1 9586368"/>
                <a:gd name="f3025" fmla="*/ f1589 1 9586368"/>
                <a:gd name="f3026" fmla="*/ f1590 1 9586368"/>
                <a:gd name="f3027" fmla="*/ f1591 1 9586368"/>
                <a:gd name="f3028" fmla="*/ f1592 1 9586368"/>
                <a:gd name="f3029" fmla="*/ f1593 1 9586368"/>
                <a:gd name="f3030" fmla="*/ f1594 1 9586368"/>
                <a:gd name="f3031" fmla="*/ f1595 1 9586368"/>
                <a:gd name="f3032" fmla="*/ f1596 1 6479439"/>
                <a:gd name="f3033" fmla="*/ f1597 1 6479439"/>
                <a:gd name="f3034" fmla="*/ f1598 1 6479439"/>
                <a:gd name="f3035" fmla="*/ f1599 1 6479439"/>
                <a:gd name="f3036" fmla="*/ f1600 1 9586368"/>
                <a:gd name="f3037" fmla="*/ f1601 1 9586368"/>
                <a:gd name="f3038" fmla="*/ f1602 1 9586368"/>
                <a:gd name="f3039" fmla="*/ f1603 1 9586368"/>
                <a:gd name="f3040" fmla="*/ f1604 1 9586368"/>
                <a:gd name="f3041" fmla="*/ f1605 1 9586368"/>
                <a:gd name="f3042" fmla="*/ f1606 1 9586368"/>
                <a:gd name="f3043" fmla="*/ f1607 1 9586368"/>
                <a:gd name="f3044" fmla="*/ f1608 1 9586368"/>
                <a:gd name="f3045" fmla="*/ f1609 1 9586368"/>
                <a:gd name="f3046" fmla="*/ f1610 1 9586368"/>
                <a:gd name="f3047" fmla="*/ f1611 1 9586368"/>
                <a:gd name="f3048" fmla="*/ f1612 1 9586368"/>
                <a:gd name="f3049" fmla="*/ f1613 1 9586368"/>
                <a:gd name="f3050" fmla="*/ f1614 1 9586368"/>
                <a:gd name="f3051" fmla="*/ f1615 1 9586368"/>
                <a:gd name="f3052" fmla="*/ f1616 1 9586368"/>
                <a:gd name="f3053" fmla="*/ f1617 1 9586368"/>
                <a:gd name="f3054" fmla="*/ f1618 1 9586368"/>
                <a:gd name="f3055" fmla="*/ f1619 1 9586368"/>
                <a:gd name="f3056" fmla="*/ f1620 1 9586368"/>
                <a:gd name="f3057" fmla="*/ f1621 1 9586368"/>
                <a:gd name="f3058" fmla="*/ f1622 1 9586368"/>
                <a:gd name="f3059" fmla="*/ f1623 1 9586368"/>
                <a:gd name="f3060" fmla="*/ f1624 1 9586368"/>
                <a:gd name="f3061" fmla="*/ f1625 1 9586368"/>
                <a:gd name="f3062" fmla="*/ f1626 1 6479439"/>
                <a:gd name="f3063" fmla="*/ f1627 1 9586368"/>
                <a:gd name="f3064" fmla="*/ f1628 1 6479439"/>
                <a:gd name="f3065" fmla="*/ f1629 1 6479439"/>
                <a:gd name="f3066" fmla="*/ f1630 1 6479439"/>
                <a:gd name="f3067" fmla="*/ f1631 1 9586368"/>
                <a:gd name="f3068" fmla="*/ f1632 1 9586368"/>
                <a:gd name="f3069" fmla="*/ f1633 1 9586368"/>
                <a:gd name="f3070" fmla="*/ f1634 1 9586368"/>
                <a:gd name="f3071" fmla="*/ f1635 1 9586368"/>
                <a:gd name="f3072" fmla="*/ f1636 1 9586368"/>
                <a:gd name="f3073" fmla="*/ f1637 1 9586368"/>
                <a:gd name="f3074" fmla="*/ f1638 1 9586368"/>
                <a:gd name="f3075" fmla="*/ f1639 1 9586368"/>
                <a:gd name="f3076" fmla="*/ f1640 1 9586368"/>
                <a:gd name="f3077" fmla="*/ f1641 1 6479439"/>
                <a:gd name="f3078" fmla="*/ f1642 1 6479439"/>
                <a:gd name="f3079" fmla="*/ f1643 1 6479439"/>
                <a:gd name="f3080" fmla="*/ f1644 1 6479439"/>
                <a:gd name="f3081" fmla="*/ f1645 1 9586368"/>
                <a:gd name="f3082" fmla="*/ f1646 1 9586368"/>
                <a:gd name="f3083" fmla="*/ f1647 1 9586368"/>
                <a:gd name="f3084" fmla="*/ f1648 1 9586368"/>
                <a:gd name="f3085" fmla="*/ f1649 1 9586368"/>
                <a:gd name="f3086" fmla="*/ f1650 1 9586368"/>
                <a:gd name="f3087" fmla="*/ f1651 1 9586368"/>
                <a:gd name="f3088" fmla="*/ f1652 1 9586368"/>
                <a:gd name="f3089" fmla="*/ f1653 1 9586368"/>
                <a:gd name="f3090" fmla="*/ f1654 1 6479439"/>
                <a:gd name="f3091" fmla="*/ f1655 1 6479439"/>
                <a:gd name="f3092" fmla="*/ f1656 1 6479439"/>
                <a:gd name="f3093" fmla="*/ f1657 1 6479439"/>
                <a:gd name="f3094" fmla="*/ f1658 1 9586368"/>
                <a:gd name="f3095" fmla="*/ f1659 1 9586368"/>
                <a:gd name="f3096" fmla="*/ f1660 1 9586368"/>
                <a:gd name="f3097" fmla="*/ f1661 1 9586368"/>
                <a:gd name="f3098" fmla="*/ f1662 1 9586368"/>
                <a:gd name="f3099" fmla="*/ f1663 1 9586368"/>
                <a:gd name="f3100" fmla="*/ f1664 1 9586368"/>
                <a:gd name="f3101" fmla="*/ f1665 1 9586368"/>
                <a:gd name="f3102" fmla="*/ f1666 1 9586368"/>
                <a:gd name="f3103" fmla="*/ f1667 1 9586368"/>
                <a:gd name="f3104" fmla="*/ f1668 1 9586368"/>
                <a:gd name="f3105" fmla="*/ f1669 1 9586368"/>
                <a:gd name="f3106" fmla="*/ f1670 1 9586368"/>
                <a:gd name="f3107" fmla="*/ f1671 1 6479439"/>
                <a:gd name="f3108" fmla="*/ f1672 1 6479439"/>
                <a:gd name="f3109" fmla="*/ f1673 1 6479439"/>
                <a:gd name="f3110" fmla="*/ f1674 1 6479439"/>
                <a:gd name="f3111" fmla="*/ f1675 1 9586368"/>
                <a:gd name="f3112" fmla="*/ f1676 1 9586368"/>
                <a:gd name="f3113" fmla="*/ f1677 1 9586368"/>
                <a:gd name="f3114" fmla="*/ f1678 1 9586368"/>
                <a:gd name="f3115" fmla="*/ f1679 1 9586368"/>
                <a:gd name="f3116" fmla="*/ f1680 1 9586368"/>
                <a:gd name="f3117" fmla="*/ f1681 1 9586368"/>
                <a:gd name="f3118" fmla="*/ f1682 1 9586368"/>
                <a:gd name="f3119" fmla="*/ f1683 1 9586368"/>
                <a:gd name="f3120" fmla="*/ f1684 1 9586368"/>
                <a:gd name="f3121" fmla="*/ f1685 1 9586368"/>
                <a:gd name="f3122" fmla="*/ f1686 1 6479439"/>
                <a:gd name="f3123" fmla="*/ f1687 1 6479439"/>
                <a:gd name="f3124" fmla="*/ f1688 1 6479439"/>
                <a:gd name="f3125" fmla="*/ f1689 1 6479439"/>
                <a:gd name="f3126" fmla="*/ f1690 1 9586368"/>
                <a:gd name="f3127" fmla="*/ f1691 1 9586368"/>
                <a:gd name="f3128" fmla="*/ f1692 1 9586368"/>
                <a:gd name="f3129" fmla="*/ f1693 1 9586368"/>
                <a:gd name="f3130" fmla="*/ f1694 1 9586368"/>
                <a:gd name="f3131" fmla="*/ f1695 1 9586368"/>
                <a:gd name="f3132" fmla="*/ f1696 1 9586368"/>
                <a:gd name="f3133" fmla="*/ f1697 1 9586368"/>
                <a:gd name="f3134" fmla="*/ f1698 1 9586368"/>
                <a:gd name="f3135" fmla="*/ f1699 1 9586368"/>
                <a:gd name="f3136" fmla="*/ f1700 1 9586368"/>
                <a:gd name="f3137" fmla="*/ f1701 1 9586368"/>
                <a:gd name="f3138" fmla="*/ f1702 1 9586368"/>
                <a:gd name="f3139" fmla="*/ f1703 1 9586368"/>
                <a:gd name="f3140" fmla="*/ f1704 1 9586368"/>
                <a:gd name="f3141" fmla="*/ f1705 1 9586368"/>
                <a:gd name="f3142" fmla="*/ f1706 1 9586368"/>
                <a:gd name="f3143" fmla="*/ f1707 1 9586368"/>
                <a:gd name="f3144" fmla="*/ f1708 1 9586368"/>
                <a:gd name="f3145" fmla="*/ f1709 1 9586368"/>
                <a:gd name="f3146" fmla="*/ f1710 1 9586368"/>
                <a:gd name="f3147" fmla="*/ f1711 1 9586368"/>
                <a:gd name="f3148" fmla="*/ f1712 1 9586368"/>
                <a:gd name="f3149" fmla="*/ f1713 1 6479439"/>
                <a:gd name="f3150" fmla="*/ f1714 1 9586368"/>
                <a:gd name="f3151" fmla="*/ f1715 1 6479439"/>
                <a:gd name="f3152" fmla="*/ f1716 1 6479439"/>
                <a:gd name="f3153" fmla="*/ f1717 1 6479439"/>
                <a:gd name="f3154" fmla="*/ f1718 1 9586368"/>
                <a:gd name="f3155" fmla="*/ f1719 1 9586368"/>
                <a:gd name="f3156" fmla="*/ f1720 1 9586368"/>
                <a:gd name="f3157" fmla="*/ f1721 1 9586368"/>
                <a:gd name="f3158" fmla="*/ f1722 1 9586368"/>
                <a:gd name="f3159" fmla="*/ f1723 1 9586368"/>
                <a:gd name="f3160" fmla="*/ f1724 1 9586368"/>
                <a:gd name="f3161" fmla="*/ f1725 1 9586368"/>
                <a:gd name="f3162" fmla="*/ f1726 1 9586368"/>
                <a:gd name="f3163" fmla="*/ f1727 1 6479439"/>
                <a:gd name="f3164" fmla="*/ f1728 1 6479439"/>
                <a:gd name="f3165" fmla="*/ f1729 1 6479439"/>
                <a:gd name="f3166" fmla="*/ f1730 1 6479439"/>
                <a:gd name="f3167" fmla="*/ f1731 1 9586368"/>
                <a:gd name="f3168" fmla="*/ f1732 1 9586368"/>
                <a:gd name="f3169" fmla="*/ f1733 1 9586368"/>
                <a:gd name="f3170" fmla="*/ f1734 1 9586368"/>
                <a:gd name="f3171" fmla="*/ f1735 1 9586368"/>
                <a:gd name="f3172" fmla="*/ f1736 1 9586368"/>
                <a:gd name="f3173" fmla="*/ f1737 1 9586368"/>
                <a:gd name="f3174" fmla="*/ f1738 1 9586368"/>
                <a:gd name="f3175" fmla="*/ f1739 1 9586368"/>
                <a:gd name="f3176" fmla="*/ f1740 1 9586368"/>
                <a:gd name="f3177" fmla="*/ f1741 1 9586368"/>
                <a:gd name="f3178" fmla="*/ f1742 1 9586368"/>
                <a:gd name="f3179" fmla="*/ f1743 1 6479439"/>
                <a:gd name="f3180" fmla="*/ f1744 1 6479439"/>
                <a:gd name="f3181" fmla="*/ f1745 1 6479439"/>
                <a:gd name="f3182" fmla="*/ f1746 1 6479439"/>
                <a:gd name="f3183" fmla="*/ f1747 1 9586368"/>
                <a:gd name="f3184" fmla="*/ f1748 1 9586368"/>
                <a:gd name="f3185" fmla="*/ f1749 1 9586368"/>
                <a:gd name="f3186" fmla="*/ f1750 1 9586368"/>
                <a:gd name="f3187" fmla="*/ f1751 1 9586368"/>
                <a:gd name="f3188" fmla="*/ f1752 1 9586368"/>
                <a:gd name="f3189" fmla="*/ f1753 1 9586368"/>
                <a:gd name="f3190" fmla="*/ f1754 1 9586368"/>
                <a:gd name="f3191" fmla="*/ f1755 1 9586368"/>
                <a:gd name="f3192" fmla="*/ f1756 1 9586368"/>
                <a:gd name="f3193" fmla="*/ f1757 1 9586368"/>
                <a:gd name="f3194" fmla="*/ f1758 1 9586368"/>
                <a:gd name="f3195" fmla="*/ f1759 1 6479439"/>
                <a:gd name="f3196" fmla="*/ f1760 1 6479439"/>
                <a:gd name="f3197" fmla="*/ f1761 1 6479439"/>
                <a:gd name="f3198" fmla="*/ f1762 1 6479439"/>
                <a:gd name="f3199" fmla="*/ f1763 1 9586368"/>
                <a:gd name="f3200" fmla="*/ f1764 1 9586368"/>
                <a:gd name="f3201" fmla="*/ f1765 1 9586368"/>
                <a:gd name="f3202" fmla="*/ f1766 1 9586368"/>
                <a:gd name="f3203" fmla="*/ f1767 1 9586368"/>
                <a:gd name="f3204" fmla="*/ f1768 1 9586368"/>
                <a:gd name="f3205" fmla="*/ f1769 1 9586368"/>
                <a:gd name="f3206" fmla="*/ f1770 1 9586368"/>
                <a:gd name="f3207" fmla="*/ f1771 1 9586368"/>
                <a:gd name="f3208" fmla="*/ f1772 1 6479439"/>
                <a:gd name="f3209" fmla="*/ f1773 1 6479439"/>
                <a:gd name="f3210" fmla="*/ f1774 1 6479439"/>
                <a:gd name="f3211" fmla="*/ f1775 1 6479439"/>
                <a:gd name="f3212" fmla="*/ f1776 1 9586368"/>
                <a:gd name="f3213" fmla="*/ f1777 1 9586368"/>
                <a:gd name="f3214" fmla="*/ f1778 1 9586368"/>
                <a:gd name="f3215" fmla="*/ f1779 1 9586368"/>
                <a:gd name="f3216" fmla="*/ f1780 1 9586368"/>
                <a:gd name="f3217" fmla="*/ f1781 1 9586368"/>
                <a:gd name="f3218" fmla="*/ f1782 1 9586368"/>
                <a:gd name="f3219" fmla="*/ f1783 1 9586368"/>
                <a:gd name="f3220" fmla="*/ f1784 1 9586368"/>
                <a:gd name="f3221" fmla="*/ f1785 1 9586368"/>
                <a:gd name="f3222" fmla="*/ f1786 1 9586368"/>
                <a:gd name="f3223" fmla="*/ f1787 1 9586368"/>
                <a:gd name="f3224" fmla="*/ f1788 1 9586368"/>
                <a:gd name="f3225" fmla="*/ f1789 1 9586368"/>
                <a:gd name="f3226" fmla="*/ f1790 1 9586368"/>
                <a:gd name="f3227" fmla="*/ f1791 1 9586368"/>
                <a:gd name="f3228" fmla="*/ f1792 1 9586368"/>
                <a:gd name="f3229" fmla="*/ f1793 1 9586368"/>
                <a:gd name="f3230" fmla="*/ f1794 1 9586368"/>
                <a:gd name="f3231" fmla="*/ f1795 1 9586368"/>
                <a:gd name="f3232" fmla="*/ f1796 1 6479439"/>
                <a:gd name="f3233" fmla="*/ f1797 1 6479439"/>
                <a:gd name="f3234" fmla="*/ f1798 1 6479439"/>
                <a:gd name="f3235" fmla="*/ f1799 1 6479439"/>
                <a:gd name="f3236" fmla="*/ f1800 1 9586368"/>
                <a:gd name="f3237" fmla="*/ f1801 1 9586368"/>
                <a:gd name="f3238" fmla="*/ f1802 1 9586368"/>
                <a:gd name="f3239" fmla="*/ f1803 1 9586368"/>
                <a:gd name="f3240" fmla="*/ f1804 1 9586368"/>
                <a:gd name="f3241" fmla="*/ f1805 1 9586368"/>
                <a:gd name="f3242" fmla="*/ f1806 1 9586368"/>
                <a:gd name="f3243" fmla="*/ f1807 1 9586368"/>
                <a:gd name="f3244" fmla="*/ f1808 1 9586368"/>
                <a:gd name="f3245" fmla="*/ f1809 1 9586368"/>
                <a:gd name="f3246" fmla="*/ f1810 1 9586368"/>
                <a:gd name="f3247" fmla="*/ f1811 1 9586368"/>
                <a:gd name="f3248" fmla="*/ f1812 1 6479439"/>
                <a:gd name="f3249" fmla="*/ f1813 1 6479439"/>
                <a:gd name="f3250" fmla="*/ f1814 1 6479439"/>
                <a:gd name="f3251" fmla="*/ f1815 1 6479439"/>
                <a:gd name="f3252" fmla="*/ f1816 1 9586368"/>
                <a:gd name="f3253" fmla="*/ f1817 1 9586368"/>
                <a:gd name="f3254" fmla="*/ f1818 1 9586368"/>
                <a:gd name="f3255" fmla="*/ f1819 1 9586368"/>
                <a:gd name="f3256" fmla="*/ f1820 1 9586368"/>
                <a:gd name="f3257" fmla="*/ f1821 1 9586368"/>
                <a:gd name="f3258" fmla="*/ f1822 1 9586368"/>
                <a:gd name="f3259" fmla="*/ f1823 1 9586368"/>
                <a:gd name="f3260" fmla="*/ f1824 1 9586368"/>
                <a:gd name="f3261" fmla="*/ f1825 1 9586368"/>
                <a:gd name="f3262" fmla="*/ f1826 1 9586368"/>
                <a:gd name="f3263" fmla="*/ f1827 1 9586368"/>
                <a:gd name="f3264" fmla="*/ f1828 1 6479439"/>
                <a:gd name="f3265" fmla="*/ f1829 1 9586368"/>
                <a:gd name="f3266" fmla="*/ f1830 1 6479439"/>
                <a:gd name="f3267" fmla="*/ f1831 1 6479439"/>
                <a:gd name="f3268" fmla="*/ f1832 1 6479439"/>
                <a:gd name="f3269" fmla="*/ f1833 1 9586368"/>
                <a:gd name="f3270" fmla="*/ f1834 1 9586368"/>
                <a:gd name="f3271" fmla="*/ f1835 1 9586368"/>
                <a:gd name="f3272" fmla="*/ f1836 1 9586368"/>
                <a:gd name="f3273" fmla="*/ f1837 1 9586368"/>
                <a:gd name="f3274" fmla="*/ f1838 1 9586368"/>
                <a:gd name="f3275" fmla="*/ f1839 1 9586368"/>
                <a:gd name="f3276" fmla="*/ f1840 1 9586368"/>
                <a:gd name="f3277" fmla="*/ f1841 1 9586368"/>
                <a:gd name="f3278" fmla="*/ f1842 1 9586368"/>
                <a:gd name="f3279" fmla="*/ f1843 1 9586368"/>
                <a:gd name="f3280" fmla="*/ f1844 1 6479439"/>
                <a:gd name="f3281" fmla="*/ f1845 1 6479439"/>
                <a:gd name="f3282" fmla="*/ f1846 1 6479439"/>
                <a:gd name="f3283" fmla="*/ f1847 1 6479439"/>
                <a:gd name="f3284" fmla="*/ f1848 1 9586368"/>
                <a:gd name="f3285" fmla="*/ f1849 1 9586368"/>
                <a:gd name="f3286" fmla="*/ f1850 1 9586368"/>
                <a:gd name="f3287" fmla="*/ f1851 1 9586368"/>
                <a:gd name="f3288" fmla="*/ f1852 1 9586368"/>
                <a:gd name="f3289" fmla="*/ f1853 1 9586368"/>
                <a:gd name="f3290" fmla="*/ f1854 1 9586368"/>
                <a:gd name="f3291" fmla="*/ f1855 1 9586368"/>
                <a:gd name="f3292" fmla="*/ f1856 1 9586368"/>
                <a:gd name="f3293" fmla="*/ f1857 1 9586368"/>
                <a:gd name="f3294" fmla="*/ f1858 1 6479439"/>
                <a:gd name="f3295" fmla="*/ f1859 1 6479439"/>
                <a:gd name="f3296" fmla="*/ f1860 1 6479439"/>
                <a:gd name="f3297" fmla="*/ f1861 1 6479439"/>
                <a:gd name="f3298" fmla="*/ f1862 1 9586368"/>
                <a:gd name="f3299" fmla="*/ f1863 1 9586368"/>
                <a:gd name="f3300" fmla="*/ f1864 1 9586368"/>
                <a:gd name="f3301" fmla="*/ f1865 1 9586368"/>
                <a:gd name="f3302" fmla="*/ f1866 1 9586368"/>
                <a:gd name="f3303" fmla="*/ f1867 1 9586368"/>
                <a:gd name="f3304" fmla="*/ f1868 1 9586368"/>
                <a:gd name="f3305" fmla="*/ f1869 1 9586368"/>
                <a:gd name="f3306" fmla="*/ f1870 1 9586368"/>
                <a:gd name="f3307" fmla="*/ f1871 1 9586368"/>
                <a:gd name="f3308" fmla="*/ f1872 1 9586368"/>
                <a:gd name="f3309" fmla="*/ f1873 1 9586368"/>
                <a:gd name="f3310" fmla="*/ f1874 1 9586368"/>
                <a:gd name="f3311" fmla="*/ f1875 1 9586368"/>
                <a:gd name="f3312" fmla="*/ f1876 1 9586368"/>
                <a:gd name="f3313" fmla="*/ f1877 1 9586368"/>
                <a:gd name="f3314" fmla="*/ f1878 1 9586368"/>
                <a:gd name="f3315" fmla="*/ f1879 1 9586368"/>
                <a:gd name="f3316" fmla="*/ f1880 1 9586368"/>
                <a:gd name="f3317" fmla="*/ f1881 1 9586368"/>
                <a:gd name="f3318" fmla="*/ f1882 1 9586368"/>
                <a:gd name="f3319" fmla="*/ f1883 1 9586368"/>
                <a:gd name="f3320" fmla="*/ f1884 1 6479439"/>
                <a:gd name="f3321" fmla="*/ f1885 1 9586368"/>
                <a:gd name="f3322" fmla="*/ f1886 1 6479439"/>
                <a:gd name="f3323" fmla="*/ f1887 1 6479439"/>
                <a:gd name="f3324" fmla="*/ f1888 1 6479439"/>
                <a:gd name="f3325" fmla="*/ f1889 1 9586368"/>
                <a:gd name="f3326" fmla="*/ f1890 1 9586368"/>
                <a:gd name="f3327" fmla="*/ f1891 1 9586368"/>
                <a:gd name="f3328" fmla="*/ f1892 1 9586368"/>
                <a:gd name="f3329" fmla="*/ f1893 1 9586368"/>
                <a:gd name="f3330" fmla="*/ f1894 1 9586368"/>
                <a:gd name="f3331" fmla="*/ f1895 1 9586368"/>
                <a:gd name="f3332" fmla="*/ f1896 1 9586368"/>
                <a:gd name="f3333" fmla="*/ f1897 1 9586368"/>
                <a:gd name="f3334" fmla="*/ f1898 1 9586368"/>
                <a:gd name="f3335" fmla="*/ f1899 1 9586368"/>
                <a:gd name="f3336" fmla="*/ f1900 1 6479439"/>
                <a:gd name="f3337" fmla="*/ f1901 1 6479439"/>
                <a:gd name="f3338" fmla="*/ f1902 1 6479439"/>
                <a:gd name="f3339" fmla="*/ f1903 1 6479439"/>
                <a:gd name="f3340" fmla="*/ f1904 1 9586368"/>
                <a:gd name="f3341" fmla="*/ f1905 1 9586368"/>
                <a:gd name="f3342" fmla="*/ f1906 1 9586368"/>
                <a:gd name="f3343" fmla="*/ f1907 1 9586368"/>
                <a:gd name="f3344" fmla="*/ f1908 1 9586368"/>
                <a:gd name="f3345" fmla="*/ f1909 1 9586368"/>
                <a:gd name="f3346" fmla="*/ f1910 1 9586368"/>
                <a:gd name="f3347" fmla="*/ f1911 1 9586368"/>
                <a:gd name="f3348" fmla="*/ f1912 1 9586368"/>
                <a:gd name="f3349" fmla="*/ f1913 1 9586368"/>
                <a:gd name="f3350" fmla="*/ f1914 1 9586368"/>
                <a:gd name="f3351" fmla="*/ f1915 1 6479439"/>
                <a:gd name="f3352" fmla="*/ f1916 1 6479439"/>
                <a:gd name="f3353" fmla="*/ f1917 1 6479439"/>
                <a:gd name="f3354" fmla="*/ f1918 1 6479439"/>
                <a:gd name="f3355" fmla="*/ f1919 1 9586368"/>
                <a:gd name="f3356" fmla="*/ f1920 1 9586368"/>
                <a:gd name="f3357" fmla="*/ f1921 1 9586368"/>
                <a:gd name="f3358" fmla="*/ f1922 1 9586368"/>
                <a:gd name="f3359" fmla="*/ f1923 1 9586368"/>
                <a:gd name="f3360" fmla="*/ f1924 1 9586368"/>
                <a:gd name="f3361" fmla="*/ f1925 1 9586368"/>
                <a:gd name="f3362" fmla="*/ f1926 1 9586368"/>
                <a:gd name="f3363" fmla="*/ f1927 1 9586368"/>
                <a:gd name="f3364" fmla="*/ f1928 1 9586368"/>
                <a:gd name="f3365" fmla="*/ f1929 1 6479439"/>
                <a:gd name="f3366" fmla="*/ f1930 1 6479439"/>
                <a:gd name="f3367" fmla="*/ f1931 1 6479439"/>
                <a:gd name="f3368" fmla="*/ f1932 1 6479439"/>
                <a:gd name="f3369" fmla="*/ f1933 1 9586368"/>
                <a:gd name="f3370" fmla="*/ f1934 1 9586368"/>
                <a:gd name="f3371" fmla="*/ f1935 1 9586368"/>
                <a:gd name="f3372" fmla="*/ f1936 1 9586368"/>
                <a:gd name="f3373" fmla="*/ f1937 1 9586368"/>
                <a:gd name="f3374" fmla="*/ f1938 1 9586368"/>
                <a:gd name="f3375" fmla="*/ f1939 1 9586368"/>
                <a:gd name="f3376" fmla="*/ f1940 1 9586368"/>
                <a:gd name="f3377" fmla="*/ f1941 1 9586368"/>
                <a:gd name="f3378" fmla="*/ f1942 1 9586368"/>
                <a:gd name="f3379" fmla="*/ f1943 1 6479439"/>
                <a:gd name="f3380" fmla="*/ f1944 1 6479439"/>
                <a:gd name="f3381" fmla="*/ f1945 1 6479439"/>
                <a:gd name="f3382" fmla="*/ f1946 1 6479439"/>
                <a:gd name="f3383" fmla="*/ f1947 1 9586368"/>
                <a:gd name="f3384" fmla="*/ f1948 1 9586368"/>
                <a:gd name="f3385" fmla="*/ f1949 1 9586368"/>
                <a:gd name="f3386" fmla="*/ f1950 1 9586368"/>
                <a:gd name="f3387" fmla="*/ f1951 1 9586368"/>
                <a:gd name="f3388" fmla="*/ f1952 1 9586368"/>
                <a:gd name="f3389" fmla="*/ f1953 1 9586368"/>
                <a:gd name="f3390" fmla="*/ f1954 1 9586368"/>
                <a:gd name="f3391" fmla="*/ f1955 1 9586368"/>
                <a:gd name="f3392" fmla="*/ f1956 1 9586368"/>
                <a:gd name="f3393" fmla="*/ f1957 1 9586368"/>
                <a:gd name="f3394" fmla="*/ f1958 1 9586368"/>
                <a:gd name="f3395" fmla="*/ f1959 1 9586368"/>
                <a:gd name="f3396" fmla="*/ f1960 1 9586368"/>
                <a:gd name="f3397" fmla="*/ f1961 1 9586368"/>
                <a:gd name="f3398" fmla="*/ f1962 1 9586368"/>
                <a:gd name="f3399" fmla="*/ f1963 1 9586368"/>
                <a:gd name="f3400" fmla="*/ f1964 1 9586368"/>
                <a:gd name="f3401" fmla="*/ f1965 1 9586368"/>
                <a:gd name="f3402" fmla="*/ f1966 1 9586368"/>
                <a:gd name="f3403" fmla="*/ f1967 1 9586368"/>
                <a:gd name="f3404" fmla="*/ f1968 1 6479439"/>
                <a:gd name="f3405" fmla="*/ f1969 1 9586368"/>
                <a:gd name="f3406" fmla="*/ f1970 1 6479439"/>
                <a:gd name="f3407" fmla="*/ f1971 1 6479439"/>
                <a:gd name="f3408" fmla="*/ f1972 1 6479439"/>
                <a:gd name="f3409" fmla="*/ f1973 1 9586368"/>
                <a:gd name="f3410" fmla="*/ f1974 1 9586368"/>
                <a:gd name="f3411" fmla="*/ f1975 1 9586368"/>
                <a:gd name="f3412" fmla="*/ f1976 1 9586368"/>
                <a:gd name="f3413" fmla="*/ f1977 1 9586368"/>
                <a:gd name="f3414" fmla="*/ f1978 1 9586368"/>
                <a:gd name="f3415" fmla="*/ f1979 1 9586368"/>
                <a:gd name="f3416" fmla="*/ f1980 1 9586368"/>
                <a:gd name="f3417" fmla="*/ f1981 1 9586368"/>
                <a:gd name="f3418" fmla="*/ f1982 1 9586368"/>
                <a:gd name="f3419" fmla="*/ f1983 1 9586368"/>
                <a:gd name="f3420" fmla="*/ f1984 1 6479439"/>
                <a:gd name="f3421" fmla="*/ f1985 1 6479439"/>
                <a:gd name="f3422" fmla="*/ f1986 1 6479439"/>
                <a:gd name="f3423" fmla="*/ f1987 1 6479439"/>
                <a:gd name="f3424" fmla="*/ f1988 1 9586368"/>
                <a:gd name="f3425" fmla="*/ f1989 1 9586368"/>
                <a:gd name="f3426" fmla="*/ f1990 1 9586368"/>
                <a:gd name="f3427" fmla="*/ f1991 1 9586368"/>
                <a:gd name="f3428" fmla="*/ f1992 1 9586368"/>
                <a:gd name="f3429" fmla="*/ f1993 1 9586368"/>
                <a:gd name="f3430" fmla="*/ f1994 1 9586368"/>
                <a:gd name="f3431" fmla="*/ f1995 1 9586368"/>
                <a:gd name="f3432" fmla="*/ f1996 1 9586368"/>
                <a:gd name="f3433" fmla="*/ f1997 1 9586368"/>
                <a:gd name="f3434" fmla="*/ f1998 1 9586368"/>
                <a:gd name="f3435" fmla="*/ f1999 1 9586368"/>
                <a:gd name="f3436" fmla="*/ f2000 1 6479439"/>
                <a:gd name="f3437" fmla="*/ f2001 1 9586368"/>
                <a:gd name="f3438" fmla="*/ f2002 1 6479439"/>
                <a:gd name="f3439" fmla="*/ f2003 1 6479439"/>
                <a:gd name="f3440" fmla="*/ f2004 1 6479439"/>
                <a:gd name="f3441" fmla="*/ f2005 1 9586368"/>
                <a:gd name="f3442" fmla="*/ f2006 1 9586368"/>
                <a:gd name="f3443" fmla="*/ f2007 1 9586368"/>
                <a:gd name="f3444" fmla="*/ f2008 1 9586368"/>
                <a:gd name="f3445" fmla="*/ f2009 1 9586368"/>
                <a:gd name="f3446" fmla="*/ f2010 1 9586368"/>
                <a:gd name="f3447" fmla="*/ f2011 1 9586368"/>
                <a:gd name="f3448" fmla="*/ f2012 1 9586368"/>
                <a:gd name="f3449" fmla="*/ f2013 1 6479439"/>
                <a:gd name="f3450" fmla="*/ f2014 1 6479439"/>
                <a:gd name="f3451" fmla="*/ f2015 1 6479439"/>
                <a:gd name="f3452" fmla="*/ f2016 1 6479439"/>
                <a:gd name="f3453" fmla="*/ f2017 1 9586368"/>
                <a:gd name="f3454" fmla="*/ f2018 1 9586368"/>
                <a:gd name="f3455" fmla="*/ f2019 1 9586368"/>
                <a:gd name="f3456" fmla="*/ f2020 1 9586368"/>
                <a:gd name="f3457" fmla="*/ f2021 1 9586368"/>
                <a:gd name="f3458" fmla="*/ f2022 1 9586368"/>
                <a:gd name="f3459" fmla="*/ f2023 1 9586368"/>
                <a:gd name="f3460" fmla="*/ f2024 1 9586368"/>
                <a:gd name="f3461" fmla="*/ f2025 1 9586368"/>
                <a:gd name="f3462" fmla="*/ f2026 1 9586368"/>
                <a:gd name="f3463" fmla="*/ f2027 1 9586368"/>
                <a:gd name="f3464" fmla="*/ f2028 1 9586368"/>
                <a:gd name="f3465" fmla="*/ f2029 1 9586368"/>
                <a:gd name="f3466" fmla="*/ f2030 1 6479439"/>
                <a:gd name="f3467" fmla="*/ f2031 1 6479439"/>
                <a:gd name="f3468" fmla="*/ f2032 1 6479439"/>
                <a:gd name="f3469" fmla="*/ f2033 1 6479439"/>
                <a:gd name="f3470" fmla="*/ f2034 1 9586368"/>
                <a:gd name="f3471" fmla="*/ f2035 1 9586368"/>
                <a:gd name="f3472" fmla="*/ f2036 1 9586368"/>
                <a:gd name="f3473" fmla="*/ f2037 1 9586368"/>
                <a:gd name="f3474" fmla="*/ f2038 1 9586368"/>
                <a:gd name="f3475" fmla="*/ f2039 1 9586368"/>
                <a:gd name="f3476" fmla="*/ f2040 1 9586368"/>
                <a:gd name="f3477" fmla="*/ f2041 1 9586368"/>
                <a:gd name="f3478" fmla="*/ f2042 1 9586368"/>
                <a:gd name="f3479" fmla="*/ f2043 1 9586368"/>
                <a:gd name="f3480" fmla="*/ f2044 1 9586368"/>
                <a:gd name="f3481" fmla="*/ f2045 1 9586368"/>
                <a:gd name="f3482" fmla="*/ f2046 1 9586368"/>
                <a:gd name="f3483" fmla="*/ f2047 1 9586368"/>
                <a:gd name="f3484" fmla="*/ f2048 1 9586368"/>
                <a:gd name="f3485" fmla="*/ f2049 1 9586368"/>
                <a:gd name="f3486" fmla="*/ f2050 1 9586368"/>
                <a:gd name="f3487" fmla="*/ f2051 1 9586368"/>
                <a:gd name="f3488" fmla="*/ f2052 1 9586368"/>
                <a:gd name="f3489" fmla="*/ f2053 1 9586368"/>
                <a:gd name="f3490" fmla="*/ f2054 1 9586368"/>
                <a:gd name="f3491" fmla="*/ f2055 1 9586368"/>
                <a:gd name="f3492" fmla="*/ f2056 1 6479439"/>
                <a:gd name="f3493" fmla="*/ f2057 1 6479439"/>
                <a:gd name="f3494" fmla="*/ f2058 1 6479439"/>
                <a:gd name="f3495" fmla="*/ f2059 1 6479439"/>
                <a:gd name="f3496" fmla="*/ f2060 1 9586368"/>
                <a:gd name="f3497" fmla="*/ f2061 1 9586368"/>
                <a:gd name="f3498" fmla="*/ f2062 1 9586368"/>
                <a:gd name="f3499" fmla="*/ f2063 1 9586368"/>
                <a:gd name="f3500" fmla="*/ f2064 1 9586368"/>
                <a:gd name="f3501" fmla="*/ f2065 1 9586368"/>
                <a:gd name="f3502" fmla="*/ f2066 1 9586368"/>
                <a:gd name="f3503" fmla="*/ f2067 1 9586368"/>
                <a:gd name="f3504" fmla="*/ f2068 1 9586368"/>
                <a:gd name="f3505" fmla="*/ f2069 1 9586368"/>
                <a:gd name="f3506" fmla="*/ f2070 1 6479439"/>
                <a:gd name="f3507" fmla="*/ f2071 1 6479439"/>
                <a:gd name="f3508" fmla="*/ f2072 1 6479439"/>
                <a:gd name="f3509" fmla="*/ f2073 1 6479439"/>
                <a:gd name="f3510" fmla="*/ f2074 1 9586368"/>
                <a:gd name="f3511" fmla="*/ f2075 1 9586368"/>
                <a:gd name="f3512" fmla="*/ f2076 1 9586368"/>
                <a:gd name="f3513" fmla="*/ f2077 1 9586368"/>
                <a:gd name="f3514" fmla="*/ f2078 1 9586368"/>
                <a:gd name="f3515" fmla="*/ f2079 1 9586368"/>
                <a:gd name="f3516" fmla="*/ f2080 1 9586368"/>
                <a:gd name="f3517" fmla="*/ f2081 1 9586368"/>
                <a:gd name="f3518" fmla="*/ f2082 1 9586368"/>
                <a:gd name="f3519" fmla="*/ f2083 1 9586368"/>
                <a:gd name="f3520" fmla="*/ f2084 1 9586368"/>
                <a:gd name="f3521" fmla="*/ f2085 1 6479439"/>
                <a:gd name="f3522" fmla="*/ f2086 1 6479439"/>
                <a:gd name="f3523" fmla="*/ f2087 1 6479439"/>
                <a:gd name="f3524" fmla="*/ f2088 1 6479439"/>
                <a:gd name="f3525" fmla="*/ f2089 1 6479439"/>
                <a:gd name="f3526" fmla="*/ f2090 1 6479439"/>
                <a:gd name="f3527" fmla="*/ f2091 1 6479439"/>
                <a:gd name="f3528" fmla="*/ f2092 1 6479439"/>
                <a:gd name="f3529" fmla="*/ f2093 1 6479439"/>
                <a:gd name="f3530" fmla="*/ f2094 1 6479439"/>
                <a:gd name="f3531" fmla="*/ f2095 1 6479439"/>
                <a:gd name="f3532" fmla="*/ f2096 1 6479439"/>
                <a:gd name="f3533" fmla="*/ f2097 1 6479439"/>
                <a:gd name="f3534" fmla="*/ f2098 1 6479439"/>
                <a:gd name="f3535" fmla="*/ f2099 1 6479439"/>
                <a:gd name="f3536" fmla="*/ f2100 1 6479439"/>
                <a:gd name="f3537" fmla="*/ f2101 1 6479439"/>
                <a:gd name="f3538" fmla="*/ f2102 1 6479439"/>
                <a:gd name="f3539" fmla="*/ f2103 1 6479439"/>
                <a:gd name="f3540" fmla="*/ f2104 1 6479439"/>
                <a:gd name="f3541" fmla="*/ f2105 1 6479439"/>
                <a:gd name="f3542" fmla="*/ f2106 1 6479439"/>
                <a:gd name="f3543" fmla="*/ f2107 1 6479439"/>
                <a:gd name="f3544" fmla="*/ f2108 1 6479439"/>
                <a:gd name="f3545" fmla="*/ f2109 1 6479439"/>
                <a:gd name="f3546" fmla="*/ f2110 1 6479439"/>
                <a:gd name="f3547" fmla="*/ f2111 1 6479439"/>
                <a:gd name="f3548" fmla="*/ f2112 1 6479439"/>
                <a:gd name="f3549" fmla="*/ f2113 1 6479439"/>
                <a:gd name="f3550" fmla="*/ f2114 1 6479439"/>
                <a:gd name="f3551" fmla="*/ f2115 1 6479439"/>
                <a:gd name="f3552" fmla="*/ f2116 1 6479439"/>
                <a:gd name="f3553" fmla="*/ f2117 1 6479439"/>
                <a:gd name="f3554" fmla="*/ f2118 1 6479439"/>
                <a:gd name="f3555" fmla="*/ f2119 1 6479439"/>
                <a:gd name="f3556" fmla="*/ f2120 1 6479439"/>
                <a:gd name="f3557" fmla="*/ f2121 1 6479439"/>
                <a:gd name="f3558" fmla="*/ f2122 1 6479439"/>
                <a:gd name="f3559" fmla="*/ f2123 1 6479439"/>
                <a:gd name="f3560" fmla="*/ f2124 1 6479439"/>
                <a:gd name="f3561" fmla="*/ f2125 1 6479439"/>
                <a:gd name="f3562" fmla="*/ f2126 1 9586368"/>
                <a:gd name="f3563" fmla="*/ f2127 1 6479439"/>
                <a:gd name="f3564" fmla="*/ f2128 1 6479439"/>
                <a:gd name="f3565" fmla="*/ f2129 1 6479439"/>
                <a:gd name="f3566" fmla="*/ f2130 1 6479439"/>
                <a:gd name="f3567" fmla="*/ f2131 1 9586368"/>
                <a:gd name="f3568" fmla="*/ f2132 1 9586368"/>
                <a:gd name="f3569" fmla="*/ f2133 1 9586368"/>
                <a:gd name="f3570" fmla="*/ f2134 1 9586368"/>
                <a:gd name="f3571" fmla="*/ f2135 1 9586368"/>
                <a:gd name="f3572" fmla="*/ f2136 1 6479439"/>
                <a:gd name="f3573" fmla="*/ f2137 1 6479439"/>
                <a:gd name="f3574" fmla="*/ f2138 1 6479439"/>
                <a:gd name="f3575" fmla="*/ f2139 1 9586368"/>
                <a:gd name="f3576" fmla="*/ f2140 1 9586368"/>
                <a:gd name="f3577" fmla="*/ f2141 1 9586368"/>
                <a:gd name="f3578" fmla="*/ f2142 1 6479439"/>
                <a:gd name="f3579" fmla="*/ f2143 1 6479439"/>
                <a:gd name="f3580" fmla="*/ f2144 1 6479439"/>
                <a:gd name="f3581" fmla="*/ f2145 1 6479439"/>
                <a:gd name="f3582" fmla="*/ f2146 1 6479439"/>
                <a:gd name="f3583" fmla="*/ f2147 1 6479439"/>
                <a:gd name="f3584" fmla="*/ f2148 1 6479439"/>
                <a:gd name="f3585" fmla="*/ f2149 1 6479439"/>
                <a:gd name="f3586" fmla="*/ f2150 1 9586368"/>
                <a:gd name="f3587" fmla="*/ f2151 1 9586368"/>
                <a:gd name="f3588" fmla="*/ f2152 1 6479439"/>
                <a:gd name="f3589" fmla="*/ f2153 1 9586368"/>
                <a:gd name="f3590" fmla="*/ f2154 1 6479439"/>
                <a:gd name="f3591" fmla="*/ f2155 1 6479439"/>
                <a:gd name="f3592" fmla="*/ f2156 1 6479439"/>
                <a:gd name="f3593" fmla="*/ f2157 1 9586368"/>
                <a:gd name="f3594" fmla="*/ f2158 1 9586368"/>
                <a:gd name="f3595" fmla="*/ f2159 1 9586368"/>
                <a:gd name="f3596" fmla="*/ f2160 1 6479439"/>
                <a:gd name="f3597" fmla="*/ f2161 1 9586368"/>
                <a:gd name="f3598" fmla="*/ f2162 1 9586368"/>
                <a:gd name="f3599" fmla="*/ f2163 1 9586368"/>
                <a:gd name="f3600" fmla="*/ f2164 1 9586368"/>
                <a:gd name="f3601" fmla="*/ f2165 1 9586368"/>
                <a:gd name="f3602" fmla="*/ f2166 1 9586368"/>
                <a:gd name="f3603" fmla="*/ f2167 1 6479439"/>
                <a:gd name="f3604" fmla="*/ f2168 1 6479439"/>
                <a:gd name="f3605" fmla="*/ f2169 1 6479439"/>
                <a:gd name="f3606" fmla="*/ f2170 1 6479439"/>
                <a:gd name="f3607" fmla="*/ f2171 1 6479439"/>
                <a:gd name="f3608" fmla="*/ f2172 1 6479439"/>
                <a:gd name="f3609" fmla="*/ f2173 1 6479439"/>
                <a:gd name="f3610" fmla="*/ f2174 1 6479439"/>
                <a:gd name="f3611" fmla="*/ f2175 1 6479439"/>
                <a:gd name="f3612" fmla="*/ f2176 1 6479439"/>
                <a:gd name="f3613" fmla="*/ f2177 1 6479439"/>
                <a:gd name="f3614" fmla="*/ f2178 1 6479439"/>
                <a:gd name="f3615" fmla="*/ f2179 1 6479439"/>
                <a:gd name="f3616" fmla="*/ f2180 1 6479439"/>
                <a:gd name="f3617" fmla="*/ f2181 1 6479439"/>
                <a:gd name="f3618" fmla="*/ f2182 1 6479439"/>
                <a:gd name="f3619" fmla="*/ f2183 1 6479439"/>
                <a:gd name="f3620" fmla="*/ f2184 1 6479439"/>
                <a:gd name="f3621" fmla="*/ f2185 1 6479439"/>
                <a:gd name="f3622" fmla="*/ f2186 1 6479439"/>
                <a:gd name="f3623" fmla="*/ f2187 1 6479439"/>
                <a:gd name="f3624" fmla="*/ f2188 1 6479439"/>
                <a:gd name="f3625" fmla="*/ f2189 1 6479439"/>
                <a:gd name="f3626" fmla="*/ f2190 1 6479439"/>
                <a:gd name="f3627" fmla="*/ f2191 1 6479439"/>
                <a:gd name="f3628" fmla="*/ f2192 1 6479439"/>
                <a:gd name="f3629" fmla="*/ f2193 1 6479439"/>
                <a:gd name="f3630" fmla="*/ f2194 1 6479439"/>
                <a:gd name="f3631" fmla="*/ f2195 1 6479439"/>
                <a:gd name="f3632" fmla="*/ f2196 1 6479439"/>
                <a:gd name="f3633" fmla="*/ f2197 1 6479439"/>
                <a:gd name="f3634" fmla="*/ f2198 1 6479439"/>
                <a:gd name="f3635" fmla="*/ f2199 1 6479439"/>
                <a:gd name="f3636" fmla="*/ f2200 1 6479439"/>
                <a:gd name="f3637" fmla="*/ f2201 1 6479439"/>
                <a:gd name="f3638" fmla="*/ f2202 1 6479439"/>
                <a:gd name="f3639" fmla="*/ f2203 1 6479439"/>
                <a:gd name="f3640" fmla="*/ f2204 1 6479439"/>
                <a:gd name="f3641" fmla="*/ f2205 1 6479439"/>
                <a:gd name="f3642" fmla="*/ f2206 1 6479439"/>
                <a:gd name="f3643" fmla="*/ f2207 1 6479439"/>
                <a:gd name="f3644" fmla="*/ f2208 1 6479439"/>
                <a:gd name="f3645" fmla="*/ f2209 1 6479439"/>
                <a:gd name="f3646" fmla="*/ f2210 1 6479439"/>
                <a:gd name="f3647" fmla="*/ f2211 1 6479439"/>
                <a:gd name="f3648" fmla="*/ f2212 1 9586368"/>
                <a:gd name="f3649" fmla="*/ f2213 1 6479439"/>
                <a:gd name="f3650" fmla="*/ f2214 1 9586368"/>
                <a:gd name="f3651" fmla="*/ f2215 1 9586368"/>
                <a:gd name="f3652" fmla="*/ f2216 1 6479439"/>
                <a:gd name="f3653" fmla="*/ f2217 1 6479439"/>
                <a:gd name="f3654" fmla="*/ f2218 1 6479439"/>
                <a:gd name="f3655" fmla="*/ f2219 1 9586368"/>
                <a:gd name="f3656" fmla="*/ f2220 1 9586368"/>
                <a:gd name="f3657" fmla="*/ f2221 1 9586368"/>
                <a:gd name="f3658" fmla="*/ f2222 1 9586368"/>
                <a:gd name="f3659" fmla="*/ f2223 1 9586368"/>
                <a:gd name="f3660" fmla="*/ f2224 1 6479439"/>
                <a:gd name="f3661" fmla="*/ f2225 1 6479439"/>
                <a:gd name="f3662" fmla="*/ f2226 1 9586368"/>
                <a:gd name="f3663" fmla="*/ f2227 1 9586368"/>
                <a:gd name="f3664" fmla="*/ f2228 1 9586368"/>
                <a:gd name="f3665" fmla="*/ f2229 1 9586368"/>
                <a:gd name="f3666" fmla="*/ f2230 1 9586368"/>
                <a:gd name="f3667" fmla="*/ f2231 1 6479439"/>
                <a:gd name="f3668" fmla="*/ f2232 1 9586368"/>
                <a:gd name="f3669" fmla="*/ f2233 1 6479439"/>
                <a:gd name="f3670" fmla="*/ f2234 1 6479439"/>
                <a:gd name="f3671" fmla="*/ f2235 1 6479439"/>
                <a:gd name="f3672" fmla="*/ f2236 1 9586368"/>
                <a:gd name="f3673" fmla="*/ f2237 1 9586368"/>
                <a:gd name="f3674" fmla="*/ f2238 1 6479439"/>
                <a:gd name="f3675" fmla="*/ f2239 1 9586368"/>
                <a:gd name="f3676" fmla="*/ f2240 1 9586368"/>
                <a:gd name="f3677" fmla="*/ f2241 1 9586368"/>
                <a:gd name="f3678" fmla="*/ f2242 1 9586368"/>
                <a:gd name="f3679" fmla="*/ f2243 1 9586368"/>
                <a:gd name="f3680" fmla="*/ f2244 1 6479439"/>
                <a:gd name="f3681" fmla="*/ f2245 1 9586368"/>
                <a:gd name="f3682" fmla="*/ f2246 1 6479439"/>
                <a:gd name="f3683" fmla="*/ f2247 1 6479439"/>
                <a:gd name="f3684" fmla="*/ f2248 1 6479439"/>
                <a:gd name="f3685" fmla="*/ f2249 1 6479439"/>
                <a:gd name="f3686" fmla="*/ f2250 1 9586368"/>
                <a:gd name="f3687" fmla="*/ f2251 1 6479439"/>
                <a:gd name="f3688" fmla="*/ f2252 1 6479439"/>
                <a:gd name="f3689" fmla="*/ f2253 1 6479439"/>
                <a:gd name="f3690" fmla="*/ f2254 1 6479439"/>
                <a:gd name="f3691" fmla="*/ f2255 1 6479439"/>
                <a:gd name="f3692" fmla="*/ f2256 1 6479439"/>
                <a:gd name="f3693" fmla="*/ f2257 1 6479439"/>
                <a:gd name="f3694" fmla="*/ f2258 1 6479439"/>
                <a:gd name="f3695" fmla="*/ f2259 1 6479439"/>
                <a:gd name="f3696" fmla="*/ f2260 1 6479439"/>
                <a:gd name="f3697" fmla="*/ f2261 1 6479439"/>
                <a:gd name="f3698" fmla="*/ f2262 1 6479439"/>
                <a:gd name="f3699" fmla="*/ f2263 1 6479439"/>
                <a:gd name="f3700" fmla="*/ f2264 1 6479439"/>
                <a:gd name="f3701" fmla="*/ f2265 1 6479439"/>
                <a:gd name="f3702" fmla="*/ f2266 1 6479439"/>
                <a:gd name="f3703" fmla="*/ f2267 1 6479439"/>
                <a:gd name="f3704" fmla="*/ f2268 1 6479439"/>
                <a:gd name="f3705" fmla="*/ f2269 1 6479439"/>
                <a:gd name="f3706" fmla="*/ f2270 1 6479439"/>
                <a:gd name="f3707" fmla="*/ f2271 1 6479439"/>
                <a:gd name="f3708" fmla="*/ f2272 1 6479439"/>
                <a:gd name="f3709" fmla="*/ f2273 1 6479439"/>
                <a:gd name="f3710" fmla="*/ f2274 1 6479439"/>
                <a:gd name="f3711" fmla="*/ f2275 1 6479439"/>
                <a:gd name="f3712" fmla="*/ f2276 1 6479439"/>
                <a:gd name="f3713" fmla="*/ f2277 1 6479439"/>
                <a:gd name="f3714" fmla="*/ f2278 1 6479439"/>
                <a:gd name="f3715" fmla="*/ f2279 1 6479439"/>
                <a:gd name="f3716" fmla="*/ f2280 1 6479439"/>
                <a:gd name="f3717" fmla="*/ f2281 1 6479439"/>
                <a:gd name="f3718" fmla="*/ f2282 1 6479439"/>
                <a:gd name="f3719" fmla="*/ f2283 1 6479439"/>
                <a:gd name="f3720" fmla="*/ f2284 1 6479439"/>
                <a:gd name="f3721" fmla="*/ f2285 1 6479439"/>
                <a:gd name="f3722" fmla="*/ f2286 1 6479439"/>
                <a:gd name="f3723" fmla="*/ f2287 1 6479439"/>
                <a:gd name="f3724" fmla="*/ f2288 1 6479439"/>
                <a:gd name="f3725" fmla="*/ f2289 1 6479439"/>
                <a:gd name="f3726" fmla="*/ f2290 1 6479439"/>
                <a:gd name="f3727" fmla="*/ f2291 1 6479439"/>
                <a:gd name="f3728" fmla="*/ f2292 1 6479439"/>
                <a:gd name="f3729" fmla="*/ f2293 1 6479439"/>
                <a:gd name="f3730" fmla="*/ f2294 1 9586368"/>
                <a:gd name="f3731" fmla="*/ f2295 1 6479439"/>
                <a:gd name="f3732" fmla="*/ f2296 1 9586368"/>
                <a:gd name="f3733" fmla="*/ f2297 1 9586368"/>
                <a:gd name="f3734" fmla="*/ f2298 1 6479439"/>
                <a:gd name="f3735" fmla="*/ f2299 1 6479439"/>
                <a:gd name="f3736" fmla="*/ f2300 1 6479439"/>
                <a:gd name="f3737" fmla="*/ f2301 1 9586368"/>
                <a:gd name="f3738" fmla="*/ f2302 1 6479439"/>
                <a:gd name="f3739" fmla="*/ f2303 1 9586368"/>
                <a:gd name="f3740" fmla="*/ f2304 1 9586368"/>
                <a:gd name="f3741" fmla="*/ f2305 1 9586368"/>
                <a:gd name="f3742" fmla="*/ f2306 1 9586368"/>
                <a:gd name="f3743" fmla="*/ f2307 1 9586368"/>
                <a:gd name="f3744" fmla="*/ f2308 1 9586368"/>
                <a:gd name="f3745" fmla="*/ f2309 1 9586368"/>
                <a:gd name="f3746" fmla="*/ f2310 1 9586368"/>
                <a:gd name="f3747" fmla="*/ f2311 1 9586368"/>
                <a:gd name="f3748" fmla="*/ f2312 1 6479439"/>
                <a:gd name="f3749" fmla="*/ f2313 1 6479439"/>
                <a:gd name="f3750" fmla="*/ f2314 1 6479439"/>
                <a:gd name="f3751" fmla="*/ f2315 1 6479439"/>
                <a:gd name="f3752" fmla="*/ f2316 1 9586368"/>
                <a:gd name="f3753" fmla="*/ f2317 1 6479439"/>
                <a:gd name="f3754" fmla="*/ f2318 1 6479439"/>
                <a:gd name="f3755" fmla="*/ f2319 1 6479439"/>
                <a:gd name="f3756" fmla="*/ f2320 1 6479439"/>
                <a:gd name="f3757" fmla="*/ f2321 1 6479439"/>
                <a:gd name="f3758" fmla="*/ f2322 1 6479439"/>
                <a:gd name="f3759" fmla="*/ f2323 1 6479439"/>
                <a:gd name="f3760" fmla="*/ f2324 1 6479439"/>
                <a:gd name="f3761" fmla="*/ f2325 1 6479439"/>
                <a:gd name="f3762" fmla="*/ f2326 1 9586368"/>
                <a:gd name="f3763" fmla="*/ f2327 1 9586368"/>
                <a:gd name="f3764" fmla="*/ f2328 1 6479439"/>
                <a:gd name="f3765" fmla="*/ f2329 1 6479439"/>
                <a:gd name="f3766" fmla="*/ f2330 1 6479439"/>
                <a:gd name="f3767" fmla="*/ f2331 1 9586368"/>
                <a:gd name="f3768" fmla="*/ f2332 1 9586368"/>
                <a:gd name="f3769" fmla="*/ f2333 1 9586368"/>
                <a:gd name="f3770" fmla="*/ f2334 1 9586368"/>
                <a:gd name="f3771" fmla="*/ f2335 1 9586368"/>
                <a:gd name="f3772" fmla="*/ f2336 1 9586368"/>
                <a:gd name="f3773" fmla="*/ f2337 1 9586368"/>
                <a:gd name="f3774" fmla="*/ f2338 1 6479439"/>
                <a:gd name="f3775" fmla="*/ f2339 1 6479439"/>
                <a:gd name="f3776" fmla="*/ f2340 1 6479439"/>
                <a:gd name="f3777" fmla="*/ f2341 1 6479439"/>
                <a:gd name="f3778" fmla="*/ f2342 1 6479439"/>
                <a:gd name="f3779" fmla="*/ f2343 1 6479439"/>
                <a:gd name="f3780" fmla="*/ f2344 1 6479439"/>
                <a:gd name="f3781" fmla="*/ f2345 1 6479439"/>
                <a:gd name="f3782" fmla="*/ f2346 1 6479439"/>
                <a:gd name="f3783" fmla="*/ f2347 1 6479439"/>
                <a:gd name="f3784" fmla="*/ f2348 1 6479439"/>
                <a:gd name="f3785" fmla="*/ f2349 1 6479439"/>
                <a:gd name="f3786" fmla="*/ f2350 1 6479439"/>
                <a:gd name="f3787" fmla="*/ f2351 1 6479439"/>
                <a:gd name="f3788" fmla="*/ f2352 1 6479439"/>
                <a:gd name="f3789" fmla="*/ f2353 1 6479439"/>
                <a:gd name="f3790" fmla="*/ f2354 1 6479439"/>
                <a:gd name="f3791" fmla="*/ f2355 1 6479439"/>
                <a:gd name="f3792" fmla="*/ f2356 1 6479439"/>
                <a:gd name="f3793" fmla="*/ f2357 1 6479439"/>
                <a:gd name="f3794" fmla="*/ f2358 1 6479439"/>
                <a:gd name="f3795" fmla="*/ f2359 1 6479439"/>
                <a:gd name="f3796" fmla="*/ f2360 1 6479439"/>
                <a:gd name="f3797" fmla="*/ f2361 1 6479439"/>
                <a:gd name="f3798" fmla="*/ f2362 1 6479439"/>
                <a:gd name="f3799" fmla="*/ f2363 1 6479439"/>
                <a:gd name="f3800" fmla="*/ f2364 1 6479439"/>
                <a:gd name="f3801" fmla="*/ f2365 1 6479439"/>
                <a:gd name="f3802" fmla="*/ f2366 1 6479439"/>
                <a:gd name="f3803" fmla="*/ f2367 1 6479439"/>
                <a:gd name="f3804" fmla="*/ f2368 1 6479439"/>
                <a:gd name="f3805" fmla="*/ f2369 1 6479439"/>
                <a:gd name="f3806" fmla="*/ f2370 1 6479439"/>
                <a:gd name="f3807" fmla="*/ f2371 1 6479439"/>
                <a:gd name="f3808" fmla="*/ f2372 1 6479439"/>
                <a:gd name="f3809" fmla="*/ f2373 1 6479439"/>
                <a:gd name="f3810" fmla="*/ f2374 1 9586368"/>
                <a:gd name="f3811" fmla="*/ f2375 1 6479439"/>
                <a:gd name="f3812" fmla="*/ f2376 1 9586368"/>
                <a:gd name="f3813" fmla="*/ f2377 1 6479439"/>
                <a:gd name="f3814" fmla="*/ f2378 1 6479439"/>
                <a:gd name="f3815" fmla="*/ f2379 1 6479439"/>
                <a:gd name="f3816" fmla="*/ f2380 1 9586368"/>
                <a:gd name="f3817" fmla="*/ f2381 1 9586368"/>
                <a:gd name="f3818" fmla="*/ f2382 1 9586368"/>
                <a:gd name="f3819" fmla="*/ f2383 1 9586368"/>
                <a:gd name="f3820" fmla="*/ f2384 1 9586368"/>
                <a:gd name="f3821" fmla="*/ f2385 1 9586368"/>
                <a:gd name="f3822" fmla="*/ f2386 1 9586368"/>
                <a:gd name="f3823" fmla="*/ f2387 1 6479439"/>
                <a:gd name="f3824" fmla="*/ f2388 1 6479439"/>
                <a:gd name="f3825" fmla="*/ f2389 1 6479439"/>
                <a:gd name="f3826" fmla="*/ f2390 1 6479439"/>
                <a:gd name="f3827" fmla="*/ f2391 1 6479439"/>
                <a:gd name="f3828" fmla="*/ f2392 1 6479439"/>
                <a:gd name="f3829" fmla="*/ f2393 1 6479439"/>
                <a:gd name="f3830" fmla="*/ f2394 1 6479439"/>
                <a:gd name="f3831" fmla="*/ f2395 1 9586368"/>
                <a:gd name="f3832" fmla="*/ f2396 1 6479439"/>
                <a:gd name="f3833" fmla="*/ f2397 1 9586368"/>
                <a:gd name="f3834" fmla="*/ f2398 1 6479439"/>
                <a:gd name="f3835" fmla="*/ f2399 1 6479439"/>
                <a:gd name="f3836" fmla="*/ f2400 1 6479439"/>
                <a:gd name="f3837" fmla="*/ f2401 1 9586368"/>
                <a:gd name="f3838" fmla="*/ f2402 1 6479439"/>
                <a:gd name="f3839" fmla="*/ f2403 1 6479439"/>
                <a:gd name="f3840" fmla="*/ f2404 1 6479439"/>
                <a:gd name="f3841" fmla="*/ f2405 1 6479439"/>
                <a:gd name="f3842" fmla="*/ f2406 1 9586368"/>
                <a:gd name="f3843" fmla="*/ f2407 1 9586368"/>
                <a:gd name="f3844" fmla="*/ f2408 1 9586368"/>
                <a:gd name="f3845" fmla="*/ f2409 1 9586368"/>
                <a:gd name="f3846" fmla="*/ f2410 1 9586368"/>
                <a:gd name="f3847" fmla="*/ f2411 1 6479439"/>
                <a:gd name="f3848" fmla="*/ f2412 1 9586368"/>
                <a:gd name="f3849" fmla="*/ f2413 1 9586368"/>
                <a:gd name="f3850" fmla="*/ f2414 1 9586368"/>
                <a:gd name="f3851" fmla="*/ f2415 1 9586368"/>
                <a:gd name="f3852" fmla="*/ f2416 1 6479439"/>
                <a:gd name="f3853" fmla="*/ f2417 1 6479439"/>
                <a:gd name="f3854" fmla="*/ f2418 1 6479439"/>
                <a:gd name="f3855" fmla="*/ f2419 1 6479439"/>
                <a:gd name="f3856" fmla="*/ f2420 1 6479439"/>
                <a:gd name="f3857" fmla="*/ f2421 1 6479439"/>
                <a:gd name="f3858" fmla="*/ f2422 1 6479439"/>
                <a:gd name="f3859" fmla="*/ f2423 1 6479439"/>
                <a:gd name="f3860" fmla="*/ f2424 1 6479439"/>
                <a:gd name="f3861" fmla="*/ f2425 1 6479439"/>
                <a:gd name="f3862" fmla="*/ f2426 1 6479439"/>
                <a:gd name="f3863" fmla="*/ f2427 1 6479439"/>
                <a:gd name="f3864" fmla="*/ f2428 1 6479439"/>
                <a:gd name="f3865" fmla="*/ f2429 1 6479439"/>
                <a:gd name="f3866" fmla="*/ f2430 1 6479439"/>
                <a:gd name="f3867" fmla="*/ f2431 1 6479439"/>
                <a:gd name="f3868" fmla="*/ f2432 1 6479439"/>
                <a:gd name="f3869" fmla="*/ f2433 1 6479439"/>
                <a:gd name="f3870" fmla="*/ f2434 1 6479439"/>
                <a:gd name="f3871" fmla="*/ f2435 1 6479439"/>
                <a:gd name="f3872" fmla="*/ f2436 1 6479439"/>
                <a:gd name="f3873" fmla="*/ f2437 1 6479439"/>
                <a:gd name="f3874" fmla="*/ f2438 1 6479439"/>
                <a:gd name="f3875" fmla="*/ f2439 1 6479439"/>
                <a:gd name="f3876" fmla="*/ f2440 1 6479439"/>
                <a:gd name="f3877" fmla="*/ f2441 1 6479439"/>
                <a:gd name="f3878" fmla="*/ f2442 1 6479439"/>
                <a:gd name="f3879" fmla="*/ f2443 1 6479439"/>
                <a:gd name="f3880" fmla="*/ f2444 1 6479439"/>
                <a:gd name="f3881" fmla="*/ f2445 1 6479439"/>
                <a:gd name="f3882" fmla="*/ f2446 1 6479439"/>
                <a:gd name="f3883" fmla="*/ f2447 1 6479439"/>
                <a:gd name="f3884" fmla="*/ f2448 1 6479439"/>
                <a:gd name="f3885" fmla="*/ f2449 1 6479439"/>
                <a:gd name="f3886" fmla="*/ f2450 1 6479439"/>
                <a:gd name="f3887" fmla="*/ f2451 1 6479439"/>
                <a:gd name="f3888" fmla="*/ f2452 1 9586368"/>
                <a:gd name="f3889" fmla="*/ f2453 1 6479439"/>
                <a:gd name="f3890" fmla="*/ f2454 1 9586368"/>
                <a:gd name="f3891" fmla="*/ f2455 1 6479439"/>
                <a:gd name="f3892" fmla="*/ f2456 1 6479439"/>
                <a:gd name="f3893" fmla="*/ f2457 1 6479439"/>
                <a:gd name="f3894" fmla="*/ f2458 1 9586368"/>
                <a:gd name="f3895" fmla="*/ f2459 1 9586368"/>
                <a:gd name="f3896" fmla="*/ f2460 1 6479439"/>
                <a:gd name="f3897" fmla="*/ f2461 1 9586368"/>
                <a:gd name="f3898" fmla="*/ f2462 1 9586368"/>
                <a:gd name="f3899" fmla="*/ f2463 1 6479439"/>
                <a:gd name="f3900" fmla="*/ f2464 1 9586368"/>
                <a:gd name="f3901" fmla="*/ f2465 1 9586368"/>
                <a:gd name="f3902" fmla="*/ f2466 1 9586368"/>
                <a:gd name="f3903" fmla="*/ f2467 1 9586368"/>
                <a:gd name="f3904" fmla="*/ f2468 1 9586368"/>
                <a:gd name="f3905" fmla="*/ f2469 1 9586368"/>
                <a:gd name="f3906" fmla="*/ f2470 1 9586368"/>
                <a:gd name="f3907" fmla="*/ f2471 1 6479439"/>
                <a:gd name="f3908" fmla="*/ f2472 1 9586368"/>
                <a:gd name="f3909" fmla="*/ f2473 1 6479439"/>
                <a:gd name="f3910" fmla="*/ f2474 1 6479439"/>
                <a:gd name="f3911" fmla="*/ f2475 1 6479439"/>
                <a:gd name="f3912" fmla="*/ f2476 1 9586368"/>
                <a:gd name="f3913" fmla="*/ f2477 1 9586368"/>
                <a:gd name="f3914" fmla="*/ f2478 1 9586368"/>
                <a:gd name="f3915" fmla="*/ f2479 1 9586368"/>
                <a:gd name="f3916" fmla="*/ f2480 1 9586368"/>
                <a:gd name="f3917" fmla="*/ f2481 1 6479439"/>
                <a:gd name="f3918" fmla="*/ f2482 1 9586368"/>
                <a:gd name="f3919" fmla="*/ f2483 1 9586368"/>
                <a:gd name="f3920" fmla="*/ f2484 1 9586368"/>
                <a:gd name="f3921" fmla="*/ f2485 1 6479439"/>
                <a:gd name="f3922" fmla="*/ f2486 1 6479439"/>
                <a:gd name="f3923" fmla="*/ f2487 1 6479439"/>
                <a:gd name="f3924" fmla="*/ f2488 1 6479439"/>
                <a:gd name="f3925" fmla="*/ f2489 1 6479439"/>
                <a:gd name="f3926" fmla="*/ f2490 1 9586368"/>
                <a:gd name="f3927" fmla="*/ f2491 1 6479439"/>
                <a:gd name="f3928" fmla="*/ f2492 1 6479439"/>
                <a:gd name="f3929" fmla="*/ f2493 1 6479439"/>
                <a:gd name="f3930" fmla="*/ f2494 1 6479439"/>
                <a:gd name="f3931" fmla="*/ f2495 1 6479439"/>
                <a:gd name="f3932" fmla="*/ f2496 1 6479439"/>
                <a:gd name="f3933" fmla="*/ f2497 1 6479439"/>
                <a:gd name="f3934" fmla="*/ f2498 1 6479439"/>
                <a:gd name="f3935" fmla="*/ f2499 1 6479439"/>
                <a:gd name="f3936" fmla="*/ f2500 1 6479439"/>
                <a:gd name="f3937" fmla="*/ f2501 1 6479439"/>
                <a:gd name="f3938" fmla="*/ f2502 1 6479439"/>
                <a:gd name="f3939" fmla="*/ f2503 1 6479439"/>
                <a:gd name="f3940" fmla="*/ f2504 1 6479439"/>
                <a:gd name="f3941" fmla="*/ f2505 1 6479439"/>
                <a:gd name="f3942" fmla="*/ f2506 1 6479439"/>
                <a:gd name="f3943" fmla="*/ f2507 1 6479439"/>
                <a:gd name="f3944" fmla="*/ f2508 1 6479439"/>
                <a:gd name="f3945" fmla="*/ f2509 1 6479439"/>
                <a:gd name="f3946" fmla="*/ f2510 1 6479439"/>
                <a:gd name="f3947" fmla="*/ f2511 1 6479439"/>
                <a:gd name="f3948" fmla="*/ f2512 1 6479439"/>
                <a:gd name="f3949" fmla="*/ f2513 1 6479439"/>
                <a:gd name="f3950" fmla="*/ f2514 1 6479439"/>
                <a:gd name="f3951" fmla="*/ f2515 1 6479439"/>
                <a:gd name="f3952" fmla="*/ f2516 1 6479439"/>
                <a:gd name="f3953" fmla="*/ f2517 1 6479439"/>
                <a:gd name="f3954" fmla="*/ f2518 1 6479439"/>
                <a:gd name="f3955" fmla="*/ f2519 1 9586368"/>
                <a:gd name="f3956" fmla="*/ f2520 1 9586368"/>
                <a:gd name="f3957" fmla="*/ f2521 1 6479439"/>
                <a:gd name="f3958" fmla="*/ f2522 1 6479439"/>
                <a:gd name="f3959" fmla="*/ f2523 1 6479439"/>
                <a:gd name="f3960" fmla="*/ f2524 1 9586368"/>
                <a:gd name="f3961" fmla="*/ f2525 1 9586368"/>
                <a:gd name="f3962" fmla="*/ f2526 1 9586368"/>
                <a:gd name="f3963" fmla="*/ f2527 1 9586368"/>
                <a:gd name="f3964" fmla="*/ f2528 1 9586368"/>
                <a:gd name="f3965" fmla="*/ f2529 1 9586368"/>
                <a:gd name="f3966" fmla="*/ f2530 1 9586368"/>
                <a:gd name="f3967" fmla="*/ f2531 1 9586368"/>
                <a:gd name="f3968" fmla="*/ f2532 1 6479439"/>
                <a:gd name="f3969" fmla="*/ f2533 1 6479439"/>
                <a:gd name="f3970" fmla="*/ f2534 1 6479439"/>
                <a:gd name="f3971" fmla="*/ f2535 1 6479439"/>
                <a:gd name="f3972" fmla="*/ f2536 1 6479439"/>
                <a:gd name="f3973" fmla="*/ f2537 1 6479439"/>
                <a:gd name="f3974" fmla="*/ f2538 1 9586368"/>
                <a:gd name="f3975" fmla="*/ f2539 1 6479439"/>
                <a:gd name="f3976" fmla="*/ f2540 1 6479439"/>
                <a:gd name="f3977" fmla="*/ f2541 1 6479439"/>
                <a:gd name="f3978" fmla="*/ f2542 1 6479439"/>
                <a:gd name="f3979" fmla="*/ f2543 1 6479439"/>
                <a:gd name="f3980" fmla="*/ f2544 1 9586368"/>
                <a:gd name="f3981" fmla="*/ f2545 1 6479439"/>
                <a:gd name="f3982" fmla="*/ f2546 1 6479439"/>
                <a:gd name="f3983" fmla="*/ f2547 1 6479439"/>
                <a:gd name="f3984" fmla="*/ f2548 1 6479439"/>
                <a:gd name="f3985" fmla="*/ f2549 1 6479439"/>
                <a:gd name="f3986" fmla="*/ f2550 1 6479439"/>
                <a:gd name="f3987" fmla="*/ f2551 1 6479439"/>
                <a:gd name="f3988" fmla="*/ f2552 1 6479439"/>
                <a:gd name="f3989" fmla="*/ f2553 1 9586368"/>
                <a:gd name="f3990" fmla="*/ f2554 1 9586368"/>
                <a:gd name="f3991" fmla="*/ f2555 1 9586368"/>
                <a:gd name="f3992" fmla="*/ f2556 1 9586368"/>
                <a:gd name="f3993" fmla="*/ f2557 1 9586368"/>
                <a:gd name="f3994" fmla="*/ f2558 1 9586368"/>
                <a:gd name="f3995" fmla="*/ f2559 1 9586368"/>
                <a:gd name="f3996" fmla="*/ f2560 1 9586368"/>
                <a:gd name="f3997" fmla="*/ f2561 1 9586368"/>
                <a:gd name="f3998" fmla="*/ f2562 1 6479439"/>
                <a:gd name="f3999" fmla="*/ f2563 1 6479439"/>
                <a:gd name="f4000" fmla="*/ f2564 1 6479439"/>
                <a:gd name="f4001" fmla="*/ f2565 1 6479439"/>
                <a:gd name="f4002" fmla="*/ f2566 1 6479439"/>
                <a:gd name="f4003" fmla="*/ f2567 1 6479439"/>
                <a:gd name="f4004" fmla="*/ f2568 1 6479439"/>
                <a:gd name="f4005" fmla="*/ f2569 1 6479439"/>
                <a:gd name="f4006" fmla="*/ f2570 1 6479439"/>
                <a:gd name="f4007" fmla="*/ f2571 1 6479439"/>
                <a:gd name="f4008" fmla="*/ f2572 1 6479439"/>
                <a:gd name="f4009" fmla="*/ f2573 1 6479439"/>
                <a:gd name="f4010" fmla="*/ f2574 1 6479439"/>
                <a:gd name="f4011" fmla="*/ f2575 1 6479439"/>
                <a:gd name="f4012" fmla="*/ f2576 1 6479439"/>
                <a:gd name="f4013" fmla="*/ f2577 1 6479439"/>
                <a:gd name="f4014" fmla="*/ f2578 1 6479439"/>
                <a:gd name="f4015" fmla="*/ f2579 1 6479439"/>
                <a:gd name="f4016" fmla="*/ f2580 1 6479439"/>
                <a:gd name="f4017" fmla="*/ f2581 1 6479439"/>
                <a:gd name="f4018" fmla="*/ f2582 1 6479439"/>
                <a:gd name="f4019" fmla="*/ f2583 1 6479439"/>
                <a:gd name="f4020" fmla="*/ f2584 1 6479439"/>
                <a:gd name="f4021" fmla="*/ f2585 1 6479439"/>
                <a:gd name="f4022" fmla="*/ f2586 1 6479439"/>
                <a:gd name="f4023" fmla="*/ f2587 1 6479439"/>
                <a:gd name="f4024" fmla="*/ f2588 1 6479439"/>
                <a:gd name="f4025" fmla="*/ f2589 1 9586368"/>
                <a:gd name="f4026" fmla="*/ f2590 1 6479439"/>
                <a:gd name="f4027" fmla="*/ f2591 1 9586368"/>
                <a:gd name="f4028" fmla="*/ f2592 1 6479439"/>
                <a:gd name="f4029" fmla="*/ f2593 1 6479439"/>
                <a:gd name="f4030" fmla="*/ f2594 1 6479439"/>
                <a:gd name="f4031" fmla="*/ f2595 1 9586368"/>
                <a:gd name="f4032" fmla="*/ f2596 1 9586368"/>
                <a:gd name="f4033" fmla="*/ f2597 1 6479439"/>
                <a:gd name="f4034" fmla="*/ f2598 1 9586368"/>
                <a:gd name="f4035" fmla="*/ f2599 1 6479439"/>
                <a:gd name="f4036" fmla="*/ f2600 1 9586368"/>
                <a:gd name="f4037" fmla="*/ f2601 1 9586368"/>
                <a:gd name="f4038" fmla="*/ f2602 1 9586368"/>
                <a:gd name="f4039" fmla="*/ f2603 1 9586368"/>
                <a:gd name="f4040" fmla="*/ f2604 1 6479439"/>
                <a:gd name="f4041" fmla="*/ f2605 1 6479439"/>
                <a:gd name="f4042" fmla="*/ f2606 1 6479439"/>
                <a:gd name="f4043" fmla="*/ f2607 1 6479439"/>
                <a:gd name="f4044" fmla="*/ f2608 1 6479439"/>
                <a:gd name="f4045" fmla="*/ f2609 1 6479439"/>
                <a:gd name="f4046" fmla="*/ f2610 1 6479439"/>
                <a:gd name="f4047" fmla="*/ f2611 1 6479439"/>
                <a:gd name="f4048" fmla="*/ f2612 1 6479439"/>
                <a:gd name="f4049" fmla="*/ f2613 1 9586368"/>
                <a:gd name="f4050" fmla="*/ f2614 1 6479439"/>
                <a:gd name="f4051" fmla="*/ f2615 1 6479439"/>
                <a:gd name="f4052" fmla="*/ f2616 1 6479439"/>
                <a:gd name="f4053" fmla="*/ f2617 1 6479439"/>
                <a:gd name="f4054" fmla="*/ f2618 1 6479439"/>
                <a:gd name="f4055" fmla="*/ f2619 1 6479439"/>
                <a:gd name="f4056" fmla="*/ f2620 1 6479439"/>
                <a:gd name="f4057" fmla="*/ f2621 1 6479439"/>
                <a:gd name="f4058" fmla="*/ f2622 1 9586368"/>
                <a:gd name="f4059" fmla="*/ f2623 1 9586368"/>
                <a:gd name="f4060" fmla="*/ f2624 1 6479439"/>
                <a:gd name="f4061" fmla="*/ f2625 1 6479439"/>
                <a:gd name="f4062" fmla="*/ f2626 1 6479439"/>
                <a:gd name="f4063" fmla="*/ f2627 1 9586368"/>
                <a:gd name="f4064" fmla="*/ f2628 1 6479439"/>
                <a:gd name="f4065" fmla="*/ f2629 1 6479439"/>
                <a:gd name="f4066" fmla="*/ f2630 1 9586368"/>
                <a:gd name="f4067" fmla="*/ f2631 1 9586368"/>
                <a:gd name="f4068" fmla="*/ f2632 1 9586368"/>
                <a:gd name="f4069" fmla="*/ f2633 1 9586368"/>
                <a:gd name="f4070" fmla="*/ f2634 1 9586368"/>
                <a:gd name="f4071" fmla="*/ f2635 1 9586368"/>
                <a:gd name="f4072" fmla="*/ f2636 1 9586368"/>
                <a:gd name="f4073" fmla="*/ f2637 1 6479439"/>
                <a:gd name="f4074" fmla="*/ f2638 1 6479439"/>
                <a:gd name="f4075" fmla="*/ f2639 1 6479439"/>
                <a:gd name="f4076" fmla="*/ f2640 1 6479439"/>
                <a:gd name="f4077" fmla="*/ f2641 1 6479439"/>
                <a:gd name="f4078" fmla="*/ f2642 1 6479439"/>
                <a:gd name="f4079" fmla="*/ f2643 1 6479439"/>
                <a:gd name="f4080" fmla="*/ f2644 1 6479439"/>
                <a:gd name="f4081" fmla="*/ f2645 1 6479439"/>
                <a:gd name="f4082" fmla="*/ f2646 1 6479439"/>
                <a:gd name="f4083" fmla="*/ f2647 1 6479439"/>
                <a:gd name="f4084" fmla="*/ f2648 1 6479439"/>
                <a:gd name="f4085" fmla="*/ f2649 1 6479439"/>
                <a:gd name="f4086" fmla="*/ f2650 1 6479439"/>
                <a:gd name="f4087" fmla="*/ f2651 1 6479439"/>
                <a:gd name="f4088" fmla="*/ f2652 1 6479439"/>
                <a:gd name="f4089" fmla="*/ f2653 1 6479439"/>
                <a:gd name="f4090" fmla="*/ f2654 1 6479439"/>
                <a:gd name="f4091" fmla="*/ f2655 1 6479439"/>
                <a:gd name="f4092" fmla="*/ f2656 1 6479439"/>
                <a:gd name="f4093" fmla="*/ f2657 1 6479439"/>
                <a:gd name="f4094" fmla="*/ f2658 1 6479439"/>
                <a:gd name="f4095" fmla="*/ f2659 1 6479439"/>
                <a:gd name="f4096" fmla="*/ f2660 1 6479439"/>
                <a:gd name="f4097" fmla="*/ f2661 1 6479439"/>
                <a:gd name="f4098" fmla="*/ f2662 1 6479439"/>
                <a:gd name="f4099" fmla="*/ f2663 1 6479439"/>
                <a:gd name="f4100" fmla="*/ f2664 1 6479439"/>
                <a:gd name="f4101" fmla="*/ f2665 1 6479439"/>
                <a:gd name="f4102" fmla="*/ f2666 1 6479439"/>
                <a:gd name="f4103" fmla="*/ f2667 1 6479439"/>
                <a:gd name="f4104" fmla="*/ f2668 1 6479439"/>
                <a:gd name="f4105" fmla="*/ f2669 1 6479439"/>
                <a:gd name="f4106" fmla="*/ f2670 1 9586368"/>
                <a:gd name="f4107" fmla="*/ f2671 1 6479439"/>
                <a:gd name="f4108" fmla="*/ f2672 1 9586368"/>
                <a:gd name="f4109" fmla="*/ f2673 1 9586368"/>
                <a:gd name="f4110" fmla="*/ f2674 1 6479439"/>
                <a:gd name="f4111" fmla="*/ f2675 1 6479439"/>
                <a:gd name="f4112" fmla="*/ f2676 1 6479439"/>
                <a:gd name="f4113" fmla="*/ f2677 1 9586368"/>
                <a:gd name="f4114" fmla="*/ f2678 1 9586368"/>
                <a:gd name="f4115" fmla="*/ f2679 1 9586368"/>
                <a:gd name="f4116" fmla="*/ f2680 1 9586368"/>
                <a:gd name="f4117" fmla="*/ f2681 1 9586368"/>
                <a:gd name="f4118" fmla="*/ f2682 1 9586368"/>
                <a:gd name="f4119" fmla="*/ f2683 1 9586368"/>
                <a:gd name="f4120" fmla="*/ f2684 1 9586368"/>
                <a:gd name="f4121" fmla="*/ f2685 1 9586368"/>
                <a:gd name="f4122" fmla="*/ f2686 1 9586368"/>
                <a:gd name="f4123" fmla="*/ f2687 1 6479439"/>
                <a:gd name="f4124" fmla="*/ f2688 1 9586368"/>
                <a:gd name="f4125" fmla="*/ f2689 1 6479439"/>
                <a:gd name="f4126" fmla="*/ f2690 1 6479439"/>
                <a:gd name="f4127" fmla="*/ f2691 1 6479439"/>
                <a:gd name="f4128" fmla="*/ f2692 1 9586368"/>
                <a:gd name="f4129" fmla="*/ f2693 1 9586368"/>
                <a:gd name="f4130" fmla="*/ f2694 1 9586368"/>
                <a:gd name="f4131" fmla="*/ f2695 1 9586368"/>
                <a:gd name="f4132" fmla="*/ f2696 1 6479439"/>
                <a:gd name="f4133" fmla="*/ f2697 1 9586368"/>
                <a:gd name="f4134" fmla="*/ f2698 1 9586368"/>
                <a:gd name="f4135" fmla="*/ f2699 1 9586368"/>
                <a:gd name="f4136" fmla="*/ f2700 1 9586368"/>
                <a:gd name="f4137" fmla="*/ f2701 1 6479439"/>
                <a:gd name="f4138" fmla="*/ f2702 1 9586368"/>
                <a:gd name="f4139" fmla="*/ f2703 1 6479439"/>
                <a:gd name="f4140" fmla="*/ f2704 1 6479439"/>
                <a:gd name="f4141" fmla="*/ f2705 1 6479439"/>
                <a:gd name="f4142" fmla="*/ f2706 1 6479439"/>
                <a:gd name="f4143" fmla="*/ f2707 1 9586368"/>
                <a:gd name="f4144" fmla="*/ f2708 1 6479439"/>
                <a:gd name="f4145" fmla="*/ f2709 1 6479439"/>
                <a:gd name="f4146" fmla="*/ f2710 1 6479439"/>
                <a:gd name="f4147" fmla="*/ f2711 1 6479439"/>
                <a:gd name="f4148" fmla="*/ f2712 1 6479439"/>
                <a:gd name="f4149" fmla="*/ f2713 1 6479439"/>
                <a:gd name="f4150" fmla="*/ f2714 1 6479439"/>
                <a:gd name="f4151" fmla="*/ f2715 1 6479439"/>
                <a:gd name="f4152" fmla="*/ f2716 1 6479439"/>
                <a:gd name="f4153" fmla="*/ f2717 1 6479439"/>
                <a:gd name="f4154" fmla="*/ f2718 1 6479439"/>
                <a:gd name="f4155" fmla="*/ f2719 1 6479439"/>
                <a:gd name="f4156" fmla="*/ f2720 1 6479439"/>
                <a:gd name="f4157" fmla="*/ f2721 1 6479439"/>
                <a:gd name="f4158" fmla="*/ f2722 1 6479439"/>
                <a:gd name="f4159" fmla="*/ f2723 1 6479439"/>
                <a:gd name="f4160" fmla="*/ f2724 1 6479439"/>
                <a:gd name="f4161" fmla="*/ f2725 1 6479439"/>
                <a:gd name="f4162" fmla="*/ f2726 1 6479439"/>
                <a:gd name="f4163" fmla="*/ f2727 1 6479439"/>
                <a:gd name="f4164" fmla="*/ f2728 1 6479439"/>
                <a:gd name="f4165" fmla="*/ f2729 1 6479439"/>
                <a:gd name="f4166" fmla="*/ f2730 1 6479439"/>
                <a:gd name="f4167" fmla="*/ f2731 1 6479439"/>
                <a:gd name="f4168" fmla="*/ f2732 1 6479439"/>
                <a:gd name="f4169" fmla="*/ f2733 1 6479439"/>
                <a:gd name="f4170" fmla="*/ f2734 1 6479439"/>
                <a:gd name="f4171" fmla="*/ f2735 1 6479439"/>
                <a:gd name="f4172" fmla="*/ f2736 1 6479439"/>
                <a:gd name="f4173" fmla="*/ f2737 1 9586368"/>
                <a:gd name="f4174" fmla="*/ f2738 1 9586368"/>
                <a:gd name="f4175" fmla="*/ f2739 1 6479439"/>
                <a:gd name="f4176" fmla="*/ f2740 1 6479439"/>
                <a:gd name="f4177" fmla="*/ f2741 1 6479439"/>
                <a:gd name="f4178" fmla="*/ f2742 1 9586368"/>
                <a:gd name="f4179" fmla="*/ f2743 1 9586368"/>
                <a:gd name="f4180" fmla="*/ f2744 1 9586368"/>
                <a:gd name="f4181" fmla="*/ f2745 1 9586368"/>
                <a:gd name="f4182" fmla="*/ f2746 1 9586368"/>
                <a:gd name="f4183" fmla="*/ f2747 1 9586368"/>
                <a:gd name="f4184" fmla="*/ f2748 1 9586368"/>
                <a:gd name="f4185" fmla="*/ f2749 1 9586368"/>
                <a:gd name="f4186" fmla="*/ f2750 1 6479439"/>
                <a:gd name="f4187" fmla="*/ f2751 1 6479439"/>
                <a:gd name="f4188" fmla="*/ f2752 1 6479439"/>
                <a:gd name="f4189" fmla="*/ f2753 1 6479439"/>
                <a:gd name="f4190" fmla="*/ f2754 1 6479439"/>
                <a:gd name="f4191" fmla="*/ f2755 1 6479439"/>
                <a:gd name="f4192" fmla="*/ f2756 1 6479439"/>
                <a:gd name="f4193" fmla="*/ f2757 1 6479439"/>
                <a:gd name="f4194" fmla="*/ f2758 1 6479439"/>
                <a:gd name="f4195" fmla="*/ f2759 1 6479439"/>
                <a:gd name="f4196" fmla="*/ f2760 1 6479439"/>
                <a:gd name="f4197" fmla="*/ f2761 1 6479439"/>
                <a:gd name="f4198" fmla="*/ f2762 1 9586368"/>
                <a:gd name="f4199" fmla="*/ f2763 1 6479439"/>
                <a:gd name="f4200" fmla="*/ f2764 1 6479439"/>
                <a:gd name="f4201" fmla="*/ f2765 1 6479439"/>
                <a:gd name="f4202" fmla="*/ f2766 1 6479439"/>
                <a:gd name="f4203" fmla="*/ f2767 1 6479439"/>
                <a:gd name="f4204" fmla="*/ f2768 1 6479439"/>
                <a:gd name="f4205" fmla="*/ f2769 1 6479439"/>
                <a:gd name="f4206" fmla="*/ f2770 1 6479439"/>
                <a:gd name="f4207" fmla="*/ f2771 1 6479439"/>
                <a:gd name="f4208" fmla="*/ f2772 1 9586368"/>
                <a:gd name="f4209" fmla="*/ f2773 1 9586368"/>
                <a:gd name="f4210" fmla="*/ f2774 1 6479439"/>
                <a:gd name="f4211" fmla="*/ f2775 1 6479439"/>
                <a:gd name="f4212" fmla="*/ f2776 1 6479439"/>
                <a:gd name="f4213" fmla="*/ f2777 1 9586368"/>
                <a:gd name="f4214" fmla="*/ f2778 1 9586368"/>
                <a:gd name="f4215" fmla="*/ f2779 1 9586368"/>
                <a:gd name="f4216" fmla="*/ f2780 1 9586368"/>
                <a:gd name="f4217" fmla="*/ f2781 1 9586368"/>
                <a:gd name="f4218" fmla="*/ f2782 1 9586368"/>
                <a:gd name="f4219" fmla="*/ f2783 1 9586368"/>
                <a:gd name="f4220" fmla="*/ f2784 1 9586368"/>
                <a:gd name="f4221" fmla="*/ f2785 1 6479439"/>
                <a:gd name="f4222" fmla="*/ f2786 1 6479439"/>
                <a:gd name="f4223" fmla="*/ f2787 1 6479439"/>
                <a:gd name="f4224" fmla="*/ f2788 1 6479439"/>
                <a:gd name="f4225" fmla="*/ f2789 1 6479439"/>
                <a:gd name="f4226" fmla="*/ f2790 1 6479439"/>
                <a:gd name="f4227" fmla="*/ f2791 1 6479439"/>
                <a:gd name="f4228" fmla="*/ f2792 1 6479439"/>
                <a:gd name="f4229" fmla="*/ f2793 1 6479439"/>
                <a:gd name="f4230" fmla="*/ f2794 1 6479439"/>
                <a:gd name="f4231" fmla="*/ f2795 1 6479439"/>
                <a:gd name="f4232" fmla="*/ f2796 1 6479439"/>
                <a:gd name="f4233" fmla="*/ f2797 1 6479439"/>
                <a:gd name="f4234" fmla="*/ f2798 1 6479439"/>
                <a:gd name="f4235" fmla="*/ f2799 1 6479439"/>
                <a:gd name="f4236" fmla="*/ f2800 1 6479439"/>
                <a:gd name="f4237" fmla="*/ f2801 1 6479439"/>
                <a:gd name="f4238" fmla="*/ f2802 1 6479439"/>
                <a:gd name="f4239" fmla="*/ f2803 1 6479439"/>
                <a:gd name="f4240" fmla="*/ f2804 1 6479439"/>
                <a:gd name="f4241" fmla="*/ f2805 1 6479439"/>
                <a:gd name="f4242" fmla="*/ f2806 1 6479439"/>
                <a:gd name="f4243" fmla="*/ f2807 1 6479439"/>
                <a:gd name="f4244" fmla="*/ f2808 1 6479439"/>
                <a:gd name="f4245" fmla="*/ f2809 1 6479439"/>
                <a:gd name="f4246" fmla="*/ f2810 1 6479439"/>
                <a:gd name="f4247" fmla="*/ f2811 1 6479439"/>
                <a:gd name="f4248" fmla="*/ f2812 1 6479439"/>
                <a:gd name="f4249" fmla="*/ f2813 1 6479439"/>
                <a:gd name="f4250" fmla="*/ f2814 1 6479439"/>
                <a:gd name="f4251" fmla="*/ f2815 1 6479439"/>
                <a:gd name="f4252" fmla="*/ f2816 1 6479439"/>
                <a:gd name="f4253" fmla="*/ f2817 1 6479439"/>
                <a:gd name="f4254" fmla="*/ f2818 1 6479439"/>
                <a:gd name="f4255" fmla="*/ f2819 1 6479439"/>
                <a:gd name="f4256" fmla="*/ f2820 1 6479439"/>
                <a:gd name="f4257" fmla="*/ f2821 1 6479439"/>
                <a:gd name="f4258" fmla="*/ f2822 1 9586368"/>
                <a:gd name="f4259" fmla="*/ f2823 1 9586368"/>
                <a:gd name="f4260" fmla="*/ f2824 1 9586368"/>
                <a:gd name="f4261" fmla="*/ f2825 1 9586368"/>
                <a:gd name="f4262" fmla="*/ f2826 1 9586368"/>
                <a:gd name="f4263" fmla="*/ f2827 1 6479439"/>
                <a:gd name="f4264" fmla="*/ f2828 1 6479439"/>
                <a:gd name="f4265" fmla="*/ f2829 1 6479439"/>
                <a:gd name="f4266" fmla="*/ f2830 1 9586368"/>
                <a:gd name="f4267" fmla="*/ f2831 1 9586368"/>
                <a:gd name="f4268" fmla="*/ f2832 1 9586368"/>
                <a:gd name="f4269" fmla="*/ f2833 1 9586368"/>
                <a:gd name="f4270" fmla="*/ f2834 1 9586368"/>
                <a:gd name="f4271" fmla="*/ f2835 1 9586368"/>
                <a:gd name="f4272" fmla="*/ f2836 1 9586368"/>
                <a:gd name="f4273" fmla="*/ f2837 1 6479439"/>
                <a:gd name="f4274" fmla="*/ f2838 1 6479439"/>
                <a:gd name="f4275" fmla="*/ f2839 1 6479439"/>
                <a:gd name="f4276" fmla="*/ f2840 1 6479439"/>
                <a:gd name="f4277" fmla="*/ f2841 1 9586368"/>
                <a:gd name="f4278" fmla="*/ f2842 1 6479439"/>
                <a:gd name="f4279" fmla="*/ f2843 1 6479439"/>
                <a:gd name="f4280" fmla="*/ f2844 1 6479439"/>
                <a:gd name="f4281" fmla="*/ f2845 1 6479439"/>
                <a:gd name="f4282" fmla="*/ f2846 1 6479439"/>
                <a:gd name="f4283" fmla="*/ f2847 1 9586368"/>
                <a:gd name="f4284" fmla="*/ f2848 1 6479439"/>
                <a:gd name="f4285" fmla="*/ f2849 1 6479439"/>
                <a:gd name="f4286" fmla="*/ f2850 1 6479439"/>
                <a:gd name="f4287" fmla="*/ f2851 1 6479439"/>
                <a:gd name="f4288" fmla="*/ f2852 1 9586368"/>
                <a:gd name="f4289" fmla="*/ f2853 1 9586368"/>
                <a:gd name="f4290" fmla="*/ f2854 1 9586368"/>
                <a:gd name="f4291" fmla="*/ f2855 1 9586368"/>
                <a:gd name="f4292" fmla="*/ f2856 1 9586368"/>
                <a:gd name="f4293" fmla="*/ f2857 1 9586368"/>
                <a:gd name="f4294" fmla="*/ f2858 1 9586368"/>
                <a:gd name="f4295" fmla="*/ f5 1 f1422"/>
                <a:gd name="f4296" fmla="*/ f6 1 f1422"/>
                <a:gd name="f4297" fmla="*/ f5 1 f1423"/>
                <a:gd name="f4298" fmla="*/ f7 1 f1423"/>
                <a:gd name="f4299" fmla="+- f2859 0 f1"/>
                <a:gd name="f4300" fmla="*/ f2860 1 f1422"/>
                <a:gd name="f4301" fmla="*/ f2861 1 f1423"/>
                <a:gd name="f4302" fmla="*/ f2862 1 f1422"/>
                <a:gd name="f4303" fmla="*/ f2863 1 f1422"/>
                <a:gd name="f4304" fmla="*/ f2864 1 f1423"/>
                <a:gd name="f4305" fmla="*/ f2865 1 f1423"/>
                <a:gd name="f4306" fmla="*/ f2866 1 f1423"/>
                <a:gd name="f4307" fmla="*/ f2867 1 f1422"/>
                <a:gd name="f4308" fmla="*/ f2868 1 f1422"/>
                <a:gd name="f4309" fmla="*/ f2869 1 f1422"/>
                <a:gd name="f4310" fmla="*/ f2870 1 f1422"/>
                <a:gd name="f4311" fmla="*/ f2871 1 f1422"/>
                <a:gd name="f4312" fmla="*/ f2872 1 f1422"/>
                <a:gd name="f4313" fmla="*/ f2873 1 f1422"/>
                <a:gd name="f4314" fmla="*/ f2874 1 f1422"/>
                <a:gd name="f4315" fmla="*/ f2875 1 f1422"/>
                <a:gd name="f4316" fmla="*/ f2876 1 f1422"/>
                <a:gd name="f4317" fmla="*/ f2877 1 f1422"/>
                <a:gd name="f4318" fmla="*/ f2878 1 f1422"/>
                <a:gd name="f4319" fmla="*/ f2879 1 f1422"/>
                <a:gd name="f4320" fmla="*/ f2880 1 f1422"/>
                <a:gd name="f4321" fmla="*/ f2881 1 f1422"/>
                <a:gd name="f4322" fmla="*/ f2882 1 f1422"/>
                <a:gd name="f4323" fmla="*/ f2883 1 f1422"/>
                <a:gd name="f4324" fmla="*/ f2884 1 f1422"/>
                <a:gd name="f4325" fmla="*/ f2885 1 f1422"/>
                <a:gd name="f4326" fmla="*/ f2886 1 f1422"/>
                <a:gd name="f4327" fmla="*/ f2887 1 f1422"/>
                <a:gd name="f4328" fmla="*/ f2888 1 f1422"/>
                <a:gd name="f4329" fmla="*/ f2889 1 f1423"/>
                <a:gd name="f4330" fmla="*/ f2890 1 f1422"/>
                <a:gd name="f4331" fmla="*/ f2891 1 f1422"/>
                <a:gd name="f4332" fmla="*/ f2892 1 f1423"/>
                <a:gd name="f4333" fmla="*/ f2893 1 f1423"/>
                <a:gd name="f4334" fmla="*/ f2894 1 f1423"/>
                <a:gd name="f4335" fmla="*/ f2895 1 f1422"/>
                <a:gd name="f4336" fmla="*/ f2896 1 f1422"/>
                <a:gd name="f4337" fmla="*/ f2897 1 f1422"/>
                <a:gd name="f4338" fmla="*/ f2898 1 f1422"/>
                <a:gd name="f4339" fmla="*/ f2899 1 f1422"/>
                <a:gd name="f4340" fmla="*/ f2900 1 f1422"/>
                <a:gd name="f4341" fmla="*/ f2901 1 f1422"/>
                <a:gd name="f4342" fmla="*/ f2902 1 f1422"/>
                <a:gd name="f4343" fmla="*/ f2903 1 f1422"/>
                <a:gd name="f4344" fmla="*/ f2904 1 f1422"/>
                <a:gd name="f4345" fmla="*/ f2905 1 f1422"/>
                <a:gd name="f4346" fmla="*/ f2906 1 f1422"/>
                <a:gd name="f4347" fmla="*/ f2907 1 f1422"/>
                <a:gd name="f4348" fmla="*/ f2908 1 f1422"/>
                <a:gd name="f4349" fmla="*/ f2909 1 f1422"/>
                <a:gd name="f4350" fmla="*/ f2910 1 f1422"/>
                <a:gd name="f4351" fmla="*/ f2911 1 f1422"/>
                <a:gd name="f4352" fmla="*/ f2912 1 f1422"/>
                <a:gd name="f4353" fmla="*/ f2913 1 f1422"/>
                <a:gd name="f4354" fmla="*/ f2914 1 f1422"/>
                <a:gd name="f4355" fmla="*/ f2915 1 f1422"/>
                <a:gd name="f4356" fmla="*/ f2916 1 f1422"/>
                <a:gd name="f4357" fmla="*/ f2917 1 f1422"/>
                <a:gd name="f4358" fmla="*/ f2918 1 f1422"/>
                <a:gd name="f4359" fmla="*/ f2919 1 f1422"/>
                <a:gd name="f4360" fmla="*/ f2920 1 f1422"/>
                <a:gd name="f4361" fmla="*/ f2921 1 f1422"/>
                <a:gd name="f4362" fmla="*/ f2922 1 f1422"/>
                <a:gd name="f4363" fmla="*/ f2923 1 f1422"/>
                <a:gd name="f4364" fmla="*/ f2924 1 f1422"/>
                <a:gd name="f4365" fmla="*/ f2925 1 f1422"/>
                <a:gd name="f4366" fmla="*/ f2926 1 f1422"/>
                <a:gd name="f4367" fmla="*/ f2927 1 f1422"/>
                <a:gd name="f4368" fmla="*/ f2928 1 f1422"/>
                <a:gd name="f4369" fmla="*/ f2929 1 f1422"/>
                <a:gd name="f4370" fmla="*/ f2930 1 f1422"/>
                <a:gd name="f4371" fmla="*/ f2931 1 f1422"/>
                <a:gd name="f4372" fmla="*/ f2932 1 f1422"/>
                <a:gd name="f4373" fmla="*/ f2933 1 f1422"/>
                <a:gd name="f4374" fmla="*/ f2934 1 f1422"/>
                <a:gd name="f4375" fmla="*/ f2935 1 f1422"/>
                <a:gd name="f4376" fmla="*/ f2936 1 f1422"/>
                <a:gd name="f4377" fmla="*/ f2937 1 f1422"/>
                <a:gd name="f4378" fmla="*/ f2938 1 f1422"/>
                <a:gd name="f4379" fmla="*/ f2939 1 f1422"/>
                <a:gd name="f4380" fmla="*/ f2940 1 f1422"/>
                <a:gd name="f4381" fmla="*/ f2941 1 f1422"/>
                <a:gd name="f4382" fmla="*/ f2942 1 f1422"/>
                <a:gd name="f4383" fmla="*/ f2943 1 f1422"/>
                <a:gd name="f4384" fmla="*/ f2944 1 f1422"/>
                <a:gd name="f4385" fmla="*/ f2945 1 f1422"/>
                <a:gd name="f4386" fmla="*/ f2946 1 f1422"/>
                <a:gd name="f4387" fmla="*/ f2947 1 f1422"/>
                <a:gd name="f4388" fmla="*/ f2948 1 f1422"/>
                <a:gd name="f4389" fmla="*/ f2949 1 f1422"/>
                <a:gd name="f4390" fmla="*/ f2950 1 f1422"/>
                <a:gd name="f4391" fmla="*/ f2951 1 f1422"/>
                <a:gd name="f4392" fmla="*/ f2952 1 f1422"/>
                <a:gd name="f4393" fmla="*/ f2953 1 f1422"/>
                <a:gd name="f4394" fmla="*/ f2954 1 f1422"/>
                <a:gd name="f4395" fmla="*/ f2955 1 f1422"/>
                <a:gd name="f4396" fmla="*/ f2956 1 f1422"/>
                <a:gd name="f4397" fmla="*/ f2957 1 f1422"/>
                <a:gd name="f4398" fmla="*/ f2958 1 f1422"/>
                <a:gd name="f4399" fmla="*/ f2959 1 f1422"/>
                <a:gd name="f4400" fmla="*/ f2960 1 f1422"/>
                <a:gd name="f4401" fmla="*/ f2961 1 f1422"/>
                <a:gd name="f4402" fmla="*/ f2962 1 f1422"/>
                <a:gd name="f4403" fmla="*/ f2963 1 f1422"/>
                <a:gd name="f4404" fmla="*/ f2964 1 f1422"/>
                <a:gd name="f4405" fmla="*/ f2965 1 f1422"/>
                <a:gd name="f4406" fmla="*/ f2966 1 f1422"/>
                <a:gd name="f4407" fmla="*/ f2967 1 f1422"/>
                <a:gd name="f4408" fmla="*/ f2968 1 f1422"/>
                <a:gd name="f4409" fmla="*/ f2969 1 f1422"/>
                <a:gd name="f4410" fmla="*/ f2970 1 f1422"/>
                <a:gd name="f4411" fmla="*/ f2971 1 f1422"/>
                <a:gd name="f4412" fmla="*/ f2972 1 f1422"/>
                <a:gd name="f4413" fmla="*/ f2973 1 f1422"/>
                <a:gd name="f4414" fmla="*/ f2974 1 f1422"/>
                <a:gd name="f4415" fmla="*/ f2975 1 f1422"/>
                <a:gd name="f4416" fmla="*/ f2976 1 f1422"/>
                <a:gd name="f4417" fmla="*/ f2977 1 f1422"/>
                <a:gd name="f4418" fmla="*/ f2978 1 f1422"/>
                <a:gd name="f4419" fmla="*/ f2979 1 f1422"/>
                <a:gd name="f4420" fmla="*/ f2980 1 f1422"/>
                <a:gd name="f4421" fmla="*/ f2981 1 f1422"/>
                <a:gd name="f4422" fmla="*/ f2982 1 f1422"/>
                <a:gd name="f4423" fmla="*/ f2983 1 f1422"/>
                <a:gd name="f4424" fmla="*/ f2984 1 f1422"/>
                <a:gd name="f4425" fmla="*/ f2985 1 f1422"/>
                <a:gd name="f4426" fmla="*/ f2986 1 f1422"/>
                <a:gd name="f4427" fmla="*/ f2987 1 f1422"/>
                <a:gd name="f4428" fmla="*/ f2988 1 f1422"/>
                <a:gd name="f4429" fmla="*/ f2989 1 f1422"/>
                <a:gd name="f4430" fmla="*/ f2990 1 f1422"/>
                <a:gd name="f4431" fmla="*/ f2991 1 f1422"/>
                <a:gd name="f4432" fmla="*/ f2992 1 f1422"/>
                <a:gd name="f4433" fmla="*/ f2993 1 f1422"/>
                <a:gd name="f4434" fmla="*/ f2994 1 f1422"/>
                <a:gd name="f4435" fmla="*/ f2995 1 f1422"/>
                <a:gd name="f4436" fmla="*/ f2996 1 f1422"/>
                <a:gd name="f4437" fmla="*/ f2997 1 f1422"/>
                <a:gd name="f4438" fmla="*/ f2998 1 f1422"/>
                <a:gd name="f4439" fmla="*/ f2999 1 f1422"/>
                <a:gd name="f4440" fmla="*/ f3000 1 f1422"/>
                <a:gd name="f4441" fmla="*/ f3001 1 f1422"/>
                <a:gd name="f4442" fmla="*/ f3002 1 f1422"/>
                <a:gd name="f4443" fmla="*/ f3003 1 f1422"/>
                <a:gd name="f4444" fmla="*/ f3004 1 f1422"/>
                <a:gd name="f4445" fmla="*/ f3005 1 f1422"/>
                <a:gd name="f4446" fmla="*/ f3006 1 f1422"/>
                <a:gd name="f4447" fmla="*/ f3007 1 f1422"/>
                <a:gd name="f4448" fmla="*/ f3008 1 f1422"/>
                <a:gd name="f4449" fmla="*/ f3009 1 f1422"/>
                <a:gd name="f4450" fmla="*/ f3010 1 f1422"/>
                <a:gd name="f4451" fmla="*/ f3011 1 f1422"/>
                <a:gd name="f4452" fmla="*/ f3012 1 f1422"/>
                <a:gd name="f4453" fmla="*/ f3013 1 f1422"/>
                <a:gd name="f4454" fmla="*/ f3014 1 f1422"/>
                <a:gd name="f4455" fmla="*/ f3015 1 f1422"/>
                <a:gd name="f4456" fmla="*/ f3016 1 f1422"/>
                <a:gd name="f4457" fmla="*/ f3017 1 f1422"/>
                <a:gd name="f4458" fmla="*/ f3018 1 f1422"/>
                <a:gd name="f4459" fmla="*/ f3019 1 f1422"/>
                <a:gd name="f4460" fmla="*/ f3020 1 f1422"/>
                <a:gd name="f4461" fmla="*/ f3021 1 f1422"/>
                <a:gd name="f4462" fmla="*/ f3022 1 f1422"/>
                <a:gd name="f4463" fmla="*/ f3023 1 f1422"/>
                <a:gd name="f4464" fmla="*/ f3024 1 f1422"/>
                <a:gd name="f4465" fmla="*/ f3025 1 f1422"/>
                <a:gd name="f4466" fmla="*/ f3026 1 f1422"/>
                <a:gd name="f4467" fmla="*/ f3027 1 f1422"/>
                <a:gd name="f4468" fmla="*/ f3028 1 f1422"/>
                <a:gd name="f4469" fmla="*/ f3029 1 f1422"/>
                <a:gd name="f4470" fmla="*/ f3030 1 f1422"/>
                <a:gd name="f4471" fmla="*/ f3031 1 f1422"/>
                <a:gd name="f4472" fmla="*/ f3032 1 f1423"/>
                <a:gd name="f4473" fmla="*/ f3033 1 f1423"/>
                <a:gd name="f4474" fmla="*/ f3034 1 f1423"/>
                <a:gd name="f4475" fmla="*/ f3035 1 f1423"/>
                <a:gd name="f4476" fmla="*/ f3036 1 f1422"/>
                <a:gd name="f4477" fmla="*/ f3037 1 f1422"/>
                <a:gd name="f4478" fmla="*/ f3038 1 f1422"/>
                <a:gd name="f4479" fmla="*/ f3039 1 f1422"/>
                <a:gd name="f4480" fmla="*/ f3040 1 f1422"/>
                <a:gd name="f4481" fmla="*/ f3041 1 f1422"/>
                <a:gd name="f4482" fmla="*/ f3042 1 f1422"/>
                <a:gd name="f4483" fmla="*/ f3043 1 f1422"/>
                <a:gd name="f4484" fmla="*/ f3044 1 f1422"/>
                <a:gd name="f4485" fmla="*/ f3045 1 f1422"/>
                <a:gd name="f4486" fmla="*/ f3046 1 f1422"/>
                <a:gd name="f4487" fmla="*/ f3047 1 f1422"/>
                <a:gd name="f4488" fmla="*/ f3048 1 f1422"/>
                <a:gd name="f4489" fmla="*/ f3049 1 f1422"/>
                <a:gd name="f4490" fmla="*/ f3050 1 f1422"/>
                <a:gd name="f4491" fmla="*/ f3051 1 f1422"/>
                <a:gd name="f4492" fmla="*/ f3052 1 f1422"/>
                <a:gd name="f4493" fmla="*/ f3053 1 f1422"/>
                <a:gd name="f4494" fmla="*/ f3054 1 f1422"/>
                <a:gd name="f4495" fmla="*/ f3055 1 f1422"/>
                <a:gd name="f4496" fmla="*/ f3056 1 f1422"/>
                <a:gd name="f4497" fmla="*/ f3057 1 f1422"/>
                <a:gd name="f4498" fmla="*/ f3058 1 f1422"/>
                <a:gd name="f4499" fmla="*/ f3059 1 f1422"/>
                <a:gd name="f4500" fmla="*/ f3060 1 f1422"/>
                <a:gd name="f4501" fmla="*/ f3061 1 f1422"/>
                <a:gd name="f4502" fmla="*/ f3062 1 f1423"/>
                <a:gd name="f4503" fmla="*/ f3063 1 f1422"/>
                <a:gd name="f4504" fmla="*/ f3064 1 f1423"/>
                <a:gd name="f4505" fmla="*/ f3065 1 f1423"/>
                <a:gd name="f4506" fmla="*/ f3066 1 f1423"/>
                <a:gd name="f4507" fmla="*/ f3067 1 f1422"/>
                <a:gd name="f4508" fmla="*/ f3068 1 f1422"/>
                <a:gd name="f4509" fmla="*/ f3069 1 f1422"/>
                <a:gd name="f4510" fmla="*/ f3070 1 f1422"/>
                <a:gd name="f4511" fmla="*/ f3071 1 f1422"/>
                <a:gd name="f4512" fmla="*/ f3072 1 f1422"/>
                <a:gd name="f4513" fmla="*/ f3073 1 f1422"/>
                <a:gd name="f4514" fmla="*/ f3074 1 f1422"/>
                <a:gd name="f4515" fmla="*/ f3075 1 f1422"/>
                <a:gd name="f4516" fmla="*/ f3076 1 f1422"/>
                <a:gd name="f4517" fmla="*/ f3077 1 f1423"/>
                <a:gd name="f4518" fmla="*/ f3078 1 f1423"/>
                <a:gd name="f4519" fmla="*/ f3079 1 f1423"/>
                <a:gd name="f4520" fmla="*/ f3080 1 f1423"/>
                <a:gd name="f4521" fmla="*/ f3081 1 f1422"/>
                <a:gd name="f4522" fmla="*/ f3082 1 f1422"/>
                <a:gd name="f4523" fmla="*/ f3083 1 f1422"/>
                <a:gd name="f4524" fmla="*/ f3084 1 f1422"/>
                <a:gd name="f4525" fmla="*/ f3085 1 f1422"/>
                <a:gd name="f4526" fmla="*/ f3086 1 f1422"/>
                <a:gd name="f4527" fmla="*/ f3087 1 f1422"/>
                <a:gd name="f4528" fmla="*/ f3088 1 f1422"/>
                <a:gd name="f4529" fmla="*/ f3089 1 f1422"/>
                <a:gd name="f4530" fmla="*/ f3090 1 f1423"/>
                <a:gd name="f4531" fmla="*/ f3091 1 f1423"/>
                <a:gd name="f4532" fmla="*/ f3092 1 f1423"/>
                <a:gd name="f4533" fmla="*/ f3093 1 f1423"/>
                <a:gd name="f4534" fmla="*/ f3094 1 f1422"/>
                <a:gd name="f4535" fmla="*/ f3095 1 f1422"/>
                <a:gd name="f4536" fmla="*/ f3096 1 f1422"/>
                <a:gd name="f4537" fmla="*/ f3097 1 f1422"/>
                <a:gd name="f4538" fmla="*/ f3098 1 f1422"/>
                <a:gd name="f4539" fmla="*/ f3099 1 f1422"/>
                <a:gd name="f4540" fmla="*/ f3100 1 f1422"/>
                <a:gd name="f4541" fmla="*/ f3101 1 f1422"/>
                <a:gd name="f4542" fmla="*/ f3102 1 f1422"/>
                <a:gd name="f4543" fmla="*/ f3103 1 f1422"/>
                <a:gd name="f4544" fmla="*/ f3104 1 f1422"/>
                <a:gd name="f4545" fmla="*/ f3105 1 f1422"/>
                <a:gd name="f4546" fmla="*/ f3106 1 f1422"/>
                <a:gd name="f4547" fmla="*/ f3107 1 f1423"/>
                <a:gd name="f4548" fmla="*/ f3108 1 f1423"/>
                <a:gd name="f4549" fmla="*/ f3109 1 f1423"/>
                <a:gd name="f4550" fmla="*/ f3110 1 f1423"/>
                <a:gd name="f4551" fmla="*/ f3111 1 f1422"/>
                <a:gd name="f4552" fmla="*/ f3112 1 f1422"/>
                <a:gd name="f4553" fmla="*/ f3113 1 f1422"/>
                <a:gd name="f4554" fmla="*/ f3114 1 f1422"/>
                <a:gd name="f4555" fmla="*/ f3115 1 f1422"/>
                <a:gd name="f4556" fmla="*/ f3116 1 f1422"/>
                <a:gd name="f4557" fmla="*/ f3117 1 f1422"/>
                <a:gd name="f4558" fmla="*/ f3118 1 f1422"/>
                <a:gd name="f4559" fmla="*/ f3119 1 f1422"/>
                <a:gd name="f4560" fmla="*/ f3120 1 f1422"/>
                <a:gd name="f4561" fmla="*/ f3121 1 f1422"/>
                <a:gd name="f4562" fmla="*/ f3122 1 f1423"/>
                <a:gd name="f4563" fmla="*/ f3123 1 f1423"/>
                <a:gd name="f4564" fmla="*/ f3124 1 f1423"/>
                <a:gd name="f4565" fmla="*/ f3125 1 f1423"/>
                <a:gd name="f4566" fmla="*/ f3126 1 f1422"/>
                <a:gd name="f4567" fmla="*/ f3127 1 f1422"/>
                <a:gd name="f4568" fmla="*/ f3128 1 f1422"/>
                <a:gd name="f4569" fmla="*/ f3129 1 f1422"/>
                <a:gd name="f4570" fmla="*/ f3130 1 f1422"/>
                <a:gd name="f4571" fmla="*/ f3131 1 f1422"/>
                <a:gd name="f4572" fmla="*/ f3132 1 f1422"/>
                <a:gd name="f4573" fmla="*/ f3133 1 f1422"/>
                <a:gd name="f4574" fmla="*/ f3134 1 f1422"/>
                <a:gd name="f4575" fmla="*/ f3135 1 f1422"/>
                <a:gd name="f4576" fmla="*/ f3136 1 f1422"/>
                <a:gd name="f4577" fmla="*/ f3137 1 f1422"/>
                <a:gd name="f4578" fmla="*/ f3138 1 f1422"/>
                <a:gd name="f4579" fmla="*/ f3139 1 f1422"/>
                <a:gd name="f4580" fmla="*/ f3140 1 f1422"/>
                <a:gd name="f4581" fmla="*/ f3141 1 f1422"/>
                <a:gd name="f4582" fmla="*/ f3142 1 f1422"/>
                <a:gd name="f4583" fmla="*/ f3143 1 f1422"/>
                <a:gd name="f4584" fmla="*/ f3144 1 f1422"/>
                <a:gd name="f4585" fmla="*/ f3145 1 f1422"/>
                <a:gd name="f4586" fmla="*/ f3146 1 f1422"/>
                <a:gd name="f4587" fmla="*/ f3147 1 f1422"/>
                <a:gd name="f4588" fmla="*/ f3148 1 f1422"/>
                <a:gd name="f4589" fmla="*/ f3149 1 f1423"/>
                <a:gd name="f4590" fmla="*/ f3150 1 f1422"/>
                <a:gd name="f4591" fmla="*/ f3151 1 f1423"/>
                <a:gd name="f4592" fmla="*/ f3152 1 f1423"/>
                <a:gd name="f4593" fmla="*/ f3153 1 f1423"/>
                <a:gd name="f4594" fmla="*/ f3154 1 f1422"/>
                <a:gd name="f4595" fmla="*/ f3155 1 f1422"/>
                <a:gd name="f4596" fmla="*/ f3156 1 f1422"/>
                <a:gd name="f4597" fmla="*/ f3157 1 f1422"/>
                <a:gd name="f4598" fmla="*/ f3158 1 f1422"/>
                <a:gd name="f4599" fmla="*/ f3159 1 f1422"/>
                <a:gd name="f4600" fmla="*/ f3160 1 f1422"/>
                <a:gd name="f4601" fmla="*/ f3161 1 f1422"/>
                <a:gd name="f4602" fmla="*/ f3162 1 f1422"/>
                <a:gd name="f4603" fmla="*/ f3163 1 f1423"/>
                <a:gd name="f4604" fmla="*/ f3164 1 f1423"/>
                <a:gd name="f4605" fmla="*/ f3165 1 f1423"/>
                <a:gd name="f4606" fmla="*/ f3166 1 f1423"/>
                <a:gd name="f4607" fmla="*/ f3167 1 f1422"/>
                <a:gd name="f4608" fmla="*/ f3168 1 f1422"/>
                <a:gd name="f4609" fmla="*/ f3169 1 f1422"/>
                <a:gd name="f4610" fmla="*/ f3170 1 f1422"/>
                <a:gd name="f4611" fmla="*/ f3171 1 f1422"/>
                <a:gd name="f4612" fmla="*/ f3172 1 f1422"/>
                <a:gd name="f4613" fmla="*/ f3173 1 f1422"/>
                <a:gd name="f4614" fmla="*/ f3174 1 f1422"/>
                <a:gd name="f4615" fmla="*/ f3175 1 f1422"/>
                <a:gd name="f4616" fmla="*/ f3176 1 f1422"/>
                <a:gd name="f4617" fmla="*/ f3177 1 f1422"/>
                <a:gd name="f4618" fmla="*/ f3178 1 f1422"/>
                <a:gd name="f4619" fmla="*/ f3179 1 f1423"/>
                <a:gd name="f4620" fmla="*/ f3180 1 f1423"/>
                <a:gd name="f4621" fmla="*/ f3181 1 f1423"/>
                <a:gd name="f4622" fmla="*/ f3182 1 f1423"/>
                <a:gd name="f4623" fmla="*/ f3183 1 f1422"/>
                <a:gd name="f4624" fmla="*/ f3184 1 f1422"/>
                <a:gd name="f4625" fmla="*/ f3185 1 f1422"/>
                <a:gd name="f4626" fmla="*/ f3186 1 f1422"/>
                <a:gd name="f4627" fmla="*/ f3187 1 f1422"/>
                <a:gd name="f4628" fmla="*/ f3188 1 f1422"/>
                <a:gd name="f4629" fmla="*/ f3189 1 f1422"/>
                <a:gd name="f4630" fmla="*/ f3190 1 f1422"/>
                <a:gd name="f4631" fmla="*/ f3191 1 f1422"/>
                <a:gd name="f4632" fmla="*/ f3192 1 f1422"/>
                <a:gd name="f4633" fmla="*/ f3193 1 f1422"/>
                <a:gd name="f4634" fmla="*/ f3194 1 f1422"/>
                <a:gd name="f4635" fmla="*/ f3195 1 f1423"/>
                <a:gd name="f4636" fmla="*/ f3196 1 f1423"/>
                <a:gd name="f4637" fmla="*/ f3197 1 f1423"/>
                <a:gd name="f4638" fmla="*/ f3198 1 f1423"/>
                <a:gd name="f4639" fmla="*/ f3199 1 f1422"/>
                <a:gd name="f4640" fmla="*/ f3200 1 f1422"/>
                <a:gd name="f4641" fmla="*/ f3201 1 f1422"/>
                <a:gd name="f4642" fmla="*/ f3202 1 f1422"/>
                <a:gd name="f4643" fmla="*/ f3203 1 f1422"/>
                <a:gd name="f4644" fmla="*/ f3204 1 f1422"/>
                <a:gd name="f4645" fmla="*/ f3205 1 f1422"/>
                <a:gd name="f4646" fmla="*/ f3206 1 f1422"/>
                <a:gd name="f4647" fmla="*/ f3207 1 f1422"/>
                <a:gd name="f4648" fmla="*/ f3208 1 f1423"/>
                <a:gd name="f4649" fmla="*/ f3209 1 f1423"/>
                <a:gd name="f4650" fmla="*/ f3210 1 f1423"/>
                <a:gd name="f4651" fmla="*/ f3211 1 f1423"/>
                <a:gd name="f4652" fmla="*/ f3212 1 f1422"/>
                <a:gd name="f4653" fmla="*/ f3213 1 f1422"/>
                <a:gd name="f4654" fmla="*/ f3214 1 f1422"/>
                <a:gd name="f4655" fmla="*/ f3215 1 f1422"/>
                <a:gd name="f4656" fmla="*/ f3216 1 f1422"/>
                <a:gd name="f4657" fmla="*/ f3217 1 f1422"/>
                <a:gd name="f4658" fmla="*/ f3218 1 f1422"/>
                <a:gd name="f4659" fmla="*/ f3219 1 f1422"/>
                <a:gd name="f4660" fmla="*/ f3220 1 f1422"/>
                <a:gd name="f4661" fmla="*/ f3221 1 f1422"/>
                <a:gd name="f4662" fmla="*/ f3222 1 f1422"/>
                <a:gd name="f4663" fmla="*/ f3223 1 f1422"/>
                <a:gd name="f4664" fmla="*/ f3224 1 f1422"/>
                <a:gd name="f4665" fmla="*/ f3225 1 f1422"/>
                <a:gd name="f4666" fmla="*/ f3226 1 f1422"/>
                <a:gd name="f4667" fmla="*/ f3227 1 f1422"/>
                <a:gd name="f4668" fmla="*/ f3228 1 f1422"/>
                <a:gd name="f4669" fmla="*/ f3229 1 f1422"/>
                <a:gd name="f4670" fmla="*/ f3230 1 f1422"/>
                <a:gd name="f4671" fmla="*/ f3231 1 f1422"/>
                <a:gd name="f4672" fmla="*/ f3232 1 f1423"/>
                <a:gd name="f4673" fmla="*/ f3233 1 f1423"/>
                <a:gd name="f4674" fmla="*/ f3234 1 f1423"/>
                <a:gd name="f4675" fmla="*/ f3235 1 f1423"/>
                <a:gd name="f4676" fmla="*/ f3236 1 f1422"/>
                <a:gd name="f4677" fmla="*/ f3237 1 f1422"/>
                <a:gd name="f4678" fmla="*/ f3238 1 f1422"/>
                <a:gd name="f4679" fmla="*/ f3239 1 f1422"/>
                <a:gd name="f4680" fmla="*/ f3240 1 f1422"/>
                <a:gd name="f4681" fmla="*/ f3241 1 f1422"/>
                <a:gd name="f4682" fmla="*/ f3242 1 f1422"/>
                <a:gd name="f4683" fmla="*/ f3243 1 f1422"/>
                <a:gd name="f4684" fmla="*/ f3244 1 f1422"/>
                <a:gd name="f4685" fmla="*/ f3245 1 f1422"/>
                <a:gd name="f4686" fmla="*/ f3246 1 f1422"/>
                <a:gd name="f4687" fmla="*/ f3247 1 f1422"/>
                <a:gd name="f4688" fmla="*/ f3248 1 f1423"/>
                <a:gd name="f4689" fmla="*/ f3249 1 f1423"/>
                <a:gd name="f4690" fmla="*/ f3250 1 f1423"/>
                <a:gd name="f4691" fmla="*/ f3251 1 f1423"/>
                <a:gd name="f4692" fmla="*/ f3252 1 f1422"/>
                <a:gd name="f4693" fmla="*/ f3253 1 f1422"/>
                <a:gd name="f4694" fmla="*/ f3254 1 f1422"/>
                <a:gd name="f4695" fmla="*/ f3255 1 f1422"/>
                <a:gd name="f4696" fmla="*/ f3256 1 f1422"/>
                <a:gd name="f4697" fmla="*/ f3257 1 f1422"/>
                <a:gd name="f4698" fmla="*/ f3258 1 f1422"/>
                <a:gd name="f4699" fmla="*/ f3259 1 f1422"/>
                <a:gd name="f4700" fmla="*/ f3260 1 f1422"/>
                <a:gd name="f4701" fmla="*/ f3261 1 f1422"/>
                <a:gd name="f4702" fmla="*/ f3262 1 f1422"/>
                <a:gd name="f4703" fmla="*/ f3263 1 f1422"/>
                <a:gd name="f4704" fmla="*/ f3264 1 f1423"/>
                <a:gd name="f4705" fmla="*/ f3265 1 f1422"/>
                <a:gd name="f4706" fmla="*/ f3266 1 f1423"/>
                <a:gd name="f4707" fmla="*/ f3267 1 f1423"/>
                <a:gd name="f4708" fmla="*/ f3268 1 f1423"/>
                <a:gd name="f4709" fmla="*/ f3269 1 f1422"/>
                <a:gd name="f4710" fmla="*/ f3270 1 f1422"/>
                <a:gd name="f4711" fmla="*/ f3271 1 f1422"/>
                <a:gd name="f4712" fmla="*/ f3272 1 f1422"/>
                <a:gd name="f4713" fmla="*/ f3273 1 f1422"/>
                <a:gd name="f4714" fmla="*/ f3274 1 f1422"/>
                <a:gd name="f4715" fmla="*/ f3275 1 f1422"/>
                <a:gd name="f4716" fmla="*/ f3276 1 f1422"/>
                <a:gd name="f4717" fmla="*/ f3277 1 f1422"/>
                <a:gd name="f4718" fmla="*/ f3278 1 f1422"/>
                <a:gd name="f4719" fmla="*/ f3279 1 f1422"/>
                <a:gd name="f4720" fmla="*/ f3280 1 f1423"/>
                <a:gd name="f4721" fmla="*/ f3281 1 f1423"/>
                <a:gd name="f4722" fmla="*/ f3282 1 f1423"/>
                <a:gd name="f4723" fmla="*/ f3283 1 f1423"/>
                <a:gd name="f4724" fmla="*/ f3284 1 f1422"/>
                <a:gd name="f4725" fmla="*/ f3285 1 f1422"/>
                <a:gd name="f4726" fmla="*/ f3286 1 f1422"/>
                <a:gd name="f4727" fmla="*/ f3287 1 f1422"/>
                <a:gd name="f4728" fmla="*/ f3288 1 f1422"/>
                <a:gd name="f4729" fmla="*/ f3289 1 f1422"/>
                <a:gd name="f4730" fmla="*/ f3290 1 f1422"/>
                <a:gd name="f4731" fmla="*/ f3291 1 f1422"/>
                <a:gd name="f4732" fmla="*/ f3292 1 f1422"/>
                <a:gd name="f4733" fmla="*/ f3293 1 f1422"/>
                <a:gd name="f4734" fmla="*/ f3294 1 f1423"/>
                <a:gd name="f4735" fmla="*/ f3295 1 f1423"/>
                <a:gd name="f4736" fmla="*/ f3296 1 f1423"/>
                <a:gd name="f4737" fmla="*/ f3297 1 f1423"/>
                <a:gd name="f4738" fmla="*/ f3298 1 f1422"/>
                <a:gd name="f4739" fmla="*/ f3299 1 f1422"/>
                <a:gd name="f4740" fmla="*/ f3300 1 f1422"/>
                <a:gd name="f4741" fmla="*/ f3301 1 f1422"/>
                <a:gd name="f4742" fmla="*/ f3302 1 f1422"/>
                <a:gd name="f4743" fmla="*/ f3303 1 f1422"/>
                <a:gd name="f4744" fmla="*/ f3304 1 f1422"/>
                <a:gd name="f4745" fmla="*/ f3305 1 f1422"/>
                <a:gd name="f4746" fmla="*/ f3306 1 f1422"/>
                <a:gd name="f4747" fmla="*/ f3307 1 f1422"/>
                <a:gd name="f4748" fmla="*/ f3308 1 f1422"/>
                <a:gd name="f4749" fmla="*/ f3309 1 f1422"/>
                <a:gd name="f4750" fmla="*/ f3310 1 f1422"/>
                <a:gd name="f4751" fmla="*/ f3311 1 f1422"/>
                <a:gd name="f4752" fmla="*/ f3312 1 f1422"/>
                <a:gd name="f4753" fmla="*/ f3313 1 f1422"/>
                <a:gd name="f4754" fmla="*/ f3314 1 f1422"/>
                <a:gd name="f4755" fmla="*/ f3315 1 f1422"/>
                <a:gd name="f4756" fmla="*/ f3316 1 f1422"/>
                <a:gd name="f4757" fmla="*/ f3317 1 f1422"/>
                <a:gd name="f4758" fmla="*/ f3318 1 f1422"/>
                <a:gd name="f4759" fmla="*/ f3319 1 f1422"/>
                <a:gd name="f4760" fmla="*/ f3320 1 f1423"/>
                <a:gd name="f4761" fmla="*/ f3321 1 f1422"/>
                <a:gd name="f4762" fmla="*/ f3322 1 f1423"/>
                <a:gd name="f4763" fmla="*/ f3323 1 f1423"/>
                <a:gd name="f4764" fmla="*/ f3324 1 f1423"/>
                <a:gd name="f4765" fmla="*/ f3325 1 f1422"/>
                <a:gd name="f4766" fmla="*/ f3326 1 f1422"/>
                <a:gd name="f4767" fmla="*/ f3327 1 f1422"/>
                <a:gd name="f4768" fmla="*/ f3328 1 f1422"/>
                <a:gd name="f4769" fmla="*/ f3329 1 f1422"/>
                <a:gd name="f4770" fmla="*/ f3330 1 f1422"/>
                <a:gd name="f4771" fmla="*/ f3331 1 f1422"/>
                <a:gd name="f4772" fmla="*/ f3332 1 f1422"/>
                <a:gd name="f4773" fmla="*/ f3333 1 f1422"/>
                <a:gd name="f4774" fmla="*/ f3334 1 f1422"/>
                <a:gd name="f4775" fmla="*/ f3335 1 f1422"/>
                <a:gd name="f4776" fmla="*/ f3336 1 f1423"/>
                <a:gd name="f4777" fmla="*/ f3337 1 f1423"/>
                <a:gd name="f4778" fmla="*/ f3338 1 f1423"/>
                <a:gd name="f4779" fmla="*/ f3339 1 f1423"/>
                <a:gd name="f4780" fmla="*/ f3340 1 f1422"/>
                <a:gd name="f4781" fmla="*/ f3341 1 f1422"/>
                <a:gd name="f4782" fmla="*/ f3342 1 f1422"/>
                <a:gd name="f4783" fmla="*/ f3343 1 f1422"/>
                <a:gd name="f4784" fmla="*/ f3344 1 f1422"/>
                <a:gd name="f4785" fmla="*/ f3345 1 f1422"/>
                <a:gd name="f4786" fmla="*/ f3346 1 f1422"/>
                <a:gd name="f4787" fmla="*/ f3347 1 f1422"/>
                <a:gd name="f4788" fmla="*/ f3348 1 f1422"/>
                <a:gd name="f4789" fmla="*/ f3349 1 f1422"/>
                <a:gd name="f4790" fmla="*/ f3350 1 f1422"/>
                <a:gd name="f4791" fmla="*/ f3351 1 f1423"/>
                <a:gd name="f4792" fmla="*/ f3352 1 f1423"/>
                <a:gd name="f4793" fmla="*/ f3353 1 f1423"/>
                <a:gd name="f4794" fmla="*/ f3354 1 f1423"/>
                <a:gd name="f4795" fmla="*/ f3355 1 f1422"/>
                <a:gd name="f4796" fmla="*/ f3356 1 f1422"/>
                <a:gd name="f4797" fmla="*/ f3357 1 f1422"/>
                <a:gd name="f4798" fmla="*/ f3358 1 f1422"/>
                <a:gd name="f4799" fmla="*/ f3359 1 f1422"/>
                <a:gd name="f4800" fmla="*/ f3360 1 f1422"/>
                <a:gd name="f4801" fmla="*/ f3361 1 f1422"/>
                <a:gd name="f4802" fmla="*/ f3362 1 f1422"/>
                <a:gd name="f4803" fmla="*/ f3363 1 f1422"/>
                <a:gd name="f4804" fmla="*/ f3364 1 f1422"/>
                <a:gd name="f4805" fmla="*/ f3365 1 f1423"/>
                <a:gd name="f4806" fmla="*/ f3366 1 f1423"/>
                <a:gd name="f4807" fmla="*/ f3367 1 f1423"/>
                <a:gd name="f4808" fmla="*/ f3368 1 f1423"/>
                <a:gd name="f4809" fmla="*/ f3369 1 f1422"/>
                <a:gd name="f4810" fmla="*/ f3370 1 f1422"/>
                <a:gd name="f4811" fmla="*/ f3371 1 f1422"/>
                <a:gd name="f4812" fmla="*/ f3372 1 f1422"/>
                <a:gd name="f4813" fmla="*/ f3373 1 f1422"/>
                <a:gd name="f4814" fmla="*/ f3374 1 f1422"/>
                <a:gd name="f4815" fmla="*/ f3375 1 f1422"/>
                <a:gd name="f4816" fmla="*/ f3376 1 f1422"/>
                <a:gd name="f4817" fmla="*/ f3377 1 f1422"/>
                <a:gd name="f4818" fmla="*/ f3378 1 f1422"/>
                <a:gd name="f4819" fmla="*/ f3379 1 f1423"/>
                <a:gd name="f4820" fmla="*/ f3380 1 f1423"/>
                <a:gd name="f4821" fmla="*/ f3381 1 f1423"/>
                <a:gd name="f4822" fmla="*/ f3382 1 f1423"/>
                <a:gd name="f4823" fmla="*/ f3383 1 f1422"/>
                <a:gd name="f4824" fmla="*/ f3384 1 f1422"/>
                <a:gd name="f4825" fmla="*/ f3385 1 f1422"/>
                <a:gd name="f4826" fmla="*/ f3386 1 f1422"/>
                <a:gd name="f4827" fmla="*/ f3387 1 f1422"/>
                <a:gd name="f4828" fmla="*/ f3388 1 f1422"/>
                <a:gd name="f4829" fmla="*/ f3389 1 f1422"/>
                <a:gd name="f4830" fmla="*/ f3390 1 f1422"/>
                <a:gd name="f4831" fmla="*/ f3391 1 f1422"/>
                <a:gd name="f4832" fmla="*/ f3392 1 f1422"/>
                <a:gd name="f4833" fmla="*/ f3393 1 f1422"/>
                <a:gd name="f4834" fmla="*/ f3394 1 f1422"/>
                <a:gd name="f4835" fmla="*/ f3395 1 f1422"/>
                <a:gd name="f4836" fmla="*/ f3396 1 f1422"/>
                <a:gd name="f4837" fmla="*/ f3397 1 f1422"/>
                <a:gd name="f4838" fmla="*/ f3398 1 f1422"/>
                <a:gd name="f4839" fmla="*/ f3399 1 f1422"/>
                <a:gd name="f4840" fmla="*/ f3400 1 f1422"/>
                <a:gd name="f4841" fmla="*/ f3401 1 f1422"/>
                <a:gd name="f4842" fmla="*/ f3402 1 f1422"/>
                <a:gd name="f4843" fmla="*/ f3403 1 f1422"/>
                <a:gd name="f4844" fmla="*/ f3404 1 f1423"/>
                <a:gd name="f4845" fmla="*/ f3405 1 f1422"/>
                <a:gd name="f4846" fmla="*/ f3406 1 f1423"/>
                <a:gd name="f4847" fmla="*/ f3407 1 f1423"/>
                <a:gd name="f4848" fmla="*/ f3408 1 f1423"/>
                <a:gd name="f4849" fmla="*/ f3409 1 f1422"/>
                <a:gd name="f4850" fmla="*/ f3410 1 f1422"/>
                <a:gd name="f4851" fmla="*/ f3411 1 f1422"/>
                <a:gd name="f4852" fmla="*/ f3412 1 f1422"/>
                <a:gd name="f4853" fmla="*/ f3413 1 f1422"/>
                <a:gd name="f4854" fmla="*/ f3414 1 f1422"/>
                <a:gd name="f4855" fmla="*/ f3415 1 f1422"/>
                <a:gd name="f4856" fmla="*/ f3416 1 f1422"/>
                <a:gd name="f4857" fmla="*/ f3417 1 f1422"/>
                <a:gd name="f4858" fmla="*/ f3418 1 f1422"/>
                <a:gd name="f4859" fmla="*/ f3419 1 f1422"/>
                <a:gd name="f4860" fmla="*/ f3420 1 f1423"/>
                <a:gd name="f4861" fmla="*/ f3421 1 f1423"/>
                <a:gd name="f4862" fmla="*/ f3422 1 f1423"/>
                <a:gd name="f4863" fmla="*/ f3423 1 f1423"/>
                <a:gd name="f4864" fmla="*/ f3424 1 f1422"/>
                <a:gd name="f4865" fmla="*/ f3425 1 f1422"/>
                <a:gd name="f4866" fmla="*/ f3426 1 f1422"/>
                <a:gd name="f4867" fmla="*/ f3427 1 f1422"/>
                <a:gd name="f4868" fmla="*/ f3428 1 f1422"/>
                <a:gd name="f4869" fmla="*/ f3429 1 f1422"/>
                <a:gd name="f4870" fmla="*/ f3430 1 f1422"/>
                <a:gd name="f4871" fmla="*/ f3431 1 f1422"/>
                <a:gd name="f4872" fmla="*/ f3432 1 f1422"/>
                <a:gd name="f4873" fmla="*/ f3433 1 f1422"/>
                <a:gd name="f4874" fmla="*/ f3434 1 f1422"/>
                <a:gd name="f4875" fmla="*/ f3435 1 f1422"/>
                <a:gd name="f4876" fmla="*/ f3436 1 f1423"/>
                <a:gd name="f4877" fmla="*/ f3437 1 f1422"/>
                <a:gd name="f4878" fmla="*/ f3438 1 f1423"/>
                <a:gd name="f4879" fmla="*/ f3439 1 f1423"/>
                <a:gd name="f4880" fmla="*/ f3440 1 f1423"/>
                <a:gd name="f4881" fmla="*/ f3441 1 f1422"/>
                <a:gd name="f4882" fmla="*/ f3442 1 f1422"/>
                <a:gd name="f4883" fmla="*/ f3443 1 f1422"/>
                <a:gd name="f4884" fmla="*/ f3444 1 f1422"/>
                <a:gd name="f4885" fmla="*/ f3445 1 f1422"/>
                <a:gd name="f4886" fmla="*/ f3446 1 f1422"/>
                <a:gd name="f4887" fmla="*/ f3447 1 f1422"/>
                <a:gd name="f4888" fmla="*/ f3448 1 f1422"/>
                <a:gd name="f4889" fmla="*/ f3449 1 f1423"/>
                <a:gd name="f4890" fmla="*/ f3450 1 f1423"/>
                <a:gd name="f4891" fmla="*/ f3451 1 f1423"/>
                <a:gd name="f4892" fmla="*/ f3452 1 f1423"/>
                <a:gd name="f4893" fmla="*/ f3453 1 f1422"/>
                <a:gd name="f4894" fmla="*/ f3454 1 f1422"/>
                <a:gd name="f4895" fmla="*/ f3455 1 f1422"/>
                <a:gd name="f4896" fmla="*/ f3456 1 f1422"/>
                <a:gd name="f4897" fmla="*/ f3457 1 f1422"/>
                <a:gd name="f4898" fmla="*/ f3458 1 f1422"/>
                <a:gd name="f4899" fmla="*/ f3459 1 f1422"/>
                <a:gd name="f4900" fmla="*/ f3460 1 f1422"/>
                <a:gd name="f4901" fmla="*/ f3461 1 f1422"/>
                <a:gd name="f4902" fmla="*/ f3462 1 f1422"/>
                <a:gd name="f4903" fmla="*/ f3463 1 f1422"/>
                <a:gd name="f4904" fmla="*/ f3464 1 f1422"/>
                <a:gd name="f4905" fmla="*/ f3465 1 f1422"/>
                <a:gd name="f4906" fmla="*/ f3466 1 f1423"/>
                <a:gd name="f4907" fmla="*/ f3467 1 f1423"/>
                <a:gd name="f4908" fmla="*/ f3468 1 f1423"/>
                <a:gd name="f4909" fmla="*/ f3469 1 f1423"/>
                <a:gd name="f4910" fmla="*/ f3470 1 f1422"/>
                <a:gd name="f4911" fmla="*/ f3471 1 f1422"/>
                <a:gd name="f4912" fmla="*/ f3472 1 f1422"/>
                <a:gd name="f4913" fmla="*/ f3473 1 f1422"/>
                <a:gd name="f4914" fmla="*/ f3474 1 f1422"/>
                <a:gd name="f4915" fmla="*/ f3475 1 f1422"/>
                <a:gd name="f4916" fmla="*/ f3476 1 f1422"/>
                <a:gd name="f4917" fmla="*/ f3477 1 f1422"/>
                <a:gd name="f4918" fmla="*/ f3478 1 f1422"/>
                <a:gd name="f4919" fmla="*/ f3479 1 f1422"/>
                <a:gd name="f4920" fmla="*/ f3480 1 f1422"/>
                <a:gd name="f4921" fmla="*/ f3481 1 f1422"/>
                <a:gd name="f4922" fmla="*/ f3482 1 f1422"/>
                <a:gd name="f4923" fmla="*/ f3483 1 f1422"/>
                <a:gd name="f4924" fmla="*/ f3484 1 f1422"/>
                <a:gd name="f4925" fmla="*/ f3485 1 f1422"/>
                <a:gd name="f4926" fmla="*/ f3486 1 f1422"/>
                <a:gd name="f4927" fmla="*/ f3487 1 f1422"/>
                <a:gd name="f4928" fmla="*/ f3488 1 f1422"/>
                <a:gd name="f4929" fmla="*/ f3489 1 f1422"/>
                <a:gd name="f4930" fmla="*/ f3490 1 f1422"/>
                <a:gd name="f4931" fmla="*/ f3491 1 f1422"/>
                <a:gd name="f4932" fmla="*/ f3492 1 f1423"/>
                <a:gd name="f4933" fmla="*/ f3493 1 f1423"/>
                <a:gd name="f4934" fmla="*/ f3494 1 f1423"/>
                <a:gd name="f4935" fmla="*/ f3495 1 f1423"/>
                <a:gd name="f4936" fmla="*/ f3496 1 f1422"/>
                <a:gd name="f4937" fmla="*/ f3497 1 f1422"/>
                <a:gd name="f4938" fmla="*/ f3498 1 f1422"/>
                <a:gd name="f4939" fmla="*/ f3499 1 f1422"/>
                <a:gd name="f4940" fmla="*/ f3500 1 f1422"/>
                <a:gd name="f4941" fmla="*/ f3501 1 f1422"/>
                <a:gd name="f4942" fmla="*/ f3502 1 f1422"/>
                <a:gd name="f4943" fmla="*/ f3503 1 f1422"/>
                <a:gd name="f4944" fmla="*/ f3504 1 f1422"/>
                <a:gd name="f4945" fmla="*/ f3505 1 f1422"/>
                <a:gd name="f4946" fmla="*/ f3506 1 f1423"/>
                <a:gd name="f4947" fmla="*/ f3507 1 f1423"/>
                <a:gd name="f4948" fmla="*/ f3508 1 f1423"/>
                <a:gd name="f4949" fmla="*/ f3509 1 f1423"/>
                <a:gd name="f4950" fmla="*/ f3510 1 f1422"/>
                <a:gd name="f4951" fmla="*/ f3511 1 f1422"/>
                <a:gd name="f4952" fmla="*/ f3512 1 f1422"/>
                <a:gd name="f4953" fmla="*/ f3513 1 f1422"/>
                <a:gd name="f4954" fmla="*/ f3514 1 f1422"/>
                <a:gd name="f4955" fmla="*/ f3515 1 f1422"/>
                <a:gd name="f4956" fmla="*/ f3516 1 f1422"/>
                <a:gd name="f4957" fmla="*/ f3517 1 f1422"/>
                <a:gd name="f4958" fmla="*/ f3518 1 f1422"/>
                <a:gd name="f4959" fmla="*/ f3519 1 f1422"/>
                <a:gd name="f4960" fmla="*/ f3520 1 f1422"/>
                <a:gd name="f4961" fmla="*/ f3521 1 f1423"/>
                <a:gd name="f4962" fmla="*/ f3522 1 f1423"/>
                <a:gd name="f4963" fmla="*/ f3523 1 f1423"/>
                <a:gd name="f4964" fmla="*/ f3524 1 f1423"/>
                <a:gd name="f4965" fmla="*/ f3525 1 f1423"/>
                <a:gd name="f4966" fmla="*/ f3526 1 f1423"/>
                <a:gd name="f4967" fmla="*/ f3527 1 f1423"/>
                <a:gd name="f4968" fmla="*/ f3528 1 f1423"/>
                <a:gd name="f4969" fmla="*/ f3529 1 f1423"/>
                <a:gd name="f4970" fmla="*/ f3530 1 f1423"/>
                <a:gd name="f4971" fmla="*/ f3531 1 f1423"/>
                <a:gd name="f4972" fmla="*/ f3532 1 f1423"/>
                <a:gd name="f4973" fmla="*/ f3533 1 f1423"/>
                <a:gd name="f4974" fmla="*/ f3534 1 f1423"/>
                <a:gd name="f4975" fmla="*/ f3535 1 f1423"/>
                <a:gd name="f4976" fmla="*/ f3536 1 f1423"/>
                <a:gd name="f4977" fmla="*/ f3537 1 f1423"/>
                <a:gd name="f4978" fmla="*/ f3538 1 f1423"/>
                <a:gd name="f4979" fmla="*/ f3539 1 f1423"/>
                <a:gd name="f4980" fmla="*/ f3540 1 f1423"/>
                <a:gd name="f4981" fmla="*/ f3541 1 f1423"/>
                <a:gd name="f4982" fmla="*/ f3542 1 f1423"/>
                <a:gd name="f4983" fmla="*/ f3543 1 f1423"/>
                <a:gd name="f4984" fmla="*/ f3544 1 f1423"/>
                <a:gd name="f4985" fmla="*/ f3545 1 f1423"/>
                <a:gd name="f4986" fmla="*/ f3546 1 f1423"/>
                <a:gd name="f4987" fmla="*/ f3547 1 f1423"/>
                <a:gd name="f4988" fmla="*/ f3548 1 f1423"/>
                <a:gd name="f4989" fmla="*/ f3549 1 f1423"/>
                <a:gd name="f4990" fmla="*/ f3550 1 f1423"/>
                <a:gd name="f4991" fmla="*/ f3551 1 f1423"/>
                <a:gd name="f4992" fmla="*/ f3552 1 f1423"/>
                <a:gd name="f4993" fmla="*/ f3553 1 f1423"/>
                <a:gd name="f4994" fmla="*/ f3554 1 f1423"/>
                <a:gd name="f4995" fmla="*/ f3555 1 f1423"/>
                <a:gd name="f4996" fmla="*/ f3556 1 f1423"/>
                <a:gd name="f4997" fmla="*/ f3557 1 f1423"/>
                <a:gd name="f4998" fmla="*/ f3558 1 f1423"/>
                <a:gd name="f4999" fmla="*/ f3559 1 f1423"/>
                <a:gd name="f5000" fmla="*/ f3560 1 f1423"/>
                <a:gd name="f5001" fmla="*/ f3561 1 f1423"/>
                <a:gd name="f5002" fmla="*/ f3562 1 f1422"/>
                <a:gd name="f5003" fmla="*/ f3563 1 f1423"/>
                <a:gd name="f5004" fmla="*/ f3564 1 f1423"/>
                <a:gd name="f5005" fmla="*/ f3565 1 f1423"/>
                <a:gd name="f5006" fmla="*/ f3566 1 f1423"/>
                <a:gd name="f5007" fmla="*/ f3567 1 f1422"/>
                <a:gd name="f5008" fmla="*/ f3568 1 f1422"/>
                <a:gd name="f5009" fmla="*/ f3569 1 f1422"/>
                <a:gd name="f5010" fmla="*/ f3570 1 f1422"/>
                <a:gd name="f5011" fmla="*/ f3571 1 f1422"/>
                <a:gd name="f5012" fmla="*/ f3572 1 f1423"/>
                <a:gd name="f5013" fmla="*/ f3573 1 f1423"/>
                <a:gd name="f5014" fmla="*/ f3574 1 f1423"/>
                <a:gd name="f5015" fmla="*/ f3575 1 f1422"/>
                <a:gd name="f5016" fmla="*/ f3576 1 f1422"/>
                <a:gd name="f5017" fmla="*/ f3577 1 f1422"/>
                <a:gd name="f5018" fmla="*/ f3578 1 f1423"/>
                <a:gd name="f5019" fmla="*/ f3579 1 f1423"/>
                <a:gd name="f5020" fmla="*/ f3580 1 f1423"/>
                <a:gd name="f5021" fmla="*/ f3581 1 f1423"/>
                <a:gd name="f5022" fmla="*/ f3582 1 f1423"/>
                <a:gd name="f5023" fmla="*/ f3583 1 f1423"/>
                <a:gd name="f5024" fmla="*/ f3584 1 f1423"/>
                <a:gd name="f5025" fmla="*/ f3585 1 f1423"/>
                <a:gd name="f5026" fmla="*/ f3586 1 f1422"/>
                <a:gd name="f5027" fmla="*/ f3587 1 f1422"/>
                <a:gd name="f5028" fmla="*/ f3588 1 f1423"/>
                <a:gd name="f5029" fmla="*/ f3589 1 f1422"/>
                <a:gd name="f5030" fmla="*/ f3590 1 f1423"/>
                <a:gd name="f5031" fmla="*/ f3591 1 f1423"/>
                <a:gd name="f5032" fmla="*/ f3592 1 f1423"/>
                <a:gd name="f5033" fmla="*/ f3593 1 f1422"/>
                <a:gd name="f5034" fmla="*/ f3594 1 f1422"/>
                <a:gd name="f5035" fmla="*/ f3595 1 f1422"/>
                <a:gd name="f5036" fmla="*/ f3596 1 f1423"/>
                <a:gd name="f5037" fmla="*/ f3597 1 f1422"/>
                <a:gd name="f5038" fmla="*/ f3598 1 f1422"/>
                <a:gd name="f5039" fmla="*/ f3599 1 f1422"/>
                <a:gd name="f5040" fmla="*/ f3600 1 f1422"/>
                <a:gd name="f5041" fmla="*/ f3601 1 f1422"/>
                <a:gd name="f5042" fmla="*/ f3602 1 f1422"/>
                <a:gd name="f5043" fmla="*/ f3603 1 f1423"/>
                <a:gd name="f5044" fmla="*/ f3604 1 f1423"/>
                <a:gd name="f5045" fmla="*/ f3605 1 f1423"/>
                <a:gd name="f5046" fmla="*/ f3606 1 f1423"/>
                <a:gd name="f5047" fmla="*/ f3607 1 f1423"/>
                <a:gd name="f5048" fmla="*/ f3608 1 f1423"/>
                <a:gd name="f5049" fmla="*/ f3609 1 f1423"/>
                <a:gd name="f5050" fmla="*/ f3610 1 f1423"/>
                <a:gd name="f5051" fmla="*/ f3611 1 f1423"/>
                <a:gd name="f5052" fmla="*/ f3612 1 f1423"/>
                <a:gd name="f5053" fmla="*/ f3613 1 f1423"/>
                <a:gd name="f5054" fmla="*/ f3614 1 f1423"/>
                <a:gd name="f5055" fmla="*/ f3615 1 f1423"/>
                <a:gd name="f5056" fmla="*/ f3616 1 f1423"/>
                <a:gd name="f5057" fmla="*/ f3617 1 f1423"/>
                <a:gd name="f5058" fmla="*/ f3618 1 f1423"/>
                <a:gd name="f5059" fmla="*/ f3619 1 f1423"/>
                <a:gd name="f5060" fmla="*/ f3620 1 f1423"/>
                <a:gd name="f5061" fmla="*/ f3621 1 f1423"/>
                <a:gd name="f5062" fmla="*/ f3622 1 f1423"/>
                <a:gd name="f5063" fmla="*/ f3623 1 f1423"/>
                <a:gd name="f5064" fmla="*/ f3624 1 f1423"/>
                <a:gd name="f5065" fmla="*/ f3625 1 f1423"/>
                <a:gd name="f5066" fmla="*/ f3626 1 f1423"/>
                <a:gd name="f5067" fmla="*/ f3627 1 f1423"/>
                <a:gd name="f5068" fmla="*/ f3628 1 f1423"/>
                <a:gd name="f5069" fmla="*/ f3629 1 f1423"/>
                <a:gd name="f5070" fmla="*/ f3630 1 f1423"/>
                <a:gd name="f5071" fmla="*/ f3631 1 f1423"/>
                <a:gd name="f5072" fmla="*/ f3632 1 f1423"/>
                <a:gd name="f5073" fmla="*/ f3633 1 f1423"/>
                <a:gd name="f5074" fmla="*/ f3634 1 f1423"/>
                <a:gd name="f5075" fmla="*/ f3635 1 f1423"/>
                <a:gd name="f5076" fmla="*/ f3636 1 f1423"/>
                <a:gd name="f5077" fmla="*/ f3637 1 f1423"/>
                <a:gd name="f5078" fmla="*/ f3638 1 f1423"/>
                <a:gd name="f5079" fmla="*/ f3639 1 f1423"/>
                <a:gd name="f5080" fmla="*/ f3640 1 f1423"/>
                <a:gd name="f5081" fmla="*/ f3641 1 f1423"/>
                <a:gd name="f5082" fmla="*/ f3642 1 f1423"/>
                <a:gd name="f5083" fmla="*/ f3643 1 f1423"/>
                <a:gd name="f5084" fmla="*/ f3644 1 f1423"/>
                <a:gd name="f5085" fmla="*/ f3645 1 f1423"/>
                <a:gd name="f5086" fmla="*/ f3646 1 f1423"/>
                <a:gd name="f5087" fmla="*/ f3647 1 f1423"/>
                <a:gd name="f5088" fmla="*/ f3648 1 f1422"/>
                <a:gd name="f5089" fmla="*/ f3649 1 f1423"/>
                <a:gd name="f5090" fmla="*/ f3650 1 f1422"/>
                <a:gd name="f5091" fmla="*/ f3651 1 f1422"/>
                <a:gd name="f5092" fmla="*/ f3652 1 f1423"/>
                <a:gd name="f5093" fmla="*/ f3653 1 f1423"/>
                <a:gd name="f5094" fmla="*/ f3654 1 f1423"/>
                <a:gd name="f5095" fmla="*/ f3655 1 f1422"/>
                <a:gd name="f5096" fmla="*/ f3656 1 f1422"/>
                <a:gd name="f5097" fmla="*/ f3657 1 f1422"/>
                <a:gd name="f5098" fmla="*/ f3658 1 f1422"/>
                <a:gd name="f5099" fmla="*/ f3659 1 f1422"/>
                <a:gd name="f5100" fmla="*/ f3660 1 f1423"/>
                <a:gd name="f5101" fmla="*/ f3661 1 f1423"/>
                <a:gd name="f5102" fmla="*/ f3662 1 f1422"/>
                <a:gd name="f5103" fmla="*/ f3663 1 f1422"/>
                <a:gd name="f5104" fmla="*/ f3664 1 f1422"/>
                <a:gd name="f5105" fmla="*/ f3665 1 f1422"/>
                <a:gd name="f5106" fmla="*/ f3666 1 f1422"/>
                <a:gd name="f5107" fmla="*/ f3667 1 f1423"/>
                <a:gd name="f5108" fmla="*/ f3668 1 f1422"/>
                <a:gd name="f5109" fmla="*/ f3669 1 f1423"/>
                <a:gd name="f5110" fmla="*/ f3670 1 f1423"/>
                <a:gd name="f5111" fmla="*/ f3671 1 f1423"/>
                <a:gd name="f5112" fmla="*/ f3672 1 f1422"/>
                <a:gd name="f5113" fmla="*/ f3673 1 f1422"/>
                <a:gd name="f5114" fmla="*/ f3674 1 f1423"/>
                <a:gd name="f5115" fmla="*/ f3675 1 f1422"/>
                <a:gd name="f5116" fmla="*/ f3676 1 f1422"/>
                <a:gd name="f5117" fmla="*/ f3677 1 f1422"/>
                <a:gd name="f5118" fmla="*/ f3678 1 f1422"/>
                <a:gd name="f5119" fmla="*/ f3679 1 f1422"/>
                <a:gd name="f5120" fmla="*/ f3680 1 f1423"/>
                <a:gd name="f5121" fmla="*/ f3681 1 f1422"/>
                <a:gd name="f5122" fmla="*/ f3682 1 f1423"/>
                <a:gd name="f5123" fmla="*/ f3683 1 f1423"/>
                <a:gd name="f5124" fmla="*/ f3684 1 f1423"/>
                <a:gd name="f5125" fmla="*/ f3685 1 f1423"/>
                <a:gd name="f5126" fmla="*/ f3686 1 f1422"/>
                <a:gd name="f5127" fmla="*/ f3687 1 f1423"/>
                <a:gd name="f5128" fmla="*/ f3688 1 f1423"/>
                <a:gd name="f5129" fmla="*/ f3689 1 f1423"/>
                <a:gd name="f5130" fmla="*/ f3690 1 f1423"/>
                <a:gd name="f5131" fmla="*/ f3691 1 f1423"/>
                <a:gd name="f5132" fmla="*/ f3692 1 f1423"/>
                <a:gd name="f5133" fmla="*/ f3693 1 f1423"/>
                <a:gd name="f5134" fmla="*/ f3694 1 f1423"/>
                <a:gd name="f5135" fmla="*/ f3695 1 f1423"/>
                <a:gd name="f5136" fmla="*/ f3696 1 f1423"/>
                <a:gd name="f5137" fmla="*/ f3697 1 f1423"/>
                <a:gd name="f5138" fmla="*/ f3698 1 f1423"/>
                <a:gd name="f5139" fmla="*/ f3699 1 f1423"/>
                <a:gd name="f5140" fmla="*/ f3700 1 f1423"/>
                <a:gd name="f5141" fmla="*/ f3701 1 f1423"/>
                <a:gd name="f5142" fmla="*/ f3702 1 f1423"/>
                <a:gd name="f5143" fmla="*/ f3703 1 f1423"/>
                <a:gd name="f5144" fmla="*/ f3704 1 f1423"/>
                <a:gd name="f5145" fmla="*/ f3705 1 f1423"/>
                <a:gd name="f5146" fmla="*/ f3706 1 f1423"/>
                <a:gd name="f5147" fmla="*/ f3707 1 f1423"/>
                <a:gd name="f5148" fmla="*/ f3708 1 f1423"/>
                <a:gd name="f5149" fmla="*/ f3709 1 f1423"/>
                <a:gd name="f5150" fmla="*/ f3710 1 f1423"/>
                <a:gd name="f5151" fmla="*/ f3711 1 f1423"/>
                <a:gd name="f5152" fmla="*/ f3712 1 f1423"/>
                <a:gd name="f5153" fmla="*/ f3713 1 f1423"/>
                <a:gd name="f5154" fmla="*/ f3714 1 f1423"/>
                <a:gd name="f5155" fmla="*/ f3715 1 f1423"/>
                <a:gd name="f5156" fmla="*/ f3716 1 f1423"/>
                <a:gd name="f5157" fmla="*/ f3717 1 f1423"/>
                <a:gd name="f5158" fmla="*/ f3718 1 f1423"/>
                <a:gd name="f5159" fmla="*/ f3719 1 f1423"/>
                <a:gd name="f5160" fmla="*/ f3720 1 f1423"/>
                <a:gd name="f5161" fmla="*/ f3721 1 f1423"/>
                <a:gd name="f5162" fmla="*/ f3722 1 f1423"/>
                <a:gd name="f5163" fmla="*/ f3723 1 f1423"/>
                <a:gd name="f5164" fmla="*/ f3724 1 f1423"/>
                <a:gd name="f5165" fmla="*/ f3725 1 f1423"/>
                <a:gd name="f5166" fmla="*/ f3726 1 f1423"/>
                <a:gd name="f5167" fmla="*/ f3727 1 f1423"/>
                <a:gd name="f5168" fmla="*/ f3728 1 f1423"/>
                <a:gd name="f5169" fmla="*/ f3729 1 f1423"/>
                <a:gd name="f5170" fmla="*/ f3730 1 f1422"/>
                <a:gd name="f5171" fmla="*/ f3731 1 f1423"/>
                <a:gd name="f5172" fmla="*/ f3732 1 f1422"/>
                <a:gd name="f5173" fmla="*/ f3733 1 f1422"/>
                <a:gd name="f5174" fmla="*/ f3734 1 f1423"/>
                <a:gd name="f5175" fmla="*/ f3735 1 f1423"/>
                <a:gd name="f5176" fmla="*/ f3736 1 f1423"/>
                <a:gd name="f5177" fmla="*/ f3737 1 f1422"/>
                <a:gd name="f5178" fmla="*/ f3738 1 f1423"/>
                <a:gd name="f5179" fmla="*/ f3739 1 f1422"/>
                <a:gd name="f5180" fmla="*/ f3740 1 f1422"/>
                <a:gd name="f5181" fmla="*/ f3741 1 f1422"/>
                <a:gd name="f5182" fmla="*/ f3742 1 f1422"/>
                <a:gd name="f5183" fmla="*/ f3743 1 f1422"/>
                <a:gd name="f5184" fmla="*/ f3744 1 f1422"/>
                <a:gd name="f5185" fmla="*/ f3745 1 f1422"/>
                <a:gd name="f5186" fmla="*/ f3746 1 f1422"/>
                <a:gd name="f5187" fmla="*/ f3747 1 f1422"/>
                <a:gd name="f5188" fmla="*/ f3748 1 f1423"/>
                <a:gd name="f5189" fmla="*/ f3749 1 f1423"/>
                <a:gd name="f5190" fmla="*/ f3750 1 f1423"/>
                <a:gd name="f5191" fmla="*/ f3751 1 f1423"/>
                <a:gd name="f5192" fmla="*/ f3752 1 f1422"/>
                <a:gd name="f5193" fmla="*/ f3753 1 f1423"/>
                <a:gd name="f5194" fmla="*/ f3754 1 f1423"/>
                <a:gd name="f5195" fmla="*/ f3755 1 f1423"/>
                <a:gd name="f5196" fmla="*/ f3756 1 f1423"/>
                <a:gd name="f5197" fmla="*/ f3757 1 f1423"/>
                <a:gd name="f5198" fmla="*/ f3758 1 f1423"/>
                <a:gd name="f5199" fmla="*/ f3759 1 f1423"/>
                <a:gd name="f5200" fmla="*/ f3760 1 f1423"/>
                <a:gd name="f5201" fmla="*/ f3761 1 f1423"/>
                <a:gd name="f5202" fmla="*/ f3762 1 f1422"/>
                <a:gd name="f5203" fmla="*/ f3763 1 f1422"/>
                <a:gd name="f5204" fmla="*/ f3764 1 f1423"/>
                <a:gd name="f5205" fmla="*/ f3765 1 f1423"/>
                <a:gd name="f5206" fmla="*/ f3766 1 f1423"/>
                <a:gd name="f5207" fmla="*/ f3767 1 f1422"/>
                <a:gd name="f5208" fmla="*/ f3768 1 f1422"/>
                <a:gd name="f5209" fmla="*/ f3769 1 f1422"/>
                <a:gd name="f5210" fmla="*/ f3770 1 f1422"/>
                <a:gd name="f5211" fmla="*/ f3771 1 f1422"/>
                <a:gd name="f5212" fmla="*/ f3772 1 f1422"/>
                <a:gd name="f5213" fmla="*/ f3773 1 f1422"/>
                <a:gd name="f5214" fmla="*/ f3774 1 f1423"/>
                <a:gd name="f5215" fmla="*/ f3775 1 f1423"/>
                <a:gd name="f5216" fmla="*/ f3776 1 f1423"/>
                <a:gd name="f5217" fmla="*/ f3777 1 f1423"/>
                <a:gd name="f5218" fmla="*/ f3778 1 f1423"/>
                <a:gd name="f5219" fmla="*/ f3779 1 f1423"/>
                <a:gd name="f5220" fmla="*/ f3780 1 f1423"/>
                <a:gd name="f5221" fmla="*/ f3781 1 f1423"/>
                <a:gd name="f5222" fmla="*/ f3782 1 f1423"/>
                <a:gd name="f5223" fmla="*/ f3783 1 f1423"/>
                <a:gd name="f5224" fmla="*/ f3784 1 f1423"/>
                <a:gd name="f5225" fmla="*/ f3785 1 f1423"/>
                <a:gd name="f5226" fmla="*/ f3786 1 f1423"/>
                <a:gd name="f5227" fmla="*/ f3787 1 f1423"/>
                <a:gd name="f5228" fmla="*/ f3788 1 f1423"/>
                <a:gd name="f5229" fmla="*/ f3789 1 f1423"/>
                <a:gd name="f5230" fmla="*/ f3790 1 f1423"/>
                <a:gd name="f5231" fmla="*/ f3791 1 f1423"/>
                <a:gd name="f5232" fmla="*/ f3792 1 f1423"/>
                <a:gd name="f5233" fmla="*/ f3793 1 f1423"/>
                <a:gd name="f5234" fmla="*/ f3794 1 f1423"/>
                <a:gd name="f5235" fmla="*/ f3795 1 f1423"/>
                <a:gd name="f5236" fmla="*/ f3796 1 f1423"/>
                <a:gd name="f5237" fmla="*/ f3797 1 f1423"/>
                <a:gd name="f5238" fmla="*/ f3798 1 f1423"/>
                <a:gd name="f5239" fmla="*/ f3799 1 f1423"/>
                <a:gd name="f5240" fmla="*/ f3800 1 f1423"/>
                <a:gd name="f5241" fmla="*/ f3801 1 f1423"/>
                <a:gd name="f5242" fmla="*/ f3802 1 f1423"/>
                <a:gd name="f5243" fmla="*/ f3803 1 f1423"/>
                <a:gd name="f5244" fmla="*/ f3804 1 f1423"/>
                <a:gd name="f5245" fmla="*/ f3805 1 f1423"/>
                <a:gd name="f5246" fmla="*/ f3806 1 f1423"/>
                <a:gd name="f5247" fmla="*/ f3807 1 f1423"/>
                <a:gd name="f5248" fmla="*/ f3808 1 f1423"/>
                <a:gd name="f5249" fmla="*/ f3809 1 f1423"/>
                <a:gd name="f5250" fmla="*/ f3810 1 f1422"/>
                <a:gd name="f5251" fmla="*/ f3811 1 f1423"/>
                <a:gd name="f5252" fmla="*/ f3812 1 f1422"/>
                <a:gd name="f5253" fmla="*/ f3813 1 f1423"/>
                <a:gd name="f5254" fmla="*/ f3814 1 f1423"/>
                <a:gd name="f5255" fmla="*/ f3815 1 f1423"/>
                <a:gd name="f5256" fmla="*/ f3816 1 f1422"/>
                <a:gd name="f5257" fmla="*/ f3817 1 f1422"/>
                <a:gd name="f5258" fmla="*/ f3818 1 f1422"/>
                <a:gd name="f5259" fmla="*/ f3819 1 f1422"/>
                <a:gd name="f5260" fmla="*/ f3820 1 f1422"/>
                <a:gd name="f5261" fmla="*/ f3821 1 f1422"/>
                <a:gd name="f5262" fmla="*/ f3822 1 f1422"/>
                <a:gd name="f5263" fmla="*/ f3823 1 f1423"/>
                <a:gd name="f5264" fmla="*/ f3824 1 f1423"/>
                <a:gd name="f5265" fmla="*/ f3825 1 f1423"/>
                <a:gd name="f5266" fmla="*/ f3826 1 f1423"/>
                <a:gd name="f5267" fmla="*/ f3827 1 f1423"/>
                <a:gd name="f5268" fmla="*/ f3828 1 f1423"/>
                <a:gd name="f5269" fmla="*/ f3829 1 f1423"/>
                <a:gd name="f5270" fmla="*/ f3830 1 f1423"/>
                <a:gd name="f5271" fmla="*/ f3831 1 f1422"/>
                <a:gd name="f5272" fmla="*/ f3832 1 f1423"/>
                <a:gd name="f5273" fmla="*/ f3833 1 f1422"/>
                <a:gd name="f5274" fmla="*/ f3834 1 f1423"/>
                <a:gd name="f5275" fmla="*/ f3835 1 f1423"/>
                <a:gd name="f5276" fmla="*/ f3836 1 f1423"/>
                <a:gd name="f5277" fmla="*/ f3837 1 f1422"/>
                <a:gd name="f5278" fmla="*/ f3838 1 f1423"/>
                <a:gd name="f5279" fmla="*/ f3839 1 f1423"/>
                <a:gd name="f5280" fmla="*/ f3840 1 f1423"/>
                <a:gd name="f5281" fmla="*/ f3841 1 f1423"/>
                <a:gd name="f5282" fmla="*/ f3842 1 f1422"/>
                <a:gd name="f5283" fmla="*/ f3843 1 f1422"/>
                <a:gd name="f5284" fmla="*/ f3844 1 f1422"/>
                <a:gd name="f5285" fmla="*/ f3845 1 f1422"/>
                <a:gd name="f5286" fmla="*/ f3846 1 f1422"/>
                <a:gd name="f5287" fmla="*/ f3847 1 f1423"/>
                <a:gd name="f5288" fmla="*/ f3848 1 f1422"/>
                <a:gd name="f5289" fmla="*/ f3849 1 f1422"/>
                <a:gd name="f5290" fmla="*/ f3850 1 f1422"/>
                <a:gd name="f5291" fmla="*/ f3851 1 f1422"/>
                <a:gd name="f5292" fmla="*/ f3852 1 f1423"/>
                <a:gd name="f5293" fmla="*/ f3853 1 f1423"/>
                <a:gd name="f5294" fmla="*/ f3854 1 f1423"/>
                <a:gd name="f5295" fmla="*/ f3855 1 f1423"/>
                <a:gd name="f5296" fmla="*/ f3856 1 f1423"/>
                <a:gd name="f5297" fmla="*/ f3857 1 f1423"/>
                <a:gd name="f5298" fmla="*/ f3858 1 f1423"/>
                <a:gd name="f5299" fmla="*/ f3859 1 f1423"/>
                <a:gd name="f5300" fmla="*/ f3860 1 f1423"/>
                <a:gd name="f5301" fmla="*/ f3861 1 f1423"/>
                <a:gd name="f5302" fmla="*/ f3862 1 f1423"/>
                <a:gd name="f5303" fmla="*/ f3863 1 f1423"/>
                <a:gd name="f5304" fmla="*/ f3864 1 f1423"/>
                <a:gd name="f5305" fmla="*/ f3865 1 f1423"/>
                <a:gd name="f5306" fmla="*/ f3866 1 f1423"/>
                <a:gd name="f5307" fmla="*/ f3867 1 f1423"/>
                <a:gd name="f5308" fmla="*/ f3868 1 f1423"/>
                <a:gd name="f5309" fmla="*/ f3869 1 f1423"/>
                <a:gd name="f5310" fmla="*/ f3870 1 f1423"/>
                <a:gd name="f5311" fmla="*/ f3871 1 f1423"/>
                <a:gd name="f5312" fmla="*/ f3872 1 f1423"/>
                <a:gd name="f5313" fmla="*/ f3873 1 f1423"/>
                <a:gd name="f5314" fmla="*/ f3874 1 f1423"/>
                <a:gd name="f5315" fmla="*/ f3875 1 f1423"/>
                <a:gd name="f5316" fmla="*/ f3876 1 f1423"/>
                <a:gd name="f5317" fmla="*/ f3877 1 f1423"/>
                <a:gd name="f5318" fmla="*/ f3878 1 f1423"/>
                <a:gd name="f5319" fmla="*/ f3879 1 f1423"/>
                <a:gd name="f5320" fmla="*/ f3880 1 f1423"/>
                <a:gd name="f5321" fmla="*/ f3881 1 f1423"/>
                <a:gd name="f5322" fmla="*/ f3882 1 f1423"/>
                <a:gd name="f5323" fmla="*/ f3883 1 f1423"/>
                <a:gd name="f5324" fmla="*/ f3884 1 f1423"/>
                <a:gd name="f5325" fmla="*/ f3885 1 f1423"/>
                <a:gd name="f5326" fmla="*/ f3886 1 f1423"/>
                <a:gd name="f5327" fmla="*/ f3887 1 f1423"/>
                <a:gd name="f5328" fmla="*/ f3888 1 f1422"/>
                <a:gd name="f5329" fmla="*/ f3889 1 f1423"/>
                <a:gd name="f5330" fmla="*/ f3890 1 f1422"/>
                <a:gd name="f5331" fmla="*/ f3891 1 f1423"/>
                <a:gd name="f5332" fmla="*/ f3892 1 f1423"/>
                <a:gd name="f5333" fmla="*/ f3893 1 f1423"/>
                <a:gd name="f5334" fmla="*/ f3894 1 f1422"/>
                <a:gd name="f5335" fmla="*/ f3895 1 f1422"/>
                <a:gd name="f5336" fmla="*/ f3896 1 f1423"/>
                <a:gd name="f5337" fmla="*/ f3897 1 f1422"/>
                <a:gd name="f5338" fmla="*/ f3898 1 f1422"/>
                <a:gd name="f5339" fmla="*/ f3899 1 f1423"/>
                <a:gd name="f5340" fmla="*/ f3900 1 f1422"/>
                <a:gd name="f5341" fmla="*/ f3901 1 f1422"/>
                <a:gd name="f5342" fmla="*/ f3902 1 f1422"/>
                <a:gd name="f5343" fmla="*/ f3903 1 f1422"/>
                <a:gd name="f5344" fmla="*/ f3904 1 f1422"/>
                <a:gd name="f5345" fmla="*/ f3905 1 f1422"/>
                <a:gd name="f5346" fmla="*/ f3906 1 f1422"/>
                <a:gd name="f5347" fmla="*/ f3907 1 f1423"/>
                <a:gd name="f5348" fmla="*/ f3908 1 f1422"/>
                <a:gd name="f5349" fmla="*/ f3909 1 f1423"/>
                <a:gd name="f5350" fmla="*/ f3910 1 f1423"/>
                <a:gd name="f5351" fmla="*/ f3911 1 f1423"/>
                <a:gd name="f5352" fmla="*/ f3912 1 f1422"/>
                <a:gd name="f5353" fmla="*/ f3913 1 f1422"/>
                <a:gd name="f5354" fmla="*/ f3914 1 f1422"/>
                <a:gd name="f5355" fmla="*/ f3915 1 f1422"/>
                <a:gd name="f5356" fmla="*/ f3916 1 f1422"/>
                <a:gd name="f5357" fmla="*/ f3917 1 f1423"/>
                <a:gd name="f5358" fmla="*/ f3918 1 f1422"/>
                <a:gd name="f5359" fmla="*/ f3919 1 f1422"/>
                <a:gd name="f5360" fmla="*/ f3920 1 f1422"/>
                <a:gd name="f5361" fmla="*/ f3921 1 f1423"/>
                <a:gd name="f5362" fmla="*/ f3922 1 f1423"/>
                <a:gd name="f5363" fmla="*/ f3923 1 f1423"/>
                <a:gd name="f5364" fmla="*/ f3924 1 f1423"/>
                <a:gd name="f5365" fmla="*/ f3925 1 f1423"/>
                <a:gd name="f5366" fmla="*/ f3926 1 f1422"/>
                <a:gd name="f5367" fmla="*/ f3927 1 f1423"/>
                <a:gd name="f5368" fmla="*/ f3928 1 f1423"/>
                <a:gd name="f5369" fmla="*/ f3929 1 f1423"/>
                <a:gd name="f5370" fmla="*/ f3930 1 f1423"/>
                <a:gd name="f5371" fmla="*/ f3931 1 f1423"/>
                <a:gd name="f5372" fmla="*/ f3932 1 f1423"/>
                <a:gd name="f5373" fmla="*/ f3933 1 f1423"/>
                <a:gd name="f5374" fmla="*/ f3934 1 f1423"/>
                <a:gd name="f5375" fmla="*/ f3935 1 f1423"/>
                <a:gd name="f5376" fmla="*/ f3936 1 f1423"/>
                <a:gd name="f5377" fmla="*/ f3937 1 f1423"/>
                <a:gd name="f5378" fmla="*/ f3938 1 f1423"/>
                <a:gd name="f5379" fmla="*/ f3939 1 f1423"/>
                <a:gd name="f5380" fmla="*/ f3940 1 f1423"/>
                <a:gd name="f5381" fmla="*/ f3941 1 f1423"/>
                <a:gd name="f5382" fmla="*/ f3942 1 f1423"/>
                <a:gd name="f5383" fmla="*/ f3943 1 f1423"/>
                <a:gd name="f5384" fmla="*/ f3944 1 f1423"/>
                <a:gd name="f5385" fmla="*/ f3945 1 f1423"/>
                <a:gd name="f5386" fmla="*/ f3946 1 f1423"/>
                <a:gd name="f5387" fmla="*/ f3947 1 f1423"/>
                <a:gd name="f5388" fmla="*/ f3948 1 f1423"/>
                <a:gd name="f5389" fmla="*/ f3949 1 f1423"/>
                <a:gd name="f5390" fmla="*/ f3950 1 f1423"/>
                <a:gd name="f5391" fmla="*/ f3951 1 f1423"/>
                <a:gd name="f5392" fmla="*/ f3952 1 f1423"/>
                <a:gd name="f5393" fmla="*/ f3953 1 f1423"/>
                <a:gd name="f5394" fmla="*/ f3954 1 f1423"/>
                <a:gd name="f5395" fmla="*/ f3955 1 f1422"/>
                <a:gd name="f5396" fmla="*/ f3956 1 f1422"/>
                <a:gd name="f5397" fmla="*/ f3957 1 f1423"/>
                <a:gd name="f5398" fmla="*/ f3958 1 f1423"/>
                <a:gd name="f5399" fmla="*/ f3959 1 f1423"/>
                <a:gd name="f5400" fmla="*/ f3960 1 f1422"/>
                <a:gd name="f5401" fmla="*/ f3961 1 f1422"/>
                <a:gd name="f5402" fmla="*/ f3962 1 f1422"/>
                <a:gd name="f5403" fmla="*/ f3963 1 f1422"/>
                <a:gd name="f5404" fmla="*/ f3964 1 f1422"/>
                <a:gd name="f5405" fmla="*/ f3965 1 f1422"/>
                <a:gd name="f5406" fmla="*/ f3966 1 f1422"/>
                <a:gd name="f5407" fmla="*/ f3967 1 f1422"/>
                <a:gd name="f5408" fmla="*/ f3968 1 f1423"/>
                <a:gd name="f5409" fmla="*/ f3969 1 f1423"/>
                <a:gd name="f5410" fmla="*/ f3970 1 f1423"/>
                <a:gd name="f5411" fmla="*/ f3971 1 f1423"/>
                <a:gd name="f5412" fmla="*/ f3972 1 f1423"/>
                <a:gd name="f5413" fmla="*/ f3973 1 f1423"/>
                <a:gd name="f5414" fmla="*/ f3974 1 f1422"/>
                <a:gd name="f5415" fmla="*/ f3975 1 f1423"/>
                <a:gd name="f5416" fmla="*/ f3976 1 f1423"/>
                <a:gd name="f5417" fmla="*/ f3977 1 f1423"/>
                <a:gd name="f5418" fmla="*/ f3978 1 f1423"/>
                <a:gd name="f5419" fmla="*/ f3979 1 f1423"/>
                <a:gd name="f5420" fmla="*/ f3980 1 f1422"/>
                <a:gd name="f5421" fmla="*/ f3981 1 f1423"/>
                <a:gd name="f5422" fmla="*/ f3982 1 f1423"/>
                <a:gd name="f5423" fmla="*/ f3983 1 f1423"/>
                <a:gd name="f5424" fmla="*/ f3984 1 f1423"/>
                <a:gd name="f5425" fmla="*/ f3985 1 f1423"/>
                <a:gd name="f5426" fmla="*/ f3986 1 f1423"/>
                <a:gd name="f5427" fmla="*/ f3987 1 f1423"/>
                <a:gd name="f5428" fmla="*/ f3988 1 f1423"/>
                <a:gd name="f5429" fmla="*/ f3989 1 f1422"/>
                <a:gd name="f5430" fmla="*/ f3990 1 f1422"/>
                <a:gd name="f5431" fmla="*/ f3991 1 f1422"/>
                <a:gd name="f5432" fmla="*/ f3992 1 f1422"/>
                <a:gd name="f5433" fmla="*/ f3993 1 f1422"/>
                <a:gd name="f5434" fmla="*/ f3994 1 f1422"/>
                <a:gd name="f5435" fmla="*/ f3995 1 f1422"/>
                <a:gd name="f5436" fmla="*/ f3996 1 f1422"/>
                <a:gd name="f5437" fmla="*/ f3997 1 f1422"/>
                <a:gd name="f5438" fmla="*/ f3998 1 f1423"/>
                <a:gd name="f5439" fmla="*/ f3999 1 f1423"/>
                <a:gd name="f5440" fmla="*/ f4000 1 f1423"/>
                <a:gd name="f5441" fmla="*/ f4001 1 f1423"/>
                <a:gd name="f5442" fmla="*/ f4002 1 f1423"/>
                <a:gd name="f5443" fmla="*/ f4003 1 f1423"/>
                <a:gd name="f5444" fmla="*/ f4004 1 f1423"/>
                <a:gd name="f5445" fmla="*/ f4005 1 f1423"/>
                <a:gd name="f5446" fmla="*/ f4006 1 f1423"/>
                <a:gd name="f5447" fmla="*/ f4007 1 f1423"/>
                <a:gd name="f5448" fmla="*/ f4008 1 f1423"/>
                <a:gd name="f5449" fmla="*/ f4009 1 f1423"/>
                <a:gd name="f5450" fmla="*/ f4010 1 f1423"/>
                <a:gd name="f5451" fmla="*/ f4011 1 f1423"/>
                <a:gd name="f5452" fmla="*/ f4012 1 f1423"/>
                <a:gd name="f5453" fmla="*/ f4013 1 f1423"/>
                <a:gd name="f5454" fmla="*/ f4014 1 f1423"/>
                <a:gd name="f5455" fmla="*/ f4015 1 f1423"/>
                <a:gd name="f5456" fmla="*/ f4016 1 f1423"/>
                <a:gd name="f5457" fmla="*/ f4017 1 f1423"/>
                <a:gd name="f5458" fmla="*/ f4018 1 f1423"/>
                <a:gd name="f5459" fmla="*/ f4019 1 f1423"/>
                <a:gd name="f5460" fmla="*/ f4020 1 f1423"/>
                <a:gd name="f5461" fmla="*/ f4021 1 f1423"/>
                <a:gd name="f5462" fmla="*/ f4022 1 f1423"/>
                <a:gd name="f5463" fmla="*/ f4023 1 f1423"/>
                <a:gd name="f5464" fmla="*/ f4024 1 f1423"/>
                <a:gd name="f5465" fmla="*/ f4025 1 f1422"/>
                <a:gd name="f5466" fmla="*/ f4026 1 f1423"/>
                <a:gd name="f5467" fmla="*/ f4027 1 f1422"/>
                <a:gd name="f5468" fmla="*/ f4028 1 f1423"/>
                <a:gd name="f5469" fmla="*/ f4029 1 f1423"/>
                <a:gd name="f5470" fmla="*/ f4030 1 f1423"/>
                <a:gd name="f5471" fmla="*/ f4031 1 f1422"/>
                <a:gd name="f5472" fmla="*/ f4032 1 f1422"/>
                <a:gd name="f5473" fmla="*/ f4033 1 f1423"/>
                <a:gd name="f5474" fmla="*/ f4034 1 f1422"/>
                <a:gd name="f5475" fmla="*/ f4035 1 f1423"/>
                <a:gd name="f5476" fmla="*/ f4036 1 f1422"/>
                <a:gd name="f5477" fmla="*/ f4037 1 f1422"/>
                <a:gd name="f5478" fmla="*/ f4038 1 f1422"/>
                <a:gd name="f5479" fmla="*/ f4039 1 f1422"/>
                <a:gd name="f5480" fmla="*/ f4040 1 f1423"/>
                <a:gd name="f5481" fmla="*/ f4041 1 f1423"/>
                <a:gd name="f5482" fmla="*/ f4042 1 f1423"/>
                <a:gd name="f5483" fmla="*/ f4043 1 f1423"/>
                <a:gd name="f5484" fmla="*/ f4044 1 f1423"/>
                <a:gd name="f5485" fmla="*/ f4045 1 f1423"/>
                <a:gd name="f5486" fmla="*/ f4046 1 f1423"/>
                <a:gd name="f5487" fmla="*/ f4047 1 f1423"/>
                <a:gd name="f5488" fmla="*/ f4048 1 f1423"/>
                <a:gd name="f5489" fmla="*/ f4049 1 f1422"/>
                <a:gd name="f5490" fmla="*/ f4050 1 f1423"/>
                <a:gd name="f5491" fmla="*/ f4051 1 f1423"/>
                <a:gd name="f5492" fmla="*/ f4052 1 f1423"/>
                <a:gd name="f5493" fmla="*/ f4053 1 f1423"/>
                <a:gd name="f5494" fmla="*/ f4054 1 f1423"/>
                <a:gd name="f5495" fmla="*/ f4055 1 f1423"/>
                <a:gd name="f5496" fmla="*/ f4056 1 f1423"/>
                <a:gd name="f5497" fmla="*/ f4057 1 f1423"/>
                <a:gd name="f5498" fmla="*/ f4058 1 f1422"/>
                <a:gd name="f5499" fmla="*/ f4059 1 f1422"/>
                <a:gd name="f5500" fmla="*/ f4060 1 f1423"/>
                <a:gd name="f5501" fmla="*/ f4061 1 f1423"/>
                <a:gd name="f5502" fmla="*/ f4062 1 f1423"/>
                <a:gd name="f5503" fmla="*/ f4063 1 f1422"/>
                <a:gd name="f5504" fmla="*/ f4064 1 f1423"/>
                <a:gd name="f5505" fmla="*/ f4065 1 f1423"/>
                <a:gd name="f5506" fmla="*/ f4066 1 f1422"/>
                <a:gd name="f5507" fmla="*/ f4067 1 f1422"/>
                <a:gd name="f5508" fmla="*/ f4068 1 f1422"/>
                <a:gd name="f5509" fmla="*/ f4069 1 f1422"/>
                <a:gd name="f5510" fmla="*/ f4070 1 f1422"/>
                <a:gd name="f5511" fmla="*/ f4071 1 f1422"/>
                <a:gd name="f5512" fmla="*/ f4072 1 f1422"/>
                <a:gd name="f5513" fmla="*/ f4073 1 f1423"/>
                <a:gd name="f5514" fmla="*/ f4074 1 f1423"/>
                <a:gd name="f5515" fmla="*/ f4075 1 f1423"/>
                <a:gd name="f5516" fmla="*/ f4076 1 f1423"/>
                <a:gd name="f5517" fmla="*/ f4077 1 f1423"/>
                <a:gd name="f5518" fmla="*/ f4078 1 f1423"/>
                <a:gd name="f5519" fmla="*/ f4079 1 f1423"/>
                <a:gd name="f5520" fmla="*/ f4080 1 f1423"/>
                <a:gd name="f5521" fmla="*/ f4081 1 f1423"/>
                <a:gd name="f5522" fmla="*/ f4082 1 f1423"/>
                <a:gd name="f5523" fmla="*/ f4083 1 f1423"/>
                <a:gd name="f5524" fmla="*/ f4084 1 f1423"/>
                <a:gd name="f5525" fmla="*/ f4085 1 f1423"/>
                <a:gd name="f5526" fmla="*/ f4086 1 f1423"/>
                <a:gd name="f5527" fmla="*/ f4087 1 f1423"/>
                <a:gd name="f5528" fmla="*/ f4088 1 f1423"/>
                <a:gd name="f5529" fmla="*/ f4089 1 f1423"/>
                <a:gd name="f5530" fmla="*/ f4090 1 f1423"/>
                <a:gd name="f5531" fmla="*/ f4091 1 f1423"/>
                <a:gd name="f5532" fmla="*/ f4092 1 f1423"/>
                <a:gd name="f5533" fmla="*/ f4093 1 f1423"/>
                <a:gd name="f5534" fmla="*/ f4094 1 f1423"/>
                <a:gd name="f5535" fmla="*/ f4095 1 f1423"/>
                <a:gd name="f5536" fmla="*/ f4096 1 f1423"/>
                <a:gd name="f5537" fmla="*/ f4097 1 f1423"/>
                <a:gd name="f5538" fmla="*/ f4098 1 f1423"/>
                <a:gd name="f5539" fmla="*/ f4099 1 f1423"/>
                <a:gd name="f5540" fmla="*/ f4100 1 f1423"/>
                <a:gd name="f5541" fmla="*/ f4101 1 f1423"/>
                <a:gd name="f5542" fmla="*/ f4102 1 f1423"/>
                <a:gd name="f5543" fmla="*/ f4103 1 f1423"/>
                <a:gd name="f5544" fmla="*/ f4104 1 f1423"/>
                <a:gd name="f5545" fmla="*/ f4105 1 f1423"/>
                <a:gd name="f5546" fmla="*/ f4106 1 f1422"/>
                <a:gd name="f5547" fmla="*/ f4107 1 f1423"/>
                <a:gd name="f5548" fmla="*/ f4108 1 f1422"/>
                <a:gd name="f5549" fmla="*/ f4109 1 f1422"/>
                <a:gd name="f5550" fmla="*/ f4110 1 f1423"/>
                <a:gd name="f5551" fmla="*/ f4111 1 f1423"/>
                <a:gd name="f5552" fmla="*/ f4112 1 f1423"/>
                <a:gd name="f5553" fmla="*/ f4113 1 f1422"/>
                <a:gd name="f5554" fmla="*/ f4114 1 f1422"/>
                <a:gd name="f5555" fmla="*/ f4115 1 f1422"/>
                <a:gd name="f5556" fmla="*/ f4116 1 f1422"/>
                <a:gd name="f5557" fmla="*/ f4117 1 f1422"/>
                <a:gd name="f5558" fmla="*/ f4118 1 f1422"/>
                <a:gd name="f5559" fmla="*/ f4119 1 f1422"/>
                <a:gd name="f5560" fmla="*/ f4120 1 f1422"/>
                <a:gd name="f5561" fmla="*/ f4121 1 f1422"/>
                <a:gd name="f5562" fmla="*/ f4122 1 f1422"/>
                <a:gd name="f5563" fmla="*/ f4123 1 f1423"/>
                <a:gd name="f5564" fmla="*/ f4124 1 f1422"/>
                <a:gd name="f5565" fmla="*/ f4125 1 f1423"/>
                <a:gd name="f5566" fmla="*/ f4126 1 f1423"/>
                <a:gd name="f5567" fmla="*/ f4127 1 f1423"/>
                <a:gd name="f5568" fmla="*/ f4128 1 f1422"/>
                <a:gd name="f5569" fmla="*/ f4129 1 f1422"/>
                <a:gd name="f5570" fmla="*/ f4130 1 f1422"/>
                <a:gd name="f5571" fmla="*/ f4131 1 f1422"/>
                <a:gd name="f5572" fmla="*/ f4132 1 f1423"/>
                <a:gd name="f5573" fmla="*/ f4133 1 f1422"/>
                <a:gd name="f5574" fmla="*/ f4134 1 f1422"/>
                <a:gd name="f5575" fmla="*/ f4135 1 f1422"/>
                <a:gd name="f5576" fmla="*/ f4136 1 f1422"/>
                <a:gd name="f5577" fmla="*/ f4137 1 f1423"/>
                <a:gd name="f5578" fmla="*/ f4138 1 f1422"/>
                <a:gd name="f5579" fmla="*/ f4139 1 f1423"/>
                <a:gd name="f5580" fmla="*/ f4140 1 f1423"/>
                <a:gd name="f5581" fmla="*/ f4141 1 f1423"/>
                <a:gd name="f5582" fmla="*/ f4142 1 f1423"/>
                <a:gd name="f5583" fmla="*/ f4143 1 f1422"/>
                <a:gd name="f5584" fmla="*/ f4144 1 f1423"/>
                <a:gd name="f5585" fmla="*/ f4145 1 f1423"/>
                <a:gd name="f5586" fmla="*/ f4146 1 f1423"/>
                <a:gd name="f5587" fmla="*/ f4147 1 f1423"/>
                <a:gd name="f5588" fmla="*/ f4148 1 f1423"/>
                <a:gd name="f5589" fmla="*/ f4149 1 f1423"/>
                <a:gd name="f5590" fmla="*/ f4150 1 f1423"/>
                <a:gd name="f5591" fmla="*/ f4151 1 f1423"/>
                <a:gd name="f5592" fmla="*/ f4152 1 f1423"/>
                <a:gd name="f5593" fmla="*/ f4153 1 f1423"/>
                <a:gd name="f5594" fmla="*/ f4154 1 f1423"/>
                <a:gd name="f5595" fmla="*/ f4155 1 f1423"/>
                <a:gd name="f5596" fmla="*/ f4156 1 f1423"/>
                <a:gd name="f5597" fmla="*/ f4157 1 f1423"/>
                <a:gd name="f5598" fmla="*/ f4158 1 f1423"/>
                <a:gd name="f5599" fmla="*/ f4159 1 f1423"/>
                <a:gd name="f5600" fmla="*/ f4160 1 f1423"/>
                <a:gd name="f5601" fmla="*/ f4161 1 f1423"/>
                <a:gd name="f5602" fmla="*/ f4162 1 f1423"/>
                <a:gd name="f5603" fmla="*/ f4163 1 f1423"/>
                <a:gd name="f5604" fmla="*/ f4164 1 f1423"/>
                <a:gd name="f5605" fmla="*/ f4165 1 f1423"/>
                <a:gd name="f5606" fmla="*/ f4166 1 f1423"/>
                <a:gd name="f5607" fmla="*/ f4167 1 f1423"/>
                <a:gd name="f5608" fmla="*/ f4168 1 f1423"/>
                <a:gd name="f5609" fmla="*/ f4169 1 f1423"/>
                <a:gd name="f5610" fmla="*/ f4170 1 f1423"/>
                <a:gd name="f5611" fmla="*/ f4171 1 f1423"/>
                <a:gd name="f5612" fmla="*/ f4172 1 f1423"/>
                <a:gd name="f5613" fmla="*/ f4173 1 f1422"/>
                <a:gd name="f5614" fmla="*/ f4174 1 f1422"/>
                <a:gd name="f5615" fmla="*/ f4175 1 f1423"/>
                <a:gd name="f5616" fmla="*/ f4176 1 f1423"/>
                <a:gd name="f5617" fmla="*/ f4177 1 f1423"/>
                <a:gd name="f5618" fmla="*/ f4178 1 f1422"/>
                <a:gd name="f5619" fmla="*/ f4179 1 f1422"/>
                <a:gd name="f5620" fmla="*/ f4180 1 f1422"/>
                <a:gd name="f5621" fmla="*/ f4181 1 f1422"/>
                <a:gd name="f5622" fmla="*/ f4182 1 f1422"/>
                <a:gd name="f5623" fmla="*/ f4183 1 f1422"/>
                <a:gd name="f5624" fmla="*/ f4184 1 f1422"/>
                <a:gd name="f5625" fmla="*/ f4185 1 f1422"/>
                <a:gd name="f5626" fmla="*/ f4186 1 f1423"/>
                <a:gd name="f5627" fmla="*/ f4187 1 f1423"/>
                <a:gd name="f5628" fmla="*/ f4188 1 f1423"/>
                <a:gd name="f5629" fmla="*/ f4189 1 f1423"/>
                <a:gd name="f5630" fmla="*/ f4190 1 f1423"/>
                <a:gd name="f5631" fmla="*/ f4191 1 f1423"/>
                <a:gd name="f5632" fmla="*/ f4192 1 f1423"/>
                <a:gd name="f5633" fmla="*/ f4193 1 f1423"/>
                <a:gd name="f5634" fmla="*/ f4194 1 f1423"/>
                <a:gd name="f5635" fmla="*/ f4195 1 f1423"/>
                <a:gd name="f5636" fmla="*/ f4196 1 f1423"/>
                <a:gd name="f5637" fmla="*/ f4197 1 f1423"/>
                <a:gd name="f5638" fmla="*/ f4198 1 f1422"/>
                <a:gd name="f5639" fmla="*/ f4199 1 f1423"/>
                <a:gd name="f5640" fmla="*/ f4200 1 f1423"/>
                <a:gd name="f5641" fmla="*/ f4201 1 f1423"/>
                <a:gd name="f5642" fmla="*/ f4202 1 f1423"/>
                <a:gd name="f5643" fmla="*/ f4203 1 f1423"/>
                <a:gd name="f5644" fmla="*/ f4204 1 f1423"/>
                <a:gd name="f5645" fmla="*/ f4205 1 f1423"/>
                <a:gd name="f5646" fmla="*/ f4206 1 f1423"/>
                <a:gd name="f5647" fmla="*/ f4207 1 f1423"/>
                <a:gd name="f5648" fmla="*/ f4208 1 f1422"/>
                <a:gd name="f5649" fmla="*/ f4209 1 f1422"/>
                <a:gd name="f5650" fmla="*/ f4210 1 f1423"/>
                <a:gd name="f5651" fmla="*/ f4211 1 f1423"/>
                <a:gd name="f5652" fmla="*/ f4212 1 f1423"/>
                <a:gd name="f5653" fmla="*/ f4213 1 f1422"/>
                <a:gd name="f5654" fmla="*/ f4214 1 f1422"/>
                <a:gd name="f5655" fmla="*/ f4215 1 f1422"/>
                <a:gd name="f5656" fmla="*/ f4216 1 f1422"/>
                <a:gd name="f5657" fmla="*/ f4217 1 f1422"/>
                <a:gd name="f5658" fmla="*/ f4218 1 f1422"/>
                <a:gd name="f5659" fmla="*/ f4219 1 f1422"/>
                <a:gd name="f5660" fmla="*/ f4220 1 f1422"/>
                <a:gd name="f5661" fmla="*/ f4221 1 f1423"/>
                <a:gd name="f5662" fmla="*/ f4222 1 f1423"/>
                <a:gd name="f5663" fmla="*/ f4223 1 f1423"/>
                <a:gd name="f5664" fmla="*/ f4224 1 f1423"/>
                <a:gd name="f5665" fmla="*/ f4225 1 f1423"/>
                <a:gd name="f5666" fmla="*/ f4226 1 f1423"/>
                <a:gd name="f5667" fmla="*/ f4227 1 f1423"/>
                <a:gd name="f5668" fmla="*/ f4228 1 f1423"/>
                <a:gd name="f5669" fmla="*/ f4229 1 f1423"/>
                <a:gd name="f5670" fmla="*/ f4230 1 f1423"/>
                <a:gd name="f5671" fmla="*/ f4231 1 f1423"/>
                <a:gd name="f5672" fmla="*/ f4232 1 f1423"/>
                <a:gd name="f5673" fmla="*/ f4233 1 f1423"/>
                <a:gd name="f5674" fmla="*/ f4234 1 f1423"/>
                <a:gd name="f5675" fmla="*/ f4235 1 f1423"/>
                <a:gd name="f5676" fmla="*/ f4236 1 f1423"/>
                <a:gd name="f5677" fmla="*/ f4237 1 f1423"/>
                <a:gd name="f5678" fmla="*/ f4238 1 f1423"/>
                <a:gd name="f5679" fmla="*/ f4239 1 f1423"/>
                <a:gd name="f5680" fmla="*/ f4240 1 f1423"/>
                <a:gd name="f5681" fmla="*/ f4241 1 f1423"/>
                <a:gd name="f5682" fmla="*/ f4242 1 f1423"/>
                <a:gd name="f5683" fmla="*/ f4243 1 f1423"/>
                <a:gd name="f5684" fmla="*/ f4244 1 f1423"/>
                <a:gd name="f5685" fmla="*/ f4245 1 f1423"/>
                <a:gd name="f5686" fmla="*/ f4246 1 f1423"/>
                <a:gd name="f5687" fmla="*/ f4247 1 f1423"/>
                <a:gd name="f5688" fmla="*/ f4248 1 f1423"/>
                <a:gd name="f5689" fmla="*/ f4249 1 f1423"/>
                <a:gd name="f5690" fmla="*/ f4250 1 f1423"/>
                <a:gd name="f5691" fmla="*/ f4251 1 f1423"/>
                <a:gd name="f5692" fmla="*/ f4252 1 f1423"/>
                <a:gd name="f5693" fmla="*/ f4253 1 f1423"/>
                <a:gd name="f5694" fmla="*/ f4254 1 f1423"/>
                <a:gd name="f5695" fmla="*/ f4255 1 f1423"/>
                <a:gd name="f5696" fmla="*/ f4256 1 f1423"/>
                <a:gd name="f5697" fmla="*/ f4257 1 f1423"/>
                <a:gd name="f5698" fmla="*/ f4258 1 f1422"/>
                <a:gd name="f5699" fmla="*/ f4259 1 f1422"/>
                <a:gd name="f5700" fmla="*/ f4260 1 f1422"/>
                <a:gd name="f5701" fmla="*/ f4261 1 f1422"/>
                <a:gd name="f5702" fmla="*/ f4262 1 f1422"/>
                <a:gd name="f5703" fmla="*/ f4263 1 f1423"/>
                <a:gd name="f5704" fmla="*/ f4264 1 f1423"/>
                <a:gd name="f5705" fmla="*/ f4265 1 f1423"/>
                <a:gd name="f5706" fmla="*/ f4266 1 f1422"/>
                <a:gd name="f5707" fmla="*/ f4267 1 f1422"/>
                <a:gd name="f5708" fmla="*/ f4268 1 f1422"/>
                <a:gd name="f5709" fmla="*/ f4269 1 f1422"/>
                <a:gd name="f5710" fmla="*/ f4270 1 f1422"/>
                <a:gd name="f5711" fmla="*/ f4271 1 f1422"/>
                <a:gd name="f5712" fmla="*/ f4272 1 f1422"/>
                <a:gd name="f5713" fmla="*/ f4273 1 f1423"/>
                <a:gd name="f5714" fmla="*/ f4274 1 f1423"/>
                <a:gd name="f5715" fmla="*/ f4275 1 f1423"/>
                <a:gd name="f5716" fmla="*/ f4276 1 f1423"/>
                <a:gd name="f5717" fmla="*/ f4277 1 f1422"/>
                <a:gd name="f5718" fmla="*/ f4278 1 f1423"/>
                <a:gd name="f5719" fmla="*/ f4279 1 f1423"/>
                <a:gd name="f5720" fmla="*/ f4280 1 f1423"/>
                <a:gd name="f5721" fmla="*/ f4281 1 f1423"/>
                <a:gd name="f5722" fmla="*/ f4282 1 f1423"/>
                <a:gd name="f5723" fmla="*/ f4283 1 f1422"/>
                <a:gd name="f5724" fmla="*/ f4284 1 f1423"/>
                <a:gd name="f5725" fmla="*/ f4285 1 f1423"/>
                <a:gd name="f5726" fmla="*/ f4286 1 f1423"/>
                <a:gd name="f5727" fmla="*/ f4287 1 f1423"/>
                <a:gd name="f5728" fmla="*/ f4288 1 f1422"/>
                <a:gd name="f5729" fmla="*/ f4289 1 f1422"/>
                <a:gd name="f5730" fmla="*/ f4290 1 f1422"/>
                <a:gd name="f5731" fmla="*/ f4291 1 f1422"/>
                <a:gd name="f5732" fmla="*/ f4292 1 f1422"/>
                <a:gd name="f5733" fmla="*/ f4293 1 f1422"/>
                <a:gd name="f5734" fmla="*/ f4294 1 f1422"/>
                <a:gd name="f5735" fmla="*/ f4295 f1417 1"/>
                <a:gd name="f5736" fmla="*/ f4296 f1417 1"/>
                <a:gd name="f5737" fmla="*/ f4298 f1418 1"/>
                <a:gd name="f5738" fmla="*/ f4297 f1418 1"/>
                <a:gd name="f5739" fmla="*/ f4300 f1417 1"/>
                <a:gd name="f5740" fmla="*/ f4301 f1418 1"/>
                <a:gd name="f5741" fmla="*/ f4302 f1417 1"/>
                <a:gd name="f5742" fmla="*/ f4303 f1417 1"/>
                <a:gd name="f5743" fmla="*/ f4304 f1418 1"/>
                <a:gd name="f5744" fmla="*/ f4305 f1418 1"/>
                <a:gd name="f5745" fmla="*/ f4306 f1418 1"/>
                <a:gd name="f5746" fmla="*/ f4307 f1417 1"/>
                <a:gd name="f5747" fmla="*/ f4308 f1417 1"/>
                <a:gd name="f5748" fmla="*/ f4309 f1417 1"/>
                <a:gd name="f5749" fmla="*/ f4310 f1417 1"/>
                <a:gd name="f5750" fmla="*/ f4311 f1417 1"/>
                <a:gd name="f5751" fmla="*/ f4312 f1417 1"/>
                <a:gd name="f5752" fmla="*/ f4313 f1417 1"/>
                <a:gd name="f5753" fmla="*/ f4314 f1417 1"/>
                <a:gd name="f5754" fmla="*/ f4315 f1417 1"/>
                <a:gd name="f5755" fmla="*/ f4316 f1417 1"/>
                <a:gd name="f5756" fmla="*/ f4317 f1417 1"/>
                <a:gd name="f5757" fmla="*/ f4318 f1417 1"/>
                <a:gd name="f5758" fmla="*/ f4319 f1417 1"/>
                <a:gd name="f5759" fmla="*/ f4320 f1417 1"/>
                <a:gd name="f5760" fmla="*/ f4321 f1417 1"/>
                <a:gd name="f5761" fmla="*/ f4322 f1417 1"/>
                <a:gd name="f5762" fmla="*/ f4323 f1417 1"/>
                <a:gd name="f5763" fmla="*/ f4324 f1417 1"/>
                <a:gd name="f5764" fmla="*/ f4325 f1417 1"/>
                <a:gd name="f5765" fmla="*/ f4326 f1417 1"/>
                <a:gd name="f5766" fmla="*/ f4327 f1417 1"/>
                <a:gd name="f5767" fmla="*/ f4328 f1417 1"/>
                <a:gd name="f5768" fmla="*/ f4329 f1418 1"/>
                <a:gd name="f5769" fmla="*/ f4330 f1417 1"/>
                <a:gd name="f5770" fmla="*/ f4331 f1417 1"/>
                <a:gd name="f5771" fmla="*/ f4332 f1418 1"/>
                <a:gd name="f5772" fmla="*/ f4333 f1418 1"/>
                <a:gd name="f5773" fmla="*/ f4334 f1418 1"/>
                <a:gd name="f5774" fmla="*/ f4335 f1417 1"/>
                <a:gd name="f5775" fmla="*/ f4336 f1417 1"/>
                <a:gd name="f5776" fmla="*/ f4337 f1417 1"/>
                <a:gd name="f5777" fmla="*/ f4338 f1417 1"/>
                <a:gd name="f5778" fmla="*/ f4339 f1417 1"/>
                <a:gd name="f5779" fmla="*/ f4340 f1417 1"/>
                <a:gd name="f5780" fmla="*/ f4341 f1417 1"/>
                <a:gd name="f5781" fmla="*/ f4342 f1417 1"/>
                <a:gd name="f5782" fmla="*/ f4343 f1417 1"/>
                <a:gd name="f5783" fmla="*/ f4344 f1417 1"/>
                <a:gd name="f5784" fmla="*/ f4345 f1417 1"/>
                <a:gd name="f5785" fmla="*/ f4346 f1417 1"/>
                <a:gd name="f5786" fmla="*/ f4347 f1417 1"/>
                <a:gd name="f5787" fmla="*/ f4348 f1417 1"/>
                <a:gd name="f5788" fmla="*/ f4349 f1417 1"/>
                <a:gd name="f5789" fmla="*/ f4350 f1417 1"/>
                <a:gd name="f5790" fmla="*/ f4351 f1417 1"/>
                <a:gd name="f5791" fmla="*/ f4352 f1417 1"/>
                <a:gd name="f5792" fmla="*/ f4353 f1417 1"/>
                <a:gd name="f5793" fmla="*/ f4354 f1417 1"/>
                <a:gd name="f5794" fmla="*/ f4355 f1417 1"/>
                <a:gd name="f5795" fmla="*/ f4356 f1417 1"/>
                <a:gd name="f5796" fmla="*/ f4357 f1417 1"/>
                <a:gd name="f5797" fmla="*/ f4358 f1417 1"/>
                <a:gd name="f5798" fmla="*/ f4359 f1417 1"/>
                <a:gd name="f5799" fmla="*/ f4360 f1417 1"/>
                <a:gd name="f5800" fmla="*/ f4361 f1417 1"/>
                <a:gd name="f5801" fmla="*/ f4362 f1417 1"/>
                <a:gd name="f5802" fmla="*/ f4363 f1417 1"/>
                <a:gd name="f5803" fmla="*/ f4364 f1417 1"/>
                <a:gd name="f5804" fmla="*/ f4365 f1417 1"/>
                <a:gd name="f5805" fmla="*/ f4366 f1417 1"/>
                <a:gd name="f5806" fmla="*/ f4367 f1417 1"/>
                <a:gd name="f5807" fmla="*/ f4368 f1417 1"/>
                <a:gd name="f5808" fmla="*/ f4369 f1417 1"/>
                <a:gd name="f5809" fmla="*/ f4370 f1417 1"/>
                <a:gd name="f5810" fmla="*/ f4371 f1417 1"/>
                <a:gd name="f5811" fmla="*/ f4372 f1417 1"/>
                <a:gd name="f5812" fmla="*/ f4373 f1417 1"/>
                <a:gd name="f5813" fmla="*/ f4374 f1417 1"/>
                <a:gd name="f5814" fmla="*/ f4375 f1417 1"/>
                <a:gd name="f5815" fmla="*/ f4376 f1417 1"/>
                <a:gd name="f5816" fmla="*/ f4377 f1417 1"/>
                <a:gd name="f5817" fmla="*/ f4378 f1417 1"/>
                <a:gd name="f5818" fmla="*/ f4379 f1417 1"/>
                <a:gd name="f5819" fmla="*/ f4380 f1417 1"/>
                <a:gd name="f5820" fmla="*/ f4381 f1417 1"/>
                <a:gd name="f5821" fmla="*/ f4382 f1417 1"/>
                <a:gd name="f5822" fmla="*/ f4383 f1417 1"/>
                <a:gd name="f5823" fmla="*/ f4384 f1417 1"/>
                <a:gd name="f5824" fmla="*/ f4385 f1417 1"/>
                <a:gd name="f5825" fmla="*/ f4386 f1417 1"/>
                <a:gd name="f5826" fmla="*/ f4387 f1417 1"/>
                <a:gd name="f5827" fmla="*/ f4388 f1417 1"/>
                <a:gd name="f5828" fmla="*/ f4389 f1417 1"/>
                <a:gd name="f5829" fmla="*/ f4390 f1417 1"/>
                <a:gd name="f5830" fmla="*/ f4391 f1417 1"/>
                <a:gd name="f5831" fmla="*/ f4392 f1417 1"/>
                <a:gd name="f5832" fmla="*/ f4393 f1417 1"/>
                <a:gd name="f5833" fmla="*/ f4394 f1417 1"/>
                <a:gd name="f5834" fmla="*/ f4395 f1417 1"/>
                <a:gd name="f5835" fmla="*/ f4396 f1417 1"/>
                <a:gd name="f5836" fmla="*/ f4397 f1417 1"/>
                <a:gd name="f5837" fmla="*/ f4398 f1417 1"/>
                <a:gd name="f5838" fmla="*/ f4399 f1417 1"/>
                <a:gd name="f5839" fmla="*/ f4400 f1417 1"/>
                <a:gd name="f5840" fmla="*/ f4401 f1417 1"/>
                <a:gd name="f5841" fmla="*/ f4402 f1417 1"/>
                <a:gd name="f5842" fmla="*/ f4403 f1417 1"/>
                <a:gd name="f5843" fmla="*/ f4404 f1417 1"/>
                <a:gd name="f5844" fmla="*/ f4405 f1417 1"/>
                <a:gd name="f5845" fmla="*/ f4406 f1417 1"/>
                <a:gd name="f5846" fmla="*/ f4407 f1417 1"/>
                <a:gd name="f5847" fmla="*/ f4408 f1417 1"/>
                <a:gd name="f5848" fmla="*/ f4409 f1417 1"/>
                <a:gd name="f5849" fmla="*/ f4410 f1417 1"/>
                <a:gd name="f5850" fmla="*/ f4411 f1417 1"/>
                <a:gd name="f5851" fmla="*/ f4412 f1417 1"/>
                <a:gd name="f5852" fmla="*/ f4413 f1417 1"/>
                <a:gd name="f5853" fmla="*/ f4414 f1417 1"/>
                <a:gd name="f5854" fmla="*/ f4415 f1417 1"/>
                <a:gd name="f5855" fmla="*/ f4416 f1417 1"/>
                <a:gd name="f5856" fmla="*/ f4417 f1417 1"/>
                <a:gd name="f5857" fmla="*/ f4418 f1417 1"/>
                <a:gd name="f5858" fmla="*/ f4419 f1417 1"/>
                <a:gd name="f5859" fmla="*/ f4420 f1417 1"/>
                <a:gd name="f5860" fmla="*/ f4421 f1417 1"/>
                <a:gd name="f5861" fmla="*/ f4422 f1417 1"/>
                <a:gd name="f5862" fmla="*/ f4423 f1417 1"/>
                <a:gd name="f5863" fmla="*/ f4424 f1417 1"/>
                <a:gd name="f5864" fmla="*/ f4425 f1417 1"/>
                <a:gd name="f5865" fmla="*/ f4426 f1417 1"/>
                <a:gd name="f5866" fmla="*/ f4427 f1417 1"/>
                <a:gd name="f5867" fmla="*/ f4428 f1417 1"/>
                <a:gd name="f5868" fmla="*/ f4429 f1417 1"/>
                <a:gd name="f5869" fmla="*/ f4430 f1417 1"/>
                <a:gd name="f5870" fmla="*/ f4431 f1417 1"/>
                <a:gd name="f5871" fmla="*/ f4432 f1417 1"/>
                <a:gd name="f5872" fmla="*/ f4433 f1417 1"/>
                <a:gd name="f5873" fmla="*/ f4434 f1417 1"/>
                <a:gd name="f5874" fmla="*/ f4435 f1417 1"/>
                <a:gd name="f5875" fmla="*/ f4436 f1417 1"/>
                <a:gd name="f5876" fmla="*/ f4437 f1417 1"/>
                <a:gd name="f5877" fmla="*/ f4438 f1417 1"/>
                <a:gd name="f5878" fmla="*/ f4439 f1417 1"/>
                <a:gd name="f5879" fmla="*/ f4440 f1417 1"/>
                <a:gd name="f5880" fmla="*/ f4441 f1417 1"/>
                <a:gd name="f5881" fmla="*/ f4442 f1417 1"/>
                <a:gd name="f5882" fmla="*/ f4443 f1417 1"/>
                <a:gd name="f5883" fmla="*/ f4444 f1417 1"/>
                <a:gd name="f5884" fmla="*/ f4445 f1417 1"/>
                <a:gd name="f5885" fmla="*/ f4446 f1417 1"/>
                <a:gd name="f5886" fmla="*/ f4447 f1417 1"/>
                <a:gd name="f5887" fmla="*/ f4448 f1417 1"/>
                <a:gd name="f5888" fmla="*/ f4449 f1417 1"/>
                <a:gd name="f5889" fmla="*/ f4450 f1417 1"/>
                <a:gd name="f5890" fmla="*/ f4451 f1417 1"/>
                <a:gd name="f5891" fmla="*/ f4452 f1417 1"/>
                <a:gd name="f5892" fmla="*/ f4453 f1417 1"/>
                <a:gd name="f5893" fmla="*/ f4454 f1417 1"/>
                <a:gd name="f5894" fmla="*/ f4455 f1417 1"/>
                <a:gd name="f5895" fmla="*/ f4456 f1417 1"/>
                <a:gd name="f5896" fmla="*/ f4457 f1417 1"/>
                <a:gd name="f5897" fmla="*/ f4458 f1417 1"/>
                <a:gd name="f5898" fmla="*/ f4459 f1417 1"/>
                <a:gd name="f5899" fmla="*/ f4460 f1417 1"/>
                <a:gd name="f5900" fmla="*/ f4461 f1417 1"/>
                <a:gd name="f5901" fmla="*/ f4462 f1417 1"/>
                <a:gd name="f5902" fmla="*/ f4463 f1417 1"/>
                <a:gd name="f5903" fmla="*/ f4464 f1417 1"/>
                <a:gd name="f5904" fmla="*/ f4465 f1417 1"/>
                <a:gd name="f5905" fmla="*/ f4466 f1417 1"/>
                <a:gd name="f5906" fmla="*/ f4467 f1417 1"/>
                <a:gd name="f5907" fmla="*/ f4468 f1417 1"/>
                <a:gd name="f5908" fmla="*/ f4469 f1417 1"/>
                <a:gd name="f5909" fmla="*/ f4470 f1417 1"/>
                <a:gd name="f5910" fmla="*/ f4471 f1417 1"/>
                <a:gd name="f5911" fmla="*/ f4472 f1418 1"/>
                <a:gd name="f5912" fmla="*/ f4473 f1418 1"/>
                <a:gd name="f5913" fmla="*/ f4474 f1418 1"/>
                <a:gd name="f5914" fmla="*/ f4475 f1418 1"/>
                <a:gd name="f5915" fmla="*/ f4476 f1417 1"/>
                <a:gd name="f5916" fmla="*/ f4477 f1417 1"/>
                <a:gd name="f5917" fmla="*/ f4478 f1417 1"/>
                <a:gd name="f5918" fmla="*/ f4479 f1417 1"/>
                <a:gd name="f5919" fmla="*/ f4480 f1417 1"/>
                <a:gd name="f5920" fmla="*/ f4481 f1417 1"/>
                <a:gd name="f5921" fmla="*/ f4482 f1417 1"/>
                <a:gd name="f5922" fmla="*/ f4483 f1417 1"/>
                <a:gd name="f5923" fmla="*/ f4484 f1417 1"/>
                <a:gd name="f5924" fmla="*/ f4485 f1417 1"/>
                <a:gd name="f5925" fmla="*/ f4486 f1417 1"/>
                <a:gd name="f5926" fmla="*/ f4487 f1417 1"/>
                <a:gd name="f5927" fmla="*/ f4488 f1417 1"/>
                <a:gd name="f5928" fmla="*/ f4489 f1417 1"/>
                <a:gd name="f5929" fmla="*/ f4490 f1417 1"/>
                <a:gd name="f5930" fmla="*/ f4491 f1417 1"/>
                <a:gd name="f5931" fmla="*/ f4492 f1417 1"/>
                <a:gd name="f5932" fmla="*/ f4493 f1417 1"/>
                <a:gd name="f5933" fmla="*/ f4494 f1417 1"/>
                <a:gd name="f5934" fmla="*/ f4495 f1417 1"/>
                <a:gd name="f5935" fmla="*/ f4496 f1417 1"/>
                <a:gd name="f5936" fmla="*/ f4497 f1417 1"/>
                <a:gd name="f5937" fmla="*/ f4498 f1417 1"/>
                <a:gd name="f5938" fmla="*/ f4499 f1417 1"/>
                <a:gd name="f5939" fmla="*/ f4500 f1417 1"/>
                <a:gd name="f5940" fmla="*/ f4501 f1417 1"/>
                <a:gd name="f5941" fmla="*/ f4502 f1418 1"/>
                <a:gd name="f5942" fmla="*/ f4503 f1417 1"/>
                <a:gd name="f5943" fmla="*/ f4504 f1418 1"/>
                <a:gd name="f5944" fmla="*/ f4505 f1418 1"/>
                <a:gd name="f5945" fmla="*/ f4506 f1418 1"/>
                <a:gd name="f5946" fmla="*/ f4507 f1417 1"/>
                <a:gd name="f5947" fmla="*/ f4508 f1417 1"/>
                <a:gd name="f5948" fmla="*/ f4509 f1417 1"/>
                <a:gd name="f5949" fmla="*/ f4510 f1417 1"/>
                <a:gd name="f5950" fmla="*/ f4511 f1417 1"/>
                <a:gd name="f5951" fmla="*/ f4512 f1417 1"/>
                <a:gd name="f5952" fmla="*/ f4513 f1417 1"/>
                <a:gd name="f5953" fmla="*/ f4514 f1417 1"/>
                <a:gd name="f5954" fmla="*/ f4515 f1417 1"/>
                <a:gd name="f5955" fmla="*/ f4516 f1417 1"/>
                <a:gd name="f5956" fmla="*/ f4517 f1418 1"/>
                <a:gd name="f5957" fmla="*/ f4518 f1418 1"/>
                <a:gd name="f5958" fmla="*/ f4519 f1418 1"/>
                <a:gd name="f5959" fmla="*/ f4520 f1418 1"/>
                <a:gd name="f5960" fmla="*/ f4521 f1417 1"/>
                <a:gd name="f5961" fmla="*/ f4522 f1417 1"/>
                <a:gd name="f5962" fmla="*/ f4523 f1417 1"/>
                <a:gd name="f5963" fmla="*/ f4524 f1417 1"/>
                <a:gd name="f5964" fmla="*/ f4525 f1417 1"/>
                <a:gd name="f5965" fmla="*/ f4526 f1417 1"/>
                <a:gd name="f5966" fmla="*/ f4527 f1417 1"/>
                <a:gd name="f5967" fmla="*/ f4528 f1417 1"/>
                <a:gd name="f5968" fmla="*/ f4529 f1417 1"/>
                <a:gd name="f5969" fmla="*/ f4530 f1418 1"/>
                <a:gd name="f5970" fmla="*/ f4531 f1418 1"/>
                <a:gd name="f5971" fmla="*/ f4532 f1418 1"/>
                <a:gd name="f5972" fmla="*/ f4533 f1418 1"/>
                <a:gd name="f5973" fmla="*/ f4534 f1417 1"/>
                <a:gd name="f5974" fmla="*/ f4535 f1417 1"/>
                <a:gd name="f5975" fmla="*/ f4536 f1417 1"/>
                <a:gd name="f5976" fmla="*/ f4537 f1417 1"/>
                <a:gd name="f5977" fmla="*/ f4538 f1417 1"/>
                <a:gd name="f5978" fmla="*/ f4539 f1417 1"/>
                <a:gd name="f5979" fmla="*/ f4540 f1417 1"/>
                <a:gd name="f5980" fmla="*/ f4541 f1417 1"/>
                <a:gd name="f5981" fmla="*/ f4542 f1417 1"/>
                <a:gd name="f5982" fmla="*/ f4543 f1417 1"/>
                <a:gd name="f5983" fmla="*/ f4544 f1417 1"/>
                <a:gd name="f5984" fmla="*/ f4545 f1417 1"/>
                <a:gd name="f5985" fmla="*/ f4546 f1417 1"/>
                <a:gd name="f5986" fmla="*/ f4547 f1418 1"/>
                <a:gd name="f5987" fmla="*/ f4548 f1418 1"/>
                <a:gd name="f5988" fmla="*/ f4549 f1418 1"/>
                <a:gd name="f5989" fmla="*/ f4550 f1418 1"/>
                <a:gd name="f5990" fmla="*/ f4551 f1417 1"/>
                <a:gd name="f5991" fmla="*/ f4552 f1417 1"/>
                <a:gd name="f5992" fmla="*/ f4553 f1417 1"/>
                <a:gd name="f5993" fmla="*/ f4554 f1417 1"/>
                <a:gd name="f5994" fmla="*/ f4555 f1417 1"/>
                <a:gd name="f5995" fmla="*/ f4556 f1417 1"/>
                <a:gd name="f5996" fmla="*/ f4557 f1417 1"/>
                <a:gd name="f5997" fmla="*/ f4558 f1417 1"/>
                <a:gd name="f5998" fmla="*/ f4559 f1417 1"/>
                <a:gd name="f5999" fmla="*/ f4560 f1417 1"/>
                <a:gd name="f6000" fmla="*/ f4561 f1417 1"/>
                <a:gd name="f6001" fmla="*/ f4562 f1418 1"/>
                <a:gd name="f6002" fmla="*/ f4563 f1418 1"/>
                <a:gd name="f6003" fmla="*/ f4564 f1418 1"/>
                <a:gd name="f6004" fmla="*/ f4565 f1418 1"/>
                <a:gd name="f6005" fmla="*/ f4566 f1417 1"/>
                <a:gd name="f6006" fmla="*/ f4567 f1417 1"/>
                <a:gd name="f6007" fmla="*/ f4568 f1417 1"/>
                <a:gd name="f6008" fmla="*/ f4569 f1417 1"/>
                <a:gd name="f6009" fmla="*/ f4570 f1417 1"/>
                <a:gd name="f6010" fmla="*/ f4571 f1417 1"/>
                <a:gd name="f6011" fmla="*/ f4572 f1417 1"/>
                <a:gd name="f6012" fmla="*/ f4573 f1417 1"/>
                <a:gd name="f6013" fmla="*/ f4574 f1417 1"/>
                <a:gd name="f6014" fmla="*/ f4575 f1417 1"/>
                <a:gd name="f6015" fmla="*/ f4576 f1417 1"/>
                <a:gd name="f6016" fmla="*/ f4577 f1417 1"/>
                <a:gd name="f6017" fmla="*/ f4578 f1417 1"/>
                <a:gd name="f6018" fmla="*/ f4579 f1417 1"/>
                <a:gd name="f6019" fmla="*/ f4580 f1417 1"/>
                <a:gd name="f6020" fmla="*/ f4581 f1417 1"/>
                <a:gd name="f6021" fmla="*/ f4582 f1417 1"/>
                <a:gd name="f6022" fmla="*/ f4583 f1417 1"/>
                <a:gd name="f6023" fmla="*/ f4584 f1417 1"/>
                <a:gd name="f6024" fmla="*/ f4585 f1417 1"/>
                <a:gd name="f6025" fmla="*/ f4586 f1417 1"/>
                <a:gd name="f6026" fmla="*/ f4587 f1417 1"/>
                <a:gd name="f6027" fmla="*/ f4588 f1417 1"/>
                <a:gd name="f6028" fmla="*/ f4589 f1418 1"/>
                <a:gd name="f6029" fmla="*/ f4590 f1417 1"/>
                <a:gd name="f6030" fmla="*/ f4591 f1418 1"/>
                <a:gd name="f6031" fmla="*/ f4592 f1418 1"/>
                <a:gd name="f6032" fmla="*/ f4593 f1418 1"/>
                <a:gd name="f6033" fmla="*/ f4594 f1417 1"/>
                <a:gd name="f6034" fmla="*/ f4595 f1417 1"/>
                <a:gd name="f6035" fmla="*/ f4596 f1417 1"/>
                <a:gd name="f6036" fmla="*/ f4597 f1417 1"/>
                <a:gd name="f6037" fmla="*/ f4598 f1417 1"/>
                <a:gd name="f6038" fmla="*/ f4599 f1417 1"/>
                <a:gd name="f6039" fmla="*/ f4600 f1417 1"/>
                <a:gd name="f6040" fmla="*/ f4601 f1417 1"/>
                <a:gd name="f6041" fmla="*/ f4602 f1417 1"/>
                <a:gd name="f6042" fmla="*/ f4603 f1418 1"/>
                <a:gd name="f6043" fmla="*/ f4604 f1418 1"/>
                <a:gd name="f6044" fmla="*/ f4605 f1418 1"/>
                <a:gd name="f6045" fmla="*/ f4606 f1418 1"/>
                <a:gd name="f6046" fmla="*/ f4607 f1417 1"/>
                <a:gd name="f6047" fmla="*/ f4608 f1417 1"/>
                <a:gd name="f6048" fmla="*/ f4609 f1417 1"/>
                <a:gd name="f6049" fmla="*/ f4610 f1417 1"/>
                <a:gd name="f6050" fmla="*/ f4611 f1417 1"/>
                <a:gd name="f6051" fmla="*/ f4612 f1417 1"/>
                <a:gd name="f6052" fmla="*/ f4613 f1417 1"/>
                <a:gd name="f6053" fmla="*/ f4614 f1417 1"/>
                <a:gd name="f6054" fmla="*/ f4615 f1417 1"/>
                <a:gd name="f6055" fmla="*/ f4616 f1417 1"/>
                <a:gd name="f6056" fmla="*/ f4617 f1417 1"/>
                <a:gd name="f6057" fmla="*/ f4618 f1417 1"/>
                <a:gd name="f6058" fmla="*/ f4619 f1418 1"/>
                <a:gd name="f6059" fmla="*/ f4620 f1418 1"/>
                <a:gd name="f6060" fmla="*/ f4621 f1418 1"/>
                <a:gd name="f6061" fmla="*/ f4622 f1418 1"/>
                <a:gd name="f6062" fmla="*/ f4623 f1417 1"/>
                <a:gd name="f6063" fmla="*/ f4624 f1417 1"/>
                <a:gd name="f6064" fmla="*/ f4625 f1417 1"/>
                <a:gd name="f6065" fmla="*/ f4626 f1417 1"/>
                <a:gd name="f6066" fmla="*/ f4627 f1417 1"/>
                <a:gd name="f6067" fmla="*/ f4628 f1417 1"/>
                <a:gd name="f6068" fmla="*/ f4629 f1417 1"/>
                <a:gd name="f6069" fmla="*/ f4630 f1417 1"/>
                <a:gd name="f6070" fmla="*/ f4631 f1417 1"/>
                <a:gd name="f6071" fmla="*/ f4632 f1417 1"/>
                <a:gd name="f6072" fmla="*/ f4633 f1417 1"/>
                <a:gd name="f6073" fmla="*/ f4634 f1417 1"/>
                <a:gd name="f6074" fmla="*/ f4635 f1418 1"/>
                <a:gd name="f6075" fmla="*/ f4636 f1418 1"/>
                <a:gd name="f6076" fmla="*/ f4637 f1418 1"/>
                <a:gd name="f6077" fmla="*/ f4638 f1418 1"/>
                <a:gd name="f6078" fmla="*/ f4639 f1417 1"/>
                <a:gd name="f6079" fmla="*/ f4640 f1417 1"/>
                <a:gd name="f6080" fmla="*/ f4641 f1417 1"/>
                <a:gd name="f6081" fmla="*/ f4642 f1417 1"/>
                <a:gd name="f6082" fmla="*/ f4643 f1417 1"/>
                <a:gd name="f6083" fmla="*/ f4644 f1417 1"/>
                <a:gd name="f6084" fmla="*/ f4645 f1417 1"/>
                <a:gd name="f6085" fmla="*/ f4646 f1417 1"/>
                <a:gd name="f6086" fmla="*/ f4647 f1417 1"/>
                <a:gd name="f6087" fmla="*/ f4648 f1418 1"/>
                <a:gd name="f6088" fmla="*/ f4649 f1418 1"/>
                <a:gd name="f6089" fmla="*/ f4650 f1418 1"/>
                <a:gd name="f6090" fmla="*/ f4651 f1418 1"/>
                <a:gd name="f6091" fmla="*/ f4652 f1417 1"/>
                <a:gd name="f6092" fmla="*/ f4653 f1417 1"/>
                <a:gd name="f6093" fmla="*/ f4654 f1417 1"/>
                <a:gd name="f6094" fmla="*/ f4655 f1417 1"/>
                <a:gd name="f6095" fmla="*/ f4656 f1417 1"/>
                <a:gd name="f6096" fmla="*/ f4657 f1417 1"/>
                <a:gd name="f6097" fmla="*/ f4658 f1417 1"/>
                <a:gd name="f6098" fmla="*/ f4659 f1417 1"/>
                <a:gd name="f6099" fmla="*/ f4660 f1417 1"/>
                <a:gd name="f6100" fmla="*/ f4661 f1417 1"/>
                <a:gd name="f6101" fmla="*/ f4662 f1417 1"/>
                <a:gd name="f6102" fmla="*/ f4663 f1417 1"/>
                <a:gd name="f6103" fmla="*/ f4664 f1417 1"/>
                <a:gd name="f6104" fmla="*/ f4665 f1417 1"/>
                <a:gd name="f6105" fmla="*/ f4666 f1417 1"/>
                <a:gd name="f6106" fmla="*/ f4667 f1417 1"/>
                <a:gd name="f6107" fmla="*/ f4668 f1417 1"/>
                <a:gd name="f6108" fmla="*/ f4669 f1417 1"/>
                <a:gd name="f6109" fmla="*/ f4670 f1417 1"/>
                <a:gd name="f6110" fmla="*/ f4671 f1417 1"/>
                <a:gd name="f6111" fmla="*/ f4672 f1418 1"/>
                <a:gd name="f6112" fmla="*/ f4673 f1418 1"/>
                <a:gd name="f6113" fmla="*/ f4674 f1418 1"/>
                <a:gd name="f6114" fmla="*/ f4675 f1418 1"/>
                <a:gd name="f6115" fmla="*/ f4676 f1417 1"/>
                <a:gd name="f6116" fmla="*/ f4677 f1417 1"/>
                <a:gd name="f6117" fmla="*/ f4678 f1417 1"/>
                <a:gd name="f6118" fmla="*/ f4679 f1417 1"/>
                <a:gd name="f6119" fmla="*/ f4680 f1417 1"/>
                <a:gd name="f6120" fmla="*/ f4681 f1417 1"/>
                <a:gd name="f6121" fmla="*/ f4682 f1417 1"/>
                <a:gd name="f6122" fmla="*/ f4683 f1417 1"/>
                <a:gd name="f6123" fmla="*/ f4684 f1417 1"/>
                <a:gd name="f6124" fmla="*/ f4685 f1417 1"/>
                <a:gd name="f6125" fmla="*/ f4686 f1417 1"/>
                <a:gd name="f6126" fmla="*/ f4687 f1417 1"/>
                <a:gd name="f6127" fmla="*/ f4688 f1418 1"/>
                <a:gd name="f6128" fmla="*/ f4689 f1418 1"/>
                <a:gd name="f6129" fmla="*/ f4690 f1418 1"/>
                <a:gd name="f6130" fmla="*/ f4691 f1418 1"/>
                <a:gd name="f6131" fmla="*/ f4692 f1417 1"/>
                <a:gd name="f6132" fmla="*/ f4693 f1417 1"/>
                <a:gd name="f6133" fmla="*/ f4694 f1417 1"/>
                <a:gd name="f6134" fmla="*/ f4695 f1417 1"/>
                <a:gd name="f6135" fmla="*/ f4696 f1417 1"/>
                <a:gd name="f6136" fmla="*/ f4697 f1417 1"/>
                <a:gd name="f6137" fmla="*/ f4698 f1417 1"/>
                <a:gd name="f6138" fmla="*/ f4699 f1417 1"/>
                <a:gd name="f6139" fmla="*/ f4700 f1417 1"/>
                <a:gd name="f6140" fmla="*/ f4701 f1417 1"/>
                <a:gd name="f6141" fmla="*/ f4702 f1417 1"/>
                <a:gd name="f6142" fmla="*/ f4703 f1417 1"/>
                <a:gd name="f6143" fmla="*/ f4704 f1418 1"/>
                <a:gd name="f6144" fmla="*/ f4705 f1417 1"/>
                <a:gd name="f6145" fmla="*/ f4706 f1418 1"/>
                <a:gd name="f6146" fmla="*/ f4707 f1418 1"/>
                <a:gd name="f6147" fmla="*/ f4708 f1418 1"/>
                <a:gd name="f6148" fmla="*/ f4709 f1417 1"/>
                <a:gd name="f6149" fmla="*/ f4710 f1417 1"/>
                <a:gd name="f6150" fmla="*/ f4711 f1417 1"/>
                <a:gd name="f6151" fmla="*/ f4712 f1417 1"/>
                <a:gd name="f6152" fmla="*/ f4713 f1417 1"/>
                <a:gd name="f6153" fmla="*/ f4714 f1417 1"/>
                <a:gd name="f6154" fmla="*/ f4715 f1417 1"/>
                <a:gd name="f6155" fmla="*/ f4716 f1417 1"/>
                <a:gd name="f6156" fmla="*/ f4717 f1417 1"/>
                <a:gd name="f6157" fmla="*/ f4718 f1417 1"/>
                <a:gd name="f6158" fmla="*/ f4719 f1417 1"/>
                <a:gd name="f6159" fmla="*/ f4720 f1418 1"/>
                <a:gd name="f6160" fmla="*/ f4721 f1418 1"/>
                <a:gd name="f6161" fmla="*/ f4722 f1418 1"/>
                <a:gd name="f6162" fmla="*/ f4723 f1418 1"/>
                <a:gd name="f6163" fmla="*/ f4724 f1417 1"/>
                <a:gd name="f6164" fmla="*/ f4725 f1417 1"/>
                <a:gd name="f6165" fmla="*/ f4726 f1417 1"/>
                <a:gd name="f6166" fmla="*/ f4727 f1417 1"/>
                <a:gd name="f6167" fmla="*/ f4728 f1417 1"/>
                <a:gd name="f6168" fmla="*/ f4729 f1417 1"/>
                <a:gd name="f6169" fmla="*/ f4730 f1417 1"/>
                <a:gd name="f6170" fmla="*/ f4731 f1417 1"/>
                <a:gd name="f6171" fmla="*/ f4732 f1417 1"/>
                <a:gd name="f6172" fmla="*/ f4733 f1417 1"/>
                <a:gd name="f6173" fmla="*/ f4734 f1418 1"/>
                <a:gd name="f6174" fmla="*/ f4735 f1418 1"/>
                <a:gd name="f6175" fmla="*/ f4736 f1418 1"/>
                <a:gd name="f6176" fmla="*/ f4737 f1418 1"/>
                <a:gd name="f6177" fmla="*/ f4738 f1417 1"/>
                <a:gd name="f6178" fmla="*/ f4739 f1417 1"/>
                <a:gd name="f6179" fmla="*/ f4740 f1417 1"/>
                <a:gd name="f6180" fmla="*/ f4741 f1417 1"/>
                <a:gd name="f6181" fmla="*/ f4742 f1417 1"/>
                <a:gd name="f6182" fmla="*/ f4743 f1417 1"/>
                <a:gd name="f6183" fmla="*/ f4744 f1417 1"/>
                <a:gd name="f6184" fmla="*/ f4745 f1417 1"/>
                <a:gd name="f6185" fmla="*/ f4746 f1417 1"/>
                <a:gd name="f6186" fmla="*/ f4747 f1417 1"/>
                <a:gd name="f6187" fmla="*/ f4748 f1417 1"/>
                <a:gd name="f6188" fmla="*/ f4749 f1417 1"/>
                <a:gd name="f6189" fmla="*/ f4750 f1417 1"/>
                <a:gd name="f6190" fmla="*/ f4751 f1417 1"/>
                <a:gd name="f6191" fmla="*/ f4752 f1417 1"/>
                <a:gd name="f6192" fmla="*/ f4753 f1417 1"/>
                <a:gd name="f6193" fmla="*/ f4754 f1417 1"/>
                <a:gd name="f6194" fmla="*/ f4755 f1417 1"/>
                <a:gd name="f6195" fmla="*/ f4756 f1417 1"/>
                <a:gd name="f6196" fmla="*/ f4757 f1417 1"/>
                <a:gd name="f6197" fmla="*/ f4758 f1417 1"/>
                <a:gd name="f6198" fmla="*/ f4759 f1417 1"/>
                <a:gd name="f6199" fmla="*/ f4760 f1418 1"/>
                <a:gd name="f6200" fmla="*/ f4761 f1417 1"/>
                <a:gd name="f6201" fmla="*/ f4762 f1418 1"/>
                <a:gd name="f6202" fmla="*/ f4763 f1418 1"/>
                <a:gd name="f6203" fmla="*/ f4764 f1418 1"/>
                <a:gd name="f6204" fmla="*/ f4765 f1417 1"/>
                <a:gd name="f6205" fmla="*/ f4766 f1417 1"/>
                <a:gd name="f6206" fmla="*/ f4767 f1417 1"/>
                <a:gd name="f6207" fmla="*/ f4768 f1417 1"/>
                <a:gd name="f6208" fmla="*/ f4769 f1417 1"/>
                <a:gd name="f6209" fmla="*/ f4770 f1417 1"/>
                <a:gd name="f6210" fmla="*/ f4771 f1417 1"/>
                <a:gd name="f6211" fmla="*/ f4772 f1417 1"/>
                <a:gd name="f6212" fmla="*/ f4773 f1417 1"/>
                <a:gd name="f6213" fmla="*/ f4774 f1417 1"/>
                <a:gd name="f6214" fmla="*/ f4775 f1417 1"/>
                <a:gd name="f6215" fmla="*/ f4776 f1418 1"/>
                <a:gd name="f6216" fmla="*/ f4777 f1418 1"/>
                <a:gd name="f6217" fmla="*/ f4778 f1418 1"/>
                <a:gd name="f6218" fmla="*/ f4779 f1418 1"/>
                <a:gd name="f6219" fmla="*/ f4780 f1417 1"/>
                <a:gd name="f6220" fmla="*/ f4781 f1417 1"/>
                <a:gd name="f6221" fmla="*/ f4782 f1417 1"/>
                <a:gd name="f6222" fmla="*/ f4783 f1417 1"/>
                <a:gd name="f6223" fmla="*/ f4784 f1417 1"/>
                <a:gd name="f6224" fmla="*/ f4785 f1417 1"/>
                <a:gd name="f6225" fmla="*/ f4786 f1417 1"/>
                <a:gd name="f6226" fmla="*/ f4787 f1417 1"/>
                <a:gd name="f6227" fmla="*/ f4788 f1417 1"/>
                <a:gd name="f6228" fmla="*/ f4789 f1417 1"/>
                <a:gd name="f6229" fmla="*/ f4790 f1417 1"/>
                <a:gd name="f6230" fmla="*/ f4791 f1418 1"/>
                <a:gd name="f6231" fmla="*/ f4792 f1418 1"/>
                <a:gd name="f6232" fmla="*/ f4793 f1418 1"/>
                <a:gd name="f6233" fmla="*/ f4794 f1418 1"/>
                <a:gd name="f6234" fmla="*/ f4795 f1417 1"/>
                <a:gd name="f6235" fmla="*/ f4796 f1417 1"/>
                <a:gd name="f6236" fmla="*/ f4797 f1417 1"/>
                <a:gd name="f6237" fmla="*/ f4798 f1417 1"/>
                <a:gd name="f6238" fmla="*/ f4799 f1417 1"/>
                <a:gd name="f6239" fmla="*/ f4800 f1417 1"/>
                <a:gd name="f6240" fmla="*/ f4801 f1417 1"/>
                <a:gd name="f6241" fmla="*/ f4802 f1417 1"/>
                <a:gd name="f6242" fmla="*/ f4803 f1417 1"/>
                <a:gd name="f6243" fmla="*/ f4804 f1417 1"/>
                <a:gd name="f6244" fmla="*/ f4805 f1418 1"/>
                <a:gd name="f6245" fmla="*/ f4806 f1418 1"/>
                <a:gd name="f6246" fmla="*/ f4807 f1418 1"/>
                <a:gd name="f6247" fmla="*/ f4808 f1418 1"/>
                <a:gd name="f6248" fmla="*/ f4809 f1417 1"/>
                <a:gd name="f6249" fmla="*/ f4810 f1417 1"/>
                <a:gd name="f6250" fmla="*/ f4811 f1417 1"/>
                <a:gd name="f6251" fmla="*/ f4812 f1417 1"/>
                <a:gd name="f6252" fmla="*/ f4813 f1417 1"/>
                <a:gd name="f6253" fmla="*/ f4814 f1417 1"/>
                <a:gd name="f6254" fmla="*/ f4815 f1417 1"/>
                <a:gd name="f6255" fmla="*/ f4816 f1417 1"/>
                <a:gd name="f6256" fmla="*/ f4817 f1417 1"/>
                <a:gd name="f6257" fmla="*/ f4818 f1417 1"/>
                <a:gd name="f6258" fmla="*/ f4819 f1418 1"/>
                <a:gd name="f6259" fmla="*/ f4820 f1418 1"/>
                <a:gd name="f6260" fmla="*/ f4821 f1418 1"/>
                <a:gd name="f6261" fmla="*/ f4822 f1418 1"/>
                <a:gd name="f6262" fmla="*/ f4823 f1417 1"/>
                <a:gd name="f6263" fmla="*/ f4824 f1417 1"/>
                <a:gd name="f6264" fmla="*/ f4825 f1417 1"/>
                <a:gd name="f6265" fmla="*/ f4826 f1417 1"/>
                <a:gd name="f6266" fmla="*/ f4827 f1417 1"/>
                <a:gd name="f6267" fmla="*/ f4828 f1417 1"/>
                <a:gd name="f6268" fmla="*/ f4829 f1417 1"/>
                <a:gd name="f6269" fmla="*/ f4830 f1417 1"/>
                <a:gd name="f6270" fmla="*/ f4831 f1417 1"/>
                <a:gd name="f6271" fmla="*/ f4832 f1417 1"/>
                <a:gd name="f6272" fmla="*/ f4833 f1417 1"/>
                <a:gd name="f6273" fmla="*/ f4834 f1417 1"/>
                <a:gd name="f6274" fmla="*/ f4835 f1417 1"/>
                <a:gd name="f6275" fmla="*/ f4836 f1417 1"/>
                <a:gd name="f6276" fmla="*/ f4837 f1417 1"/>
                <a:gd name="f6277" fmla="*/ f4838 f1417 1"/>
                <a:gd name="f6278" fmla="*/ f4839 f1417 1"/>
                <a:gd name="f6279" fmla="*/ f4840 f1417 1"/>
                <a:gd name="f6280" fmla="*/ f4841 f1417 1"/>
                <a:gd name="f6281" fmla="*/ f4842 f1417 1"/>
                <a:gd name="f6282" fmla="*/ f4843 f1417 1"/>
                <a:gd name="f6283" fmla="*/ f4844 f1418 1"/>
                <a:gd name="f6284" fmla="*/ f4845 f1417 1"/>
                <a:gd name="f6285" fmla="*/ f4846 f1418 1"/>
                <a:gd name="f6286" fmla="*/ f4847 f1418 1"/>
                <a:gd name="f6287" fmla="*/ f4848 f1418 1"/>
                <a:gd name="f6288" fmla="*/ f4849 f1417 1"/>
                <a:gd name="f6289" fmla="*/ f4850 f1417 1"/>
                <a:gd name="f6290" fmla="*/ f4851 f1417 1"/>
                <a:gd name="f6291" fmla="*/ f4852 f1417 1"/>
                <a:gd name="f6292" fmla="*/ f4853 f1417 1"/>
                <a:gd name="f6293" fmla="*/ f4854 f1417 1"/>
                <a:gd name="f6294" fmla="*/ f4855 f1417 1"/>
                <a:gd name="f6295" fmla="*/ f4856 f1417 1"/>
                <a:gd name="f6296" fmla="*/ f4857 f1417 1"/>
                <a:gd name="f6297" fmla="*/ f4858 f1417 1"/>
                <a:gd name="f6298" fmla="*/ f4859 f1417 1"/>
                <a:gd name="f6299" fmla="*/ f4860 f1418 1"/>
                <a:gd name="f6300" fmla="*/ f4861 f1418 1"/>
                <a:gd name="f6301" fmla="*/ f4862 f1418 1"/>
                <a:gd name="f6302" fmla="*/ f4863 f1418 1"/>
                <a:gd name="f6303" fmla="*/ f4864 f1417 1"/>
                <a:gd name="f6304" fmla="*/ f4865 f1417 1"/>
                <a:gd name="f6305" fmla="*/ f4866 f1417 1"/>
                <a:gd name="f6306" fmla="*/ f4867 f1417 1"/>
                <a:gd name="f6307" fmla="*/ f4868 f1417 1"/>
                <a:gd name="f6308" fmla="*/ f4869 f1417 1"/>
                <a:gd name="f6309" fmla="*/ f4870 f1417 1"/>
                <a:gd name="f6310" fmla="*/ f4871 f1417 1"/>
                <a:gd name="f6311" fmla="*/ f4872 f1417 1"/>
                <a:gd name="f6312" fmla="*/ f4873 f1417 1"/>
                <a:gd name="f6313" fmla="*/ f4874 f1417 1"/>
                <a:gd name="f6314" fmla="*/ f4875 f1417 1"/>
                <a:gd name="f6315" fmla="*/ f4876 f1418 1"/>
                <a:gd name="f6316" fmla="*/ f4877 f1417 1"/>
                <a:gd name="f6317" fmla="*/ f4878 f1418 1"/>
                <a:gd name="f6318" fmla="*/ f4879 f1418 1"/>
                <a:gd name="f6319" fmla="*/ f4880 f1418 1"/>
                <a:gd name="f6320" fmla="*/ f4881 f1417 1"/>
                <a:gd name="f6321" fmla="*/ f4882 f1417 1"/>
                <a:gd name="f6322" fmla="*/ f4883 f1417 1"/>
                <a:gd name="f6323" fmla="*/ f4884 f1417 1"/>
                <a:gd name="f6324" fmla="*/ f4885 f1417 1"/>
                <a:gd name="f6325" fmla="*/ f4886 f1417 1"/>
                <a:gd name="f6326" fmla="*/ f4887 f1417 1"/>
                <a:gd name="f6327" fmla="*/ f4888 f1417 1"/>
                <a:gd name="f6328" fmla="*/ f4889 f1418 1"/>
                <a:gd name="f6329" fmla="*/ f4890 f1418 1"/>
                <a:gd name="f6330" fmla="*/ f4891 f1418 1"/>
                <a:gd name="f6331" fmla="*/ f4892 f1418 1"/>
                <a:gd name="f6332" fmla="*/ f4893 f1417 1"/>
                <a:gd name="f6333" fmla="*/ f4894 f1417 1"/>
                <a:gd name="f6334" fmla="*/ f4895 f1417 1"/>
                <a:gd name="f6335" fmla="*/ f4896 f1417 1"/>
                <a:gd name="f6336" fmla="*/ f4897 f1417 1"/>
                <a:gd name="f6337" fmla="*/ f4898 f1417 1"/>
                <a:gd name="f6338" fmla="*/ f4899 f1417 1"/>
                <a:gd name="f6339" fmla="*/ f4900 f1417 1"/>
                <a:gd name="f6340" fmla="*/ f4901 f1417 1"/>
                <a:gd name="f6341" fmla="*/ f4902 f1417 1"/>
                <a:gd name="f6342" fmla="*/ f4903 f1417 1"/>
                <a:gd name="f6343" fmla="*/ f4904 f1417 1"/>
                <a:gd name="f6344" fmla="*/ f4905 f1417 1"/>
                <a:gd name="f6345" fmla="*/ f4906 f1418 1"/>
                <a:gd name="f6346" fmla="*/ f4907 f1418 1"/>
                <a:gd name="f6347" fmla="*/ f4908 f1418 1"/>
                <a:gd name="f6348" fmla="*/ f4909 f1418 1"/>
                <a:gd name="f6349" fmla="*/ f4910 f1417 1"/>
                <a:gd name="f6350" fmla="*/ f4911 f1417 1"/>
                <a:gd name="f6351" fmla="*/ f4912 f1417 1"/>
                <a:gd name="f6352" fmla="*/ f4913 f1417 1"/>
                <a:gd name="f6353" fmla="*/ f4914 f1417 1"/>
                <a:gd name="f6354" fmla="*/ f4915 f1417 1"/>
                <a:gd name="f6355" fmla="*/ f4916 f1417 1"/>
                <a:gd name="f6356" fmla="*/ f4917 f1417 1"/>
                <a:gd name="f6357" fmla="*/ f4918 f1417 1"/>
                <a:gd name="f6358" fmla="*/ f4919 f1417 1"/>
                <a:gd name="f6359" fmla="*/ f4920 f1417 1"/>
                <a:gd name="f6360" fmla="*/ f4921 f1417 1"/>
                <a:gd name="f6361" fmla="*/ f4922 f1417 1"/>
                <a:gd name="f6362" fmla="*/ f4923 f1417 1"/>
                <a:gd name="f6363" fmla="*/ f4924 f1417 1"/>
                <a:gd name="f6364" fmla="*/ f4925 f1417 1"/>
                <a:gd name="f6365" fmla="*/ f4926 f1417 1"/>
                <a:gd name="f6366" fmla="*/ f4927 f1417 1"/>
                <a:gd name="f6367" fmla="*/ f4928 f1417 1"/>
                <a:gd name="f6368" fmla="*/ f4929 f1417 1"/>
                <a:gd name="f6369" fmla="*/ f4930 f1417 1"/>
                <a:gd name="f6370" fmla="*/ f4931 f1417 1"/>
                <a:gd name="f6371" fmla="*/ f4932 f1418 1"/>
                <a:gd name="f6372" fmla="*/ f4933 f1418 1"/>
                <a:gd name="f6373" fmla="*/ f4934 f1418 1"/>
                <a:gd name="f6374" fmla="*/ f4935 f1418 1"/>
                <a:gd name="f6375" fmla="*/ f4936 f1417 1"/>
                <a:gd name="f6376" fmla="*/ f4937 f1417 1"/>
                <a:gd name="f6377" fmla="*/ f4938 f1417 1"/>
                <a:gd name="f6378" fmla="*/ f4939 f1417 1"/>
                <a:gd name="f6379" fmla="*/ f4940 f1417 1"/>
                <a:gd name="f6380" fmla="*/ f4941 f1417 1"/>
                <a:gd name="f6381" fmla="*/ f4942 f1417 1"/>
                <a:gd name="f6382" fmla="*/ f4943 f1417 1"/>
                <a:gd name="f6383" fmla="*/ f4944 f1417 1"/>
                <a:gd name="f6384" fmla="*/ f4945 f1417 1"/>
                <a:gd name="f6385" fmla="*/ f4946 f1418 1"/>
                <a:gd name="f6386" fmla="*/ f4947 f1418 1"/>
                <a:gd name="f6387" fmla="*/ f4948 f1418 1"/>
                <a:gd name="f6388" fmla="*/ f4949 f1418 1"/>
                <a:gd name="f6389" fmla="*/ f4950 f1417 1"/>
                <a:gd name="f6390" fmla="*/ f4951 f1417 1"/>
                <a:gd name="f6391" fmla="*/ f4952 f1417 1"/>
                <a:gd name="f6392" fmla="*/ f4953 f1417 1"/>
                <a:gd name="f6393" fmla="*/ f4954 f1417 1"/>
                <a:gd name="f6394" fmla="*/ f4955 f1417 1"/>
                <a:gd name="f6395" fmla="*/ f4956 f1417 1"/>
                <a:gd name="f6396" fmla="*/ f4957 f1417 1"/>
                <a:gd name="f6397" fmla="*/ f4958 f1417 1"/>
                <a:gd name="f6398" fmla="*/ f4959 f1417 1"/>
                <a:gd name="f6399" fmla="*/ f4960 f1417 1"/>
                <a:gd name="f6400" fmla="*/ f4961 f1418 1"/>
                <a:gd name="f6401" fmla="*/ f4962 f1418 1"/>
                <a:gd name="f6402" fmla="*/ f4963 f1418 1"/>
                <a:gd name="f6403" fmla="*/ f4964 f1418 1"/>
                <a:gd name="f6404" fmla="*/ f4965 f1418 1"/>
                <a:gd name="f6405" fmla="*/ f4966 f1418 1"/>
                <a:gd name="f6406" fmla="*/ f4967 f1418 1"/>
                <a:gd name="f6407" fmla="*/ f4968 f1418 1"/>
                <a:gd name="f6408" fmla="*/ f4969 f1418 1"/>
                <a:gd name="f6409" fmla="*/ f4970 f1418 1"/>
                <a:gd name="f6410" fmla="*/ f4971 f1418 1"/>
                <a:gd name="f6411" fmla="*/ f4972 f1418 1"/>
                <a:gd name="f6412" fmla="*/ f4973 f1418 1"/>
                <a:gd name="f6413" fmla="*/ f4974 f1418 1"/>
                <a:gd name="f6414" fmla="*/ f4975 f1418 1"/>
                <a:gd name="f6415" fmla="*/ f4976 f1418 1"/>
                <a:gd name="f6416" fmla="*/ f4977 f1418 1"/>
                <a:gd name="f6417" fmla="*/ f4978 f1418 1"/>
                <a:gd name="f6418" fmla="*/ f4979 f1418 1"/>
                <a:gd name="f6419" fmla="*/ f4980 f1418 1"/>
                <a:gd name="f6420" fmla="*/ f4981 f1418 1"/>
                <a:gd name="f6421" fmla="*/ f4982 f1418 1"/>
                <a:gd name="f6422" fmla="*/ f4983 f1418 1"/>
                <a:gd name="f6423" fmla="*/ f4984 f1418 1"/>
                <a:gd name="f6424" fmla="*/ f4985 f1418 1"/>
                <a:gd name="f6425" fmla="*/ f4986 f1418 1"/>
                <a:gd name="f6426" fmla="*/ f4987 f1418 1"/>
                <a:gd name="f6427" fmla="*/ f4988 f1418 1"/>
                <a:gd name="f6428" fmla="*/ f4989 f1418 1"/>
                <a:gd name="f6429" fmla="*/ f4990 f1418 1"/>
                <a:gd name="f6430" fmla="*/ f4991 f1418 1"/>
                <a:gd name="f6431" fmla="*/ f4992 f1418 1"/>
                <a:gd name="f6432" fmla="*/ f4993 f1418 1"/>
                <a:gd name="f6433" fmla="*/ f4994 f1418 1"/>
                <a:gd name="f6434" fmla="*/ f4995 f1418 1"/>
                <a:gd name="f6435" fmla="*/ f4996 f1418 1"/>
                <a:gd name="f6436" fmla="*/ f4997 f1418 1"/>
                <a:gd name="f6437" fmla="*/ f4998 f1418 1"/>
                <a:gd name="f6438" fmla="*/ f4999 f1418 1"/>
                <a:gd name="f6439" fmla="*/ f5000 f1418 1"/>
                <a:gd name="f6440" fmla="*/ f5001 f1418 1"/>
                <a:gd name="f6441" fmla="*/ f5002 f1417 1"/>
                <a:gd name="f6442" fmla="*/ f5003 f1418 1"/>
                <a:gd name="f6443" fmla="*/ f5004 f1418 1"/>
                <a:gd name="f6444" fmla="*/ f5005 f1418 1"/>
                <a:gd name="f6445" fmla="*/ f5006 f1418 1"/>
                <a:gd name="f6446" fmla="*/ f5007 f1417 1"/>
                <a:gd name="f6447" fmla="*/ f5008 f1417 1"/>
                <a:gd name="f6448" fmla="*/ f5009 f1417 1"/>
                <a:gd name="f6449" fmla="*/ f5010 f1417 1"/>
                <a:gd name="f6450" fmla="*/ f5011 f1417 1"/>
                <a:gd name="f6451" fmla="*/ f5012 f1418 1"/>
                <a:gd name="f6452" fmla="*/ f5013 f1418 1"/>
                <a:gd name="f6453" fmla="*/ f5014 f1418 1"/>
                <a:gd name="f6454" fmla="*/ f5015 f1417 1"/>
                <a:gd name="f6455" fmla="*/ f5016 f1417 1"/>
                <a:gd name="f6456" fmla="*/ f5017 f1417 1"/>
                <a:gd name="f6457" fmla="*/ f5018 f1418 1"/>
                <a:gd name="f6458" fmla="*/ f5019 f1418 1"/>
                <a:gd name="f6459" fmla="*/ f5020 f1418 1"/>
                <a:gd name="f6460" fmla="*/ f5021 f1418 1"/>
                <a:gd name="f6461" fmla="*/ f5022 f1418 1"/>
                <a:gd name="f6462" fmla="*/ f5023 f1418 1"/>
                <a:gd name="f6463" fmla="*/ f5024 f1418 1"/>
                <a:gd name="f6464" fmla="*/ f5025 f1418 1"/>
                <a:gd name="f6465" fmla="*/ f5026 f1417 1"/>
                <a:gd name="f6466" fmla="*/ f5027 f1417 1"/>
                <a:gd name="f6467" fmla="*/ f5028 f1418 1"/>
                <a:gd name="f6468" fmla="*/ f5029 f1417 1"/>
                <a:gd name="f6469" fmla="*/ f5030 f1418 1"/>
                <a:gd name="f6470" fmla="*/ f5031 f1418 1"/>
                <a:gd name="f6471" fmla="*/ f5032 f1418 1"/>
                <a:gd name="f6472" fmla="*/ f5033 f1417 1"/>
                <a:gd name="f6473" fmla="*/ f5034 f1417 1"/>
                <a:gd name="f6474" fmla="*/ f5035 f1417 1"/>
                <a:gd name="f6475" fmla="*/ f5036 f1418 1"/>
                <a:gd name="f6476" fmla="*/ f5037 f1417 1"/>
                <a:gd name="f6477" fmla="*/ f5038 f1417 1"/>
                <a:gd name="f6478" fmla="*/ f5039 f1417 1"/>
                <a:gd name="f6479" fmla="*/ f5040 f1417 1"/>
                <a:gd name="f6480" fmla="*/ f5041 f1417 1"/>
                <a:gd name="f6481" fmla="*/ f5042 f1417 1"/>
                <a:gd name="f6482" fmla="*/ f5043 f1418 1"/>
                <a:gd name="f6483" fmla="*/ f5044 f1418 1"/>
                <a:gd name="f6484" fmla="*/ f5045 f1418 1"/>
                <a:gd name="f6485" fmla="*/ f5046 f1418 1"/>
                <a:gd name="f6486" fmla="*/ f5047 f1418 1"/>
                <a:gd name="f6487" fmla="*/ f5048 f1418 1"/>
                <a:gd name="f6488" fmla="*/ f5049 f1418 1"/>
                <a:gd name="f6489" fmla="*/ f5050 f1418 1"/>
                <a:gd name="f6490" fmla="*/ f5051 f1418 1"/>
                <a:gd name="f6491" fmla="*/ f5052 f1418 1"/>
                <a:gd name="f6492" fmla="*/ f5053 f1418 1"/>
                <a:gd name="f6493" fmla="*/ f5054 f1418 1"/>
                <a:gd name="f6494" fmla="*/ f5055 f1418 1"/>
                <a:gd name="f6495" fmla="*/ f5056 f1418 1"/>
                <a:gd name="f6496" fmla="*/ f5057 f1418 1"/>
                <a:gd name="f6497" fmla="*/ f5058 f1418 1"/>
                <a:gd name="f6498" fmla="*/ f5059 f1418 1"/>
                <a:gd name="f6499" fmla="*/ f5060 f1418 1"/>
                <a:gd name="f6500" fmla="*/ f5061 f1418 1"/>
                <a:gd name="f6501" fmla="*/ f5062 f1418 1"/>
                <a:gd name="f6502" fmla="*/ f5063 f1418 1"/>
                <a:gd name="f6503" fmla="*/ f5064 f1418 1"/>
                <a:gd name="f6504" fmla="*/ f5065 f1418 1"/>
                <a:gd name="f6505" fmla="*/ f5066 f1418 1"/>
                <a:gd name="f6506" fmla="*/ f5067 f1418 1"/>
                <a:gd name="f6507" fmla="*/ f5068 f1418 1"/>
                <a:gd name="f6508" fmla="*/ f5069 f1418 1"/>
                <a:gd name="f6509" fmla="*/ f5070 f1418 1"/>
                <a:gd name="f6510" fmla="*/ f5071 f1418 1"/>
                <a:gd name="f6511" fmla="*/ f5072 f1418 1"/>
                <a:gd name="f6512" fmla="*/ f5073 f1418 1"/>
                <a:gd name="f6513" fmla="*/ f5074 f1418 1"/>
                <a:gd name="f6514" fmla="*/ f5075 f1418 1"/>
                <a:gd name="f6515" fmla="*/ f5076 f1418 1"/>
                <a:gd name="f6516" fmla="*/ f5077 f1418 1"/>
                <a:gd name="f6517" fmla="*/ f5078 f1418 1"/>
                <a:gd name="f6518" fmla="*/ f5079 f1418 1"/>
                <a:gd name="f6519" fmla="*/ f5080 f1418 1"/>
                <a:gd name="f6520" fmla="*/ f5081 f1418 1"/>
                <a:gd name="f6521" fmla="*/ f5082 f1418 1"/>
                <a:gd name="f6522" fmla="*/ f5083 f1418 1"/>
                <a:gd name="f6523" fmla="*/ f5084 f1418 1"/>
                <a:gd name="f6524" fmla="*/ f5085 f1418 1"/>
                <a:gd name="f6525" fmla="*/ f5086 f1418 1"/>
                <a:gd name="f6526" fmla="*/ f5087 f1418 1"/>
                <a:gd name="f6527" fmla="*/ f5088 f1417 1"/>
                <a:gd name="f6528" fmla="*/ f5089 f1418 1"/>
                <a:gd name="f6529" fmla="*/ f5090 f1417 1"/>
                <a:gd name="f6530" fmla="*/ f5091 f1417 1"/>
                <a:gd name="f6531" fmla="*/ f5092 f1418 1"/>
                <a:gd name="f6532" fmla="*/ f5093 f1418 1"/>
                <a:gd name="f6533" fmla="*/ f5094 f1418 1"/>
                <a:gd name="f6534" fmla="*/ f5095 f1417 1"/>
                <a:gd name="f6535" fmla="*/ f5096 f1417 1"/>
                <a:gd name="f6536" fmla="*/ f5097 f1417 1"/>
                <a:gd name="f6537" fmla="*/ f5098 f1417 1"/>
                <a:gd name="f6538" fmla="*/ f5099 f1417 1"/>
                <a:gd name="f6539" fmla="*/ f5100 f1418 1"/>
                <a:gd name="f6540" fmla="*/ f5101 f1418 1"/>
                <a:gd name="f6541" fmla="*/ f5102 f1417 1"/>
                <a:gd name="f6542" fmla="*/ f5103 f1417 1"/>
                <a:gd name="f6543" fmla="*/ f5104 f1417 1"/>
                <a:gd name="f6544" fmla="*/ f5105 f1417 1"/>
                <a:gd name="f6545" fmla="*/ f5106 f1417 1"/>
                <a:gd name="f6546" fmla="*/ f5107 f1418 1"/>
                <a:gd name="f6547" fmla="*/ f5108 f1417 1"/>
                <a:gd name="f6548" fmla="*/ f5109 f1418 1"/>
                <a:gd name="f6549" fmla="*/ f5110 f1418 1"/>
                <a:gd name="f6550" fmla="*/ f5111 f1418 1"/>
                <a:gd name="f6551" fmla="*/ f5112 f1417 1"/>
                <a:gd name="f6552" fmla="*/ f5113 f1417 1"/>
                <a:gd name="f6553" fmla="*/ f5114 f1418 1"/>
                <a:gd name="f6554" fmla="*/ f5115 f1417 1"/>
                <a:gd name="f6555" fmla="*/ f5116 f1417 1"/>
                <a:gd name="f6556" fmla="*/ f5117 f1417 1"/>
                <a:gd name="f6557" fmla="*/ f5118 f1417 1"/>
                <a:gd name="f6558" fmla="*/ f5119 f1417 1"/>
                <a:gd name="f6559" fmla="*/ f5120 f1418 1"/>
                <a:gd name="f6560" fmla="*/ f5121 f1417 1"/>
                <a:gd name="f6561" fmla="*/ f5122 f1418 1"/>
                <a:gd name="f6562" fmla="*/ f5123 f1418 1"/>
                <a:gd name="f6563" fmla="*/ f5124 f1418 1"/>
                <a:gd name="f6564" fmla="*/ f5125 f1418 1"/>
                <a:gd name="f6565" fmla="*/ f5126 f1417 1"/>
                <a:gd name="f6566" fmla="*/ f5127 f1418 1"/>
                <a:gd name="f6567" fmla="*/ f5128 f1418 1"/>
                <a:gd name="f6568" fmla="*/ f5129 f1418 1"/>
                <a:gd name="f6569" fmla="*/ f5130 f1418 1"/>
                <a:gd name="f6570" fmla="*/ f5131 f1418 1"/>
                <a:gd name="f6571" fmla="*/ f5132 f1418 1"/>
                <a:gd name="f6572" fmla="*/ f5133 f1418 1"/>
                <a:gd name="f6573" fmla="*/ f5134 f1418 1"/>
                <a:gd name="f6574" fmla="*/ f5135 f1418 1"/>
                <a:gd name="f6575" fmla="*/ f5136 f1418 1"/>
                <a:gd name="f6576" fmla="*/ f5137 f1418 1"/>
                <a:gd name="f6577" fmla="*/ f5138 f1418 1"/>
                <a:gd name="f6578" fmla="*/ f5139 f1418 1"/>
                <a:gd name="f6579" fmla="*/ f5140 f1418 1"/>
                <a:gd name="f6580" fmla="*/ f5141 f1418 1"/>
                <a:gd name="f6581" fmla="*/ f5142 f1418 1"/>
                <a:gd name="f6582" fmla="*/ f5143 f1418 1"/>
                <a:gd name="f6583" fmla="*/ f5144 f1418 1"/>
                <a:gd name="f6584" fmla="*/ f5145 f1418 1"/>
                <a:gd name="f6585" fmla="*/ f5146 f1418 1"/>
                <a:gd name="f6586" fmla="*/ f5147 f1418 1"/>
                <a:gd name="f6587" fmla="*/ f5148 f1418 1"/>
                <a:gd name="f6588" fmla="*/ f5149 f1418 1"/>
                <a:gd name="f6589" fmla="*/ f5150 f1418 1"/>
                <a:gd name="f6590" fmla="*/ f5151 f1418 1"/>
                <a:gd name="f6591" fmla="*/ f5152 f1418 1"/>
                <a:gd name="f6592" fmla="*/ f5153 f1418 1"/>
                <a:gd name="f6593" fmla="*/ f5154 f1418 1"/>
                <a:gd name="f6594" fmla="*/ f5155 f1418 1"/>
                <a:gd name="f6595" fmla="*/ f5156 f1418 1"/>
                <a:gd name="f6596" fmla="*/ f5157 f1418 1"/>
                <a:gd name="f6597" fmla="*/ f5158 f1418 1"/>
                <a:gd name="f6598" fmla="*/ f5159 f1418 1"/>
                <a:gd name="f6599" fmla="*/ f5160 f1418 1"/>
                <a:gd name="f6600" fmla="*/ f5161 f1418 1"/>
                <a:gd name="f6601" fmla="*/ f5162 f1418 1"/>
                <a:gd name="f6602" fmla="*/ f5163 f1418 1"/>
                <a:gd name="f6603" fmla="*/ f5164 f1418 1"/>
                <a:gd name="f6604" fmla="*/ f5165 f1418 1"/>
                <a:gd name="f6605" fmla="*/ f5166 f1418 1"/>
                <a:gd name="f6606" fmla="*/ f5167 f1418 1"/>
                <a:gd name="f6607" fmla="*/ f5168 f1418 1"/>
                <a:gd name="f6608" fmla="*/ f5169 f1418 1"/>
                <a:gd name="f6609" fmla="*/ f5170 f1417 1"/>
                <a:gd name="f6610" fmla="*/ f5171 f1418 1"/>
                <a:gd name="f6611" fmla="*/ f5172 f1417 1"/>
                <a:gd name="f6612" fmla="*/ f5173 f1417 1"/>
                <a:gd name="f6613" fmla="*/ f5174 f1418 1"/>
                <a:gd name="f6614" fmla="*/ f5175 f1418 1"/>
                <a:gd name="f6615" fmla="*/ f5176 f1418 1"/>
                <a:gd name="f6616" fmla="*/ f5177 f1417 1"/>
                <a:gd name="f6617" fmla="*/ f5178 f1418 1"/>
                <a:gd name="f6618" fmla="*/ f5179 f1417 1"/>
                <a:gd name="f6619" fmla="*/ f5180 f1417 1"/>
                <a:gd name="f6620" fmla="*/ f5181 f1417 1"/>
                <a:gd name="f6621" fmla="*/ f5182 f1417 1"/>
                <a:gd name="f6622" fmla="*/ f5183 f1417 1"/>
                <a:gd name="f6623" fmla="*/ f5184 f1417 1"/>
                <a:gd name="f6624" fmla="*/ f5185 f1417 1"/>
                <a:gd name="f6625" fmla="*/ f5186 f1417 1"/>
                <a:gd name="f6626" fmla="*/ f5187 f1417 1"/>
                <a:gd name="f6627" fmla="*/ f5188 f1418 1"/>
                <a:gd name="f6628" fmla="*/ f5189 f1418 1"/>
                <a:gd name="f6629" fmla="*/ f5190 f1418 1"/>
                <a:gd name="f6630" fmla="*/ f5191 f1418 1"/>
                <a:gd name="f6631" fmla="*/ f5192 f1417 1"/>
                <a:gd name="f6632" fmla="*/ f5193 f1418 1"/>
                <a:gd name="f6633" fmla="*/ f5194 f1418 1"/>
                <a:gd name="f6634" fmla="*/ f5195 f1418 1"/>
                <a:gd name="f6635" fmla="*/ f5196 f1418 1"/>
                <a:gd name="f6636" fmla="*/ f5197 f1418 1"/>
                <a:gd name="f6637" fmla="*/ f5198 f1418 1"/>
                <a:gd name="f6638" fmla="*/ f5199 f1418 1"/>
                <a:gd name="f6639" fmla="*/ f5200 f1418 1"/>
                <a:gd name="f6640" fmla="*/ f5201 f1418 1"/>
                <a:gd name="f6641" fmla="*/ f5202 f1417 1"/>
                <a:gd name="f6642" fmla="*/ f5203 f1417 1"/>
                <a:gd name="f6643" fmla="*/ f5204 f1418 1"/>
                <a:gd name="f6644" fmla="*/ f5205 f1418 1"/>
                <a:gd name="f6645" fmla="*/ f5206 f1418 1"/>
                <a:gd name="f6646" fmla="*/ f5207 f1417 1"/>
                <a:gd name="f6647" fmla="*/ f5208 f1417 1"/>
                <a:gd name="f6648" fmla="*/ f5209 f1417 1"/>
                <a:gd name="f6649" fmla="*/ f5210 f1417 1"/>
                <a:gd name="f6650" fmla="*/ f5211 f1417 1"/>
                <a:gd name="f6651" fmla="*/ f5212 f1417 1"/>
                <a:gd name="f6652" fmla="*/ f5213 f1417 1"/>
                <a:gd name="f6653" fmla="*/ f5214 f1418 1"/>
                <a:gd name="f6654" fmla="*/ f5215 f1418 1"/>
                <a:gd name="f6655" fmla="*/ f5216 f1418 1"/>
                <a:gd name="f6656" fmla="*/ f5217 f1418 1"/>
                <a:gd name="f6657" fmla="*/ f5218 f1418 1"/>
                <a:gd name="f6658" fmla="*/ f5219 f1418 1"/>
                <a:gd name="f6659" fmla="*/ f5220 f1418 1"/>
                <a:gd name="f6660" fmla="*/ f5221 f1418 1"/>
                <a:gd name="f6661" fmla="*/ f5222 f1418 1"/>
                <a:gd name="f6662" fmla="*/ f5223 f1418 1"/>
                <a:gd name="f6663" fmla="*/ f5224 f1418 1"/>
                <a:gd name="f6664" fmla="*/ f5225 f1418 1"/>
                <a:gd name="f6665" fmla="*/ f5226 f1418 1"/>
                <a:gd name="f6666" fmla="*/ f5227 f1418 1"/>
                <a:gd name="f6667" fmla="*/ f5228 f1418 1"/>
                <a:gd name="f6668" fmla="*/ f5229 f1418 1"/>
                <a:gd name="f6669" fmla="*/ f5230 f1418 1"/>
                <a:gd name="f6670" fmla="*/ f5231 f1418 1"/>
                <a:gd name="f6671" fmla="*/ f5232 f1418 1"/>
                <a:gd name="f6672" fmla="*/ f5233 f1418 1"/>
                <a:gd name="f6673" fmla="*/ f5234 f1418 1"/>
                <a:gd name="f6674" fmla="*/ f5235 f1418 1"/>
                <a:gd name="f6675" fmla="*/ f5236 f1418 1"/>
                <a:gd name="f6676" fmla="*/ f5237 f1418 1"/>
                <a:gd name="f6677" fmla="*/ f5238 f1418 1"/>
                <a:gd name="f6678" fmla="*/ f5239 f1418 1"/>
                <a:gd name="f6679" fmla="*/ f5240 f1418 1"/>
                <a:gd name="f6680" fmla="*/ f5241 f1418 1"/>
                <a:gd name="f6681" fmla="*/ f5242 f1418 1"/>
                <a:gd name="f6682" fmla="*/ f5243 f1418 1"/>
                <a:gd name="f6683" fmla="*/ f5244 f1418 1"/>
                <a:gd name="f6684" fmla="*/ f5245 f1418 1"/>
                <a:gd name="f6685" fmla="*/ f5246 f1418 1"/>
                <a:gd name="f6686" fmla="*/ f5247 f1418 1"/>
                <a:gd name="f6687" fmla="*/ f5248 f1418 1"/>
                <a:gd name="f6688" fmla="*/ f5249 f1418 1"/>
                <a:gd name="f6689" fmla="*/ f5250 f1417 1"/>
                <a:gd name="f6690" fmla="*/ f5251 f1418 1"/>
                <a:gd name="f6691" fmla="*/ f5252 f1417 1"/>
                <a:gd name="f6692" fmla="*/ f5253 f1418 1"/>
                <a:gd name="f6693" fmla="*/ f5254 f1418 1"/>
                <a:gd name="f6694" fmla="*/ f5255 f1418 1"/>
                <a:gd name="f6695" fmla="*/ f5256 f1417 1"/>
                <a:gd name="f6696" fmla="*/ f5257 f1417 1"/>
                <a:gd name="f6697" fmla="*/ f5258 f1417 1"/>
                <a:gd name="f6698" fmla="*/ f5259 f1417 1"/>
                <a:gd name="f6699" fmla="*/ f5260 f1417 1"/>
                <a:gd name="f6700" fmla="*/ f5261 f1417 1"/>
                <a:gd name="f6701" fmla="*/ f5262 f1417 1"/>
                <a:gd name="f6702" fmla="*/ f5263 f1418 1"/>
                <a:gd name="f6703" fmla="*/ f5264 f1418 1"/>
                <a:gd name="f6704" fmla="*/ f5265 f1418 1"/>
                <a:gd name="f6705" fmla="*/ f5266 f1418 1"/>
                <a:gd name="f6706" fmla="*/ f5267 f1418 1"/>
                <a:gd name="f6707" fmla="*/ f5268 f1418 1"/>
                <a:gd name="f6708" fmla="*/ f5269 f1418 1"/>
                <a:gd name="f6709" fmla="*/ f5270 f1418 1"/>
                <a:gd name="f6710" fmla="*/ f5271 f1417 1"/>
                <a:gd name="f6711" fmla="*/ f5272 f1418 1"/>
                <a:gd name="f6712" fmla="*/ f5273 f1417 1"/>
                <a:gd name="f6713" fmla="*/ f5274 f1418 1"/>
                <a:gd name="f6714" fmla="*/ f5275 f1418 1"/>
                <a:gd name="f6715" fmla="*/ f5276 f1418 1"/>
                <a:gd name="f6716" fmla="*/ f5277 f1417 1"/>
                <a:gd name="f6717" fmla="*/ f5278 f1418 1"/>
                <a:gd name="f6718" fmla="*/ f5279 f1418 1"/>
                <a:gd name="f6719" fmla="*/ f5280 f1418 1"/>
                <a:gd name="f6720" fmla="*/ f5281 f1418 1"/>
                <a:gd name="f6721" fmla="*/ f5282 f1417 1"/>
                <a:gd name="f6722" fmla="*/ f5283 f1417 1"/>
                <a:gd name="f6723" fmla="*/ f5284 f1417 1"/>
                <a:gd name="f6724" fmla="*/ f5285 f1417 1"/>
                <a:gd name="f6725" fmla="*/ f5286 f1417 1"/>
                <a:gd name="f6726" fmla="*/ f5287 f1418 1"/>
                <a:gd name="f6727" fmla="*/ f5288 f1417 1"/>
                <a:gd name="f6728" fmla="*/ f5289 f1417 1"/>
                <a:gd name="f6729" fmla="*/ f5290 f1417 1"/>
                <a:gd name="f6730" fmla="*/ f5291 f1417 1"/>
                <a:gd name="f6731" fmla="*/ f5292 f1418 1"/>
                <a:gd name="f6732" fmla="*/ f5293 f1418 1"/>
                <a:gd name="f6733" fmla="*/ f5294 f1418 1"/>
                <a:gd name="f6734" fmla="*/ f5295 f1418 1"/>
                <a:gd name="f6735" fmla="*/ f5296 f1418 1"/>
                <a:gd name="f6736" fmla="*/ f5297 f1418 1"/>
                <a:gd name="f6737" fmla="*/ f5298 f1418 1"/>
                <a:gd name="f6738" fmla="*/ f5299 f1418 1"/>
                <a:gd name="f6739" fmla="*/ f5300 f1418 1"/>
                <a:gd name="f6740" fmla="*/ f5301 f1418 1"/>
                <a:gd name="f6741" fmla="*/ f5302 f1418 1"/>
                <a:gd name="f6742" fmla="*/ f5303 f1418 1"/>
                <a:gd name="f6743" fmla="*/ f5304 f1418 1"/>
                <a:gd name="f6744" fmla="*/ f5305 f1418 1"/>
                <a:gd name="f6745" fmla="*/ f5306 f1418 1"/>
                <a:gd name="f6746" fmla="*/ f5307 f1418 1"/>
                <a:gd name="f6747" fmla="*/ f5308 f1418 1"/>
                <a:gd name="f6748" fmla="*/ f5309 f1418 1"/>
                <a:gd name="f6749" fmla="*/ f5310 f1418 1"/>
                <a:gd name="f6750" fmla="*/ f5311 f1418 1"/>
                <a:gd name="f6751" fmla="*/ f5312 f1418 1"/>
                <a:gd name="f6752" fmla="*/ f5313 f1418 1"/>
                <a:gd name="f6753" fmla="*/ f5314 f1418 1"/>
                <a:gd name="f6754" fmla="*/ f5315 f1418 1"/>
                <a:gd name="f6755" fmla="*/ f5316 f1418 1"/>
                <a:gd name="f6756" fmla="*/ f5317 f1418 1"/>
                <a:gd name="f6757" fmla="*/ f5318 f1418 1"/>
                <a:gd name="f6758" fmla="*/ f5319 f1418 1"/>
                <a:gd name="f6759" fmla="*/ f5320 f1418 1"/>
                <a:gd name="f6760" fmla="*/ f5321 f1418 1"/>
                <a:gd name="f6761" fmla="*/ f5322 f1418 1"/>
                <a:gd name="f6762" fmla="*/ f5323 f1418 1"/>
                <a:gd name="f6763" fmla="*/ f5324 f1418 1"/>
                <a:gd name="f6764" fmla="*/ f5325 f1418 1"/>
                <a:gd name="f6765" fmla="*/ f5326 f1418 1"/>
                <a:gd name="f6766" fmla="*/ f5327 f1418 1"/>
                <a:gd name="f6767" fmla="*/ f5328 f1417 1"/>
                <a:gd name="f6768" fmla="*/ f5329 f1418 1"/>
                <a:gd name="f6769" fmla="*/ f5330 f1417 1"/>
                <a:gd name="f6770" fmla="*/ f5331 f1418 1"/>
                <a:gd name="f6771" fmla="*/ f5332 f1418 1"/>
                <a:gd name="f6772" fmla="*/ f5333 f1418 1"/>
                <a:gd name="f6773" fmla="*/ f5334 f1417 1"/>
                <a:gd name="f6774" fmla="*/ f5335 f1417 1"/>
                <a:gd name="f6775" fmla="*/ f5336 f1418 1"/>
                <a:gd name="f6776" fmla="*/ f5337 f1417 1"/>
                <a:gd name="f6777" fmla="*/ f5338 f1417 1"/>
                <a:gd name="f6778" fmla="*/ f5339 f1418 1"/>
                <a:gd name="f6779" fmla="*/ f5340 f1417 1"/>
                <a:gd name="f6780" fmla="*/ f5341 f1417 1"/>
                <a:gd name="f6781" fmla="*/ f5342 f1417 1"/>
                <a:gd name="f6782" fmla="*/ f5343 f1417 1"/>
                <a:gd name="f6783" fmla="*/ f5344 f1417 1"/>
                <a:gd name="f6784" fmla="*/ f5345 f1417 1"/>
                <a:gd name="f6785" fmla="*/ f5346 f1417 1"/>
                <a:gd name="f6786" fmla="*/ f5347 f1418 1"/>
                <a:gd name="f6787" fmla="*/ f5348 f1417 1"/>
                <a:gd name="f6788" fmla="*/ f5349 f1418 1"/>
                <a:gd name="f6789" fmla="*/ f5350 f1418 1"/>
                <a:gd name="f6790" fmla="*/ f5351 f1418 1"/>
                <a:gd name="f6791" fmla="*/ f5352 f1417 1"/>
                <a:gd name="f6792" fmla="*/ f5353 f1417 1"/>
                <a:gd name="f6793" fmla="*/ f5354 f1417 1"/>
                <a:gd name="f6794" fmla="*/ f5355 f1417 1"/>
                <a:gd name="f6795" fmla="*/ f5356 f1417 1"/>
                <a:gd name="f6796" fmla="*/ f5357 f1418 1"/>
                <a:gd name="f6797" fmla="*/ f5358 f1417 1"/>
                <a:gd name="f6798" fmla="*/ f5359 f1417 1"/>
                <a:gd name="f6799" fmla="*/ f5360 f1417 1"/>
                <a:gd name="f6800" fmla="*/ f5361 f1418 1"/>
                <a:gd name="f6801" fmla="*/ f5362 f1418 1"/>
                <a:gd name="f6802" fmla="*/ f5363 f1418 1"/>
                <a:gd name="f6803" fmla="*/ f5364 f1418 1"/>
                <a:gd name="f6804" fmla="*/ f5365 f1418 1"/>
                <a:gd name="f6805" fmla="*/ f5366 f1417 1"/>
                <a:gd name="f6806" fmla="*/ f5367 f1418 1"/>
                <a:gd name="f6807" fmla="*/ f5368 f1418 1"/>
                <a:gd name="f6808" fmla="*/ f5369 f1418 1"/>
                <a:gd name="f6809" fmla="*/ f5370 f1418 1"/>
                <a:gd name="f6810" fmla="*/ f5371 f1418 1"/>
                <a:gd name="f6811" fmla="*/ f5372 f1418 1"/>
                <a:gd name="f6812" fmla="*/ f5373 f1418 1"/>
                <a:gd name="f6813" fmla="*/ f5374 f1418 1"/>
                <a:gd name="f6814" fmla="*/ f5375 f1418 1"/>
                <a:gd name="f6815" fmla="*/ f5376 f1418 1"/>
                <a:gd name="f6816" fmla="*/ f5377 f1418 1"/>
                <a:gd name="f6817" fmla="*/ f5378 f1418 1"/>
                <a:gd name="f6818" fmla="*/ f5379 f1418 1"/>
                <a:gd name="f6819" fmla="*/ f5380 f1418 1"/>
                <a:gd name="f6820" fmla="*/ f5381 f1418 1"/>
                <a:gd name="f6821" fmla="*/ f5382 f1418 1"/>
                <a:gd name="f6822" fmla="*/ f5383 f1418 1"/>
                <a:gd name="f6823" fmla="*/ f5384 f1418 1"/>
                <a:gd name="f6824" fmla="*/ f5385 f1418 1"/>
                <a:gd name="f6825" fmla="*/ f5386 f1418 1"/>
                <a:gd name="f6826" fmla="*/ f5387 f1418 1"/>
                <a:gd name="f6827" fmla="*/ f5388 f1418 1"/>
                <a:gd name="f6828" fmla="*/ f5389 f1418 1"/>
                <a:gd name="f6829" fmla="*/ f5390 f1418 1"/>
                <a:gd name="f6830" fmla="*/ f5391 f1418 1"/>
                <a:gd name="f6831" fmla="*/ f5392 f1418 1"/>
                <a:gd name="f6832" fmla="*/ f5393 f1418 1"/>
                <a:gd name="f6833" fmla="*/ f5394 f1418 1"/>
                <a:gd name="f6834" fmla="*/ f5395 f1417 1"/>
                <a:gd name="f6835" fmla="*/ f5396 f1417 1"/>
                <a:gd name="f6836" fmla="*/ f5397 f1418 1"/>
                <a:gd name="f6837" fmla="*/ f5398 f1418 1"/>
                <a:gd name="f6838" fmla="*/ f5399 f1418 1"/>
                <a:gd name="f6839" fmla="*/ f5400 f1417 1"/>
                <a:gd name="f6840" fmla="*/ f5401 f1417 1"/>
                <a:gd name="f6841" fmla="*/ f5402 f1417 1"/>
                <a:gd name="f6842" fmla="*/ f5403 f1417 1"/>
                <a:gd name="f6843" fmla="*/ f5404 f1417 1"/>
                <a:gd name="f6844" fmla="*/ f5405 f1417 1"/>
                <a:gd name="f6845" fmla="*/ f5406 f1417 1"/>
                <a:gd name="f6846" fmla="*/ f5407 f1417 1"/>
                <a:gd name="f6847" fmla="*/ f5408 f1418 1"/>
                <a:gd name="f6848" fmla="*/ f5409 f1418 1"/>
                <a:gd name="f6849" fmla="*/ f5410 f1418 1"/>
                <a:gd name="f6850" fmla="*/ f5411 f1418 1"/>
                <a:gd name="f6851" fmla="*/ f5412 f1418 1"/>
                <a:gd name="f6852" fmla="*/ f5413 f1418 1"/>
                <a:gd name="f6853" fmla="*/ f5414 f1417 1"/>
                <a:gd name="f6854" fmla="*/ f5415 f1418 1"/>
                <a:gd name="f6855" fmla="*/ f5416 f1418 1"/>
                <a:gd name="f6856" fmla="*/ f5417 f1418 1"/>
                <a:gd name="f6857" fmla="*/ f5418 f1418 1"/>
                <a:gd name="f6858" fmla="*/ f5419 f1418 1"/>
                <a:gd name="f6859" fmla="*/ f5420 f1417 1"/>
                <a:gd name="f6860" fmla="*/ f5421 f1418 1"/>
                <a:gd name="f6861" fmla="*/ f5422 f1418 1"/>
                <a:gd name="f6862" fmla="*/ f5423 f1418 1"/>
                <a:gd name="f6863" fmla="*/ f5424 f1418 1"/>
                <a:gd name="f6864" fmla="*/ f5425 f1418 1"/>
                <a:gd name="f6865" fmla="*/ f5426 f1418 1"/>
                <a:gd name="f6866" fmla="*/ f5427 f1418 1"/>
                <a:gd name="f6867" fmla="*/ f5428 f1418 1"/>
                <a:gd name="f6868" fmla="*/ f5429 f1417 1"/>
                <a:gd name="f6869" fmla="*/ f5430 f1417 1"/>
                <a:gd name="f6870" fmla="*/ f5431 f1417 1"/>
                <a:gd name="f6871" fmla="*/ f5432 f1417 1"/>
                <a:gd name="f6872" fmla="*/ f5433 f1417 1"/>
                <a:gd name="f6873" fmla="*/ f5434 f1417 1"/>
                <a:gd name="f6874" fmla="*/ f5435 f1417 1"/>
                <a:gd name="f6875" fmla="*/ f5436 f1417 1"/>
                <a:gd name="f6876" fmla="*/ f5437 f1417 1"/>
                <a:gd name="f6877" fmla="*/ f5438 f1418 1"/>
                <a:gd name="f6878" fmla="*/ f5439 f1418 1"/>
                <a:gd name="f6879" fmla="*/ f5440 f1418 1"/>
                <a:gd name="f6880" fmla="*/ f5441 f1418 1"/>
                <a:gd name="f6881" fmla="*/ f5442 f1418 1"/>
                <a:gd name="f6882" fmla="*/ f5443 f1418 1"/>
                <a:gd name="f6883" fmla="*/ f5444 f1418 1"/>
                <a:gd name="f6884" fmla="*/ f5445 f1418 1"/>
                <a:gd name="f6885" fmla="*/ f5446 f1418 1"/>
                <a:gd name="f6886" fmla="*/ f5447 f1418 1"/>
                <a:gd name="f6887" fmla="*/ f5448 f1418 1"/>
                <a:gd name="f6888" fmla="*/ f5449 f1418 1"/>
                <a:gd name="f6889" fmla="*/ f5450 f1418 1"/>
                <a:gd name="f6890" fmla="*/ f5451 f1418 1"/>
                <a:gd name="f6891" fmla="*/ f5452 f1418 1"/>
                <a:gd name="f6892" fmla="*/ f5453 f1418 1"/>
                <a:gd name="f6893" fmla="*/ f5454 f1418 1"/>
                <a:gd name="f6894" fmla="*/ f5455 f1418 1"/>
                <a:gd name="f6895" fmla="*/ f5456 f1418 1"/>
                <a:gd name="f6896" fmla="*/ f5457 f1418 1"/>
                <a:gd name="f6897" fmla="*/ f5458 f1418 1"/>
                <a:gd name="f6898" fmla="*/ f5459 f1418 1"/>
                <a:gd name="f6899" fmla="*/ f5460 f1418 1"/>
                <a:gd name="f6900" fmla="*/ f5461 f1418 1"/>
                <a:gd name="f6901" fmla="*/ f5462 f1418 1"/>
                <a:gd name="f6902" fmla="*/ f5463 f1418 1"/>
                <a:gd name="f6903" fmla="*/ f5464 f1418 1"/>
                <a:gd name="f6904" fmla="*/ f5465 f1417 1"/>
                <a:gd name="f6905" fmla="*/ f5466 f1418 1"/>
                <a:gd name="f6906" fmla="*/ f5467 f1417 1"/>
                <a:gd name="f6907" fmla="*/ f5468 f1418 1"/>
                <a:gd name="f6908" fmla="*/ f5469 f1418 1"/>
                <a:gd name="f6909" fmla="*/ f5470 f1418 1"/>
                <a:gd name="f6910" fmla="*/ f5471 f1417 1"/>
                <a:gd name="f6911" fmla="*/ f5472 f1417 1"/>
                <a:gd name="f6912" fmla="*/ f5473 f1418 1"/>
                <a:gd name="f6913" fmla="*/ f5474 f1417 1"/>
                <a:gd name="f6914" fmla="*/ f5475 f1418 1"/>
                <a:gd name="f6915" fmla="*/ f5476 f1417 1"/>
                <a:gd name="f6916" fmla="*/ f5477 f1417 1"/>
                <a:gd name="f6917" fmla="*/ f5478 f1417 1"/>
                <a:gd name="f6918" fmla="*/ f5479 f1417 1"/>
                <a:gd name="f6919" fmla="*/ f5480 f1418 1"/>
                <a:gd name="f6920" fmla="*/ f5481 f1418 1"/>
                <a:gd name="f6921" fmla="*/ f5482 f1418 1"/>
                <a:gd name="f6922" fmla="*/ f5483 f1418 1"/>
                <a:gd name="f6923" fmla="*/ f5484 f1418 1"/>
                <a:gd name="f6924" fmla="*/ f5485 f1418 1"/>
                <a:gd name="f6925" fmla="*/ f5486 f1418 1"/>
                <a:gd name="f6926" fmla="*/ f5487 f1418 1"/>
                <a:gd name="f6927" fmla="*/ f5488 f1418 1"/>
                <a:gd name="f6928" fmla="*/ f5489 f1417 1"/>
                <a:gd name="f6929" fmla="*/ f5490 f1418 1"/>
                <a:gd name="f6930" fmla="*/ f5491 f1418 1"/>
                <a:gd name="f6931" fmla="*/ f5492 f1418 1"/>
                <a:gd name="f6932" fmla="*/ f5493 f1418 1"/>
                <a:gd name="f6933" fmla="*/ f5494 f1418 1"/>
                <a:gd name="f6934" fmla="*/ f5495 f1418 1"/>
                <a:gd name="f6935" fmla="*/ f5496 f1418 1"/>
                <a:gd name="f6936" fmla="*/ f5497 f1418 1"/>
                <a:gd name="f6937" fmla="*/ f5498 f1417 1"/>
                <a:gd name="f6938" fmla="*/ f5499 f1417 1"/>
                <a:gd name="f6939" fmla="*/ f5500 f1418 1"/>
                <a:gd name="f6940" fmla="*/ f5501 f1418 1"/>
                <a:gd name="f6941" fmla="*/ f5502 f1418 1"/>
                <a:gd name="f6942" fmla="*/ f5503 f1417 1"/>
                <a:gd name="f6943" fmla="*/ f5504 f1418 1"/>
                <a:gd name="f6944" fmla="*/ f5505 f1418 1"/>
                <a:gd name="f6945" fmla="*/ f5506 f1417 1"/>
                <a:gd name="f6946" fmla="*/ f5507 f1417 1"/>
                <a:gd name="f6947" fmla="*/ f5508 f1417 1"/>
                <a:gd name="f6948" fmla="*/ f5509 f1417 1"/>
                <a:gd name="f6949" fmla="*/ f5510 f1417 1"/>
                <a:gd name="f6950" fmla="*/ f5511 f1417 1"/>
                <a:gd name="f6951" fmla="*/ f5512 f1417 1"/>
                <a:gd name="f6952" fmla="*/ f5513 f1418 1"/>
                <a:gd name="f6953" fmla="*/ f5514 f1418 1"/>
                <a:gd name="f6954" fmla="*/ f5515 f1418 1"/>
                <a:gd name="f6955" fmla="*/ f5516 f1418 1"/>
                <a:gd name="f6956" fmla="*/ f5517 f1418 1"/>
                <a:gd name="f6957" fmla="*/ f5518 f1418 1"/>
                <a:gd name="f6958" fmla="*/ f5519 f1418 1"/>
                <a:gd name="f6959" fmla="*/ f5520 f1418 1"/>
                <a:gd name="f6960" fmla="*/ f5521 f1418 1"/>
                <a:gd name="f6961" fmla="*/ f5522 f1418 1"/>
                <a:gd name="f6962" fmla="*/ f5523 f1418 1"/>
                <a:gd name="f6963" fmla="*/ f5524 f1418 1"/>
                <a:gd name="f6964" fmla="*/ f5525 f1418 1"/>
                <a:gd name="f6965" fmla="*/ f5526 f1418 1"/>
                <a:gd name="f6966" fmla="*/ f5527 f1418 1"/>
                <a:gd name="f6967" fmla="*/ f5528 f1418 1"/>
                <a:gd name="f6968" fmla="*/ f5529 f1418 1"/>
                <a:gd name="f6969" fmla="*/ f5530 f1418 1"/>
                <a:gd name="f6970" fmla="*/ f5531 f1418 1"/>
                <a:gd name="f6971" fmla="*/ f5532 f1418 1"/>
                <a:gd name="f6972" fmla="*/ f5533 f1418 1"/>
                <a:gd name="f6973" fmla="*/ f5534 f1418 1"/>
                <a:gd name="f6974" fmla="*/ f5535 f1418 1"/>
                <a:gd name="f6975" fmla="*/ f5536 f1418 1"/>
                <a:gd name="f6976" fmla="*/ f5537 f1418 1"/>
                <a:gd name="f6977" fmla="*/ f5538 f1418 1"/>
                <a:gd name="f6978" fmla="*/ f5539 f1418 1"/>
                <a:gd name="f6979" fmla="*/ f5540 f1418 1"/>
                <a:gd name="f6980" fmla="*/ f5541 f1418 1"/>
                <a:gd name="f6981" fmla="*/ f5542 f1418 1"/>
                <a:gd name="f6982" fmla="*/ f5543 f1418 1"/>
                <a:gd name="f6983" fmla="*/ f5544 f1418 1"/>
                <a:gd name="f6984" fmla="*/ f5545 f1418 1"/>
                <a:gd name="f6985" fmla="*/ f5546 f1417 1"/>
                <a:gd name="f6986" fmla="*/ f5547 f1418 1"/>
                <a:gd name="f6987" fmla="*/ f5548 f1417 1"/>
                <a:gd name="f6988" fmla="*/ f5549 f1417 1"/>
                <a:gd name="f6989" fmla="*/ f5550 f1418 1"/>
                <a:gd name="f6990" fmla="*/ f5551 f1418 1"/>
                <a:gd name="f6991" fmla="*/ f5552 f1418 1"/>
                <a:gd name="f6992" fmla="*/ f5553 f1417 1"/>
                <a:gd name="f6993" fmla="*/ f5554 f1417 1"/>
                <a:gd name="f6994" fmla="*/ f5555 f1417 1"/>
                <a:gd name="f6995" fmla="*/ f5556 f1417 1"/>
                <a:gd name="f6996" fmla="*/ f5557 f1417 1"/>
                <a:gd name="f6997" fmla="*/ f5558 f1417 1"/>
                <a:gd name="f6998" fmla="*/ f5559 f1417 1"/>
                <a:gd name="f6999" fmla="*/ f5560 f1417 1"/>
                <a:gd name="f7000" fmla="*/ f5561 f1417 1"/>
                <a:gd name="f7001" fmla="*/ f5562 f1417 1"/>
                <a:gd name="f7002" fmla="*/ f5563 f1418 1"/>
                <a:gd name="f7003" fmla="*/ f5564 f1417 1"/>
                <a:gd name="f7004" fmla="*/ f5565 f1418 1"/>
                <a:gd name="f7005" fmla="*/ f5566 f1418 1"/>
                <a:gd name="f7006" fmla="*/ f5567 f1418 1"/>
                <a:gd name="f7007" fmla="*/ f5568 f1417 1"/>
                <a:gd name="f7008" fmla="*/ f5569 f1417 1"/>
                <a:gd name="f7009" fmla="*/ f5570 f1417 1"/>
                <a:gd name="f7010" fmla="*/ f5571 f1417 1"/>
                <a:gd name="f7011" fmla="*/ f5572 f1418 1"/>
                <a:gd name="f7012" fmla="*/ f5573 f1417 1"/>
                <a:gd name="f7013" fmla="*/ f5574 f1417 1"/>
                <a:gd name="f7014" fmla="*/ f5575 f1417 1"/>
                <a:gd name="f7015" fmla="*/ f5576 f1417 1"/>
                <a:gd name="f7016" fmla="*/ f5577 f1418 1"/>
                <a:gd name="f7017" fmla="*/ f5578 f1417 1"/>
                <a:gd name="f7018" fmla="*/ f5579 f1418 1"/>
                <a:gd name="f7019" fmla="*/ f5580 f1418 1"/>
                <a:gd name="f7020" fmla="*/ f5581 f1418 1"/>
                <a:gd name="f7021" fmla="*/ f5582 f1418 1"/>
                <a:gd name="f7022" fmla="*/ f5583 f1417 1"/>
                <a:gd name="f7023" fmla="*/ f5584 f1418 1"/>
                <a:gd name="f7024" fmla="*/ f5585 f1418 1"/>
                <a:gd name="f7025" fmla="*/ f5586 f1418 1"/>
                <a:gd name="f7026" fmla="*/ f5587 f1418 1"/>
                <a:gd name="f7027" fmla="*/ f5588 f1418 1"/>
                <a:gd name="f7028" fmla="*/ f5589 f1418 1"/>
                <a:gd name="f7029" fmla="*/ f5590 f1418 1"/>
                <a:gd name="f7030" fmla="*/ f5591 f1418 1"/>
                <a:gd name="f7031" fmla="*/ f5592 f1418 1"/>
                <a:gd name="f7032" fmla="*/ f5593 f1418 1"/>
                <a:gd name="f7033" fmla="*/ f5594 f1418 1"/>
                <a:gd name="f7034" fmla="*/ f5595 f1418 1"/>
                <a:gd name="f7035" fmla="*/ f5596 f1418 1"/>
                <a:gd name="f7036" fmla="*/ f5597 f1418 1"/>
                <a:gd name="f7037" fmla="*/ f5598 f1418 1"/>
                <a:gd name="f7038" fmla="*/ f5599 f1418 1"/>
                <a:gd name="f7039" fmla="*/ f5600 f1418 1"/>
                <a:gd name="f7040" fmla="*/ f5601 f1418 1"/>
                <a:gd name="f7041" fmla="*/ f5602 f1418 1"/>
                <a:gd name="f7042" fmla="*/ f5603 f1418 1"/>
                <a:gd name="f7043" fmla="*/ f5604 f1418 1"/>
                <a:gd name="f7044" fmla="*/ f5605 f1418 1"/>
                <a:gd name="f7045" fmla="*/ f5606 f1418 1"/>
                <a:gd name="f7046" fmla="*/ f5607 f1418 1"/>
                <a:gd name="f7047" fmla="*/ f5608 f1418 1"/>
                <a:gd name="f7048" fmla="*/ f5609 f1418 1"/>
                <a:gd name="f7049" fmla="*/ f5610 f1418 1"/>
                <a:gd name="f7050" fmla="*/ f5611 f1418 1"/>
                <a:gd name="f7051" fmla="*/ f5612 f1418 1"/>
                <a:gd name="f7052" fmla="*/ f5613 f1417 1"/>
                <a:gd name="f7053" fmla="*/ f5614 f1417 1"/>
                <a:gd name="f7054" fmla="*/ f5615 f1418 1"/>
                <a:gd name="f7055" fmla="*/ f5616 f1418 1"/>
                <a:gd name="f7056" fmla="*/ f5617 f1418 1"/>
                <a:gd name="f7057" fmla="*/ f5618 f1417 1"/>
                <a:gd name="f7058" fmla="*/ f5619 f1417 1"/>
                <a:gd name="f7059" fmla="*/ f5620 f1417 1"/>
                <a:gd name="f7060" fmla="*/ f5621 f1417 1"/>
                <a:gd name="f7061" fmla="*/ f5622 f1417 1"/>
                <a:gd name="f7062" fmla="*/ f5623 f1417 1"/>
                <a:gd name="f7063" fmla="*/ f5624 f1417 1"/>
                <a:gd name="f7064" fmla="*/ f5625 f1417 1"/>
                <a:gd name="f7065" fmla="*/ f5626 f1418 1"/>
                <a:gd name="f7066" fmla="*/ f5627 f1418 1"/>
                <a:gd name="f7067" fmla="*/ f5628 f1418 1"/>
                <a:gd name="f7068" fmla="*/ f5629 f1418 1"/>
                <a:gd name="f7069" fmla="*/ f5630 f1418 1"/>
                <a:gd name="f7070" fmla="*/ f5631 f1418 1"/>
                <a:gd name="f7071" fmla="*/ f5632 f1418 1"/>
                <a:gd name="f7072" fmla="*/ f5633 f1418 1"/>
                <a:gd name="f7073" fmla="*/ f5634 f1418 1"/>
                <a:gd name="f7074" fmla="*/ f5635 f1418 1"/>
                <a:gd name="f7075" fmla="*/ f5636 f1418 1"/>
                <a:gd name="f7076" fmla="*/ f5637 f1418 1"/>
                <a:gd name="f7077" fmla="*/ f5638 f1417 1"/>
                <a:gd name="f7078" fmla="*/ f5639 f1418 1"/>
                <a:gd name="f7079" fmla="*/ f5640 f1418 1"/>
                <a:gd name="f7080" fmla="*/ f5641 f1418 1"/>
                <a:gd name="f7081" fmla="*/ f5642 f1418 1"/>
                <a:gd name="f7082" fmla="*/ f5643 f1418 1"/>
                <a:gd name="f7083" fmla="*/ f5644 f1418 1"/>
                <a:gd name="f7084" fmla="*/ f5645 f1418 1"/>
                <a:gd name="f7085" fmla="*/ f5646 f1418 1"/>
                <a:gd name="f7086" fmla="*/ f5647 f1418 1"/>
                <a:gd name="f7087" fmla="*/ f5648 f1417 1"/>
                <a:gd name="f7088" fmla="*/ f5649 f1417 1"/>
                <a:gd name="f7089" fmla="*/ f5650 f1418 1"/>
                <a:gd name="f7090" fmla="*/ f5651 f1418 1"/>
                <a:gd name="f7091" fmla="*/ f5652 f1418 1"/>
                <a:gd name="f7092" fmla="*/ f5653 f1417 1"/>
                <a:gd name="f7093" fmla="*/ f5654 f1417 1"/>
                <a:gd name="f7094" fmla="*/ f5655 f1417 1"/>
                <a:gd name="f7095" fmla="*/ f5656 f1417 1"/>
                <a:gd name="f7096" fmla="*/ f5657 f1417 1"/>
                <a:gd name="f7097" fmla="*/ f5658 f1417 1"/>
                <a:gd name="f7098" fmla="*/ f5659 f1417 1"/>
                <a:gd name="f7099" fmla="*/ f5660 f1417 1"/>
                <a:gd name="f7100" fmla="*/ f5661 f1418 1"/>
                <a:gd name="f7101" fmla="*/ f5662 f1418 1"/>
                <a:gd name="f7102" fmla="*/ f5663 f1418 1"/>
                <a:gd name="f7103" fmla="*/ f5664 f1418 1"/>
                <a:gd name="f7104" fmla="*/ f5665 f1418 1"/>
                <a:gd name="f7105" fmla="*/ f5666 f1418 1"/>
                <a:gd name="f7106" fmla="*/ f5667 f1418 1"/>
                <a:gd name="f7107" fmla="*/ f5668 f1418 1"/>
                <a:gd name="f7108" fmla="*/ f5669 f1418 1"/>
                <a:gd name="f7109" fmla="*/ f5670 f1418 1"/>
                <a:gd name="f7110" fmla="*/ f5671 f1418 1"/>
                <a:gd name="f7111" fmla="*/ f5672 f1418 1"/>
                <a:gd name="f7112" fmla="*/ f5673 f1418 1"/>
                <a:gd name="f7113" fmla="*/ f5674 f1418 1"/>
                <a:gd name="f7114" fmla="*/ f5675 f1418 1"/>
                <a:gd name="f7115" fmla="*/ f5676 f1418 1"/>
                <a:gd name="f7116" fmla="*/ f5677 f1418 1"/>
                <a:gd name="f7117" fmla="*/ f5678 f1418 1"/>
                <a:gd name="f7118" fmla="*/ f5679 f1418 1"/>
                <a:gd name="f7119" fmla="*/ f5680 f1418 1"/>
                <a:gd name="f7120" fmla="*/ f5681 f1418 1"/>
                <a:gd name="f7121" fmla="*/ f5682 f1418 1"/>
                <a:gd name="f7122" fmla="*/ f5683 f1418 1"/>
                <a:gd name="f7123" fmla="*/ f5684 f1418 1"/>
                <a:gd name="f7124" fmla="*/ f5685 f1418 1"/>
                <a:gd name="f7125" fmla="*/ f5686 f1418 1"/>
                <a:gd name="f7126" fmla="*/ f5687 f1418 1"/>
                <a:gd name="f7127" fmla="*/ f5688 f1418 1"/>
                <a:gd name="f7128" fmla="*/ f5689 f1418 1"/>
                <a:gd name="f7129" fmla="*/ f5690 f1418 1"/>
                <a:gd name="f7130" fmla="*/ f5691 f1418 1"/>
                <a:gd name="f7131" fmla="*/ f5692 f1418 1"/>
                <a:gd name="f7132" fmla="*/ f5693 f1418 1"/>
                <a:gd name="f7133" fmla="*/ f5694 f1418 1"/>
                <a:gd name="f7134" fmla="*/ f5695 f1418 1"/>
                <a:gd name="f7135" fmla="*/ f5696 f1418 1"/>
                <a:gd name="f7136" fmla="*/ f5697 f1418 1"/>
                <a:gd name="f7137" fmla="*/ f5698 f1417 1"/>
                <a:gd name="f7138" fmla="*/ f5699 f1417 1"/>
                <a:gd name="f7139" fmla="*/ f5700 f1417 1"/>
                <a:gd name="f7140" fmla="*/ f5701 f1417 1"/>
                <a:gd name="f7141" fmla="*/ f5702 f1417 1"/>
                <a:gd name="f7142" fmla="*/ f5703 f1418 1"/>
                <a:gd name="f7143" fmla="*/ f5704 f1418 1"/>
                <a:gd name="f7144" fmla="*/ f5705 f1418 1"/>
                <a:gd name="f7145" fmla="*/ f5706 f1417 1"/>
                <a:gd name="f7146" fmla="*/ f5707 f1417 1"/>
                <a:gd name="f7147" fmla="*/ f5708 f1417 1"/>
                <a:gd name="f7148" fmla="*/ f5709 f1417 1"/>
                <a:gd name="f7149" fmla="*/ f5710 f1417 1"/>
                <a:gd name="f7150" fmla="*/ f5711 f1417 1"/>
                <a:gd name="f7151" fmla="*/ f5712 f1417 1"/>
                <a:gd name="f7152" fmla="*/ f5713 f1418 1"/>
                <a:gd name="f7153" fmla="*/ f5714 f1418 1"/>
                <a:gd name="f7154" fmla="*/ f5715 f1418 1"/>
                <a:gd name="f7155" fmla="*/ f5716 f1418 1"/>
                <a:gd name="f7156" fmla="*/ f5717 f1417 1"/>
                <a:gd name="f7157" fmla="*/ f5718 f1418 1"/>
                <a:gd name="f7158" fmla="*/ f5719 f1418 1"/>
                <a:gd name="f7159" fmla="*/ f5720 f1418 1"/>
                <a:gd name="f7160" fmla="*/ f5721 f1418 1"/>
                <a:gd name="f7161" fmla="*/ f5722 f1418 1"/>
                <a:gd name="f7162" fmla="*/ f5723 f1417 1"/>
                <a:gd name="f7163" fmla="*/ f5724 f1418 1"/>
                <a:gd name="f7164" fmla="*/ f5725 f1418 1"/>
                <a:gd name="f7165" fmla="*/ f5726 f1418 1"/>
                <a:gd name="f7166" fmla="*/ f5727 f1418 1"/>
                <a:gd name="f7167" fmla="*/ f5728 f1417 1"/>
                <a:gd name="f7168" fmla="*/ f5729 f1417 1"/>
                <a:gd name="f7169" fmla="*/ f5730 f1417 1"/>
                <a:gd name="f7170" fmla="*/ f5731 f1417 1"/>
                <a:gd name="f7171" fmla="*/ f5732 f1417 1"/>
                <a:gd name="f7172" fmla="*/ f5733 f1417 1"/>
                <a:gd name="f7173" fmla="*/ f5734 f1417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4299">
                  <a:pos x="f5739" y="f5740"/>
                </a:cxn>
                <a:cxn ang="f4299">
                  <a:pos x="f5741" y="f5740"/>
                </a:cxn>
                <a:cxn ang="f4299">
                  <a:pos x="f5742" y="f5743"/>
                </a:cxn>
                <a:cxn ang="f4299">
                  <a:pos x="f5742" y="f5744"/>
                </a:cxn>
                <a:cxn ang="f4299">
                  <a:pos x="f5741" y="f5745"/>
                </a:cxn>
                <a:cxn ang="f4299">
                  <a:pos x="f5739" y="f5745"/>
                </a:cxn>
                <a:cxn ang="f4299">
                  <a:pos x="f5746" y="f5744"/>
                </a:cxn>
                <a:cxn ang="f4299">
                  <a:pos x="f5746" y="f5743"/>
                </a:cxn>
                <a:cxn ang="f4299">
                  <a:pos x="f5747" y="f5740"/>
                </a:cxn>
                <a:cxn ang="f4299">
                  <a:pos x="f5748" y="f5740"/>
                </a:cxn>
                <a:cxn ang="f4299">
                  <a:pos x="f5749" y="f5743"/>
                </a:cxn>
                <a:cxn ang="f4299">
                  <a:pos x="f5749" y="f5744"/>
                </a:cxn>
                <a:cxn ang="f4299">
                  <a:pos x="f5748" y="f5745"/>
                </a:cxn>
                <a:cxn ang="f4299">
                  <a:pos x="f5747" y="f5745"/>
                </a:cxn>
                <a:cxn ang="f4299">
                  <a:pos x="f5750" y="f5744"/>
                </a:cxn>
                <a:cxn ang="f4299">
                  <a:pos x="f5750" y="f5743"/>
                </a:cxn>
                <a:cxn ang="f4299">
                  <a:pos x="f5751" y="f5740"/>
                </a:cxn>
                <a:cxn ang="f4299">
                  <a:pos x="f5752" y="f5740"/>
                </a:cxn>
                <a:cxn ang="f4299">
                  <a:pos x="f5753" y="f5743"/>
                </a:cxn>
                <a:cxn ang="f4299">
                  <a:pos x="f5753" y="f5744"/>
                </a:cxn>
                <a:cxn ang="f4299">
                  <a:pos x="f5752" y="f5745"/>
                </a:cxn>
                <a:cxn ang="f4299">
                  <a:pos x="f5751" y="f5745"/>
                </a:cxn>
                <a:cxn ang="f4299">
                  <a:pos x="f5754" y="f5744"/>
                </a:cxn>
                <a:cxn ang="f4299">
                  <a:pos x="f5754" y="f5743"/>
                </a:cxn>
                <a:cxn ang="f4299">
                  <a:pos x="f5755" y="f5740"/>
                </a:cxn>
                <a:cxn ang="f4299">
                  <a:pos x="f5756" y="f5740"/>
                </a:cxn>
                <a:cxn ang="f4299">
                  <a:pos x="f5757" y="f5743"/>
                </a:cxn>
                <a:cxn ang="f4299">
                  <a:pos x="f5757" y="f5744"/>
                </a:cxn>
                <a:cxn ang="f4299">
                  <a:pos x="f5756" y="f5745"/>
                </a:cxn>
                <a:cxn ang="f4299">
                  <a:pos x="f5755" y="f5745"/>
                </a:cxn>
                <a:cxn ang="f4299">
                  <a:pos x="f5758" y="f5744"/>
                </a:cxn>
                <a:cxn ang="f4299">
                  <a:pos x="f5758" y="f5743"/>
                </a:cxn>
                <a:cxn ang="f4299">
                  <a:pos x="f5759" y="f5740"/>
                </a:cxn>
                <a:cxn ang="f4299">
                  <a:pos x="f5760" y="f5740"/>
                </a:cxn>
                <a:cxn ang="f4299">
                  <a:pos x="f5761" y="f5743"/>
                </a:cxn>
                <a:cxn ang="f4299">
                  <a:pos x="f5761" y="f5744"/>
                </a:cxn>
                <a:cxn ang="f4299">
                  <a:pos x="f5760" y="f5745"/>
                </a:cxn>
                <a:cxn ang="f4299">
                  <a:pos x="f5759" y="f5745"/>
                </a:cxn>
                <a:cxn ang="f4299">
                  <a:pos x="f5762" y="f5744"/>
                </a:cxn>
                <a:cxn ang="f4299">
                  <a:pos x="f5762" y="f5743"/>
                </a:cxn>
                <a:cxn ang="f4299">
                  <a:pos x="f5763" y="f5740"/>
                </a:cxn>
                <a:cxn ang="f4299">
                  <a:pos x="f5764" y="f5740"/>
                </a:cxn>
                <a:cxn ang="f4299">
                  <a:pos x="f5765" y="f5743"/>
                </a:cxn>
                <a:cxn ang="f4299">
                  <a:pos x="f5765" y="f5744"/>
                </a:cxn>
                <a:cxn ang="f4299">
                  <a:pos x="f5764" y="f5745"/>
                </a:cxn>
                <a:cxn ang="f4299">
                  <a:pos x="f5763" y="f5745"/>
                </a:cxn>
                <a:cxn ang="f4299">
                  <a:pos x="f5766" y="f5744"/>
                </a:cxn>
                <a:cxn ang="f4299">
                  <a:pos x="f5766" y="f5743"/>
                </a:cxn>
                <a:cxn ang="f4299">
                  <a:pos x="f5767" y="f5768"/>
                </a:cxn>
                <a:cxn ang="f4299">
                  <a:pos x="f5769" y="f5768"/>
                </a:cxn>
                <a:cxn ang="f4299">
                  <a:pos x="f5770" y="f5771"/>
                </a:cxn>
                <a:cxn ang="f4299">
                  <a:pos x="f5770" y="f5772"/>
                </a:cxn>
                <a:cxn ang="f4299">
                  <a:pos x="f5769" y="f5773"/>
                </a:cxn>
                <a:cxn ang="f4299">
                  <a:pos x="f5767" y="f5773"/>
                </a:cxn>
                <a:cxn ang="f4299">
                  <a:pos x="f5774" y="f5772"/>
                </a:cxn>
                <a:cxn ang="f4299">
                  <a:pos x="f5774" y="f5771"/>
                </a:cxn>
                <a:cxn ang="f4299">
                  <a:pos x="f5775" y="f5768"/>
                </a:cxn>
                <a:cxn ang="f4299">
                  <a:pos x="f5776" y="f5768"/>
                </a:cxn>
                <a:cxn ang="f4299">
                  <a:pos x="f5777" y="f5771"/>
                </a:cxn>
                <a:cxn ang="f4299">
                  <a:pos x="f5777" y="f5772"/>
                </a:cxn>
                <a:cxn ang="f4299">
                  <a:pos x="f5776" y="f5773"/>
                </a:cxn>
                <a:cxn ang="f4299">
                  <a:pos x="f5775" y="f5773"/>
                </a:cxn>
                <a:cxn ang="f4299">
                  <a:pos x="f5778" y="f5772"/>
                </a:cxn>
                <a:cxn ang="f4299">
                  <a:pos x="f5778" y="f5771"/>
                </a:cxn>
                <a:cxn ang="f4299">
                  <a:pos x="f5779" y="f5768"/>
                </a:cxn>
                <a:cxn ang="f4299">
                  <a:pos x="f5780" y="f5768"/>
                </a:cxn>
                <a:cxn ang="f4299">
                  <a:pos x="f5781" y="f5771"/>
                </a:cxn>
                <a:cxn ang="f4299">
                  <a:pos x="f5781" y="f5772"/>
                </a:cxn>
                <a:cxn ang="f4299">
                  <a:pos x="f5780" y="f5773"/>
                </a:cxn>
                <a:cxn ang="f4299">
                  <a:pos x="f5779" y="f5773"/>
                </a:cxn>
                <a:cxn ang="f4299">
                  <a:pos x="f5782" y="f5772"/>
                </a:cxn>
                <a:cxn ang="f4299">
                  <a:pos x="f5782" y="f5771"/>
                </a:cxn>
                <a:cxn ang="f4299">
                  <a:pos x="f5783" y="f5768"/>
                </a:cxn>
                <a:cxn ang="f4299">
                  <a:pos x="f5784" y="f5768"/>
                </a:cxn>
                <a:cxn ang="f4299">
                  <a:pos x="f5785" y="f5771"/>
                </a:cxn>
                <a:cxn ang="f4299">
                  <a:pos x="f5785" y="f5772"/>
                </a:cxn>
                <a:cxn ang="f4299">
                  <a:pos x="f5784" y="f5773"/>
                </a:cxn>
                <a:cxn ang="f4299">
                  <a:pos x="f5783" y="f5773"/>
                </a:cxn>
                <a:cxn ang="f4299">
                  <a:pos x="f5786" y="f5772"/>
                </a:cxn>
                <a:cxn ang="f4299">
                  <a:pos x="f5786" y="f5771"/>
                </a:cxn>
                <a:cxn ang="f4299">
                  <a:pos x="f5787" y="f5768"/>
                </a:cxn>
                <a:cxn ang="f4299">
                  <a:pos x="f5788" y="f5768"/>
                </a:cxn>
                <a:cxn ang="f4299">
                  <a:pos x="f5789" y="f5771"/>
                </a:cxn>
                <a:cxn ang="f4299">
                  <a:pos x="f5789" y="f5772"/>
                </a:cxn>
                <a:cxn ang="f4299">
                  <a:pos x="f5788" y="f5773"/>
                </a:cxn>
                <a:cxn ang="f4299">
                  <a:pos x="f5787" y="f5773"/>
                </a:cxn>
                <a:cxn ang="f4299">
                  <a:pos x="f5790" y="f5772"/>
                </a:cxn>
                <a:cxn ang="f4299">
                  <a:pos x="f5790" y="f5771"/>
                </a:cxn>
                <a:cxn ang="f4299">
                  <a:pos x="f5791" y="f5768"/>
                </a:cxn>
                <a:cxn ang="f4299">
                  <a:pos x="f5792" y="f5768"/>
                </a:cxn>
                <a:cxn ang="f4299">
                  <a:pos x="f5793" y="f5771"/>
                </a:cxn>
                <a:cxn ang="f4299">
                  <a:pos x="f5793" y="f5772"/>
                </a:cxn>
                <a:cxn ang="f4299">
                  <a:pos x="f5792" y="f5773"/>
                </a:cxn>
                <a:cxn ang="f4299">
                  <a:pos x="f5791" y="f5773"/>
                </a:cxn>
                <a:cxn ang="f4299">
                  <a:pos x="f5794" y="f5772"/>
                </a:cxn>
                <a:cxn ang="f4299">
                  <a:pos x="f5794" y="f5771"/>
                </a:cxn>
                <a:cxn ang="f4299">
                  <a:pos x="f5795" y="f5768"/>
                </a:cxn>
                <a:cxn ang="f4299">
                  <a:pos x="f5796" y="f5768"/>
                </a:cxn>
                <a:cxn ang="f4299">
                  <a:pos x="f5797" y="f5771"/>
                </a:cxn>
                <a:cxn ang="f4299">
                  <a:pos x="f5797" y="f5772"/>
                </a:cxn>
                <a:cxn ang="f4299">
                  <a:pos x="f5796" y="f5773"/>
                </a:cxn>
                <a:cxn ang="f4299">
                  <a:pos x="f5795" y="f5773"/>
                </a:cxn>
                <a:cxn ang="f4299">
                  <a:pos x="f5798" y="f5772"/>
                </a:cxn>
                <a:cxn ang="f4299">
                  <a:pos x="f5798" y="f5771"/>
                </a:cxn>
                <a:cxn ang="f4299">
                  <a:pos x="f5799" y="f5768"/>
                </a:cxn>
                <a:cxn ang="f4299">
                  <a:pos x="f5800" y="f5768"/>
                </a:cxn>
                <a:cxn ang="f4299">
                  <a:pos x="f5801" y="f5771"/>
                </a:cxn>
                <a:cxn ang="f4299">
                  <a:pos x="f5801" y="f5772"/>
                </a:cxn>
                <a:cxn ang="f4299">
                  <a:pos x="f5800" y="f5773"/>
                </a:cxn>
                <a:cxn ang="f4299">
                  <a:pos x="f5799" y="f5773"/>
                </a:cxn>
                <a:cxn ang="f4299">
                  <a:pos x="f5802" y="f5772"/>
                </a:cxn>
                <a:cxn ang="f4299">
                  <a:pos x="f5802" y="f5771"/>
                </a:cxn>
                <a:cxn ang="f4299">
                  <a:pos x="f5803" y="f5768"/>
                </a:cxn>
                <a:cxn ang="f4299">
                  <a:pos x="f5804" y="f5768"/>
                </a:cxn>
                <a:cxn ang="f4299">
                  <a:pos x="f5805" y="f5771"/>
                </a:cxn>
                <a:cxn ang="f4299">
                  <a:pos x="f5805" y="f5772"/>
                </a:cxn>
                <a:cxn ang="f4299">
                  <a:pos x="f5804" y="f5773"/>
                </a:cxn>
                <a:cxn ang="f4299">
                  <a:pos x="f5803" y="f5773"/>
                </a:cxn>
                <a:cxn ang="f4299">
                  <a:pos x="f5806" y="f5772"/>
                </a:cxn>
                <a:cxn ang="f4299">
                  <a:pos x="f5806" y="f5771"/>
                </a:cxn>
                <a:cxn ang="f4299">
                  <a:pos x="f5807" y="f5768"/>
                </a:cxn>
                <a:cxn ang="f4299">
                  <a:pos x="f5808" y="f5768"/>
                </a:cxn>
                <a:cxn ang="f4299">
                  <a:pos x="f5809" y="f5771"/>
                </a:cxn>
                <a:cxn ang="f4299">
                  <a:pos x="f5809" y="f5772"/>
                </a:cxn>
                <a:cxn ang="f4299">
                  <a:pos x="f5808" y="f5773"/>
                </a:cxn>
                <a:cxn ang="f4299">
                  <a:pos x="f5807" y="f5773"/>
                </a:cxn>
                <a:cxn ang="f4299">
                  <a:pos x="f5810" y="f5772"/>
                </a:cxn>
                <a:cxn ang="f4299">
                  <a:pos x="f5810" y="f5771"/>
                </a:cxn>
                <a:cxn ang="f4299">
                  <a:pos x="f5811" y="f5768"/>
                </a:cxn>
                <a:cxn ang="f4299">
                  <a:pos x="f5812" y="f5768"/>
                </a:cxn>
                <a:cxn ang="f4299">
                  <a:pos x="f5813" y="f5771"/>
                </a:cxn>
                <a:cxn ang="f4299">
                  <a:pos x="f5813" y="f5772"/>
                </a:cxn>
                <a:cxn ang="f4299">
                  <a:pos x="f5812" y="f5773"/>
                </a:cxn>
                <a:cxn ang="f4299">
                  <a:pos x="f5811" y="f5773"/>
                </a:cxn>
                <a:cxn ang="f4299">
                  <a:pos x="f5814" y="f5772"/>
                </a:cxn>
                <a:cxn ang="f4299">
                  <a:pos x="f5814" y="f5771"/>
                </a:cxn>
                <a:cxn ang="f4299">
                  <a:pos x="f5815" y="f5768"/>
                </a:cxn>
                <a:cxn ang="f4299">
                  <a:pos x="f5816" y="f5768"/>
                </a:cxn>
                <a:cxn ang="f4299">
                  <a:pos x="f5817" y="f5771"/>
                </a:cxn>
                <a:cxn ang="f4299">
                  <a:pos x="f5817" y="f5772"/>
                </a:cxn>
                <a:cxn ang="f4299">
                  <a:pos x="f5816" y="f5773"/>
                </a:cxn>
                <a:cxn ang="f4299">
                  <a:pos x="f5815" y="f5773"/>
                </a:cxn>
                <a:cxn ang="f4299">
                  <a:pos x="f5818" y="f5772"/>
                </a:cxn>
                <a:cxn ang="f4299">
                  <a:pos x="f5818" y="f5771"/>
                </a:cxn>
                <a:cxn ang="f4299">
                  <a:pos x="f5819" y="f5768"/>
                </a:cxn>
                <a:cxn ang="f4299">
                  <a:pos x="f5820" y="f5768"/>
                </a:cxn>
                <a:cxn ang="f4299">
                  <a:pos x="f5821" y="f5771"/>
                </a:cxn>
                <a:cxn ang="f4299">
                  <a:pos x="f5821" y="f5772"/>
                </a:cxn>
                <a:cxn ang="f4299">
                  <a:pos x="f5820" y="f5773"/>
                </a:cxn>
                <a:cxn ang="f4299">
                  <a:pos x="f5819" y="f5773"/>
                </a:cxn>
                <a:cxn ang="f4299">
                  <a:pos x="f5822" y="f5772"/>
                </a:cxn>
                <a:cxn ang="f4299">
                  <a:pos x="f5822" y="f5771"/>
                </a:cxn>
                <a:cxn ang="f4299">
                  <a:pos x="f5823" y="f5768"/>
                </a:cxn>
                <a:cxn ang="f4299">
                  <a:pos x="f5824" y="f5768"/>
                </a:cxn>
                <a:cxn ang="f4299">
                  <a:pos x="f5825" y="f5771"/>
                </a:cxn>
                <a:cxn ang="f4299">
                  <a:pos x="f5825" y="f5772"/>
                </a:cxn>
                <a:cxn ang="f4299">
                  <a:pos x="f5824" y="f5773"/>
                </a:cxn>
                <a:cxn ang="f4299">
                  <a:pos x="f5823" y="f5773"/>
                </a:cxn>
                <a:cxn ang="f4299">
                  <a:pos x="f5826" y="f5772"/>
                </a:cxn>
                <a:cxn ang="f4299">
                  <a:pos x="f5826" y="f5771"/>
                </a:cxn>
                <a:cxn ang="f4299">
                  <a:pos x="f5827" y="f5768"/>
                </a:cxn>
                <a:cxn ang="f4299">
                  <a:pos x="f5828" y="f5768"/>
                </a:cxn>
                <a:cxn ang="f4299">
                  <a:pos x="f5829" y="f5771"/>
                </a:cxn>
                <a:cxn ang="f4299">
                  <a:pos x="f5829" y="f5772"/>
                </a:cxn>
                <a:cxn ang="f4299">
                  <a:pos x="f5828" y="f5773"/>
                </a:cxn>
                <a:cxn ang="f4299">
                  <a:pos x="f5827" y="f5773"/>
                </a:cxn>
                <a:cxn ang="f4299">
                  <a:pos x="f5830" y="f5772"/>
                </a:cxn>
                <a:cxn ang="f4299">
                  <a:pos x="f5830" y="f5771"/>
                </a:cxn>
                <a:cxn ang="f4299">
                  <a:pos x="f5831" y="f5768"/>
                </a:cxn>
                <a:cxn ang="f4299">
                  <a:pos x="f5832" y="f5768"/>
                </a:cxn>
                <a:cxn ang="f4299">
                  <a:pos x="f5833" y="f5771"/>
                </a:cxn>
                <a:cxn ang="f4299">
                  <a:pos x="f5833" y="f5772"/>
                </a:cxn>
                <a:cxn ang="f4299">
                  <a:pos x="f5832" y="f5773"/>
                </a:cxn>
                <a:cxn ang="f4299">
                  <a:pos x="f5831" y="f5773"/>
                </a:cxn>
                <a:cxn ang="f4299">
                  <a:pos x="f5834" y="f5772"/>
                </a:cxn>
                <a:cxn ang="f4299">
                  <a:pos x="f5834" y="f5771"/>
                </a:cxn>
                <a:cxn ang="f4299">
                  <a:pos x="f5835" y="f5768"/>
                </a:cxn>
                <a:cxn ang="f4299">
                  <a:pos x="f5836" y="f5768"/>
                </a:cxn>
                <a:cxn ang="f4299">
                  <a:pos x="f5837" y="f5771"/>
                </a:cxn>
                <a:cxn ang="f4299">
                  <a:pos x="f5837" y="f5772"/>
                </a:cxn>
                <a:cxn ang="f4299">
                  <a:pos x="f5836" y="f5773"/>
                </a:cxn>
                <a:cxn ang="f4299">
                  <a:pos x="f5835" y="f5773"/>
                </a:cxn>
                <a:cxn ang="f4299">
                  <a:pos x="f5838" y="f5772"/>
                </a:cxn>
                <a:cxn ang="f4299">
                  <a:pos x="f5838" y="f5771"/>
                </a:cxn>
                <a:cxn ang="f4299">
                  <a:pos x="f5839" y="f5768"/>
                </a:cxn>
                <a:cxn ang="f4299">
                  <a:pos x="f5840" y="f5768"/>
                </a:cxn>
                <a:cxn ang="f4299">
                  <a:pos x="f5841" y="f5771"/>
                </a:cxn>
                <a:cxn ang="f4299">
                  <a:pos x="f5841" y="f5772"/>
                </a:cxn>
                <a:cxn ang="f4299">
                  <a:pos x="f5840" y="f5773"/>
                </a:cxn>
                <a:cxn ang="f4299">
                  <a:pos x="f5839" y="f5773"/>
                </a:cxn>
                <a:cxn ang="f4299">
                  <a:pos x="f5842" y="f5772"/>
                </a:cxn>
                <a:cxn ang="f4299">
                  <a:pos x="f5842" y="f5771"/>
                </a:cxn>
                <a:cxn ang="f4299">
                  <a:pos x="f5843" y="f5768"/>
                </a:cxn>
                <a:cxn ang="f4299">
                  <a:pos x="f5844" y="f5768"/>
                </a:cxn>
                <a:cxn ang="f4299">
                  <a:pos x="f5845" y="f5771"/>
                </a:cxn>
                <a:cxn ang="f4299">
                  <a:pos x="f5845" y="f5772"/>
                </a:cxn>
                <a:cxn ang="f4299">
                  <a:pos x="f5844" y="f5773"/>
                </a:cxn>
                <a:cxn ang="f4299">
                  <a:pos x="f5843" y="f5773"/>
                </a:cxn>
                <a:cxn ang="f4299">
                  <a:pos x="f5846" y="f5772"/>
                </a:cxn>
                <a:cxn ang="f4299">
                  <a:pos x="f5846" y="f5771"/>
                </a:cxn>
                <a:cxn ang="f4299">
                  <a:pos x="f5847" y="f5768"/>
                </a:cxn>
                <a:cxn ang="f4299">
                  <a:pos x="f5848" y="f5768"/>
                </a:cxn>
                <a:cxn ang="f4299">
                  <a:pos x="f5849" y="f5771"/>
                </a:cxn>
                <a:cxn ang="f4299">
                  <a:pos x="f5849" y="f5772"/>
                </a:cxn>
                <a:cxn ang="f4299">
                  <a:pos x="f5848" y="f5773"/>
                </a:cxn>
                <a:cxn ang="f4299">
                  <a:pos x="f5847" y="f5773"/>
                </a:cxn>
                <a:cxn ang="f4299">
                  <a:pos x="f5850" y="f5772"/>
                </a:cxn>
                <a:cxn ang="f4299">
                  <a:pos x="f5850" y="f5771"/>
                </a:cxn>
                <a:cxn ang="f4299">
                  <a:pos x="f5851" y="f5768"/>
                </a:cxn>
                <a:cxn ang="f4299">
                  <a:pos x="f5852" y="f5768"/>
                </a:cxn>
                <a:cxn ang="f4299">
                  <a:pos x="f5853" y="f5771"/>
                </a:cxn>
                <a:cxn ang="f4299">
                  <a:pos x="f5853" y="f5772"/>
                </a:cxn>
                <a:cxn ang="f4299">
                  <a:pos x="f5852" y="f5773"/>
                </a:cxn>
                <a:cxn ang="f4299">
                  <a:pos x="f5851" y="f5773"/>
                </a:cxn>
                <a:cxn ang="f4299">
                  <a:pos x="f5854" y="f5772"/>
                </a:cxn>
                <a:cxn ang="f4299">
                  <a:pos x="f5854" y="f5771"/>
                </a:cxn>
                <a:cxn ang="f4299">
                  <a:pos x="f5855" y="f5768"/>
                </a:cxn>
                <a:cxn ang="f4299">
                  <a:pos x="f5856" y="f5768"/>
                </a:cxn>
                <a:cxn ang="f4299">
                  <a:pos x="f5857" y="f5771"/>
                </a:cxn>
                <a:cxn ang="f4299">
                  <a:pos x="f5857" y="f5772"/>
                </a:cxn>
                <a:cxn ang="f4299">
                  <a:pos x="f5856" y="f5773"/>
                </a:cxn>
                <a:cxn ang="f4299">
                  <a:pos x="f5855" y="f5773"/>
                </a:cxn>
                <a:cxn ang="f4299">
                  <a:pos x="f5858" y="f5772"/>
                </a:cxn>
                <a:cxn ang="f4299">
                  <a:pos x="f5858" y="f5771"/>
                </a:cxn>
                <a:cxn ang="f4299">
                  <a:pos x="f5859" y="f5768"/>
                </a:cxn>
                <a:cxn ang="f4299">
                  <a:pos x="f5860" y="f5768"/>
                </a:cxn>
                <a:cxn ang="f4299">
                  <a:pos x="f5861" y="f5771"/>
                </a:cxn>
                <a:cxn ang="f4299">
                  <a:pos x="f5861" y="f5772"/>
                </a:cxn>
                <a:cxn ang="f4299">
                  <a:pos x="f5860" y="f5773"/>
                </a:cxn>
                <a:cxn ang="f4299">
                  <a:pos x="f5859" y="f5773"/>
                </a:cxn>
                <a:cxn ang="f4299">
                  <a:pos x="f5862" y="f5772"/>
                </a:cxn>
                <a:cxn ang="f4299">
                  <a:pos x="f5862" y="f5771"/>
                </a:cxn>
                <a:cxn ang="f4299">
                  <a:pos x="f5863" y="f5768"/>
                </a:cxn>
                <a:cxn ang="f4299">
                  <a:pos x="f5864" y="f5768"/>
                </a:cxn>
                <a:cxn ang="f4299">
                  <a:pos x="f5865" y="f5771"/>
                </a:cxn>
                <a:cxn ang="f4299">
                  <a:pos x="f5865" y="f5772"/>
                </a:cxn>
                <a:cxn ang="f4299">
                  <a:pos x="f5864" y="f5773"/>
                </a:cxn>
                <a:cxn ang="f4299">
                  <a:pos x="f5863" y="f5773"/>
                </a:cxn>
                <a:cxn ang="f4299">
                  <a:pos x="f5866" y="f5772"/>
                </a:cxn>
                <a:cxn ang="f4299">
                  <a:pos x="f5866" y="f5771"/>
                </a:cxn>
                <a:cxn ang="f4299">
                  <a:pos x="f5867" y="f5768"/>
                </a:cxn>
                <a:cxn ang="f4299">
                  <a:pos x="f5868" y="f5768"/>
                </a:cxn>
                <a:cxn ang="f4299">
                  <a:pos x="f5869" y="f5771"/>
                </a:cxn>
                <a:cxn ang="f4299">
                  <a:pos x="f5869" y="f5772"/>
                </a:cxn>
                <a:cxn ang="f4299">
                  <a:pos x="f5868" y="f5773"/>
                </a:cxn>
                <a:cxn ang="f4299">
                  <a:pos x="f5867" y="f5773"/>
                </a:cxn>
                <a:cxn ang="f4299">
                  <a:pos x="f5870" y="f5772"/>
                </a:cxn>
                <a:cxn ang="f4299">
                  <a:pos x="f5870" y="f5771"/>
                </a:cxn>
                <a:cxn ang="f4299">
                  <a:pos x="f5871" y="f5768"/>
                </a:cxn>
                <a:cxn ang="f4299">
                  <a:pos x="f5872" y="f5768"/>
                </a:cxn>
                <a:cxn ang="f4299">
                  <a:pos x="f5873" y="f5771"/>
                </a:cxn>
                <a:cxn ang="f4299">
                  <a:pos x="f5873" y="f5772"/>
                </a:cxn>
                <a:cxn ang="f4299">
                  <a:pos x="f5872" y="f5773"/>
                </a:cxn>
                <a:cxn ang="f4299">
                  <a:pos x="f5871" y="f5773"/>
                </a:cxn>
                <a:cxn ang="f4299">
                  <a:pos x="f5874" y="f5772"/>
                </a:cxn>
                <a:cxn ang="f4299">
                  <a:pos x="f5874" y="f5771"/>
                </a:cxn>
                <a:cxn ang="f4299">
                  <a:pos x="f5875" y="f5768"/>
                </a:cxn>
                <a:cxn ang="f4299">
                  <a:pos x="f5876" y="f5768"/>
                </a:cxn>
                <a:cxn ang="f4299">
                  <a:pos x="f5877" y="f5771"/>
                </a:cxn>
                <a:cxn ang="f4299">
                  <a:pos x="f5877" y="f5772"/>
                </a:cxn>
                <a:cxn ang="f4299">
                  <a:pos x="f5876" y="f5773"/>
                </a:cxn>
                <a:cxn ang="f4299">
                  <a:pos x="f5875" y="f5773"/>
                </a:cxn>
                <a:cxn ang="f4299">
                  <a:pos x="f5878" y="f5772"/>
                </a:cxn>
                <a:cxn ang="f4299">
                  <a:pos x="f5878" y="f5771"/>
                </a:cxn>
                <a:cxn ang="f4299">
                  <a:pos x="f5879" y="f5768"/>
                </a:cxn>
                <a:cxn ang="f4299">
                  <a:pos x="f5880" y="f5768"/>
                </a:cxn>
                <a:cxn ang="f4299">
                  <a:pos x="f5881" y="f5771"/>
                </a:cxn>
                <a:cxn ang="f4299">
                  <a:pos x="f5881" y="f5772"/>
                </a:cxn>
                <a:cxn ang="f4299">
                  <a:pos x="f5880" y="f5773"/>
                </a:cxn>
                <a:cxn ang="f4299">
                  <a:pos x="f5879" y="f5773"/>
                </a:cxn>
                <a:cxn ang="f4299">
                  <a:pos x="f5882" y="f5772"/>
                </a:cxn>
                <a:cxn ang="f4299">
                  <a:pos x="f5882" y="f5771"/>
                </a:cxn>
                <a:cxn ang="f4299">
                  <a:pos x="f5883" y="f5768"/>
                </a:cxn>
                <a:cxn ang="f4299">
                  <a:pos x="f5884" y="f5768"/>
                </a:cxn>
                <a:cxn ang="f4299">
                  <a:pos x="f5885" y="f5771"/>
                </a:cxn>
                <a:cxn ang="f4299">
                  <a:pos x="f5885" y="f5772"/>
                </a:cxn>
                <a:cxn ang="f4299">
                  <a:pos x="f5884" y="f5773"/>
                </a:cxn>
                <a:cxn ang="f4299">
                  <a:pos x="f5883" y="f5773"/>
                </a:cxn>
                <a:cxn ang="f4299">
                  <a:pos x="f5886" y="f5772"/>
                </a:cxn>
                <a:cxn ang="f4299">
                  <a:pos x="f5886" y="f5771"/>
                </a:cxn>
                <a:cxn ang="f4299">
                  <a:pos x="f5887" y="f5768"/>
                </a:cxn>
                <a:cxn ang="f4299">
                  <a:pos x="f5888" y="f5768"/>
                </a:cxn>
                <a:cxn ang="f4299">
                  <a:pos x="f5889" y="f5771"/>
                </a:cxn>
                <a:cxn ang="f4299">
                  <a:pos x="f5889" y="f5772"/>
                </a:cxn>
                <a:cxn ang="f4299">
                  <a:pos x="f5888" y="f5773"/>
                </a:cxn>
                <a:cxn ang="f4299">
                  <a:pos x="f5887" y="f5773"/>
                </a:cxn>
                <a:cxn ang="f4299">
                  <a:pos x="f5890" y="f5772"/>
                </a:cxn>
                <a:cxn ang="f4299">
                  <a:pos x="f5890" y="f5771"/>
                </a:cxn>
                <a:cxn ang="f4299">
                  <a:pos x="f5891" y="f5768"/>
                </a:cxn>
                <a:cxn ang="f4299">
                  <a:pos x="f5892" y="f5768"/>
                </a:cxn>
                <a:cxn ang="f4299">
                  <a:pos x="f5893" y="f5771"/>
                </a:cxn>
                <a:cxn ang="f4299">
                  <a:pos x="f5893" y="f5772"/>
                </a:cxn>
                <a:cxn ang="f4299">
                  <a:pos x="f5892" y="f5773"/>
                </a:cxn>
                <a:cxn ang="f4299">
                  <a:pos x="f5891" y="f5773"/>
                </a:cxn>
                <a:cxn ang="f4299">
                  <a:pos x="f5894" y="f5772"/>
                </a:cxn>
                <a:cxn ang="f4299">
                  <a:pos x="f5894" y="f5771"/>
                </a:cxn>
                <a:cxn ang="f4299">
                  <a:pos x="f5895" y="f5768"/>
                </a:cxn>
                <a:cxn ang="f4299">
                  <a:pos x="f5896" y="f5768"/>
                </a:cxn>
                <a:cxn ang="f4299">
                  <a:pos x="f5897" y="f5771"/>
                </a:cxn>
                <a:cxn ang="f4299">
                  <a:pos x="f5897" y="f5772"/>
                </a:cxn>
                <a:cxn ang="f4299">
                  <a:pos x="f5896" y="f5773"/>
                </a:cxn>
                <a:cxn ang="f4299">
                  <a:pos x="f5895" y="f5773"/>
                </a:cxn>
                <a:cxn ang="f4299">
                  <a:pos x="f5898" y="f5772"/>
                </a:cxn>
                <a:cxn ang="f4299">
                  <a:pos x="f5898" y="f5771"/>
                </a:cxn>
                <a:cxn ang="f4299">
                  <a:pos x="f5899" y="f5768"/>
                </a:cxn>
                <a:cxn ang="f4299">
                  <a:pos x="f5900" y="f5768"/>
                </a:cxn>
                <a:cxn ang="f4299">
                  <a:pos x="f5901" y="f5771"/>
                </a:cxn>
                <a:cxn ang="f4299">
                  <a:pos x="f5901" y="f5772"/>
                </a:cxn>
                <a:cxn ang="f4299">
                  <a:pos x="f5900" y="f5773"/>
                </a:cxn>
                <a:cxn ang="f4299">
                  <a:pos x="f5899" y="f5773"/>
                </a:cxn>
                <a:cxn ang="f4299">
                  <a:pos x="f5902" y="f5772"/>
                </a:cxn>
                <a:cxn ang="f4299">
                  <a:pos x="f5902" y="f5771"/>
                </a:cxn>
                <a:cxn ang="f4299">
                  <a:pos x="f5903" y="f5768"/>
                </a:cxn>
                <a:cxn ang="f4299">
                  <a:pos x="f5904" y="f5768"/>
                </a:cxn>
                <a:cxn ang="f4299">
                  <a:pos x="f5905" y="f5771"/>
                </a:cxn>
                <a:cxn ang="f4299">
                  <a:pos x="f5905" y="f5772"/>
                </a:cxn>
                <a:cxn ang="f4299">
                  <a:pos x="f5904" y="f5773"/>
                </a:cxn>
                <a:cxn ang="f4299">
                  <a:pos x="f5903" y="f5773"/>
                </a:cxn>
                <a:cxn ang="f4299">
                  <a:pos x="f5906" y="f5772"/>
                </a:cxn>
                <a:cxn ang="f4299">
                  <a:pos x="f5906" y="f5771"/>
                </a:cxn>
                <a:cxn ang="f4299">
                  <a:pos x="f5907" y="f5768"/>
                </a:cxn>
                <a:cxn ang="f4299">
                  <a:pos x="f5908" y="f5768"/>
                </a:cxn>
                <a:cxn ang="f4299">
                  <a:pos x="f5909" y="f5771"/>
                </a:cxn>
                <a:cxn ang="f4299">
                  <a:pos x="f5909" y="f5772"/>
                </a:cxn>
                <a:cxn ang="f4299">
                  <a:pos x="f5908" y="f5773"/>
                </a:cxn>
                <a:cxn ang="f4299">
                  <a:pos x="f5907" y="f5773"/>
                </a:cxn>
                <a:cxn ang="f4299">
                  <a:pos x="f5910" y="f5772"/>
                </a:cxn>
                <a:cxn ang="f4299">
                  <a:pos x="f5910" y="f5771"/>
                </a:cxn>
                <a:cxn ang="f4299">
                  <a:pos x="f5767" y="f5911"/>
                </a:cxn>
                <a:cxn ang="f4299">
                  <a:pos x="f5769" y="f5911"/>
                </a:cxn>
                <a:cxn ang="f4299">
                  <a:pos x="f5770" y="f5912"/>
                </a:cxn>
                <a:cxn ang="f4299">
                  <a:pos x="f5770" y="f5913"/>
                </a:cxn>
                <a:cxn ang="f4299">
                  <a:pos x="f5769" y="f5914"/>
                </a:cxn>
                <a:cxn ang="f4299">
                  <a:pos x="f5767" y="f5914"/>
                </a:cxn>
                <a:cxn ang="f4299">
                  <a:pos x="f5774" y="f5913"/>
                </a:cxn>
                <a:cxn ang="f4299">
                  <a:pos x="f5774" y="f5912"/>
                </a:cxn>
                <a:cxn ang="f4299">
                  <a:pos x="f5775" y="f5911"/>
                </a:cxn>
                <a:cxn ang="f4299">
                  <a:pos x="f5776" y="f5911"/>
                </a:cxn>
                <a:cxn ang="f4299">
                  <a:pos x="f5777" y="f5912"/>
                </a:cxn>
                <a:cxn ang="f4299">
                  <a:pos x="f5777" y="f5913"/>
                </a:cxn>
                <a:cxn ang="f4299">
                  <a:pos x="f5776" y="f5914"/>
                </a:cxn>
                <a:cxn ang="f4299">
                  <a:pos x="f5775" y="f5914"/>
                </a:cxn>
                <a:cxn ang="f4299">
                  <a:pos x="f5778" y="f5913"/>
                </a:cxn>
                <a:cxn ang="f4299">
                  <a:pos x="f5778" y="f5912"/>
                </a:cxn>
                <a:cxn ang="f4299">
                  <a:pos x="f5779" y="f5911"/>
                </a:cxn>
                <a:cxn ang="f4299">
                  <a:pos x="f5780" y="f5911"/>
                </a:cxn>
                <a:cxn ang="f4299">
                  <a:pos x="f5781" y="f5912"/>
                </a:cxn>
                <a:cxn ang="f4299">
                  <a:pos x="f5781" y="f5913"/>
                </a:cxn>
                <a:cxn ang="f4299">
                  <a:pos x="f5780" y="f5914"/>
                </a:cxn>
                <a:cxn ang="f4299">
                  <a:pos x="f5779" y="f5914"/>
                </a:cxn>
                <a:cxn ang="f4299">
                  <a:pos x="f5782" y="f5913"/>
                </a:cxn>
                <a:cxn ang="f4299">
                  <a:pos x="f5782" y="f5912"/>
                </a:cxn>
                <a:cxn ang="f4299">
                  <a:pos x="f5783" y="f5911"/>
                </a:cxn>
                <a:cxn ang="f4299">
                  <a:pos x="f5784" y="f5911"/>
                </a:cxn>
                <a:cxn ang="f4299">
                  <a:pos x="f5785" y="f5912"/>
                </a:cxn>
                <a:cxn ang="f4299">
                  <a:pos x="f5785" y="f5913"/>
                </a:cxn>
                <a:cxn ang="f4299">
                  <a:pos x="f5784" y="f5914"/>
                </a:cxn>
                <a:cxn ang="f4299">
                  <a:pos x="f5783" y="f5914"/>
                </a:cxn>
                <a:cxn ang="f4299">
                  <a:pos x="f5786" y="f5913"/>
                </a:cxn>
                <a:cxn ang="f4299">
                  <a:pos x="f5786" y="f5912"/>
                </a:cxn>
                <a:cxn ang="f4299">
                  <a:pos x="f5787" y="f5911"/>
                </a:cxn>
                <a:cxn ang="f4299">
                  <a:pos x="f5788" y="f5911"/>
                </a:cxn>
                <a:cxn ang="f4299">
                  <a:pos x="f5789" y="f5912"/>
                </a:cxn>
                <a:cxn ang="f4299">
                  <a:pos x="f5789" y="f5913"/>
                </a:cxn>
                <a:cxn ang="f4299">
                  <a:pos x="f5788" y="f5914"/>
                </a:cxn>
                <a:cxn ang="f4299">
                  <a:pos x="f5787" y="f5914"/>
                </a:cxn>
                <a:cxn ang="f4299">
                  <a:pos x="f5790" y="f5913"/>
                </a:cxn>
                <a:cxn ang="f4299">
                  <a:pos x="f5790" y="f5912"/>
                </a:cxn>
                <a:cxn ang="f4299">
                  <a:pos x="f5791" y="f5911"/>
                </a:cxn>
                <a:cxn ang="f4299">
                  <a:pos x="f5792" y="f5911"/>
                </a:cxn>
                <a:cxn ang="f4299">
                  <a:pos x="f5793" y="f5912"/>
                </a:cxn>
                <a:cxn ang="f4299">
                  <a:pos x="f5793" y="f5913"/>
                </a:cxn>
                <a:cxn ang="f4299">
                  <a:pos x="f5792" y="f5914"/>
                </a:cxn>
                <a:cxn ang="f4299">
                  <a:pos x="f5791" y="f5914"/>
                </a:cxn>
                <a:cxn ang="f4299">
                  <a:pos x="f5794" y="f5913"/>
                </a:cxn>
                <a:cxn ang="f4299">
                  <a:pos x="f5794" y="f5912"/>
                </a:cxn>
                <a:cxn ang="f4299">
                  <a:pos x="f5795" y="f5911"/>
                </a:cxn>
                <a:cxn ang="f4299">
                  <a:pos x="f5796" y="f5911"/>
                </a:cxn>
                <a:cxn ang="f4299">
                  <a:pos x="f5797" y="f5912"/>
                </a:cxn>
                <a:cxn ang="f4299">
                  <a:pos x="f5797" y="f5913"/>
                </a:cxn>
                <a:cxn ang="f4299">
                  <a:pos x="f5796" y="f5914"/>
                </a:cxn>
                <a:cxn ang="f4299">
                  <a:pos x="f5795" y="f5914"/>
                </a:cxn>
                <a:cxn ang="f4299">
                  <a:pos x="f5798" y="f5913"/>
                </a:cxn>
                <a:cxn ang="f4299">
                  <a:pos x="f5798" y="f5912"/>
                </a:cxn>
                <a:cxn ang="f4299">
                  <a:pos x="f5799" y="f5911"/>
                </a:cxn>
                <a:cxn ang="f4299">
                  <a:pos x="f5800" y="f5911"/>
                </a:cxn>
                <a:cxn ang="f4299">
                  <a:pos x="f5801" y="f5912"/>
                </a:cxn>
                <a:cxn ang="f4299">
                  <a:pos x="f5801" y="f5913"/>
                </a:cxn>
                <a:cxn ang="f4299">
                  <a:pos x="f5800" y="f5914"/>
                </a:cxn>
                <a:cxn ang="f4299">
                  <a:pos x="f5799" y="f5914"/>
                </a:cxn>
                <a:cxn ang="f4299">
                  <a:pos x="f5802" y="f5913"/>
                </a:cxn>
                <a:cxn ang="f4299">
                  <a:pos x="f5802" y="f5912"/>
                </a:cxn>
                <a:cxn ang="f4299">
                  <a:pos x="f5803" y="f5911"/>
                </a:cxn>
                <a:cxn ang="f4299">
                  <a:pos x="f5804" y="f5911"/>
                </a:cxn>
                <a:cxn ang="f4299">
                  <a:pos x="f5805" y="f5912"/>
                </a:cxn>
                <a:cxn ang="f4299">
                  <a:pos x="f5805" y="f5913"/>
                </a:cxn>
                <a:cxn ang="f4299">
                  <a:pos x="f5804" y="f5914"/>
                </a:cxn>
                <a:cxn ang="f4299">
                  <a:pos x="f5803" y="f5914"/>
                </a:cxn>
                <a:cxn ang="f4299">
                  <a:pos x="f5806" y="f5913"/>
                </a:cxn>
                <a:cxn ang="f4299">
                  <a:pos x="f5806" y="f5912"/>
                </a:cxn>
                <a:cxn ang="f4299">
                  <a:pos x="f5807" y="f5911"/>
                </a:cxn>
                <a:cxn ang="f4299">
                  <a:pos x="f5808" y="f5911"/>
                </a:cxn>
                <a:cxn ang="f4299">
                  <a:pos x="f5809" y="f5912"/>
                </a:cxn>
                <a:cxn ang="f4299">
                  <a:pos x="f5809" y="f5913"/>
                </a:cxn>
                <a:cxn ang="f4299">
                  <a:pos x="f5808" y="f5914"/>
                </a:cxn>
                <a:cxn ang="f4299">
                  <a:pos x="f5807" y="f5914"/>
                </a:cxn>
                <a:cxn ang="f4299">
                  <a:pos x="f5810" y="f5913"/>
                </a:cxn>
                <a:cxn ang="f4299">
                  <a:pos x="f5810" y="f5912"/>
                </a:cxn>
                <a:cxn ang="f4299">
                  <a:pos x="f5811" y="f5911"/>
                </a:cxn>
                <a:cxn ang="f4299">
                  <a:pos x="f5812" y="f5911"/>
                </a:cxn>
                <a:cxn ang="f4299">
                  <a:pos x="f5813" y="f5912"/>
                </a:cxn>
                <a:cxn ang="f4299">
                  <a:pos x="f5813" y="f5913"/>
                </a:cxn>
                <a:cxn ang="f4299">
                  <a:pos x="f5812" y="f5914"/>
                </a:cxn>
                <a:cxn ang="f4299">
                  <a:pos x="f5811" y="f5914"/>
                </a:cxn>
                <a:cxn ang="f4299">
                  <a:pos x="f5814" y="f5913"/>
                </a:cxn>
                <a:cxn ang="f4299">
                  <a:pos x="f5814" y="f5912"/>
                </a:cxn>
                <a:cxn ang="f4299">
                  <a:pos x="f5815" y="f5911"/>
                </a:cxn>
                <a:cxn ang="f4299">
                  <a:pos x="f5816" y="f5911"/>
                </a:cxn>
                <a:cxn ang="f4299">
                  <a:pos x="f5817" y="f5912"/>
                </a:cxn>
                <a:cxn ang="f4299">
                  <a:pos x="f5817" y="f5913"/>
                </a:cxn>
                <a:cxn ang="f4299">
                  <a:pos x="f5816" y="f5914"/>
                </a:cxn>
                <a:cxn ang="f4299">
                  <a:pos x="f5815" y="f5914"/>
                </a:cxn>
                <a:cxn ang="f4299">
                  <a:pos x="f5818" y="f5913"/>
                </a:cxn>
                <a:cxn ang="f4299">
                  <a:pos x="f5818" y="f5912"/>
                </a:cxn>
                <a:cxn ang="f4299">
                  <a:pos x="f5819" y="f5911"/>
                </a:cxn>
                <a:cxn ang="f4299">
                  <a:pos x="f5820" y="f5911"/>
                </a:cxn>
                <a:cxn ang="f4299">
                  <a:pos x="f5821" y="f5912"/>
                </a:cxn>
                <a:cxn ang="f4299">
                  <a:pos x="f5821" y="f5913"/>
                </a:cxn>
                <a:cxn ang="f4299">
                  <a:pos x="f5820" y="f5914"/>
                </a:cxn>
                <a:cxn ang="f4299">
                  <a:pos x="f5819" y="f5914"/>
                </a:cxn>
                <a:cxn ang="f4299">
                  <a:pos x="f5822" y="f5913"/>
                </a:cxn>
                <a:cxn ang="f4299">
                  <a:pos x="f5822" y="f5912"/>
                </a:cxn>
                <a:cxn ang="f4299">
                  <a:pos x="f5823" y="f5911"/>
                </a:cxn>
                <a:cxn ang="f4299">
                  <a:pos x="f5824" y="f5911"/>
                </a:cxn>
                <a:cxn ang="f4299">
                  <a:pos x="f5825" y="f5912"/>
                </a:cxn>
                <a:cxn ang="f4299">
                  <a:pos x="f5825" y="f5913"/>
                </a:cxn>
                <a:cxn ang="f4299">
                  <a:pos x="f5824" y="f5914"/>
                </a:cxn>
                <a:cxn ang="f4299">
                  <a:pos x="f5823" y="f5914"/>
                </a:cxn>
                <a:cxn ang="f4299">
                  <a:pos x="f5826" y="f5913"/>
                </a:cxn>
                <a:cxn ang="f4299">
                  <a:pos x="f5826" y="f5912"/>
                </a:cxn>
                <a:cxn ang="f4299">
                  <a:pos x="f5827" y="f5911"/>
                </a:cxn>
                <a:cxn ang="f4299">
                  <a:pos x="f5828" y="f5911"/>
                </a:cxn>
                <a:cxn ang="f4299">
                  <a:pos x="f5829" y="f5912"/>
                </a:cxn>
                <a:cxn ang="f4299">
                  <a:pos x="f5829" y="f5913"/>
                </a:cxn>
                <a:cxn ang="f4299">
                  <a:pos x="f5828" y="f5914"/>
                </a:cxn>
                <a:cxn ang="f4299">
                  <a:pos x="f5827" y="f5914"/>
                </a:cxn>
                <a:cxn ang="f4299">
                  <a:pos x="f5830" y="f5913"/>
                </a:cxn>
                <a:cxn ang="f4299">
                  <a:pos x="f5830" y="f5912"/>
                </a:cxn>
                <a:cxn ang="f4299">
                  <a:pos x="f5831" y="f5911"/>
                </a:cxn>
                <a:cxn ang="f4299">
                  <a:pos x="f5832" y="f5911"/>
                </a:cxn>
                <a:cxn ang="f4299">
                  <a:pos x="f5833" y="f5912"/>
                </a:cxn>
                <a:cxn ang="f4299">
                  <a:pos x="f5833" y="f5913"/>
                </a:cxn>
                <a:cxn ang="f4299">
                  <a:pos x="f5832" y="f5914"/>
                </a:cxn>
                <a:cxn ang="f4299">
                  <a:pos x="f5831" y="f5914"/>
                </a:cxn>
                <a:cxn ang="f4299">
                  <a:pos x="f5834" y="f5913"/>
                </a:cxn>
                <a:cxn ang="f4299">
                  <a:pos x="f5834" y="f5912"/>
                </a:cxn>
                <a:cxn ang="f4299">
                  <a:pos x="f5835" y="f5911"/>
                </a:cxn>
                <a:cxn ang="f4299">
                  <a:pos x="f5836" y="f5911"/>
                </a:cxn>
                <a:cxn ang="f4299">
                  <a:pos x="f5837" y="f5912"/>
                </a:cxn>
                <a:cxn ang="f4299">
                  <a:pos x="f5837" y="f5913"/>
                </a:cxn>
                <a:cxn ang="f4299">
                  <a:pos x="f5836" y="f5914"/>
                </a:cxn>
                <a:cxn ang="f4299">
                  <a:pos x="f5835" y="f5914"/>
                </a:cxn>
                <a:cxn ang="f4299">
                  <a:pos x="f5838" y="f5913"/>
                </a:cxn>
                <a:cxn ang="f4299">
                  <a:pos x="f5838" y="f5912"/>
                </a:cxn>
                <a:cxn ang="f4299">
                  <a:pos x="f5839" y="f5911"/>
                </a:cxn>
                <a:cxn ang="f4299">
                  <a:pos x="f5840" y="f5911"/>
                </a:cxn>
                <a:cxn ang="f4299">
                  <a:pos x="f5841" y="f5912"/>
                </a:cxn>
                <a:cxn ang="f4299">
                  <a:pos x="f5841" y="f5913"/>
                </a:cxn>
                <a:cxn ang="f4299">
                  <a:pos x="f5840" y="f5914"/>
                </a:cxn>
                <a:cxn ang="f4299">
                  <a:pos x="f5839" y="f5914"/>
                </a:cxn>
                <a:cxn ang="f4299">
                  <a:pos x="f5842" y="f5913"/>
                </a:cxn>
                <a:cxn ang="f4299">
                  <a:pos x="f5842" y="f5912"/>
                </a:cxn>
                <a:cxn ang="f4299">
                  <a:pos x="f5843" y="f5911"/>
                </a:cxn>
                <a:cxn ang="f4299">
                  <a:pos x="f5844" y="f5911"/>
                </a:cxn>
                <a:cxn ang="f4299">
                  <a:pos x="f5845" y="f5912"/>
                </a:cxn>
                <a:cxn ang="f4299">
                  <a:pos x="f5845" y="f5913"/>
                </a:cxn>
                <a:cxn ang="f4299">
                  <a:pos x="f5844" y="f5914"/>
                </a:cxn>
                <a:cxn ang="f4299">
                  <a:pos x="f5843" y="f5914"/>
                </a:cxn>
                <a:cxn ang="f4299">
                  <a:pos x="f5846" y="f5913"/>
                </a:cxn>
                <a:cxn ang="f4299">
                  <a:pos x="f5846" y="f5912"/>
                </a:cxn>
                <a:cxn ang="f4299">
                  <a:pos x="f5847" y="f5911"/>
                </a:cxn>
                <a:cxn ang="f4299">
                  <a:pos x="f5848" y="f5911"/>
                </a:cxn>
                <a:cxn ang="f4299">
                  <a:pos x="f5849" y="f5912"/>
                </a:cxn>
                <a:cxn ang="f4299">
                  <a:pos x="f5849" y="f5913"/>
                </a:cxn>
                <a:cxn ang="f4299">
                  <a:pos x="f5848" y="f5914"/>
                </a:cxn>
                <a:cxn ang="f4299">
                  <a:pos x="f5847" y="f5914"/>
                </a:cxn>
                <a:cxn ang="f4299">
                  <a:pos x="f5850" y="f5913"/>
                </a:cxn>
                <a:cxn ang="f4299">
                  <a:pos x="f5850" y="f5912"/>
                </a:cxn>
                <a:cxn ang="f4299">
                  <a:pos x="f5851" y="f5911"/>
                </a:cxn>
                <a:cxn ang="f4299">
                  <a:pos x="f5852" y="f5911"/>
                </a:cxn>
                <a:cxn ang="f4299">
                  <a:pos x="f5853" y="f5912"/>
                </a:cxn>
                <a:cxn ang="f4299">
                  <a:pos x="f5853" y="f5913"/>
                </a:cxn>
                <a:cxn ang="f4299">
                  <a:pos x="f5852" y="f5914"/>
                </a:cxn>
                <a:cxn ang="f4299">
                  <a:pos x="f5851" y="f5914"/>
                </a:cxn>
                <a:cxn ang="f4299">
                  <a:pos x="f5854" y="f5913"/>
                </a:cxn>
                <a:cxn ang="f4299">
                  <a:pos x="f5854" y="f5912"/>
                </a:cxn>
                <a:cxn ang="f4299">
                  <a:pos x="f5855" y="f5911"/>
                </a:cxn>
                <a:cxn ang="f4299">
                  <a:pos x="f5856" y="f5911"/>
                </a:cxn>
                <a:cxn ang="f4299">
                  <a:pos x="f5857" y="f5912"/>
                </a:cxn>
                <a:cxn ang="f4299">
                  <a:pos x="f5857" y="f5913"/>
                </a:cxn>
                <a:cxn ang="f4299">
                  <a:pos x="f5856" y="f5914"/>
                </a:cxn>
                <a:cxn ang="f4299">
                  <a:pos x="f5855" y="f5914"/>
                </a:cxn>
                <a:cxn ang="f4299">
                  <a:pos x="f5858" y="f5913"/>
                </a:cxn>
                <a:cxn ang="f4299">
                  <a:pos x="f5858" y="f5912"/>
                </a:cxn>
                <a:cxn ang="f4299">
                  <a:pos x="f5859" y="f5911"/>
                </a:cxn>
                <a:cxn ang="f4299">
                  <a:pos x="f5860" y="f5911"/>
                </a:cxn>
                <a:cxn ang="f4299">
                  <a:pos x="f5861" y="f5912"/>
                </a:cxn>
                <a:cxn ang="f4299">
                  <a:pos x="f5861" y="f5913"/>
                </a:cxn>
                <a:cxn ang="f4299">
                  <a:pos x="f5860" y="f5914"/>
                </a:cxn>
                <a:cxn ang="f4299">
                  <a:pos x="f5859" y="f5914"/>
                </a:cxn>
                <a:cxn ang="f4299">
                  <a:pos x="f5862" y="f5913"/>
                </a:cxn>
                <a:cxn ang="f4299">
                  <a:pos x="f5862" y="f5912"/>
                </a:cxn>
                <a:cxn ang="f4299">
                  <a:pos x="f5863" y="f5911"/>
                </a:cxn>
                <a:cxn ang="f4299">
                  <a:pos x="f5864" y="f5911"/>
                </a:cxn>
                <a:cxn ang="f4299">
                  <a:pos x="f5865" y="f5912"/>
                </a:cxn>
                <a:cxn ang="f4299">
                  <a:pos x="f5865" y="f5913"/>
                </a:cxn>
                <a:cxn ang="f4299">
                  <a:pos x="f5864" y="f5914"/>
                </a:cxn>
                <a:cxn ang="f4299">
                  <a:pos x="f5863" y="f5914"/>
                </a:cxn>
                <a:cxn ang="f4299">
                  <a:pos x="f5866" y="f5913"/>
                </a:cxn>
                <a:cxn ang="f4299">
                  <a:pos x="f5866" y="f5912"/>
                </a:cxn>
                <a:cxn ang="f4299">
                  <a:pos x="f5867" y="f5911"/>
                </a:cxn>
                <a:cxn ang="f4299">
                  <a:pos x="f5868" y="f5911"/>
                </a:cxn>
                <a:cxn ang="f4299">
                  <a:pos x="f5869" y="f5912"/>
                </a:cxn>
                <a:cxn ang="f4299">
                  <a:pos x="f5869" y="f5913"/>
                </a:cxn>
                <a:cxn ang="f4299">
                  <a:pos x="f5868" y="f5914"/>
                </a:cxn>
                <a:cxn ang="f4299">
                  <a:pos x="f5867" y="f5914"/>
                </a:cxn>
                <a:cxn ang="f4299">
                  <a:pos x="f5870" y="f5913"/>
                </a:cxn>
                <a:cxn ang="f4299">
                  <a:pos x="f5870" y="f5912"/>
                </a:cxn>
                <a:cxn ang="f4299">
                  <a:pos x="f5871" y="f5911"/>
                </a:cxn>
                <a:cxn ang="f4299">
                  <a:pos x="f5872" y="f5911"/>
                </a:cxn>
                <a:cxn ang="f4299">
                  <a:pos x="f5873" y="f5912"/>
                </a:cxn>
                <a:cxn ang="f4299">
                  <a:pos x="f5873" y="f5913"/>
                </a:cxn>
                <a:cxn ang="f4299">
                  <a:pos x="f5872" y="f5914"/>
                </a:cxn>
                <a:cxn ang="f4299">
                  <a:pos x="f5871" y="f5914"/>
                </a:cxn>
                <a:cxn ang="f4299">
                  <a:pos x="f5874" y="f5913"/>
                </a:cxn>
                <a:cxn ang="f4299">
                  <a:pos x="f5874" y="f5912"/>
                </a:cxn>
                <a:cxn ang="f4299">
                  <a:pos x="f5875" y="f5911"/>
                </a:cxn>
                <a:cxn ang="f4299">
                  <a:pos x="f5876" y="f5911"/>
                </a:cxn>
                <a:cxn ang="f4299">
                  <a:pos x="f5877" y="f5912"/>
                </a:cxn>
                <a:cxn ang="f4299">
                  <a:pos x="f5877" y="f5913"/>
                </a:cxn>
                <a:cxn ang="f4299">
                  <a:pos x="f5876" y="f5914"/>
                </a:cxn>
                <a:cxn ang="f4299">
                  <a:pos x="f5875" y="f5914"/>
                </a:cxn>
                <a:cxn ang="f4299">
                  <a:pos x="f5878" y="f5913"/>
                </a:cxn>
                <a:cxn ang="f4299">
                  <a:pos x="f5878" y="f5912"/>
                </a:cxn>
                <a:cxn ang="f4299">
                  <a:pos x="f5879" y="f5911"/>
                </a:cxn>
                <a:cxn ang="f4299">
                  <a:pos x="f5880" y="f5911"/>
                </a:cxn>
                <a:cxn ang="f4299">
                  <a:pos x="f5881" y="f5912"/>
                </a:cxn>
                <a:cxn ang="f4299">
                  <a:pos x="f5881" y="f5913"/>
                </a:cxn>
                <a:cxn ang="f4299">
                  <a:pos x="f5880" y="f5914"/>
                </a:cxn>
                <a:cxn ang="f4299">
                  <a:pos x="f5879" y="f5914"/>
                </a:cxn>
                <a:cxn ang="f4299">
                  <a:pos x="f5882" y="f5913"/>
                </a:cxn>
                <a:cxn ang="f4299">
                  <a:pos x="f5882" y="f5912"/>
                </a:cxn>
                <a:cxn ang="f4299">
                  <a:pos x="f5883" y="f5911"/>
                </a:cxn>
                <a:cxn ang="f4299">
                  <a:pos x="f5884" y="f5911"/>
                </a:cxn>
                <a:cxn ang="f4299">
                  <a:pos x="f5885" y="f5912"/>
                </a:cxn>
                <a:cxn ang="f4299">
                  <a:pos x="f5885" y="f5913"/>
                </a:cxn>
                <a:cxn ang="f4299">
                  <a:pos x="f5884" y="f5914"/>
                </a:cxn>
                <a:cxn ang="f4299">
                  <a:pos x="f5883" y="f5914"/>
                </a:cxn>
                <a:cxn ang="f4299">
                  <a:pos x="f5886" y="f5913"/>
                </a:cxn>
                <a:cxn ang="f4299">
                  <a:pos x="f5886" y="f5912"/>
                </a:cxn>
                <a:cxn ang="f4299">
                  <a:pos x="f5887" y="f5911"/>
                </a:cxn>
                <a:cxn ang="f4299">
                  <a:pos x="f5888" y="f5911"/>
                </a:cxn>
                <a:cxn ang="f4299">
                  <a:pos x="f5889" y="f5912"/>
                </a:cxn>
                <a:cxn ang="f4299">
                  <a:pos x="f5889" y="f5913"/>
                </a:cxn>
                <a:cxn ang="f4299">
                  <a:pos x="f5888" y="f5914"/>
                </a:cxn>
                <a:cxn ang="f4299">
                  <a:pos x="f5887" y="f5914"/>
                </a:cxn>
                <a:cxn ang="f4299">
                  <a:pos x="f5890" y="f5913"/>
                </a:cxn>
                <a:cxn ang="f4299">
                  <a:pos x="f5890" y="f5912"/>
                </a:cxn>
                <a:cxn ang="f4299">
                  <a:pos x="f5891" y="f5911"/>
                </a:cxn>
                <a:cxn ang="f4299">
                  <a:pos x="f5892" y="f5911"/>
                </a:cxn>
                <a:cxn ang="f4299">
                  <a:pos x="f5893" y="f5912"/>
                </a:cxn>
                <a:cxn ang="f4299">
                  <a:pos x="f5893" y="f5913"/>
                </a:cxn>
                <a:cxn ang="f4299">
                  <a:pos x="f5892" y="f5914"/>
                </a:cxn>
                <a:cxn ang="f4299">
                  <a:pos x="f5891" y="f5914"/>
                </a:cxn>
                <a:cxn ang="f4299">
                  <a:pos x="f5894" y="f5913"/>
                </a:cxn>
                <a:cxn ang="f4299">
                  <a:pos x="f5894" y="f5912"/>
                </a:cxn>
                <a:cxn ang="f4299">
                  <a:pos x="f5915" y="f5911"/>
                </a:cxn>
                <a:cxn ang="f4299">
                  <a:pos x="f5916" y="f5911"/>
                </a:cxn>
                <a:cxn ang="f4299">
                  <a:pos x="f5917" y="f5912"/>
                </a:cxn>
                <a:cxn ang="f4299">
                  <a:pos x="f5917" y="f5913"/>
                </a:cxn>
                <a:cxn ang="f4299">
                  <a:pos x="f5916" y="f5914"/>
                </a:cxn>
                <a:cxn ang="f4299">
                  <a:pos x="f5915" y="f5914"/>
                </a:cxn>
                <a:cxn ang="f4299">
                  <a:pos x="f5918" y="f5913"/>
                </a:cxn>
                <a:cxn ang="f4299">
                  <a:pos x="f5918" y="f5912"/>
                </a:cxn>
                <a:cxn ang="f4299">
                  <a:pos x="f5747" y="f5911"/>
                </a:cxn>
                <a:cxn ang="f4299">
                  <a:pos x="f5748" y="f5911"/>
                </a:cxn>
                <a:cxn ang="f4299">
                  <a:pos x="f5919" y="f5912"/>
                </a:cxn>
                <a:cxn ang="f4299">
                  <a:pos x="f5919" y="f5913"/>
                </a:cxn>
                <a:cxn ang="f4299">
                  <a:pos x="f5748" y="f5914"/>
                </a:cxn>
                <a:cxn ang="f4299">
                  <a:pos x="f5747" y="f5914"/>
                </a:cxn>
                <a:cxn ang="f4299">
                  <a:pos x="f5750" y="f5913"/>
                </a:cxn>
                <a:cxn ang="f4299">
                  <a:pos x="f5750" y="f5912"/>
                </a:cxn>
                <a:cxn ang="f4299">
                  <a:pos x="f5751" y="f5911"/>
                </a:cxn>
                <a:cxn ang="f4299">
                  <a:pos x="f5752" y="f5911"/>
                </a:cxn>
                <a:cxn ang="f4299">
                  <a:pos x="f5920" y="f5912"/>
                </a:cxn>
                <a:cxn ang="f4299">
                  <a:pos x="f5920" y="f5913"/>
                </a:cxn>
                <a:cxn ang="f4299">
                  <a:pos x="f5752" y="f5914"/>
                </a:cxn>
                <a:cxn ang="f4299">
                  <a:pos x="f5751" y="f5914"/>
                </a:cxn>
                <a:cxn ang="f4299">
                  <a:pos x="f5921" y="f5913"/>
                </a:cxn>
                <a:cxn ang="f4299">
                  <a:pos x="f5921" y="f5912"/>
                </a:cxn>
                <a:cxn ang="f4299">
                  <a:pos x="f5755" y="f5911"/>
                </a:cxn>
                <a:cxn ang="f4299">
                  <a:pos x="f5756" y="f5911"/>
                </a:cxn>
                <a:cxn ang="f4299">
                  <a:pos x="f5922" y="f5912"/>
                </a:cxn>
                <a:cxn ang="f4299">
                  <a:pos x="f5922" y="f5913"/>
                </a:cxn>
                <a:cxn ang="f4299">
                  <a:pos x="f5756" y="f5914"/>
                </a:cxn>
                <a:cxn ang="f4299">
                  <a:pos x="f5755" y="f5914"/>
                </a:cxn>
                <a:cxn ang="f4299">
                  <a:pos x="f5923" y="f5913"/>
                </a:cxn>
                <a:cxn ang="f4299">
                  <a:pos x="f5923" y="f5912"/>
                </a:cxn>
                <a:cxn ang="f4299">
                  <a:pos x="f5759" y="f5911"/>
                </a:cxn>
                <a:cxn ang="f4299">
                  <a:pos x="f5924" y="f5911"/>
                </a:cxn>
                <a:cxn ang="f4299">
                  <a:pos x="f5925" y="f5912"/>
                </a:cxn>
                <a:cxn ang="f4299">
                  <a:pos x="f5925" y="f5913"/>
                </a:cxn>
                <a:cxn ang="f4299">
                  <a:pos x="f5924" y="f5914"/>
                </a:cxn>
                <a:cxn ang="f4299">
                  <a:pos x="f5759" y="f5914"/>
                </a:cxn>
                <a:cxn ang="f4299">
                  <a:pos x="f5762" y="f5913"/>
                </a:cxn>
                <a:cxn ang="f4299">
                  <a:pos x="f5762" y="f5912"/>
                </a:cxn>
                <a:cxn ang="f4299">
                  <a:pos x="f5926" y="f5911"/>
                </a:cxn>
                <a:cxn ang="f4299">
                  <a:pos x="f5764" y="f5911"/>
                </a:cxn>
                <a:cxn ang="f4299">
                  <a:pos x="f5765" y="f5912"/>
                </a:cxn>
                <a:cxn ang="f4299">
                  <a:pos x="f5765" y="f5913"/>
                </a:cxn>
                <a:cxn ang="f4299">
                  <a:pos x="f5764" y="f5914"/>
                </a:cxn>
                <a:cxn ang="f4299">
                  <a:pos x="f5926" y="f5914"/>
                </a:cxn>
                <a:cxn ang="f4299">
                  <a:pos x="f5927" y="f5913"/>
                </a:cxn>
                <a:cxn ang="f4299">
                  <a:pos x="f5927" y="f5912"/>
                </a:cxn>
                <a:cxn ang="f4299">
                  <a:pos x="f5928" y="f5911"/>
                </a:cxn>
                <a:cxn ang="f4299">
                  <a:pos x="f5929" y="f5911"/>
                </a:cxn>
                <a:cxn ang="f4299">
                  <a:pos x="f5930" y="f5912"/>
                </a:cxn>
                <a:cxn ang="f4299">
                  <a:pos x="f5930" y="f5913"/>
                </a:cxn>
                <a:cxn ang="f4299">
                  <a:pos x="f5929" y="f5914"/>
                </a:cxn>
                <a:cxn ang="f4299">
                  <a:pos x="f5928" y="f5914"/>
                </a:cxn>
                <a:cxn ang="f4299">
                  <a:pos x="f5931" y="f5913"/>
                </a:cxn>
                <a:cxn ang="f4299">
                  <a:pos x="f5931" y="f5912"/>
                </a:cxn>
                <a:cxn ang="f4299">
                  <a:pos x="f5899" y="f5911"/>
                </a:cxn>
                <a:cxn ang="f4299">
                  <a:pos x="f5932" y="f5911"/>
                </a:cxn>
                <a:cxn ang="f4299">
                  <a:pos x="f5933" y="f5912"/>
                </a:cxn>
                <a:cxn ang="f4299">
                  <a:pos x="f5933" y="f5913"/>
                </a:cxn>
                <a:cxn ang="f4299">
                  <a:pos x="f5932" y="f5914"/>
                </a:cxn>
                <a:cxn ang="f4299">
                  <a:pos x="f5899" y="f5914"/>
                </a:cxn>
                <a:cxn ang="f4299">
                  <a:pos x="f5902" y="f5913"/>
                </a:cxn>
                <a:cxn ang="f4299">
                  <a:pos x="f5902" y="f5912"/>
                </a:cxn>
                <a:cxn ang="f4299">
                  <a:pos x="f5934" y="f5911"/>
                </a:cxn>
                <a:cxn ang="f4299">
                  <a:pos x="f5935" y="f5911"/>
                </a:cxn>
                <a:cxn ang="f4299">
                  <a:pos x="f5936" y="f5912"/>
                </a:cxn>
                <a:cxn ang="f4299">
                  <a:pos x="f5936" y="f5913"/>
                </a:cxn>
                <a:cxn ang="f4299">
                  <a:pos x="f5935" y="f5914"/>
                </a:cxn>
                <a:cxn ang="f4299">
                  <a:pos x="f5934" y="f5914"/>
                </a:cxn>
                <a:cxn ang="f4299">
                  <a:pos x="f5937" y="f5913"/>
                </a:cxn>
                <a:cxn ang="f4299">
                  <a:pos x="f5937" y="f5912"/>
                </a:cxn>
                <a:cxn ang="f4299">
                  <a:pos x="f5938" y="f5911"/>
                </a:cxn>
                <a:cxn ang="f4299">
                  <a:pos x="f5939" y="f5911"/>
                </a:cxn>
                <a:cxn ang="f4299">
                  <a:pos x="f5909" y="f5912"/>
                </a:cxn>
                <a:cxn ang="f4299">
                  <a:pos x="f5909" y="f5913"/>
                </a:cxn>
                <a:cxn ang="f4299">
                  <a:pos x="f5939" y="f5914"/>
                </a:cxn>
                <a:cxn ang="f4299">
                  <a:pos x="f5938" y="f5914"/>
                </a:cxn>
                <a:cxn ang="f4299">
                  <a:pos x="f5940" y="f5913"/>
                </a:cxn>
                <a:cxn ang="f4299">
                  <a:pos x="f5940" y="f5912"/>
                </a:cxn>
                <a:cxn ang="f4299">
                  <a:pos x="f5915" y="f5941"/>
                </a:cxn>
                <a:cxn ang="f4299">
                  <a:pos x="f5916" y="f5941"/>
                </a:cxn>
                <a:cxn ang="f4299">
                  <a:pos x="f5942" y="f5943"/>
                </a:cxn>
                <a:cxn ang="f4299">
                  <a:pos x="f5942" y="f5944"/>
                </a:cxn>
                <a:cxn ang="f4299">
                  <a:pos x="f5916" y="f5945"/>
                </a:cxn>
                <a:cxn ang="f4299">
                  <a:pos x="f5915" y="f5945"/>
                </a:cxn>
                <a:cxn ang="f4299">
                  <a:pos x="f5918" y="f5944"/>
                </a:cxn>
                <a:cxn ang="f4299">
                  <a:pos x="f5918" y="f5943"/>
                </a:cxn>
                <a:cxn ang="f4299">
                  <a:pos x="f5747" y="f5941"/>
                </a:cxn>
                <a:cxn ang="f4299">
                  <a:pos x="f5946" y="f5941"/>
                </a:cxn>
                <a:cxn ang="f4299">
                  <a:pos x="f5919" y="f5943"/>
                </a:cxn>
                <a:cxn ang="f4299">
                  <a:pos x="f5919" y="f5944"/>
                </a:cxn>
                <a:cxn ang="f4299">
                  <a:pos x="f5946" y="f5945"/>
                </a:cxn>
                <a:cxn ang="f4299">
                  <a:pos x="f5747" y="f5945"/>
                </a:cxn>
                <a:cxn ang="f4299">
                  <a:pos x="f5750" y="f5944"/>
                </a:cxn>
                <a:cxn ang="f4299">
                  <a:pos x="f5750" y="f5943"/>
                </a:cxn>
                <a:cxn ang="f4299">
                  <a:pos x="f5947" y="f5941"/>
                </a:cxn>
                <a:cxn ang="f4299">
                  <a:pos x="f5948" y="f5941"/>
                </a:cxn>
                <a:cxn ang="f4299">
                  <a:pos x="f5920" y="f5943"/>
                </a:cxn>
                <a:cxn ang="f4299">
                  <a:pos x="f5920" y="f5944"/>
                </a:cxn>
                <a:cxn ang="f4299">
                  <a:pos x="f5948" y="f5945"/>
                </a:cxn>
                <a:cxn ang="f4299">
                  <a:pos x="f5947" y="f5945"/>
                </a:cxn>
                <a:cxn ang="f4299">
                  <a:pos x="f5921" y="f5944"/>
                </a:cxn>
                <a:cxn ang="f4299">
                  <a:pos x="f5921" y="f5943"/>
                </a:cxn>
                <a:cxn ang="f4299">
                  <a:pos x="f5949" y="f5941"/>
                </a:cxn>
                <a:cxn ang="f4299">
                  <a:pos x="f5950" y="f5941"/>
                </a:cxn>
                <a:cxn ang="f4299">
                  <a:pos x="f5922" y="f5943"/>
                </a:cxn>
                <a:cxn ang="f4299">
                  <a:pos x="f5922" y="f5944"/>
                </a:cxn>
                <a:cxn ang="f4299">
                  <a:pos x="f5950" y="f5945"/>
                </a:cxn>
                <a:cxn ang="f4299">
                  <a:pos x="f5949" y="f5945"/>
                </a:cxn>
                <a:cxn ang="f4299">
                  <a:pos x="f5923" y="f5944"/>
                </a:cxn>
                <a:cxn ang="f4299">
                  <a:pos x="f5923" y="f5943"/>
                </a:cxn>
                <a:cxn ang="f4299">
                  <a:pos x="f5951" y="f5941"/>
                </a:cxn>
                <a:cxn ang="f4299">
                  <a:pos x="f5924" y="f5941"/>
                </a:cxn>
                <a:cxn ang="f4299">
                  <a:pos x="f5952" y="f5943"/>
                </a:cxn>
                <a:cxn ang="f4299">
                  <a:pos x="f5952" y="f5944"/>
                </a:cxn>
                <a:cxn ang="f4299">
                  <a:pos x="f5924" y="f5945"/>
                </a:cxn>
                <a:cxn ang="f4299">
                  <a:pos x="f5951" y="f5945"/>
                </a:cxn>
                <a:cxn ang="f4299">
                  <a:pos x="f5953" y="f5944"/>
                </a:cxn>
                <a:cxn ang="f4299">
                  <a:pos x="f5953" y="f5943"/>
                </a:cxn>
                <a:cxn ang="f4299">
                  <a:pos x="f5926" y="f5941"/>
                </a:cxn>
                <a:cxn ang="f4299">
                  <a:pos x="f5954" y="f5941"/>
                </a:cxn>
                <a:cxn ang="f4299">
                  <a:pos x="f5955" y="f5943"/>
                </a:cxn>
                <a:cxn ang="f4299">
                  <a:pos x="f5955" y="f5944"/>
                </a:cxn>
                <a:cxn ang="f4299">
                  <a:pos x="f5954" y="f5945"/>
                </a:cxn>
                <a:cxn ang="f4299">
                  <a:pos x="f5926" y="f5945"/>
                </a:cxn>
                <a:cxn ang="f4299">
                  <a:pos x="f5927" y="f5944"/>
                </a:cxn>
                <a:cxn ang="f4299">
                  <a:pos x="f5927" y="f5943"/>
                </a:cxn>
                <a:cxn ang="f4299">
                  <a:pos x="f5767" y="f5956"/>
                </a:cxn>
                <a:cxn ang="f4299">
                  <a:pos x="f5769" y="f5956"/>
                </a:cxn>
                <a:cxn ang="f4299">
                  <a:pos x="f5770" y="f5957"/>
                </a:cxn>
                <a:cxn ang="f4299">
                  <a:pos x="f5770" y="f5958"/>
                </a:cxn>
                <a:cxn ang="f4299">
                  <a:pos x="f5769" y="f5959"/>
                </a:cxn>
                <a:cxn ang="f4299">
                  <a:pos x="f5767" y="f5959"/>
                </a:cxn>
                <a:cxn ang="f4299">
                  <a:pos x="f5774" y="f5958"/>
                </a:cxn>
                <a:cxn ang="f4299">
                  <a:pos x="f5774" y="f5957"/>
                </a:cxn>
                <a:cxn ang="f4299">
                  <a:pos x="f5775" y="f5956"/>
                </a:cxn>
                <a:cxn ang="f4299">
                  <a:pos x="f5776" y="f5956"/>
                </a:cxn>
                <a:cxn ang="f4299">
                  <a:pos x="f5777" y="f5957"/>
                </a:cxn>
                <a:cxn ang="f4299">
                  <a:pos x="f5777" y="f5958"/>
                </a:cxn>
                <a:cxn ang="f4299">
                  <a:pos x="f5776" y="f5959"/>
                </a:cxn>
                <a:cxn ang="f4299">
                  <a:pos x="f5775" y="f5959"/>
                </a:cxn>
                <a:cxn ang="f4299">
                  <a:pos x="f5778" y="f5958"/>
                </a:cxn>
                <a:cxn ang="f4299">
                  <a:pos x="f5778" y="f5957"/>
                </a:cxn>
                <a:cxn ang="f4299">
                  <a:pos x="f5779" y="f5956"/>
                </a:cxn>
                <a:cxn ang="f4299">
                  <a:pos x="f5780" y="f5956"/>
                </a:cxn>
                <a:cxn ang="f4299">
                  <a:pos x="f5781" y="f5957"/>
                </a:cxn>
                <a:cxn ang="f4299">
                  <a:pos x="f5781" y="f5958"/>
                </a:cxn>
                <a:cxn ang="f4299">
                  <a:pos x="f5780" y="f5959"/>
                </a:cxn>
                <a:cxn ang="f4299">
                  <a:pos x="f5779" y="f5959"/>
                </a:cxn>
                <a:cxn ang="f4299">
                  <a:pos x="f5782" y="f5958"/>
                </a:cxn>
                <a:cxn ang="f4299">
                  <a:pos x="f5782" y="f5957"/>
                </a:cxn>
                <a:cxn ang="f4299">
                  <a:pos x="f5783" y="f5956"/>
                </a:cxn>
                <a:cxn ang="f4299">
                  <a:pos x="f5784" y="f5956"/>
                </a:cxn>
                <a:cxn ang="f4299">
                  <a:pos x="f5785" y="f5957"/>
                </a:cxn>
                <a:cxn ang="f4299">
                  <a:pos x="f5785" y="f5958"/>
                </a:cxn>
                <a:cxn ang="f4299">
                  <a:pos x="f5784" y="f5959"/>
                </a:cxn>
                <a:cxn ang="f4299">
                  <a:pos x="f5783" y="f5959"/>
                </a:cxn>
                <a:cxn ang="f4299">
                  <a:pos x="f5786" y="f5958"/>
                </a:cxn>
                <a:cxn ang="f4299">
                  <a:pos x="f5786" y="f5957"/>
                </a:cxn>
                <a:cxn ang="f4299">
                  <a:pos x="f5787" y="f5956"/>
                </a:cxn>
                <a:cxn ang="f4299">
                  <a:pos x="f5788" y="f5956"/>
                </a:cxn>
                <a:cxn ang="f4299">
                  <a:pos x="f5789" y="f5957"/>
                </a:cxn>
                <a:cxn ang="f4299">
                  <a:pos x="f5789" y="f5958"/>
                </a:cxn>
                <a:cxn ang="f4299">
                  <a:pos x="f5788" y="f5959"/>
                </a:cxn>
                <a:cxn ang="f4299">
                  <a:pos x="f5787" y="f5959"/>
                </a:cxn>
                <a:cxn ang="f4299">
                  <a:pos x="f5790" y="f5958"/>
                </a:cxn>
                <a:cxn ang="f4299">
                  <a:pos x="f5790" y="f5957"/>
                </a:cxn>
                <a:cxn ang="f4299">
                  <a:pos x="f5791" y="f5956"/>
                </a:cxn>
                <a:cxn ang="f4299">
                  <a:pos x="f5792" y="f5956"/>
                </a:cxn>
                <a:cxn ang="f4299">
                  <a:pos x="f5793" y="f5957"/>
                </a:cxn>
                <a:cxn ang="f4299">
                  <a:pos x="f5793" y="f5958"/>
                </a:cxn>
                <a:cxn ang="f4299">
                  <a:pos x="f5792" y="f5959"/>
                </a:cxn>
                <a:cxn ang="f4299">
                  <a:pos x="f5791" y="f5959"/>
                </a:cxn>
                <a:cxn ang="f4299">
                  <a:pos x="f5794" y="f5958"/>
                </a:cxn>
                <a:cxn ang="f4299">
                  <a:pos x="f5794" y="f5957"/>
                </a:cxn>
                <a:cxn ang="f4299">
                  <a:pos x="f5795" y="f5956"/>
                </a:cxn>
                <a:cxn ang="f4299">
                  <a:pos x="f5796" y="f5956"/>
                </a:cxn>
                <a:cxn ang="f4299">
                  <a:pos x="f5797" y="f5957"/>
                </a:cxn>
                <a:cxn ang="f4299">
                  <a:pos x="f5797" y="f5958"/>
                </a:cxn>
                <a:cxn ang="f4299">
                  <a:pos x="f5796" y="f5959"/>
                </a:cxn>
                <a:cxn ang="f4299">
                  <a:pos x="f5795" y="f5959"/>
                </a:cxn>
                <a:cxn ang="f4299">
                  <a:pos x="f5798" y="f5958"/>
                </a:cxn>
                <a:cxn ang="f4299">
                  <a:pos x="f5798" y="f5957"/>
                </a:cxn>
                <a:cxn ang="f4299">
                  <a:pos x="f5799" y="f5956"/>
                </a:cxn>
                <a:cxn ang="f4299">
                  <a:pos x="f5800" y="f5956"/>
                </a:cxn>
                <a:cxn ang="f4299">
                  <a:pos x="f5801" y="f5957"/>
                </a:cxn>
                <a:cxn ang="f4299">
                  <a:pos x="f5801" y="f5958"/>
                </a:cxn>
                <a:cxn ang="f4299">
                  <a:pos x="f5800" y="f5959"/>
                </a:cxn>
                <a:cxn ang="f4299">
                  <a:pos x="f5799" y="f5959"/>
                </a:cxn>
                <a:cxn ang="f4299">
                  <a:pos x="f5802" y="f5958"/>
                </a:cxn>
                <a:cxn ang="f4299">
                  <a:pos x="f5802" y="f5957"/>
                </a:cxn>
                <a:cxn ang="f4299">
                  <a:pos x="f5803" y="f5956"/>
                </a:cxn>
                <a:cxn ang="f4299">
                  <a:pos x="f5804" y="f5956"/>
                </a:cxn>
                <a:cxn ang="f4299">
                  <a:pos x="f5805" y="f5957"/>
                </a:cxn>
                <a:cxn ang="f4299">
                  <a:pos x="f5805" y="f5958"/>
                </a:cxn>
                <a:cxn ang="f4299">
                  <a:pos x="f5804" y="f5959"/>
                </a:cxn>
                <a:cxn ang="f4299">
                  <a:pos x="f5803" y="f5959"/>
                </a:cxn>
                <a:cxn ang="f4299">
                  <a:pos x="f5806" y="f5958"/>
                </a:cxn>
                <a:cxn ang="f4299">
                  <a:pos x="f5806" y="f5957"/>
                </a:cxn>
                <a:cxn ang="f4299">
                  <a:pos x="f5807" y="f5956"/>
                </a:cxn>
                <a:cxn ang="f4299">
                  <a:pos x="f5808" y="f5956"/>
                </a:cxn>
                <a:cxn ang="f4299">
                  <a:pos x="f5809" y="f5957"/>
                </a:cxn>
                <a:cxn ang="f4299">
                  <a:pos x="f5809" y="f5958"/>
                </a:cxn>
                <a:cxn ang="f4299">
                  <a:pos x="f5808" y="f5959"/>
                </a:cxn>
                <a:cxn ang="f4299">
                  <a:pos x="f5807" y="f5959"/>
                </a:cxn>
                <a:cxn ang="f4299">
                  <a:pos x="f5810" y="f5958"/>
                </a:cxn>
                <a:cxn ang="f4299">
                  <a:pos x="f5810" y="f5957"/>
                </a:cxn>
                <a:cxn ang="f4299">
                  <a:pos x="f5811" y="f5956"/>
                </a:cxn>
                <a:cxn ang="f4299">
                  <a:pos x="f5812" y="f5956"/>
                </a:cxn>
                <a:cxn ang="f4299">
                  <a:pos x="f5813" y="f5957"/>
                </a:cxn>
                <a:cxn ang="f4299">
                  <a:pos x="f5813" y="f5958"/>
                </a:cxn>
                <a:cxn ang="f4299">
                  <a:pos x="f5812" y="f5959"/>
                </a:cxn>
                <a:cxn ang="f4299">
                  <a:pos x="f5811" y="f5959"/>
                </a:cxn>
                <a:cxn ang="f4299">
                  <a:pos x="f5814" y="f5958"/>
                </a:cxn>
                <a:cxn ang="f4299">
                  <a:pos x="f5814" y="f5957"/>
                </a:cxn>
                <a:cxn ang="f4299">
                  <a:pos x="f5815" y="f5956"/>
                </a:cxn>
                <a:cxn ang="f4299">
                  <a:pos x="f5816" y="f5956"/>
                </a:cxn>
                <a:cxn ang="f4299">
                  <a:pos x="f5817" y="f5957"/>
                </a:cxn>
                <a:cxn ang="f4299">
                  <a:pos x="f5817" y="f5958"/>
                </a:cxn>
                <a:cxn ang="f4299">
                  <a:pos x="f5816" y="f5959"/>
                </a:cxn>
                <a:cxn ang="f4299">
                  <a:pos x="f5815" y="f5959"/>
                </a:cxn>
                <a:cxn ang="f4299">
                  <a:pos x="f5818" y="f5958"/>
                </a:cxn>
                <a:cxn ang="f4299">
                  <a:pos x="f5818" y="f5957"/>
                </a:cxn>
                <a:cxn ang="f4299">
                  <a:pos x="f5819" y="f5956"/>
                </a:cxn>
                <a:cxn ang="f4299">
                  <a:pos x="f5820" y="f5956"/>
                </a:cxn>
                <a:cxn ang="f4299">
                  <a:pos x="f5821" y="f5957"/>
                </a:cxn>
                <a:cxn ang="f4299">
                  <a:pos x="f5821" y="f5958"/>
                </a:cxn>
                <a:cxn ang="f4299">
                  <a:pos x="f5820" y="f5959"/>
                </a:cxn>
                <a:cxn ang="f4299">
                  <a:pos x="f5819" y="f5959"/>
                </a:cxn>
                <a:cxn ang="f4299">
                  <a:pos x="f5822" y="f5958"/>
                </a:cxn>
                <a:cxn ang="f4299">
                  <a:pos x="f5822" y="f5957"/>
                </a:cxn>
                <a:cxn ang="f4299">
                  <a:pos x="f5823" y="f5956"/>
                </a:cxn>
                <a:cxn ang="f4299">
                  <a:pos x="f5824" y="f5956"/>
                </a:cxn>
                <a:cxn ang="f4299">
                  <a:pos x="f5825" y="f5957"/>
                </a:cxn>
                <a:cxn ang="f4299">
                  <a:pos x="f5825" y="f5958"/>
                </a:cxn>
                <a:cxn ang="f4299">
                  <a:pos x="f5824" y="f5959"/>
                </a:cxn>
                <a:cxn ang="f4299">
                  <a:pos x="f5823" y="f5959"/>
                </a:cxn>
                <a:cxn ang="f4299">
                  <a:pos x="f5826" y="f5958"/>
                </a:cxn>
                <a:cxn ang="f4299">
                  <a:pos x="f5826" y="f5957"/>
                </a:cxn>
                <a:cxn ang="f4299">
                  <a:pos x="f5827" y="f5956"/>
                </a:cxn>
                <a:cxn ang="f4299">
                  <a:pos x="f5828" y="f5956"/>
                </a:cxn>
                <a:cxn ang="f4299">
                  <a:pos x="f5829" y="f5957"/>
                </a:cxn>
                <a:cxn ang="f4299">
                  <a:pos x="f5829" y="f5958"/>
                </a:cxn>
                <a:cxn ang="f4299">
                  <a:pos x="f5828" y="f5959"/>
                </a:cxn>
                <a:cxn ang="f4299">
                  <a:pos x="f5827" y="f5959"/>
                </a:cxn>
                <a:cxn ang="f4299">
                  <a:pos x="f5830" y="f5958"/>
                </a:cxn>
                <a:cxn ang="f4299">
                  <a:pos x="f5830" y="f5957"/>
                </a:cxn>
                <a:cxn ang="f4299">
                  <a:pos x="f5831" y="f5956"/>
                </a:cxn>
                <a:cxn ang="f4299">
                  <a:pos x="f5832" y="f5956"/>
                </a:cxn>
                <a:cxn ang="f4299">
                  <a:pos x="f5833" y="f5957"/>
                </a:cxn>
                <a:cxn ang="f4299">
                  <a:pos x="f5833" y="f5958"/>
                </a:cxn>
                <a:cxn ang="f4299">
                  <a:pos x="f5832" y="f5959"/>
                </a:cxn>
                <a:cxn ang="f4299">
                  <a:pos x="f5831" y="f5959"/>
                </a:cxn>
                <a:cxn ang="f4299">
                  <a:pos x="f5834" y="f5958"/>
                </a:cxn>
                <a:cxn ang="f4299">
                  <a:pos x="f5834" y="f5957"/>
                </a:cxn>
                <a:cxn ang="f4299">
                  <a:pos x="f5835" y="f5956"/>
                </a:cxn>
                <a:cxn ang="f4299">
                  <a:pos x="f5836" y="f5956"/>
                </a:cxn>
                <a:cxn ang="f4299">
                  <a:pos x="f5837" y="f5957"/>
                </a:cxn>
                <a:cxn ang="f4299">
                  <a:pos x="f5837" y="f5958"/>
                </a:cxn>
                <a:cxn ang="f4299">
                  <a:pos x="f5836" y="f5959"/>
                </a:cxn>
                <a:cxn ang="f4299">
                  <a:pos x="f5835" y="f5959"/>
                </a:cxn>
                <a:cxn ang="f4299">
                  <a:pos x="f5838" y="f5958"/>
                </a:cxn>
                <a:cxn ang="f4299">
                  <a:pos x="f5838" y="f5957"/>
                </a:cxn>
                <a:cxn ang="f4299">
                  <a:pos x="f5839" y="f5956"/>
                </a:cxn>
                <a:cxn ang="f4299">
                  <a:pos x="f5840" y="f5956"/>
                </a:cxn>
                <a:cxn ang="f4299">
                  <a:pos x="f5841" y="f5957"/>
                </a:cxn>
                <a:cxn ang="f4299">
                  <a:pos x="f5841" y="f5958"/>
                </a:cxn>
                <a:cxn ang="f4299">
                  <a:pos x="f5840" y="f5959"/>
                </a:cxn>
                <a:cxn ang="f4299">
                  <a:pos x="f5839" y="f5959"/>
                </a:cxn>
                <a:cxn ang="f4299">
                  <a:pos x="f5842" y="f5958"/>
                </a:cxn>
                <a:cxn ang="f4299">
                  <a:pos x="f5842" y="f5957"/>
                </a:cxn>
                <a:cxn ang="f4299">
                  <a:pos x="f5843" y="f5956"/>
                </a:cxn>
                <a:cxn ang="f4299">
                  <a:pos x="f5844" y="f5956"/>
                </a:cxn>
                <a:cxn ang="f4299">
                  <a:pos x="f5845" y="f5957"/>
                </a:cxn>
                <a:cxn ang="f4299">
                  <a:pos x="f5845" y="f5958"/>
                </a:cxn>
                <a:cxn ang="f4299">
                  <a:pos x="f5844" y="f5959"/>
                </a:cxn>
                <a:cxn ang="f4299">
                  <a:pos x="f5843" y="f5959"/>
                </a:cxn>
                <a:cxn ang="f4299">
                  <a:pos x="f5846" y="f5958"/>
                </a:cxn>
                <a:cxn ang="f4299">
                  <a:pos x="f5846" y="f5957"/>
                </a:cxn>
                <a:cxn ang="f4299">
                  <a:pos x="f5847" y="f5956"/>
                </a:cxn>
                <a:cxn ang="f4299">
                  <a:pos x="f5848" y="f5956"/>
                </a:cxn>
                <a:cxn ang="f4299">
                  <a:pos x="f5849" y="f5957"/>
                </a:cxn>
                <a:cxn ang="f4299">
                  <a:pos x="f5849" y="f5958"/>
                </a:cxn>
                <a:cxn ang="f4299">
                  <a:pos x="f5848" y="f5959"/>
                </a:cxn>
                <a:cxn ang="f4299">
                  <a:pos x="f5847" y="f5959"/>
                </a:cxn>
                <a:cxn ang="f4299">
                  <a:pos x="f5850" y="f5958"/>
                </a:cxn>
                <a:cxn ang="f4299">
                  <a:pos x="f5850" y="f5957"/>
                </a:cxn>
                <a:cxn ang="f4299">
                  <a:pos x="f5851" y="f5956"/>
                </a:cxn>
                <a:cxn ang="f4299">
                  <a:pos x="f5852" y="f5956"/>
                </a:cxn>
                <a:cxn ang="f4299">
                  <a:pos x="f5853" y="f5957"/>
                </a:cxn>
                <a:cxn ang="f4299">
                  <a:pos x="f5853" y="f5958"/>
                </a:cxn>
                <a:cxn ang="f4299">
                  <a:pos x="f5852" y="f5959"/>
                </a:cxn>
                <a:cxn ang="f4299">
                  <a:pos x="f5851" y="f5959"/>
                </a:cxn>
                <a:cxn ang="f4299">
                  <a:pos x="f5854" y="f5958"/>
                </a:cxn>
                <a:cxn ang="f4299">
                  <a:pos x="f5854" y="f5957"/>
                </a:cxn>
                <a:cxn ang="f4299">
                  <a:pos x="f5855" y="f5956"/>
                </a:cxn>
                <a:cxn ang="f4299">
                  <a:pos x="f5856" y="f5956"/>
                </a:cxn>
                <a:cxn ang="f4299">
                  <a:pos x="f5857" y="f5957"/>
                </a:cxn>
                <a:cxn ang="f4299">
                  <a:pos x="f5857" y="f5958"/>
                </a:cxn>
                <a:cxn ang="f4299">
                  <a:pos x="f5856" y="f5959"/>
                </a:cxn>
                <a:cxn ang="f4299">
                  <a:pos x="f5855" y="f5959"/>
                </a:cxn>
                <a:cxn ang="f4299">
                  <a:pos x="f5858" y="f5958"/>
                </a:cxn>
                <a:cxn ang="f4299">
                  <a:pos x="f5858" y="f5957"/>
                </a:cxn>
                <a:cxn ang="f4299">
                  <a:pos x="f5859" y="f5956"/>
                </a:cxn>
                <a:cxn ang="f4299">
                  <a:pos x="f5860" y="f5956"/>
                </a:cxn>
                <a:cxn ang="f4299">
                  <a:pos x="f5861" y="f5957"/>
                </a:cxn>
                <a:cxn ang="f4299">
                  <a:pos x="f5861" y="f5958"/>
                </a:cxn>
                <a:cxn ang="f4299">
                  <a:pos x="f5860" y="f5959"/>
                </a:cxn>
                <a:cxn ang="f4299">
                  <a:pos x="f5859" y="f5959"/>
                </a:cxn>
                <a:cxn ang="f4299">
                  <a:pos x="f5862" y="f5958"/>
                </a:cxn>
                <a:cxn ang="f4299">
                  <a:pos x="f5862" y="f5957"/>
                </a:cxn>
                <a:cxn ang="f4299">
                  <a:pos x="f5863" y="f5956"/>
                </a:cxn>
                <a:cxn ang="f4299">
                  <a:pos x="f5864" y="f5956"/>
                </a:cxn>
                <a:cxn ang="f4299">
                  <a:pos x="f5865" y="f5957"/>
                </a:cxn>
                <a:cxn ang="f4299">
                  <a:pos x="f5865" y="f5958"/>
                </a:cxn>
                <a:cxn ang="f4299">
                  <a:pos x="f5864" y="f5959"/>
                </a:cxn>
                <a:cxn ang="f4299">
                  <a:pos x="f5863" y="f5959"/>
                </a:cxn>
                <a:cxn ang="f4299">
                  <a:pos x="f5866" y="f5958"/>
                </a:cxn>
                <a:cxn ang="f4299">
                  <a:pos x="f5866" y="f5957"/>
                </a:cxn>
                <a:cxn ang="f4299">
                  <a:pos x="f5867" y="f5956"/>
                </a:cxn>
                <a:cxn ang="f4299">
                  <a:pos x="f5868" y="f5956"/>
                </a:cxn>
                <a:cxn ang="f4299">
                  <a:pos x="f5869" y="f5957"/>
                </a:cxn>
                <a:cxn ang="f4299">
                  <a:pos x="f5869" y="f5958"/>
                </a:cxn>
                <a:cxn ang="f4299">
                  <a:pos x="f5868" y="f5959"/>
                </a:cxn>
                <a:cxn ang="f4299">
                  <a:pos x="f5867" y="f5959"/>
                </a:cxn>
                <a:cxn ang="f4299">
                  <a:pos x="f5870" y="f5958"/>
                </a:cxn>
                <a:cxn ang="f4299">
                  <a:pos x="f5870" y="f5957"/>
                </a:cxn>
                <a:cxn ang="f4299">
                  <a:pos x="f5871" y="f5956"/>
                </a:cxn>
                <a:cxn ang="f4299">
                  <a:pos x="f5872" y="f5956"/>
                </a:cxn>
                <a:cxn ang="f4299">
                  <a:pos x="f5873" y="f5957"/>
                </a:cxn>
                <a:cxn ang="f4299">
                  <a:pos x="f5873" y="f5958"/>
                </a:cxn>
                <a:cxn ang="f4299">
                  <a:pos x="f5872" y="f5959"/>
                </a:cxn>
                <a:cxn ang="f4299">
                  <a:pos x="f5871" y="f5959"/>
                </a:cxn>
                <a:cxn ang="f4299">
                  <a:pos x="f5874" y="f5958"/>
                </a:cxn>
                <a:cxn ang="f4299">
                  <a:pos x="f5874" y="f5957"/>
                </a:cxn>
                <a:cxn ang="f4299">
                  <a:pos x="f5875" y="f5956"/>
                </a:cxn>
                <a:cxn ang="f4299">
                  <a:pos x="f5876" y="f5956"/>
                </a:cxn>
                <a:cxn ang="f4299">
                  <a:pos x="f5877" y="f5957"/>
                </a:cxn>
                <a:cxn ang="f4299">
                  <a:pos x="f5877" y="f5958"/>
                </a:cxn>
                <a:cxn ang="f4299">
                  <a:pos x="f5876" y="f5959"/>
                </a:cxn>
                <a:cxn ang="f4299">
                  <a:pos x="f5875" y="f5959"/>
                </a:cxn>
                <a:cxn ang="f4299">
                  <a:pos x="f5878" y="f5958"/>
                </a:cxn>
                <a:cxn ang="f4299">
                  <a:pos x="f5878" y="f5957"/>
                </a:cxn>
                <a:cxn ang="f4299">
                  <a:pos x="f5879" y="f5956"/>
                </a:cxn>
                <a:cxn ang="f4299">
                  <a:pos x="f5880" y="f5956"/>
                </a:cxn>
                <a:cxn ang="f4299">
                  <a:pos x="f5881" y="f5957"/>
                </a:cxn>
                <a:cxn ang="f4299">
                  <a:pos x="f5881" y="f5958"/>
                </a:cxn>
                <a:cxn ang="f4299">
                  <a:pos x="f5880" y="f5959"/>
                </a:cxn>
                <a:cxn ang="f4299">
                  <a:pos x="f5879" y="f5959"/>
                </a:cxn>
                <a:cxn ang="f4299">
                  <a:pos x="f5882" y="f5958"/>
                </a:cxn>
                <a:cxn ang="f4299">
                  <a:pos x="f5882" y="f5957"/>
                </a:cxn>
                <a:cxn ang="f4299">
                  <a:pos x="f5883" y="f5956"/>
                </a:cxn>
                <a:cxn ang="f4299">
                  <a:pos x="f5884" y="f5956"/>
                </a:cxn>
                <a:cxn ang="f4299">
                  <a:pos x="f5885" y="f5957"/>
                </a:cxn>
                <a:cxn ang="f4299">
                  <a:pos x="f5885" y="f5958"/>
                </a:cxn>
                <a:cxn ang="f4299">
                  <a:pos x="f5884" y="f5959"/>
                </a:cxn>
                <a:cxn ang="f4299">
                  <a:pos x="f5883" y="f5959"/>
                </a:cxn>
                <a:cxn ang="f4299">
                  <a:pos x="f5886" y="f5958"/>
                </a:cxn>
                <a:cxn ang="f4299">
                  <a:pos x="f5886" y="f5957"/>
                </a:cxn>
                <a:cxn ang="f4299">
                  <a:pos x="f5887" y="f5956"/>
                </a:cxn>
                <a:cxn ang="f4299">
                  <a:pos x="f5888" y="f5956"/>
                </a:cxn>
                <a:cxn ang="f4299">
                  <a:pos x="f5889" y="f5957"/>
                </a:cxn>
                <a:cxn ang="f4299">
                  <a:pos x="f5889" y="f5958"/>
                </a:cxn>
                <a:cxn ang="f4299">
                  <a:pos x="f5888" y="f5959"/>
                </a:cxn>
                <a:cxn ang="f4299">
                  <a:pos x="f5887" y="f5959"/>
                </a:cxn>
                <a:cxn ang="f4299">
                  <a:pos x="f5890" y="f5958"/>
                </a:cxn>
                <a:cxn ang="f4299">
                  <a:pos x="f5890" y="f5957"/>
                </a:cxn>
                <a:cxn ang="f4299">
                  <a:pos x="f5891" y="f5956"/>
                </a:cxn>
                <a:cxn ang="f4299">
                  <a:pos x="f5892" y="f5956"/>
                </a:cxn>
                <a:cxn ang="f4299">
                  <a:pos x="f5893" y="f5957"/>
                </a:cxn>
                <a:cxn ang="f4299">
                  <a:pos x="f5893" y="f5958"/>
                </a:cxn>
                <a:cxn ang="f4299">
                  <a:pos x="f5892" y="f5959"/>
                </a:cxn>
                <a:cxn ang="f4299">
                  <a:pos x="f5891" y="f5959"/>
                </a:cxn>
                <a:cxn ang="f4299">
                  <a:pos x="f5894" y="f5958"/>
                </a:cxn>
                <a:cxn ang="f4299">
                  <a:pos x="f5894" y="f5957"/>
                </a:cxn>
                <a:cxn ang="f4299">
                  <a:pos x="f5960" y="f5956"/>
                </a:cxn>
                <a:cxn ang="f4299">
                  <a:pos x="f5929" y="f5956"/>
                </a:cxn>
                <a:cxn ang="f4299">
                  <a:pos x="f5930" y="f5957"/>
                </a:cxn>
                <a:cxn ang="f4299">
                  <a:pos x="f5930" y="f5958"/>
                </a:cxn>
                <a:cxn ang="f4299">
                  <a:pos x="f5929" y="f5959"/>
                </a:cxn>
                <a:cxn ang="f4299">
                  <a:pos x="f5960" y="f5959"/>
                </a:cxn>
                <a:cxn ang="f4299">
                  <a:pos x="f5931" y="f5958"/>
                </a:cxn>
                <a:cxn ang="f4299">
                  <a:pos x="f5931" y="f5957"/>
                </a:cxn>
                <a:cxn ang="f4299">
                  <a:pos x="f5961" y="f5956"/>
                </a:cxn>
                <a:cxn ang="f4299">
                  <a:pos x="f5932" y="f5956"/>
                </a:cxn>
                <a:cxn ang="f4299">
                  <a:pos x="f5933" y="f5957"/>
                </a:cxn>
                <a:cxn ang="f4299">
                  <a:pos x="f5933" y="f5958"/>
                </a:cxn>
                <a:cxn ang="f4299">
                  <a:pos x="f5932" y="f5959"/>
                </a:cxn>
                <a:cxn ang="f4299">
                  <a:pos x="f5961" y="f5959"/>
                </a:cxn>
                <a:cxn ang="f4299">
                  <a:pos x="f5962" y="f5958"/>
                </a:cxn>
                <a:cxn ang="f4299">
                  <a:pos x="f5962" y="f5957"/>
                </a:cxn>
                <a:cxn ang="f4299">
                  <a:pos x="f5963" y="f5956"/>
                </a:cxn>
                <a:cxn ang="f4299">
                  <a:pos x="f5964" y="f5956"/>
                </a:cxn>
                <a:cxn ang="f4299">
                  <a:pos x="f5936" y="f5957"/>
                </a:cxn>
                <a:cxn ang="f4299">
                  <a:pos x="f5936" y="f5958"/>
                </a:cxn>
                <a:cxn ang="f4299">
                  <a:pos x="f5964" y="f5959"/>
                </a:cxn>
                <a:cxn ang="f4299">
                  <a:pos x="f5963" y="f5959"/>
                </a:cxn>
                <a:cxn ang="f4299">
                  <a:pos x="f5965" y="f5958"/>
                </a:cxn>
                <a:cxn ang="f4299">
                  <a:pos x="f5965" y="f5957"/>
                </a:cxn>
                <a:cxn ang="f4299">
                  <a:pos x="f5966" y="f5956"/>
                </a:cxn>
                <a:cxn ang="f4299">
                  <a:pos x="f5967" y="f5956"/>
                </a:cxn>
                <a:cxn ang="f4299">
                  <a:pos x="f5968" y="f5957"/>
                </a:cxn>
                <a:cxn ang="f4299">
                  <a:pos x="f5968" y="f5958"/>
                </a:cxn>
                <a:cxn ang="f4299">
                  <a:pos x="f5967" y="f5959"/>
                </a:cxn>
                <a:cxn ang="f4299">
                  <a:pos x="f5966" y="f5959"/>
                </a:cxn>
                <a:cxn ang="f4299">
                  <a:pos x="f5940" y="f5958"/>
                </a:cxn>
                <a:cxn ang="f4299">
                  <a:pos x="f5940" y="f5957"/>
                </a:cxn>
                <a:cxn ang="f4299">
                  <a:pos x="f5915" y="f5969"/>
                </a:cxn>
                <a:cxn ang="f4299">
                  <a:pos x="f5916" y="f5969"/>
                </a:cxn>
                <a:cxn ang="f4299">
                  <a:pos x="f5942" y="f5970"/>
                </a:cxn>
                <a:cxn ang="f4299">
                  <a:pos x="f5942" y="f5971"/>
                </a:cxn>
                <a:cxn ang="f4299">
                  <a:pos x="f5916" y="f5972"/>
                </a:cxn>
                <a:cxn ang="f4299">
                  <a:pos x="f5915" y="f5972"/>
                </a:cxn>
                <a:cxn ang="f4299">
                  <a:pos x="f5918" y="f5971"/>
                </a:cxn>
                <a:cxn ang="f4299">
                  <a:pos x="f5918" y="f5970"/>
                </a:cxn>
                <a:cxn ang="f4299">
                  <a:pos x="f5973" y="f5969"/>
                </a:cxn>
                <a:cxn ang="f4299">
                  <a:pos x="f5946" y="f5969"/>
                </a:cxn>
                <a:cxn ang="f4299">
                  <a:pos x="f5919" y="f5970"/>
                </a:cxn>
                <a:cxn ang="f4299">
                  <a:pos x="f5919" y="f5971"/>
                </a:cxn>
                <a:cxn ang="f4299">
                  <a:pos x="f5946" y="f5972"/>
                </a:cxn>
                <a:cxn ang="f4299">
                  <a:pos x="f5973" y="f5972"/>
                </a:cxn>
                <a:cxn ang="f4299">
                  <a:pos x="f5750" y="f5971"/>
                </a:cxn>
                <a:cxn ang="f4299">
                  <a:pos x="f5750" y="f5970"/>
                </a:cxn>
                <a:cxn ang="f4299">
                  <a:pos x="f5947" y="f5969"/>
                </a:cxn>
                <a:cxn ang="f4299">
                  <a:pos x="f5974" y="f5969"/>
                </a:cxn>
                <a:cxn ang="f4299">
                  <a:pos x="f5975" y="f5970"/>
                </a:cxn>
                <a:cxn ang="f4299">
                  <a:pos x="f5975" y="f5971"/>
                </a:cxn>
                <a:cxn ang="f4299">
                  <a:pos x="f5974" y="f5972"/>
                </a:cxn>
                <a:cxn ang="f4299">
                  <a:pos x="f5947" y="f5972"/>
                </a:cxn>
                <a:cxn ang="f4299">
                  <a:pos x="f5976" y="f5971"/>
                </a:cxn>
                <a:cxn ang="f4299">
                  <a:pos x="f5976" y="f5970"/>
                </a:cxn>
                <a:cxn ang="f4299">
                  <a:pos x="f5949" y="f5969"/>
                </a:cxn>
                <a:cxn ang="f4299">
                  <a:pos x="f5977" y="f5969"/>
                </a:cxn>
                <a:cxn ang="f4299">
                  <a:pos x="f5978" y="f5970"/>
                </a:cxn>
                <a:cxn ang="f4299">
                  <a:pos x="f5978" y="f5971"/>
                </a:cxn>
                <a:cxn ang="f4299">
                  <a:pos x="f5977" y="f5972"/>
                </a:cxn>
                <a:cxn ang="f4299">
                  <a:pos x="f5949" y="f5972"/>
                </a:cxn>
                <a:cxn ang="f4299">
                  <a:pos x="f5979" y="f5971"/>
                </a:cxn>
                <a:cxn ang="f4299">
                  <a:pos x="f5979" y="f5970"/>
                </a:cxn>
                <a:cxn ang="f4299">
                  <a:pos x="f5980" y="f5969"/>
                </a:cxn>
                <a:cxn ang="f4299">
                  <a:pos x="f5981" y="f5969"/>
                </a:cxn>
                <a:cxn ang="f4299">
                  <a:pos x="f5952" y="f5970"/>
                </a:cxn>
                <a:cxn ang="f4299">
                  <a:pos x="f5952" y="f5971"/>
                </a:cxn>
                <a:cxn ang="f4299">
                  <a:pos x="f5981" y="f5972"/>
                </a:cxn>
                <a:cxn ang="f4299">
                  <a:pos x="f5980" y="f5972"/>
                </a:cxn>
                <a:cxn ang="f4299">
                  <a:pos x="f5953" y="f5971"/>
                </a:cxn>
                <a:cxn ang="f4299">
                  <a:pos x="f5953" y="f5970"/>
                </a:cxn>
                <a:cxn ang="f4299">
                  <a:pos x="f5982" y="f5969"/>
                </a:cxn>
                <a:cxn ang="f4299">
                  <a:pos x="f5983" y="f5969"/>
                </a:cxn>
                <a:cxn ang="f4299">
                  <a:pos x="f5984" y="f5970"/>
                </a:cxn>
                <a:cxn ang="f4299">
                  <a:pos x="f5984" y="f5971"/>
                </a:cxn>
                <a:cxn ang="f4299">
                  <a:pos x="f5983" y="f5972"/>
                </a:cxn>
                <a:cxn ang="f4299">
                  <a:pos x="f5982" y="f5972"/>
                </a:cxn>
                <a:cxn ang="f4299">
                  <a:pos x="f5985" y="f5971"/>
                </a:cxn>
                <a:cxn ang="f4299">
                  <a:pos x="f5985" y="f5970"/>
                </a:cxn>
                <a:cxn ang="f4299">
                  <a:pos x="f5767" y="f5986"/>
                </a:cxn>
                <a:cxn ang="f4299">
                  <a:pos x="f5769" y="f5986"/>
                </a:cxn>
                <a:cxn ang="f4299">
                  <a:pos x="f5770" y="f5987"/>
                </a:cxn>
                <a:cxn ang="f4299">
                  <a:pos x="f5770" y="f5988"/>
                </a:cxn>
                <a:cxn ang="f4299">
                  <a:pos x="f5769" y="f5989"/>
                </a:cxn>
                <a:cxn ang="f4299">
                  <a:pos x="f5767" y="f5989"/>
                </a:cxn>
                <a:cxn ang="f4299">
                  <a:pos x="f5774" y="f5988"/>
                </a:cxn>
                <a:cxn ang="f4299">
                  <a:pos x="f5774" y="f5987"/>
                </a:cxn>
                <a:cxn ang="f4299">
                  <a:pos x="f5775" y="f5986"/>
                </a:cxn>
                <a:cxn ang="f4299">
                  <a:pos x="f5776" y="f5986"/>
                </a:cxn>
                <a:cxn ang="f4299">
                  <a:pos x="f5777" y="f5987"/>
                </a:cxn>
                <a:cxn ang="f4299">
                  <a:pos x="f5777" y="f5988"/>
                </a:cxn>
                <a:cxn ang="f4299">
                  <a:pos x="f5776" y="f5989"/>
                </a:cxn>
                <a:cxn ang="f4299">
                  <a:pos x="f5775" y="f5989"/>
                </a:cxn>
                <a:cxn ang="f4299">
                  <a:pos x="f5778" y="f5988"/>
                </a:cxn>
                <a:cxn ang="f4299">
                  <a:pos x="f5778" y="f5987"/>
                </a:cxn>
                <a:cxn ang="f4299">
                  <a:pos x="f5779" y="f5986"/>
                </a:cxn>
                <a:cxn ang="f4299">
                  <a:pos x="f5780" y="f5986"/>
                </a:cxn>
                <a:cxn ang="f4299">
                  <a:pos x="f5781" y="f5987"/>
                </a:cxn>
                <a:cxn ang="f4299">
                  <a:pos x="f5781" y="f5988"/>
                </a:cxn>
                <a:cxn ang="f4299">
                  <a:pos x="f5780" y="f5989"/>
                </a:cxn>
                <a:cxn ang="f4299">
                  <a:pos x="f5779" y="f5989"/>
                </a:cxn>
                <a:cxn ang="f4299">
                  <a:pos x="f5782" y="f5988"/>
                </a:cxn>
                <a:cxn ang="f4299">
                  <a:pos x="f5782" y="f5987"/>
                </a:cxn>
                <a:cxn ang="f4299">
                  <a:pos x="f5783" y="f5986"/>
                </a:cxn>
                <a:cxn ang="f4299">
                  <a:pos x="f5784" y="f5986"/>
                </a:cxn>
                <a:cxn ang="f4299">
                  <a:pos x="f5785" y="f5987"/>
                </a:cxn>
                <a:cxn ang="f4299">
                  <a:pos x="f5785" y="f5988"/>
                </a:cxn>
                <a:cxn ang="f4299">
                  <a:pos x="f5784" y="f5989"/>
                </a:cxn>
                <a:cxn ang="f4299">
                  <a:pos x="f5783" y="f5989"/>
                </a:cxn>
                <a:cxn ang="f4299">
                  <a:pos x="f5786" y="f5988"/>
                </a:cxn>
                <a:cxn ang="f4299">
                  <a:pos x="f5786" y="f5987"/>
                </a:cxn>
                <a:cxn ang="f4299">
                  <a:pos x="f5787" y="f5986"/>
                </a:cxn>
                <a:cxn ang="f4299">
                  <a:pos x="f5788" y="f5986"/>
                </a:cxn>
                <a:cxn ang="f4299">
                  <a:pos x="f5789" y="f5987"/>
                </a:cxn>
                <a:cxn ang="f4299">
                  <a:pos x="f5789" y="f5988"/>
                </a:cxn>
                <a:cxn ang="f4299">
                  <a:pos x="f5788" y="f5989"/>
                </a:cxn>
                <a:cxn ang="f4299">
                  <a:pos x="f5787" y="f5989"/>
                </a:cxn>
                <a:cxn ang="f4299">
                  <a:pos x="f5790" y="f5988"/>
                </a:cxn>
                <a:cxn ang="f4299">
                  <a:pos x="f5790" y="f5987"/>
                </a:cxn>
                <a:cxn ang="f4299">
                  <a:pos x="f5791" y="f5986"/>
                </a:cxn>
                <a:cxn ang="f4299">
                  <a:pos x="f5792" y="f5986"/>
                </a:cxn>
                <a:cxn ang="f4299">
                  <a:pos x="f5793" y="f5987"/>
                </a:cxn>
                <a:cxn ang="f4299">
                  <a:pos x="f5793" y="f5988"/>
                </a:cxn>
                <a:cxn ang="f4299">
                  <a:pos x="f5792" y="f5989"/>
                </a:cxn>
                <a:cxn ang="f4299">
                  <a:pos x="f5791" y="f5989"/>
                </a:cxn>
                <a:cxn ang="f4299">
                  <a:pos x="f5794" y="f5988"/>
                </a:cxn>
                <a:cxn ang="f4299">
                  <a:pos x="f5794" y="f5987"/>
                </a:cxn>
                <a:cxn ang="f4299">
                  <a:pos x="f5795" y="f5986"/>
                </a:cxn>
                <a:cxn ang="f4299">
                  <a:pos x="f5796" y="f5986"/>
                </a:cxn>
                <a:cxn ang="f4299">
                  <a:pos x="f5797" y="f5987"/>
                </a:cxn>
                <a:cxn ang="f4299">
                  <a:pos x="f5797" y="f5988"/>
                </a:cxn>
                <a:cxn ang="f4299">
                  <a:pos x="f5796" y="f5989"/>
                </a:cxn>
                <a:cxn ang="f4299">
                  <a:pos x="f5795" y="f5989"/>
                </a:cxn>
                <a:cxn ang="f4299">
                  <a:pos x="f5798" y="f5988"/>
                </a:cxn>
                <a:cxn ang="f4299">
                  <a:pos x="f5798" y="f5987"/>
                </a:cxn>
                <a:cxn ang="f4299">
                  <a:pos x="f5799" y="f5986"/>
                </a:cxn>
                <a:cxn ang="f4299">
                  <a:pos x="f5800" y="f5986"/>
                </a:cxn>
                <a:cxn ang="f4299">
                  <a:pos x="f5801" y="f5987"/>
                </a:cxn>
                <a:cxn ang="f4299">
                  <a:pos x="f5801" y="f5988"/>
                </a:cxn>
                <a:cxn ang="f4299">
                  <a:pos x="f5800" y="f5989"/>
                </a:cxn>
                <a:cxn ang="f4299">
                  <a:pos x="f5799" y="f5989"/>
                </a:cxn>
                <a:cxn ang="f4299">
                  <a:pos x="f5802" y="f5988"/>
                </a:cxn>
                <a:cxn ang="f4299">
                  <a:pos x="f5802" y="f5987"/>
                </a:cxn>
                <a:cxn ang="f4299">
                  <a:pos x="f5803" y="f5986"/>
                </a:cxn>
                <a:cxn ang="f4299">
                  <a:pos x="f5804" y="f5986"/>
                </a:cxn>
                <a:cxn ang="f4299">
                  <a:pos x="f5805" y="f5987"/>
                </a:cxn>
                <a:cxn ang="f4299">
                  <a:pos x="f5805" y="f5988"/>
                </a:cxn>
                <a:cxn ang="f4299">
                  <a:pos x="f5804" y="f5989"/>
                </a:cxn>
                <a:cxn ang="f4299">
                  <a:pos x="f5803" y="f5989"/>
                </a:cxn>
                <a:cxn ang="f4299">
                  <a:pos x="f5806" y="f5988"/>
                </a:cxn>
                <a:cxn ang="f4299">
                  <a:pos x="f5806" y="f5987"/>
                </a:cxn>
                <a:cxn ang="f4299">
                  <a:pos x="f5807" y="f5986"/>
                </a:cxn>
                <a:cxn ang="f4299">
                  <a:pos x="f5808" y="f5986"/>
                </a:cxn>
                <a:cxn ang="f4299">
                  <a:pos x="f5809" y="f5987"/>
                </a:cxn>
                <a:cxn ang="f4299">
                  <a:pos x="f5809" y="f5988"/>
                </a:cxn>
                <a:cxn ang="f4299">
                  <a:pos x="f5808" y="f5989"/>
                </a:cxn>
                <a:cxn ang="f4299">
                  <a:pos x="f5807" y="f5989"/>
                </a:cxn>
                <a:cxn ang="f4299">
                  <a:pos x="f5810" y="f5988"/>
                </a:cxn>
                <a:cxn ang="f4299">
                  <a:pos x="f5810" y="f5987"/>
                </a:cxn>
                <a:cxn ang="f4299">
                  <a:pos x="f5811" y="f5986"/>
                </a:cxn>
                <a:cxn ang="f4299">
                  <a:pos x="f5812" y="f5986"/>
                </a:cxn>
                <a:cxn ang="f4299">
                  <a:pos x="f5813" y="f5987"/>
                </a:cxn>
                <a:cxn ang="f4299">
                  <a:pos x="f5813" y="f5988"/>
                </a:cxn>
                <a:cxn ang="f4299">
                  <a:pos x="f5812" y="f5989"/>
                </a:cxn>
                <a:cxn ang="f4299">
                  <a:pos x="f5811" y="f5989"/>
                </a:cxn>
                <a:cxn ang="f4299">
                  <a:pos x="f5814" y="f5988"/>
                </a:cxn>
                <a:cxn ang="f4299">
                  <a:pos x="f5814" y="f5987"/>
                </a:cxn>
                <a:cxn ang="f4299">
                  <a:pos x="f5815" y="f5986"/>
                </a:cxn>
                <a:cxn ang="f4299">
                  <a:pos x="f5816" y="f5986"/>
                </a:cxn>
                <a:cxn ang="f4299">
                  <a:pos x="f5817" y="f5987"/>
                </a:cxn>
                <a:cxn ang="f4299">
                  <a:pos x="f5817" y="f5988"/>
                </a:cxn>
                <a:cxn ang="f4299">
                  <a:pos x="f5816" y="f5989"/>
                </a:cxn>
                <a:cxn ang="f4299">
                  <a:pos x="f5815" y="f5989"/>
                </a:cxn>
                <a:cxn ang="f4299">
                  <a:pos x="f5818" y="f5988"/>
                </a:cxn>
                <a:cxn ang="f4299">
                  <a:pos x="f5818" y="f5987"/>
                </a:cxn>
                <a:cxn ang="f4299">
                  <a:pos x="f5819" y="f5986"/>
                </a:cxn>
                <a:cxn ang="f4299">
                  <a:pos x="f5820" y="f5986"/>
                </a:cxn>
                <a:cxn ang="f4299">
                  <a:pos x="f5821" y="f5987"/>
                </a:cxn>
                <a:cxn ang="f4299">
                  <a:pos x="f5821" y="f5988"/>
                </a:cxn>
                <a:cxn ang="f4299">
                  <a:pos x="f5820" y="f5989"/>
                </a:cxn>
                <a:cxn ang="f4299">
                  <a:pos x="f5819" y="f5989"/>
                </a:cxn>
                <a:cxn ang="f4299">
                  <a:pos x="f5822" y="f5988"/>
                </a:cxn>
                <a:cxn ang="f4299">
                  <a:pos x="f5822" y="f5987"/>
                </a:cxn>
                <a:cxn ang="f4299">
                  <a:pos x="f5823" y="f5986"/>
                </a:cxn>
                <a:cxn ang="f4299">
                  <a:pos x="f5824" y="f5986"/>
                </a:cxn>
                <a:cxn ang="f4299">
                  <a:pos x="f5825" y="f5987"/>
                </a:cxn>
                <a:cxn ang="f4299">
                  <a:pos x="f5825" y="f5988"/>
                </a:cxn>
                <a:cxn ang="f4299">
                  <a:pos x="f5824" y="f5989"/>
                </a:cxn>
                <a:cxn ang="f4299">
                  <a:pos x="f5823" y="f5989"/>
                </a:cxn>
                <a:cxn ang="f4299">
                  <a:pos x="f5826" y="f5988"/>
                </a:cxn>
                <a:cxn ang="f4299">
                  <a:pos x="f5826" y="f5987"/>
                </a:cxn>
                <a:cxn ang="f4299">
                  <a:pos x="f5827" y="f5986"/>
                </a:cxn>
                <a:cxn ang="f4299">
                  <a:pos x="f5828" y="f5986"/>
                </a:cxn>
                <a:cxn ang="f4299">
                  <a:pos x="f5829" y="f5987"/>
                </a:cxn>
                <a:cxn ang="f4299">
                  <a:pos x="f5829" y="f5988"/>
                </a:cxn>
                <a:cxn ang="f4299">
                  <a:pos x="f5828" y="f5989"/>
                </a:cxn>
                <a:cxn ang="f4299">
                  <a:pos x="f5827" y="f5989"/>
                </a:cxn>
                <a:cxn ang="f4299">
                  <a:pos x="f5830" y="f5988"/>
                </a:cxn>
                <a:cxn ang="f4299">
                  <a:pos x="f5830" y="f5987"/>
                </a:cxn>
                <a:cxn ang="f4299">
                  <a:pos x="f5831" y="f5986"/>
                </a:cxn>
                <a:cxn ang="f4299">
                  <a:pos x="f5832" y="f5986"/>
                </a:cxn>
                <a:cxn ang="f4299">
                  <a:pos x="f5833" y="f5987"/>
                </a:cxn>
                <a:cxn ang="f4299">
                  <a:pos x="f5833" y="f5988"/>
                </a:cxn>
                <a:cxn ang="f4299">
                  <a:pos x="f5832" y="f5989"/>
                </a:cxn>
                <a:cxn ang="f4299">
                  <a:pos x="f5831" y="f5989"/>
                </a:cxn>
                <a:cxn ang="f4299">
                  <a:pos x="f5834" y="f5988"/>
                </a:cxn>
                <a:cxn ang="f4299">
                  <a:pos x="f5834" y="f5987"/>
                </a:cxn>
                <a:cxn ang="f4299">
                  <a:pos x="f5835" y="f5986"/>
                </a:cxn>
                <a:cxn ang="f4299">
                  <a:pos x="f5836" y="f5986"/>
                </a:cxn>
                <a:cxn ang="f4299">
                  <a:pos x="f5837" y="f5987"/>
                </a:cxn>
                <a:cxn ang="f4299">
                  <a:pos x="f5837" y="f5988"/>
                </a:cxn>
                <a:cxn ang="f4299">
                  <a:pos x="f5836" y="f5989"/>
                </a:cxn>
                <a:cxn ang="f4299">
                  <a:pos x="f5835" y="f5989"/>
                </a:cxn>
                <a:cxn ang="f4299">
                  <a:pos x="f5838" y="f5988"/>
                </a:cxn>
                <a:cxn ang="f4299">
                  <a:pos x="f5838" y="f5987"/>
                </a:cxn>
                <a:cxn ang="f4299">
                  <a:pos x="f5839" y="f5986"/>
                </a:cxn>
                <a:cxn ang="f4299">
                  <a:pos x="f5840" y="f5986"/>
                </a:cxn>
                <a:cxn ang="f4299">
                  <a:pos x="f5841" y="f5987"/>
                </a:cxn>
                <a:cxn ang="f4299">
                  <a:pos x="f5841" y="f5988"/>
                </a:cxn>
                <a:cxn ang="f4299">
                  <a:pos x="f5840" y="f5989"/>
                </a:cxn>
                <a:cxn ang="f4299">
                  <a:pos x="f5839" y="f5989"/>
                </a:cxn>
                <a:cxn ang="f4299">
                  <a:pos x="f5842" y="f5988"/>
                </a:cxn>
                <a:cxn ang="f4299">
                  <a:pos x="f5842" y="f5987"/>
                </a:cxn>
                <a:cxn ang="f4299">
                  <a:pos x="f5843" y="f5986"/>
                </a:cxn>
                <a:cxn ang="f4299">
                  <a:pos x="f5844" y="f5986"/>
                </a:cxn>
                <a:cxn ang="f4299">
                  <a:pos x="f5845" y="f5987"/>
                </a:cxn>
                <a:cxn ang="f4299">
                  <a:pos x="f5845" y="f5988"/>
                </a:cxn>
                <a:cxn ang="f4299">
                  <a:pos x="f5844" y="f5989"/>
                </a:cxn>
                <a:cxn ang="f4299">
                  <a:pos x="f5843" y="f5989"/>
                </a:cxn>
                <a:cxn ang="f4299">
                  <a:pos x="f5846" y="f5988"/>
                </a:cxn>
                <a:cxn ang="f4299">
                  <a:pos x="f5846" y="f5987"/>
                </a:cxn>
                <a:cxn ang="f4299">
                  <a:pos x="f5847" y="f5986"/>
                </a:cxn>
                <a:cxn ang="f4299">
                  <a:pos x="f5848" y="f5986"/>
                </a:cxn>
                <a:cxn ang="f4299">
                  <a:pos x="f5849" y="f5987"/>
                </a:cxn>
                <a:cxn ang="f4299">
                  <a:pos x="f5849" y="f5988"/>
                </a:cxn>
                <a:cxn ang="f4299">
                  <a:pos x="f5848" y="f5989"/>
                </a:cxn>
                <a:cxn ang="f4299">
                  <a:pos x="f5847" y="f5989"/>
                </a:cxn>
                <a:cxn ang="f4299">
                  <a:pos x="f5850" y="f5988"/>
                </a:cxn>
                <a:cxn ang="f4299">
                  <a:pos x="f5850" y="f5987"/>
                </a:cxn>
                <a:cxn ang="f4299">
                  <a:pos x="f5851" y="f5986"/>
                </a:cxn>
                <a:cxn ang="f4299">
                  <a:pos x="f5852" y="f5986"/>
                </a:cxn>
                <a:cxn ang="f4299">
                  <a:pos x="f5853" y="f5987"/>
                </a:cxn>
                <a:cxn ang="f4299">
                  <a:pos x="f5853" y="f5988"/>
                </a:cxn>
                <a:cxn ang="f4299">
                  <a:pos x="f5852" y="f5989"/>
                </a:cxn>
                <a:cxn ang="f4299">
                  <a:pos x="f5851" y="f5989"/>
                </a:cxn>
                <a:cxn ang="f4299">
                  <a:pos x="f5854" y="f5988"/>
                </a:cxn>
                <a:cxn ang="f4299">
                  <a:pos x="f5854" y="f5987"/>
                </a:cxn>
                <a:cxn ang="f4299">
                  <a:pos x="f5855" y="f5986"/>
                </a:cxn>
                <a:cxn ang="f4299">
                  <a:pos x="f5856" y="f5986"/>
                </a:cxn>
                <a:cxn ang="f4299">
                  <a:pos x="f5857" y="f5987"/>
                </a:cxn>
                <a:cxn ang="f4299">
                  <a:pos x="f5857" y="f5988"/>
                </a:cxn>
                <a:cxn ang="f4299">
                  <a:pos x="f5856" y="f5989"/>
                </a:cxn>
                <a:cxn ang="f4299">
                  <a:pos x="f5855" y="f5989"/>
                </a:cxn>
                <a:cxn ang="f4299">
                  <a:pos x="f5858" y="f5988"/>
                </a:cxn>
                <a:cxn ang="f4299">
                  <a:pos x="f5858" y="f5987"/>
                </a:cxn>
                <a:cxn ang="f4299">
                  <a:pos x="f5859" y="f5986"/>
                </a:cxn>
                <a:cxn ang="f4299">
                  <a:pos x="f5860" y="f5986"/>
                </a:cxn>
                <a:cxn ang="f4299">
                  <a:pos x="f5861" y="f5987"/>
                </a:cxn>
                <a:cxn ang="f4299">
                  <a:pos x="f5861" y="f5988"/>
                </a:cxn>
                <a:cxn ang="f4299">
                  <a:pos x="f5860" y="f5989"/>
                </a:cxn>
                <a:cxn ang="f4299">
                  <a:pos x="f5859" y="f5989"/>
                </a:cxn>
                <a:cxn ang="f4299">
                  <a:pos x="f5862" y="f5988"/>
                </a:cxn>
                <a:cxn ang="f4299">
                  <a:pos x="f5862" y="f5987"/>
                </a:cxn>
                <a:cxn ang="f4299">
                  <a:pos x="f5863" y="f5986"/>
                </a:cxn>
                <a:cxn ang="f4299">
                  <a:pos x="f5864" y="f5986"/>
                </a:cxn>
                <a:cxn ang="f4299">
                  <a:pos x="f5865" y="f5987"/>
                </a:cxn>
                <a:cxn ang="f4299">
                  <a:pos x="f5865" y="f5988"/>
                </a:cxn>
                <a:cxn ang="f4299">
                  <a:pos x="f5864" y="f5989"/>
                </a:cxn>
                <a:cxn ang="f4299">
                  <a:pos x="f5863" y="f5989"/>
                </a:cxn>
                <a:cxn ang="f4299">
                  <a:pos x="f5866" y="f5988"/>
                </a:cxn>
                <a:cxn ang="f4299">
                  <a:pos x="f5866" y="f5987"/>
                </a:cxn>
                <a:cxn ang="f4299">
                  <a:pos x="f5867" y="f5986"/>
                </a:cxn>
                <a:cxn ang="f4299">
                  <a:pos x="f5868" y="f5986"/>
                </a:cxn>
                <a:cxn ang="f4299">
                  <a:pos x="f5869" y="f5987"/>
                </a:cxn>
                <a:cxn ang="f4299">
                  <a:pos x="f5869" y="f5988"/>
                </a:cxn>
                <a:cxn ang="f4299">
                  <a:pos x="f5868" y="f5989"/>
                </a:cxn>
                <a:cxn ang="f4299">
                  <a:pos x="f5867" y="f5989"/>
                </a:cxn>
                <a:cxn ang="f4299">
                  <a:pos x="f5870" y="f5988"/>
                </a:cxn>
                <a:cxn ang="f4299">
                  <a:pos x="f5870" y="f5987"/>
                </a:cxn>
                <a:cxn ang="f4299">
                  <a:pos x="f5871" y="f5986"/>
                </a:cxn>
                <a:cxn ang="f4299">
                  <a:pos x="f5872" y="f5986"/>
                </a:cxn>
                <a:cxn ang="f4299">
                  <a:pos x="f5873" y="f5987"/>
                </a:cxn>
                <a:cxn ang="f4299">
                  <a:pos x="f5873" y="f5988"/>
                </a:cxn>
                <a:cxn ang="f4299">
                  <a:pos x="f5872" y="f5989"/>
                </a:cxn>
                <a:cxn ang="f4299">
                  <a:pos x="f5871" y="f5989"/>
                </a:cxn>
                <a:cxn ang="f4299">
                  <a:pos x="f5874" y="f5988"/>
                </a:cxn>
                <a:cxn ang="f4299">
                  <a:pos x="f5874" y="f5987"/>
                </a:cxn>
                <a:cxn ang="f4299">
                  <a:pos x="f5875" y="f5986"/>
                </a:cxn>
                <a:cxn ang="f4299">
                  <a:pos x="f5876" y="f5986"/>
                </a:cxn>
                <a:cxn ang="f4299">
                  <a:pos x="f5877" y="f5987"/>
                </a:cxn>
                <a:cxn ang="f4299">
                  <a:pos x="f5877" y="f5988"/>
                </a:cxn>
                <a:cxn ang="f4299">
                  <a:pos x="f5876" y="f5989"/>
                </a:cxn>
                <a:cxn ang="f4299">
                  <a:pos x="f5875" y="f5989"/>
                </a:cxn>
                <a:cxn ang="f4299">
                  <a:pos x="f5878" y="f5988"/>
                </a:cxn>
                <a:cxn ang="f4299">
                  <a:pos x="f5878" y="f5987"/>
                </a:cxn>
                <a:cxn ang="f4299">
                  <a:pos x="f5879" y="f5986"/>
                </a:cxn>
                <a:cxn ang="f4299">
                  <a:pos x="f5880" y="f5986"/>
                </a:cxn>
                <a:cxn ang="f4299">
                  <a:pos x="f5881" y="f5987"/>
                </a:cxn>
                <a:cxn ang="f4299">
                  <a:pos x="f5881" y="f5988"/>
                </a:cxn>
                <a:cxn ang="f4299">
                  <a:pos x="f5880" y="f5989"/>
                </a:cxn>
                <a:cxn ang="f4299">
                  <a:pos x="f5879" y="f5989"/>
                </a:cxn>
                <a:cxn ang="f4299">
                  <a:pos x="f5882" y="f5988"/>
                </a:cxn>
                <a:cxn ang="f4299">
                  <a:pos x="f5882" y="f5987"/>
                </a:cxn>
                <a:cxn ang="f4299">
                  <a:pos x="f5883" y="f5986"/>
                </a:cxn>
                <a:cxn ang="f4299">
                  <a:pos x="f5884" y="f5986"/>
                </a:cxn>
                <a:cxn ang="f4299">
                  <a:pos x="f5885" y="f5987"/>
                </a:cxn>
                <a:cxn ang="f4299">
                  <a:pos x="f5885" y="f5988"/>
                </a:cxn>
                <a:cxn ang="f4299">
                  <a:pos x="f5884" y="f5989"/>
                </a:cxn>
                <a:cxn ang="f4299">
                  <a:pos x="f5883" y="f5989"/>
                </a:cxn>
                <a:cxn ang="f4299">
                  <a:pos x="f5886" y="f5988"/>
                </a:cxn>
                <a:cxn ang="f4299">
                  <a:pos x="f5886" y="f5987"/>
                </a:cxn>
                <a:cxn ang="f4299">
                  <a:pos x="f5887" y="f5986"/>
                </a:cxn>
                <a:cxn ang="f4299">
                  <a:pos x="f5888" y="f5986"/>
                </a:cxn>
                <a:cxn ang="f4299">
                  <a:pos x="f5889" y="f5987"/>
                </a:cxn>
                <a:cxn ang="f4299">
                  <a:pos x="f5889" y="f5988"/>
                </a:cxn>
                <a:cxn ang="f4299">
                  <a:pos x="f5888" y="f5989"/>
                </a:cxn>
                <a:cxn ang="f4299">
                  <a:pos x="f5887" y="f5989"/>
                </a:cxn>
                <a:cxn ang="f4299">
                  <a:pos x="f5890" y="f5988"/>
                </a:cxn>
                <a:cxn ang="f4299">
                  <a:pos x="f5890" y="f5987"/>
                </a:cxn>
                <a:cxn ang="f4299">
                  <a:pos x="f5891" y="f5986"/>
                </a:cxn>
                <a:cxn ang="f4299">
                  <a:pos x="f5892" y="f5986"/>
                </a:cxn>
                <a:cxn ang="f4299">
                  <a:pos x="f5893" y="f5987"/>
                </a:cxn>
                <a:cxn ang="f4299">
                  <a:pos x="f5893" y="f5988"/>
                </a:cxn>
                <a:cxn ang="f4299">
                  <a:pos x="f5892" y="f5989"/>
                </a:cxn>
                <a:cxn ang="f4299">
                  <a:pos x="f5891" y="f5989"/>
                </a:cxn>
                <a:cxn ang="f4299">
                  <a:pos x="f5894" y="f5988"/>
                </a:cxn>
                <a:cxn ang="f4299">
                  <a:pos x="f5894" y="f5987"/>
                </a:cxn>
                <a:cxn ang="f4299">
                  <a:pos x="f5960" y="f5986"/>
                </a:cxn>
                <a:cxn ang="f4299">
                  <a:pos x="f5990" y="f5986"/>
                </a:cxn>
                <a:cxn ang="f4299">
                  <a:pos x="f5991" y="f5987"/>
                </a:cxn>
                <a:cxn ang="f4299">
                  <a:pos x="f5991" y="f5988"/>
                </a:cxn>
                <a:cxn ang="f4299">
                  <a:pos x="f5990" y="f5989"/>
                </a:cxn>
                <a:cxn ang="f4299">
                  <a:pos x="f5960" y="f5989"/>
                </a:cxn>
                <a:cxn ang="f4299">
                  <a:pos x="f5992" y="f5988"/>
                </a:cxn>
                <a:cxn ang="f4299">
                  <a:pos x="f5992" y="f5987"/>
                </a:cxn>
                <a:cxn ang="f4299">
                  <a:pos x="f5993" y="f5986"/>
                </a:cxn>
                <a:cxn ang="f4299">
                  <a:pos x="f5994" y="f5986"/>
                </a:cxn>
                <a:cxn ang="f4299">
                  <a:pos x="f5995" y="f5987"/>
                </a:cxn>
                <a:cxn ang="f4299">
                  <a:pos x="f5995" y="f5988"/>
                </a:cxn>
                <a:cxn ang="f4299">
                  <a:pos x="f5994" y="f5989"/>
                </a:cxn>
                <a:cxn ang="f4299">
                  <a:pos x="f5993" y="f5989"/>
                </a:cxn>
                <a:cxn ang="f4299">
                  <a:pos x="f5996" y="f5988"/>
                </a:cxn>
                <a:cxn ang="f4299">
                  <a:pos x="f5996" y="f5987"/>
                </a:cxn>
                <a:cxn ang="f4299">
                  <a:pos x="f5963" y="f5986"/>
                </a:cxn>
                <a:cxn ang="f4299">
                  <a:pos x="f5997" y="f5986"/>
                </a:cxn>
                <a:cxn ang="f4299">
                  <a:pos x="f5998" y="f5987"/>
                </a:cxn>
                <a:cxn ang="f4299">
                  <a:pos x="f5998" y="f5988"/>
                </a:cxn>
                <a:cxn ang="f4299">
                  <a:pos x="f5997" y="f5989"/>
                </a:cxn>
                <a:cxn ang="f4299">
                  <a:pos x="f5963" y="f5989"/>
                </a:cxn>
                <a:cxn ang="f4299">
                  <a:pos x="f5965" y="f5988"/>
                </a:cxn>
                <a:cxn ang="f4299">
                  <a:pos x="f5965" y="f5987"/>
                </a:cxn>
                <a:cxn ang="f4299">
                  <a:pos x="f5966" y="f5986"/>
                </a:cxn>
                <a:cxn ang="f4299">
                  <a:pos x="f5999" y="f5986"/>
                </a:cxn>
                <a:cxn ang="f4299">
                  <a:pos x="f5968" y="f5987"/>
                </a:cxn>
                <a:cxn ang="f4299">
                  <a:pos x="f5968" y="f5988"/>
                </a:cxn>
                <a:cxn ang="f4299">
                  <a:pos x="f5999" y="f5989"/>
                </a:cxn>
                <a:cxn ang="f4299">
                  <a:pos x="f5966" y="f5989"/>
                </a:cxn>
                <a:cxn ang="f4299">
                  <a:pos x="f6000" y="f5988"/>
                </a:cxn>
                <a:cxn ang="f4299">
                  <a:pos x="f6000" y="f5987"/>
                </a:cxn>
                <a:cxn ang="f4299">
                  <a:pos x="f5767" y="f6001"/>
                </a:cxn>
                <a:cxn ang="f4299">
                  <a:pos x="f5769" y="f6001"/>
                </a:cxn>
                <a:cxn ang="f4299">
                  <a:pos x="f5770" y="f6002"/>
                </a:cxn>
                <a:cxn ang="f4299">
                  <a:pos x="f5770" y="f6003"/>
                </a:cxn>
                <a:cxn ang="f4299">
                  <a:pos x="f5769" y="f6004"/>
                </a:cxn>
                <a:cxn ang="f4299">
                  <a:pos x="f5767" y="f6004"/>
                </a:cxn>
                <a:cxn ang="f4299">
                  <a:pos x="f5774" y="f6003"/>
                </a:cxn>
                <a:cxn ang="f4299">
                  <a:pos x="f5774" y="f6002"/>
                </a:cxn>
                <a:cxn ang="f4299">
                  <a:pos x="f5775" y="f6001"/>
                </a:cxn>
                <a:cxn ang="f4299">
                  <a:pos x="f5776" y="f6001"/>
                </a:cxn>
                <a:cxn ang="f4299">
                  <a:pos x="f5777" y="f6002"/>
                </a:cxn>
                <a:cxn ang="f4299">
                  <a:pos x="f5777" y="f6003"/>
                </a:cxn>
                <a:cxn ang="f4299">
                  <a:pos x="f5776" y="f6004"/>
                </a:cxn>
                <a:cxn ang="f4299">
                  <a:pos x="f5775" y="f6004"/>
                </a:cxn>
                <a:cxn ang="f4299">
                  <a:pos x="f5778" y="f6003"/>
                </a:cxn>
                <a:cxn ang="f4299">
                  <a:pos x="f5778" y="f6002"/>
                </a:cxn>
                <a:cxn ang="f4299">
                  <a:pos x="f5779" y="f6001"/>
                </a:cxn>
                <a:cxn ang="f4299">
                  <a:pos x="f5780" y="f6001"/>
                </a:cxn>
                <a:cxn ang="f4299">
                  <a:pos x="f5781" y="f6002"/>
                </a:cxn>
                <a:cxn ang="f4299">
                  <a:pos x="f5781" y="f6003"/>
                </a:cxn>
                <a:cxn ang="f4299">
                  <a:pos x="f5780" y="f6004"/>
                </a:cxn>
                <a:cxn ang="f4299">
                  <a:pos x="f5779" y="f6004"/>
                </a:cxn>
                <a:cxn ang="f4299">
                  <a:pos x="f5782" y="f6003"/>
                </a:cxn>
                <a:cxn ang="f4299">
                  <a:pos x="f5782" y="f6002"/>
                </a:cxn>
                <a:cxn ang="f4299">
                  <a:pos x="f5783" y="f6001"/>
                </a:cxn>
                <a:cxn ang="f4299">
                  <a:pos x="f5784" y="f6001"/>
                </a:cxn>
                <a:cxn ang="f4299">
                  <a:pos x="f5785" y="f6002"/>
                </a:cxn>
                <a:cxn ang="f4299">
                  <a:pos x="f5785" y="f6003"/>
                </a:cxn>
                <a:cxn ang="f4299">
                  <a:pos x="f5784" y="f6004"/>
                </a:cxn>
                <a:cxn ang="f4299">
                  <a:pos x="f5783" y="f6004"/>
                </a:cxn>
                <a:cxn ang="f4299">
                  <a:pos x="f5786" y="f6003"/>
                </a:cxn>
                <a:cxn ang="f4299">
                  <a:pos x="f5786" y="f6002"/>
                </a:cxn>
                <a:cxn ang="f4299">
                  <a:pos x="f5787" y="f6001"/>
                </a:cxn>
                <a:cxn ang="f4299">
                  <a:pos x="f5788" y="f6001"/>
                </a:cxn>
                <a:cxn ang="f4299">
                  <a:pos x="f5789" y="f6002"/>
                </a:cxn>
                <a:cxn ang="f4299">
                  <a:pos x="f5789" y="f6003"/>
                </a:cxn>
                <a:cxn ang="f4299">
                  <a:pos x="f5788" y="f6004"/>
                </a:cxn>
                <a:cxn ang="f4299">
                  <a:pos x="f5787" y="f6004"/>
                </a:cxn>
                <a:cxn ang="f4299">
                  <a:pos x="f5790" y="f6003"/>
                </a:cxn>
                <a:cxn ang="f4299">
                  <a:pos x="f5790" y="f6002"/>
                </a:cxn>
                <a:cxn ang="f4299">
                  <a:pos x="f5791" y="f6001"/>
                </a:cxn>
                <a:cxn ang="f4299">
                  <a:pos x="f5792" y="f6001"/>
                </a:cxn>
                <a:cxn ang="f4299">
                  <a:pos x="f5793" y="f6002"/>
                </a:cxn>
                <a:cxn ang="f4299">
                  <a:pos x="f5793" y="f6003"/>
                </a:cxn>
                <a:cxn ang="f4299">
                  <a:pos x="f5792" y="f6004"/>
                </a:cxn>
                <a:cxn ang="f4299">
                  <a:pos x="f5791" y="f6004"/>
                </a:cxn>
                <a:cxn ang="f4299">
                  <a:pos x="f5794" y="f6003"/>
                </a:cxn>
                <a:cxn ang="f4299">
                  <a:pos x="f5794" y="f6002"/>
                </a:cxn>
                <a:cxn ang="f4299">
                  <a:pos x="f5795" y="f6001"/>
                </a:cxn>
                <a:cxn ang="f4299">
                  <a:pos x="f5796" y="f6001"/>
                </a:cxn>
                <a:cxn ang="f4299">
                  <a:pos x="f5797" y="f6002"/>
                </a:cxn>
                <a:cxn ang="f4299">
                  <a:pos x="f5797" y="f6003"/>
                </a:cxn>
                <a:cxn ang="f4299">
                  <a:pos x="f5796" y="f6004"/>
                </a:cxn>
                <a:cxn ang="f4299">
                  <a:pos x="f5795" y="f6004"/>
                </a:cxn>
                <a:cxn ang="f4299">
                  <a:pos x="f5798" y="f6003"/>
                </a:cxn>
                <a:cxn ang="f4299">
                  <a:pos x="f5798" y="f6002"/>
                </a:cxn>
                <a:cxn ang="f4299">
                  <a:pos x="f5799" y="f6001"/>
                </a:cxn>
                <a:cxn ang="f4299">
                  <a:pos x="f5800" y="f6001"/>
                </a:cxn>
                <a:cxn ang="f4299">
                  <a:pos x="f5801" y="f6002"/>
                </a:cxn>
                <a:cxn ang="f4299">
                  <a:pos x="f5801" y="f6003"/>
                </a:cxn>
                <a:cxn ang="f4299">
                  <a:pos x="f5800" y="f6004"/>
                </a:cxn>
                <a:cxn ang="f4299">
                  <a:pos x="f5799" y="f6004"/>
                </a:cxn>
                <a:cxn ang="f4299">
                  <a:pos x="f5802" y="f6003"/>
                </a:cxn>
                <a:cxn ang="f4299">
                  <a:pos x="f5802" y="f6002"/>
                </a:cxn>
                <a:cxn ang="f4299">
                  <a:pos x="f5803" y="f6001"/>
                </a:cxn>
                <a:cxn ang="f4299">
                  <a:pos x="f5804" y="f6001"/>
                </a:cxn>
                <a:cxn ang="f4299">
                  <a:pos x="f5805" y="f6002"/>
                </a:cxn>
                <a:cxn ang="f4299">
                  <a:pos x="f5805" y="f6003"/>
                </a:cxn>
                <a:cxn ang="f4299">
                  <a:pos x="f5804" y="f6004"/>
                </a:cxn>
                <a:cxn ang="f4299">
                  <a:pos x="f5803" y="f6004"/>
                </a:cxn>
                <a:cxn ang="f4299">
                  <a:pos x="f5806" y="f6003"/>
                </a:cxn>
                <a:cxn ang="f4299">
                  <a:pos x="f5806" y="f6002"/>
                </a:cxn>
                <a:cxn ang="f4299">
                  <a:pos x="f5807" y="f6001"/>
                </a:cxn>
                <a:cxn ang="f4299">
                  <a:pos x="f5808" y="f6001"/>
                </a:cxn>
                <a:cxn ang="f4299">
                  <a:pos x="f5809" y="f6002"/>
                </a:cxn>
                <a:cxn ang="f4299">
                  <a:pos x="f5809" y="f6003"/>
                </a:cxn>
                <a:cxn ang="f4299">
                  <a:pos x="f5808" y="f6004"/>
                </a:cxn>
                <a:cxn ang="f4299">
                  <a:pos x="f5807" y="f6004"/>
                </a:cxn>
                <a:cxn ang="f4299">
                  <a:pos x="f5810" y="f6003"/>
                </a:cxn>
                <a:cxn ang="f4299">
                  <a:pos x="f5810" y="f6002"/>
                </a:cxn>
                <a:cxn ang="f4299">
                  <a:pos x="f5811" y="f6001"/>
                </a:cxn>
                <a:cxn ang="f4299">
                  <a:pos x="f5812" y="f6001"/>
                </a:cxn>
                <a:cxn ang="f4299">
                  <a:pos x="f5813" y="f6002"/>
                </a:cxn>
                <a:cxn ang="f4299">
                  <a:pos x="f5813" y="f6003"/>
                </a:cxn>
                <a:cxn ang="f4299">
                  <a:pos x="f5812" y="f6004"/>
                </a:cxn>
                <a:cxn ang="f4299">
                  <a:pos x="f5811" y="f6004"/>
                </a:cxn>
                <a:cxn ang="f4299">
                  <a:pos x="f5814" y="f6003"/>
                </a:cxn>
                <a:cxn ang="f4299">
                  <a:pos x="f5814" y="f6002"/>
                </a:cxn>
                <a:cxn ang="f4299">
                  <a:pos x="f5815" y="f6001"/>
                </a:cxn>
                <a:cxn ang="f4299">
                  <a:pos x="f5816" y="f6001"/>
                </a:cxn>
                <a:cxn ang="f4299">
                  <a:pos x="f5817" y="f6002"/>
                </a:cxn>
                <a:cxn ang="f4299">
                  <a:pos x="f5817" y="f6003"/>
                </a:cxn>
                <a:cxn ang="f4299">
                  <a:pos x="f5816" y="f6004"/>
                </a:cxn>
                <a:cxn ang="f4299">
                  <a:pos x="f5815" y="f6004"/>
                </a:cxn>
                <a:cxn ang="f4299">
                  <a:pos x="f5818" y="f6003"/>
                </a:cxn>
                <a:cxn ang="f4299">
                  <a:pos x="f5818" y="f6002"/>
                </a:cxn>
                <a:cxn ang="f4299">
                  <a:pos x="f5819" y="f6001"/>
                </a:cxn>
                <a:cxn ang="f4299">
                  <a:pos x="f5820" y="f6001"/>
                </a:cxn>
                <a:cxn ang="f4299">
                  <a:pos x="f5821" y="f6002"/>
                </a:cxn>
                <a:cxn ang="f4299">
                  <a:pos x="f5821" y="f6003"/>
                </a:cxn>
                <a:cxn ang="f4299">
                  <a:pos x="f5820" y="f6004"/>
                </a:cxn>
                <a:cxn ang="f4299">
                  <a:pos x="f5819" y="f6004"/>
                </a:cxn>
                <a:cxn ang="f4299">
                  <a:pos x="f5822" y="f6003"/>
                </a:cxn>
                <a:cxn ang="f4299">
                  <a:pos x="f5822" y="f6002"/>
                </a:cxn>
                <a:cxn ang="f4299">
                  <a:pos x="f5823" y="f6001"/>
                </a:cxn>
                <a:cxn ang="f4299">
                  <a:pos x="f5824" y="f6001"/>
                </a:cxn>
                <a:cxn ang="f4299">
                  <a:pos x="f5825" y="f6002"/>
                </a:cxn>
                <a:cxn ang="f4299">
                  <a:pos x="f5825" y="f6003"/>
                </a:cxn>
                <a:cxn ang="f4299">
                  <a:pos x="f5824" y="f6004"/>
                </a:cxn>
                <a:cxn ang="f4299">
                  <a:pos x="f5823" y="f6004"/>
                </a:cxn>
                <a:cxn ang="f4299">
                  <a:pos x="f5826" y="f6003"/>
                </a:cxn>
                <a:cxn ang="f4299">
                  <a:pos x="f5826" y="f6002"/>
                </a:cxn>
                <a:cxn ang="f4299">
                  <a:pos x="f5827" y="f6001"/>
                </a:cxn>
                <a:cxn ang="f4299">
                  <a:pos x="f5828" y="f6001"/>
                </a:cxn>
                <a:cxn ang="f4299">
                  <a:pos x="f5829" y="f6002"/>
                </a:cxn>
                <a:cxn ang="f4299">
                  <a:pos x="f5829" y="f6003"/>
                </a:cxn>
                <a:cxn ang="f4299">
                  <a:pos x="f5828" y="f6004"/>
                </a:cxn>
                <a:cxn ang="f4299">
                  <a:pos x="f5827" y="f6004"/>
                </a:cxn>
                <a:cxn ang="f4299">
                  <a:pos x="f5830" y="f6003"/>
                </a:cxn>
                <a:cxn ang="f4299">
                  <a:pos x="f5830" y="f6002"/>
                </a:cxn>
                <a:cxn ang="f4299">
                  <a:pos x="f5831" y="f6001"/>
                </a:cxn>
                <a:cxn ang="f4299">
                  <a:pos x="f5832" y="f6001"/>
                </a:cxn>
                <a:cxn ang="f4299">
                  <a:pos x="f5833" y="f6002"/>
                </a:cxn>
                <a:cxn ang="f4299">
                  <a:pos x="f5833" y="f6003"/>
                </a:cxn>
                <a:cxn ang="f4299">
                  <a:pos x="f5832" y="f6004"/>
                </a:cxn>
                <a:cxn ang="f4299">
                  <a:pos x="f5831" y="f6004"/>
                </a:cxn>
                <a:cxn ang="f4299">
                  <a:pos x="f5834" y="f6003"/>
                </a:cxn>
                <a:cxn ang="f4299">
                  <a:pos x="f5834" y="f6002"/>
                </a:cxn>
                <a:cxn ang="f4299">
                  <a:pos x="f5835" y="f6001"/>
                </a:cxn>
                <a:cxn ang="f4299">
                  <a:pos x="f5836" y="f6001"/>
                </a:cxn>
                <a:cxn ang="f4299">
                  <a:pos x="f5837" y="f6002"/>
                </a:cxn>
                <a:cxn ang="f4299">
                  <a:pos x="f5837" y="f6003"/>
                </a:cxn>
                <a:cxn ang="f4299">
                  <a:pos x="f5836" y="f6004"/>
                </a:cxn>
                <a:cxn ang="f4299">
                  <a:pos x="f5835" y="f6004"/>
                </a:cxn>
                <a:cxn ang="f4299">
                  <a:pos x="f5838" y="f6003"/>
                </a:cxn>
                <a:cxn ang="f4299">
                  <a:pos x="f5838" y="f6002"/>
                </a:cxn>
                <a:cxn ang="f4299">
                  <a:pos x="f5839" y="f6001"/>
                </a:cxn>
                <a:cxn ang="f4299">
                  <a:pos x="f5840" y="f6001"/>
                </a:cxn>
                <a:cxn ang="f4299">
                  <a:pos x="f5841" y="f6002"/>
                </a:cxn>
                <a:cxn ang="f4299">
                  <a:pos x="f5841" y="f6003"/>
                </a:cxn>
                <a:cxn ang="f4299">
                  <a:pos x="f5840" y="f6004"/>
                </a:cxn>
                <a:cxn ang="f4299">
                  <a:pos x="f5839" y="f6004"/>
                </a:cxn>
                <a:cxn ang="f4299">
                  <a:pos x="f5842" y="f6003"/>
                </a:cxn>
                <a:cxn ang="f4299">
                  <a:pos x="f5842" y="f6002"/>
                </a:cxn>
                <a:cxn ang="f4299">
                  <a:pos x="f5843" y="f6001"/>
                </a:cxn>
                <a:cxn ang="f4299">
                  <a:pos x="f5844" y="f6001"/>
                </a:cxn>
                <a:cxn ang="f4299">
                  <a:pos x="f5845" y="f6002"/>
                </a:cxn>
                <a:cxn ang="f4299">
                  <a:pos x="f5845" y="f6003"/>
                </a:cxn>
                <a:cxn ang="f4299">
                  <a:pos x="f5844" y="f6004"/>
                </a:cxn>
                <a:cxn ang="f4299">
                  <a:pos x="f5843" y="f6004"/>
                </a:cxn>
                <a:cxn ang="f4299">
                  <a:pos x="f5846" y="f6003"/>
                </a:cxn>
                <a:cxn ang="f4299">
                  <a:pos x="f5846" y="f6002"/>
                </a:cxn>
                <a:cxn ang="f4299">
                  <a:pos x="f5847" y="f6001"/>
                </a:cxn>
                <a:cxn ang="f4299">
                  <a:pos x="f5848" y="f6001"/>
                </a:cxn>
                <a:cxn ang="f4299">
                  <a:pos x="f5849" y="f6002"/>
                </a:cxn>
                <a:cxn ang="f4299">
                  <a:pos x="f5849" y="f6003"/>
                </a:cxn>
                <a:cxn ang="f4299">
                  <a:pos x="f5848" y="f6004"/>
                </a:cxn>
                <a:cxn ang="f4299">
                  <a:pos x="f5847" y="f6004"/>
                </a:cxn>
                <a:cxn ang="f4299">
                  <a:pos x="f5850" y="f6003"/>
                </a:cxn>
                <a:cxn ang="f4299">
                  <a:pos x="f5850" y="f6002"/>
                </a:cxn>
                <a:cxn ang="f4299">
                  <a:pos x="f5851" y="f6001"/>
                </a:cxn>
                <a:cxn ang="f4299">
                  <a:pos x="f5852" y="f6001"/>
                </a:cxn>
                <a:cxn ang="f4299">
                  <a:pos x="f5853" y="f6002"/>
                </a:cxn>
                <a:cxn ang="f4299">
                  <a:pos x="f5853" y="f6003"/>
                </a:cxn>
                <a:cxn ang="f4299">
                  <a:pos x="f5852" y="f6004"/>
                </a:cxn>
                <a:cxn ang="f4299">
                  <a:pos x="f5851" y="f6004"/>
                </a:cxn>
                <a:cxn ang="f4299">
                  <a:pos x="f5854" y="f6003"/>
                </a:cxn>
                <a:cxn ang="f4299">
                  <a:pos x="f5854" y="f6002"/>
                </a:cxn>
                <a:cxn ang="f4299">
                  <a:pos x="f5855" y="f6001"/>
                </a:cxn>
                <a:cxn ang="f4299">
                  <a:pos x="f5856" y="f6001"/>
                </a:cxn>
                <a:cxn ang="f4299">
                  <a:pos x="f5857" y="f6002"/>
                </a:cxn>
                <a:cxn ang="f4299">
                  <a:pos x="f5857" y="f6003"/>
                </a:cxn>
                <a:cxn ang="f4299">
                  <a:pos x="f5856" y="f6004"/>
                </a:cxn>
                <a:cxn ang="f4299">
                  <a:pos x="f5855" y="f6004"/>
                </a:cxn>
                <a:cxn ang="f4299">
                  <a:pos x="f5858" y="f6003"/>
                </a:cxn>
                <a:cxn ang="f4299">
                  <a:pos x="f5858" y="f6002"/>
                </a:cxn>
                <a:cxn ang="f4299">
                  <a:pos x="f5859" y="f6001"/>
                </a:cxn>
                <a:cxn ang="f4299">
                  <a:pos x="f5860" y="f6001"/>
                </a:cxn>
                <a:cxn ang="f4299">
                  <a:pos x="f5861" y="f6002"/>
                </a:cxn>
                <a:cxn ang="f4299">
                  <a:pos x="f5861" y="f6003"/>
                </a:cxn>
                <a:cxn ang="f4299">
                  <a:pos x="f5860" y="f6004"/>
                </a:cxn>
                <a:cxn ang="f4299">
                  <a:pos x="f5859" y="f6004"/>
                </a:cxn>
                <a:cxn ang="f4299">
                  <a:pos x="f5862" y="f6003"/>
                </a:cxn>
                <a:cxn ang="f4299">
                  <a:pos x="f5862" y="f6002"/>
                </a:cxn>
                <a:cxn ang="f4299">
                  <a:pos x="f5863" y="f6001"/>
                </a:cxn>
                <a:cxn ang="f4299">
                  <a:pos x="f5864" y="f6001"/>
                </a:cxn>
                <a:cxn ang="f4299">
                  <a:pos x="f5865" y="f6002"/>
                </a:cxn>
                <a:cxn ang="f4299">
                  <a:pos x="f5865" y="f6003"/>
                </a:cxn>
                <a:cxn ang="f4299">
                  <a:pos x="f5864" y="f6004"/>
                </a:cxn>
                <a:cxn ang="f4299">
                  <a:pos x="f5863" y="f6004"/>
                </a:cxn>
                <a:cxn ang="f4299">
                  <a:pos x="f5866" y="f6003"/>
                </a:cxn>
                <a:cxn ang="f4299">
                  <a:pos x="f5866" y="f6002"/>
                </a:cxn>
                <a:cxn ang="f4299">
                  <a:pos x="f5867" y="f6001"/>
                </a:cxn>
                <a:cxn ang="f4299">
                  <a:pos x="f5868" y="f6001"/>
                </a:cxn>
                <a:cxn ang="f4299">
                  <a:pos x="f5869" y="f6002"/>
                </a:cxn>
                <a:cxn ang="f4299">
                  <a:pos x="f5869" y="f6003"/>
                </a:cxn>
                <a:cxn ang="f4299">
                  <a:pos x="f5868" y="f6004"/>
                </a:cxn>
                <a:cxn ang="f4299">
                  <a:pos x="f5867" y="f6004"/>
                </a:cxn>
                <a:cxn ang="f4299">
                  <a:pos x="f5870" y="f6003"/>
                </a:cxn>
                <a:cxn ang="f4299">
                  <a:pos x="f5870" y="f6002"/>
                </a:cxn>
                <a:cxn ang="f4299">
                  <a:pos x="f5871" y="f6001"/>
                </a:cxn>
                <a:cxn ang="f4299">
                  <a:pos x="f5872" y="f6001"/>
                </a:cxn>
                <a:cxn ang="f4299">
                  <a:pos x="f5873" y="f6002"/>
                </a:cxn>
                <a:cxn ang="f4299">
                  <a:pos x="f5873" y="f6003"/>
                </a:cxn>
                <a:cxn ang="f4299">
                  <a:pos x="f5872" y="f6004"/>
                </a:cxn>
                <a:cxn ang="f4299">
                  <a:pos x="f5871" y="f6004"/>
                </a:cxn>
                <a:cxn ang="f4299">
                  <a:pos x="f5874" y="f6003"/>
                </a:cxn>
                <a:cxn ang="f4299">
                  <a:pos x="f5874" y="f6002"/>
                </a:cxn>
                <a:cxn ang="f4299">
                  <a:pos x="f5875" y="f6001"/>
                </a:cxn>
                <a:cxn ang="f4299">
                  <a:pos x="f5876" y="f6001"/>
                </a:cxn>
                <a:cxn ang="f4299">
                  <a:pos x="f5877" y="f6002"/>
                </a:cxn>
                <a:cxn ang="f4299">
                  <a:pos x="f5877" y="f6003"/>
                </a:cxn>
                <a:cxn ang="f4299">
                  <a:pos x="f5876" y="f6004"/>
                </a:cxn>
                <a:cxn ang="f4299">
                  <a:pos x="f5875" y="f6004"/>
                </a:cxn>
                <a:cxn ang="f4299">
                  <a:pos x="f5878" y="f6003"/>
                </a:cxn>
                <a:cxn ang="f4299">
                  <a:pos x="f5878" y="f6002"/>
                </a:cxn>
                <a:cxn ang="f4299">
                  <a:pos x="f5879" y="f6001"/>
                </a:cxn>
                <a:cxn ang="f4299">
                  <a:pos x="f5880" y="f6001"/>
                </a:cxn>
                <a:cxn ang="f4299">
                  <a:pos x="f5881" y="f6002"/>
                </a:cxn>
                <a:cxn ang="f4299">
                  <a:pos x="f5881" y="f6003"/>
                </a:cxn>
                <a:cxn ang="f4299">
                  <a:pos x="f5880" y="f6004"/>
                </a:cxn>
                <a:cxn ang="f4299">
                  <a:pos x="f5879" y="f6004"/>
                </a:cxn>
                <a:cxn ang="f4299">
                  <a:pos x="f5882" y="f6003"/>
                </a:cxn>
                <a:cxn ang="f4299">
                  <a:pos x="f5882" y="f6002"/>
                </a:cxn>
                <a:cxn ang="f4299">
                  <a:pos x="f5883" y="f6001"/>
                </a:cxn>
                <a:cxn ang="f4299">
                  <a:pos x="f5884" y="f6001"/>
                </a:cxn>
                <a:cxn ang="f4299">
                  <a:pos x="f5885" y="f6002"/>
                </a:cxn>
                <a:cxn ang="f4299">
                  <a:pos x="f5885" y="f6003"/>
                </a:cxn>
                <a:cxn ang="f4299">
                  <a:pos x="f5884" y="f6004"/>
                </a:cxn>
                <a:cxn ang="f4299">
                  <a:pos x="f5883" y="f6004"/>
                </a:cxn>
                <a:cxn ang="f4299">
                  <a:pos x="f5886" y="f6003"/>
                </a:cxn>
                <a:cxn ang="f4299">
                  <a:pos x="f5886" y="f6002"/>
                </a:cxn>
                <a:cxn ang="f4299">
                  <a:pos x="f5887" y="f6001"/>
                </a:cxn>
                <a:cxn ang="f4299">
                  <a:pos x="f5888" y="f6001"/>
                </a:cxn>
                <a:cxn ang="f4299">
                  <a:pos x="f5889" y="f6002"/>
                </a:cxn>
                <a:cxn ang="f4299">
                  <a:pos x="f5889" y="f6003"/>
                </a:cxn>
                <a:cxn ang="f4299">
                  <a:pos x="f5888" y="f6004"/>
                </a:cxn>
                <a:cxn ang="f4299">
                  <a:pos x="f5887" y="f6004"/>
                </a:cxn>
                <a:cxn ang="f4299">
                  <a:pos x="f5890" y="f6003"/>
                </a:cxn>
                <a:cxn ang="f4299">
                  <a:pos x="f5890" y="f6002"/>
                </a:cxn>
                <a:cxn ang="f4299">
                  <a:pos x="f5891" y="f6001"/>
                </a:cxn>
                <a:cxn ang="f4299">
                  <a:pos x="f5892" y="f6001"/>
                </a:cxn>
                <a:cxn ang="f4299">
                  <a:pos x="f5893" y="f6002"/>
                </a:cxn>
                <a:cxn ang="f4299">
                  <a:pos x="f5893" y="f6003"/>
                </a:cxn>
                <a:cxn ang="f4299">
                  <a:pos x="f5892" y="f6004"/>
                </a:cxn>
                <a:cxn ang="f4299">
                  <a:pos x="f5891" y="f6004"/>
                </a:cxn>
                <a:cxn ang="f4299">
                  <a:pos x="f5894" y="f6003"/>
                </a:cxn>
                <a:cxn ang="f4299">
                  <a:pos x="f5894" y="f6002"/>
                </a:cxn>
                <a:cxn ang="f4299">
                  <a:pos x="f5915" y="f6001"/>
                </a:cxn>
                <a:cxn ang="f4299">
                  <a:pos x="f5916" y="f6001"/>
                </a:cxn>
                <a:cxn ang="f4299">
                  <a:pos x="f6005" y="f6002"/>
                </a:cxn>
                <a:cxn ang="f4299">
                  <a:pos x="f6005" y="f6003"/>
                </a:cxn>
                <a:cxn ang="f4299">
                  <a:pos x="f5916" y="f6004"/>
                </a:cxn>
                <a:cxn ang="f4299">
                  <a:pos x="f5915" y="f6004"/>
                </a:cxn>
                <a:cxn ang="f4299">
                  <a:pos x="f5918" y="f6003"/>
                </a:cxn>
                <a:cxn ang="f4299">
                  <a:pos x="f5918" y="f6002"/>
                </a:cxn>
                <a:cxn ang="f4299">
                  <a:pos x="f5973" y="f6001"/>
                </a:cxn>
                <a:cxn ang="f4299">
                  <a:pos x="f5946" y="f6001"/>
                </a:cxn>
                <a:cxn ang="f4299">
                  <a:pos x="f5919" y="f6002"/>
                </a:cxn>
                <a:cxn ang="f4299">
                  <a:pos x="f5919" y="f6003"/>
                </a:cxn>
                <a:cxn ang="f4299">
                  <a:pos x="f5946" y="f6004"/>
                </a:cxn>
                <a:cxn ang="f4299">
                  <a:pos x="f5973" y="f6004"/>
                </a:cxn>
                <a:cxn ang="f4299">
                  <a:pos x="f5750" y="f6003"/>
                </a:cxn>
                <a:cxn ang="f4299">
                  <a:pos x="f5750" y="f6002"/>
                </a:cxn>
                <a:cxn ang="f4299">
                  <a:pos x="f6006" y="f6001"/>
                </a:cxn>
                <a:cxn ang="f4299">
                  <a:pos x="f5974" y="f6001"/>
                </a:cxn>
                <a:cxn ang="f4299">
                  <a:pos x="f6007" y="f6002"/>
                </a:cxn>
                <a:cxn ang="f4299">
                  <a:pos x="f6007" y="f6003"/>
                </a:cxn>
                <a:cxn ang="f4299">
                  <a:pos x="f5974" y="f6004"/>
                </a:cxn>
                <a:cxn ang="f4299">
                  <a:pos x="f6006" y="f6004"/>
                </a:cxn>
                <a:cxn ang="f4299">
                  <a:pos x="f6008" y="f6003"/>
                </a:cxn>
                <a:cxn ang="f4299">
                  <a:pos x="f6008" y="f6002"/>
                </a:cxn>
                <a:cxn ang="f4299">
                  <a:pos x="f6009" y="f6001"/>
                </a:cxn>
                <a:cxn ang="f4299">
                  <a:pos x="f5977" y="f6001"/>
                </a:cxn>
                <a:cxn ang="f4299">
                  <a:pos x="f5978" y="f6002"/>
                </a:cxn>
                <a:cxn ang="f4299">
                  <a:pos x="f5978" y="f6003"/>
                </a:cxn>
                <a:cxn ang="f4299">
                  <a:pos x="f5977" y="f6004"/>
                </a:cxn>
                <a:cxn ang="f4299">
                  <a:pos x="f6009" y="f6004"/>
                </a:cxn>
                <a:cxn ang="f4299">
                  <a:pos x="f6010" y="f6003"/>
                </a:cxn>
                <a:cxn ang="f4299">
                  <a:pos x="f6010" y="f6002"/>
                </a:cxn>
                <a:cxn ang="f4299">
                  <a:pos x="f5980" y="f6001"/>
                </a:cxn>
                <a:cxn ang="f4299">
                  <a:pos x="f6011" y="f6001"/>
                </a:cxn>
                <a:cxn ang="f4299">
                  <a:pos x="f6012" y="f6002"/>
                </a:cxn>
                <a:cxn ang="f4299">
                  <a:pos x="f6012" y="f6003"/>
                </a:cxn>
                <a:cxn ang="f4299">
                  <a:pos x="f6011" y="f6004"/>
                </a:cxn>
                <a:cxn ang="f4299">
                  <a:pos x="f5980" y="f6004"/>
                </a:cxn>
                <a:cxn ang="f4299">
                  <a:pos x="f6013" y="f6003"/>
                </a:cxn>
                <a:cxn ang="f4299">
                  <a:pos x="f6013" y="f6002"/>
                </a:cxn>
                <a:cxn ang="f4299">
                  <a:pos x="f6014" y="f6001"/>
                </a:cxn>
                <a:cxn ang="f4299">
                  <a:pos x="f5983" y="f6001"/>
                </a:cxn>
                <a:cxn ang="f4299">
                  <a:pos x="f6015" y="f6002"/>
                </a:cxn>
                <a:cxn ang="f4299">
                  <a:pos x="f6015" y="f6003"/>
                </a:cxn>
                <a:cxn ang="f4299">
                  <a:pos x="f5983" y="f6004"/>
                </a:cxn>
                <a:cxn ang="f4299">
                  <a:pos x="f6014" y="f6004"/>
                </a:cxn>
                <a:cxn ang="f4299">
                  <a:pos x="f6016" y="f6003"/>
                </a:cxn>
                <a:cxn ang="f4299">
                  <a:pos x="f6016" y="f6002"/>
                </a:cxn>
                <a:cxn ang="f4299">
                  <a:pos x="f6017" y="f6001"/>
                </a:cxn>
                <a:cxn ang="f4299">
                  <a:pos x="f5990" y="f6001"/>
                </a:cxn>
                <a:cxn ang="f4299">
                  <a:pos x="f6018" y="f6002"/>
                </a:cxn>
                <a:cxn ang="f4299">
                  <a:pos x="f6018" y="f6003"/>
                </a:cxn>
                <a:cxn ang="f4299">
                  <a:pos x="f5990" y="f6004"/>
                </a:cxn>
                <a:cxn ang="f4299">
                  <a:pos x="f6017" y="f6004"/>
                </a:cxn>
                <a:cxn ang="f4299">
                  <a:pos x="f6019" y="f6003"/>
                </a:cxn>
                <a:cxn ang="f4299">
                  <a:pos x="f6019" y="f6002"/>
                </a:cxn>
                <a:cxn ang="f4299">
                  <a:pos x="f6020" y="f6001"/>
                </a:cxn>
                <a:cxn ang="f4299">
                  <a:pos x="f6021" y="f6001"/>
                </a:cxn>
                <a:cxn ang="f4299">
                  <a:pos x="f5995" y="f6002"/>
                </a:cxn>
                <a:cxn ang="f4299">
                  <a:pos x="f5995" y="f6003"/>
                </a:cxn>
                <a:cxn ang="f4299">
                  <a:pos x="f6021" y="f6004"/>
                </a:cxn>
                <a:cxn ang="f4299">
                  <a:pos x="f6020" y="f6004"/>
                </a:cxn>
                <a:cxn ang="f4299">
                  <a:pos x="f6022" y="f6003"/>
                </a:cxn>
                <a:cxn ang="f4299">
                  <a:pos x="f6022" y="f6002"/>
                </a:cxn>
                <a:cxn ang="f4299">
                  <a:pos x="f6023" y="f6001"/>
                </a:cxn>
                <a:cxn ang="f4299">
                  <a:pos x="f5997" y="f6001"/>
                </a:cxn>
                <a:cxn ang="f4299">
                  <a:pos x="f5998" y="f6002"/>
                </a:cxn>
                <a:cxn ang="f4299">
                  <a:pos x="f5998" y="f6003"/>
                </a:cxn>
                <a:cxn ang="f4299">
                  <a:pos x="f5997" y="f6004"/>
                </a:cxn>
                <a:cxn ang="f4299">
                  <a:pos x="f6023" y="f6004"/>
                </a:cxn>
                <a:cxn ang="f4299">
                  <a:pos x="f6024" y="f6003"/>
                </a:cxn>
                <a:cxn ang="f4299">
                  <a:pos x="f6024" y="f6002"/>
                </a:cxn>
                <a:cxn ang="f4299">
                  <a:pos x="f6025" y="f6001"/>
                </a:cxn>
                <a:cxn ang="f4299">
                  <a:pos x="f5999" y="f6001"/>
                </a:cxn>
                <a:cxn ang="f4299">
                  <a:pos x="f6026" y="f6002"/>
                </a:cxn>
                <a:cxn ang="f4299">
                  <a:pos x="f6026" y="f6003"/>
                </a:cxn>
                <a:cxn ang="f4299">
                  <a:pos x="f5999" y="f6004"/>
                </a:cxn>
                <a:cxn ang="f4299">
                  <a:pos x="f6025" y="f6004"/>
                </a:cxn>
                <a:cxn ang="f4299">
                  <a:pos x="f6027" y="f6003"/>
                </a:cxn>
                <a:cxn ang="f4299">
                  <a:pos x="f6027" y="f6002"/>
                </a:cxn>
                <a:cxn ang="f4299">
                  <a:pos x="f5915" y="f6028"/>
                </a:cxn>
                <a:cxn ang="f4299">
                  <a:pos x="f6029" y="f6028"/>
                </a:cxn>
                <a:cxn ang="f4299">
                  <a:pos x="f6005" y="f6030"/>
                </a:cxn>
                <a:cxn ang="f4299">
                  <a:pos x="f6005" y="f6031"/>
                </a:cxn>
                <a:cxn ang="f4299">
                  <a:pos x="f6029" y="f6032"/>
                </a:cxn>
                <a:cxn ang="f4299">
                  <a:pos x="f5915" y="f6032"/>
                </a:cxn>
                <a:cxn ang="f4299">
                  <a:pos x="f5918" y="f6031"/>
                </a:cxn>
                <a:cxn ang="f4299">
                  <a:pos x="f5918" y="f6030"/>
                </a:cxn>
                <a:cxn ang="f4299">
                  <a:pos x="f5973" y="f6028"/>
                </a:cxn>
                <a:cxn ang="f4299">
                  <a:pos x="f5946" y="f6028"/>
                </a:cxn>
                <a:cxn ang="f4299">
                  <a:pos x="f5919" y="f6030"/>
                </a:cxn>
                <a:cxn ang="f4299">
                  <a:pos x="f5919" y="f6031"/>
                </a:cxn>
                <a:cxn ang="f4299">
                  <a:pos x="f5946" y="f6032"/>
                </a:cxn>
                <a:cxn ang="f4299">
                  <a:pos x="f5973" y="f6032"/>
                </a:cxn>
                <a:cxn ang="f4299">
                  <a:pos x="f6033" y="f6031"/>
                </a:cxn>
                <a:cxn ang="f4299">
                  <a:pos x="f6033" y="f6030"/>
                </a:cxn>
                <a:cxn ang="f4299">
                  <a:pos x="f6034" y="f6028"/>
                </a:cxn>
                <a:cxn ang="f4299">
                  <a:pos x="f6035" y="f6028"/>
                </a:cxn>
                <a:cxn ang="f4299">
                  <a:pos x="f6007" y="f6030"/>
                </a:cxn>
                <a:cxn ang="f4299">
                  <a:pos x="f6007" y="f6031"/>
                </a:cxn>
                <a:cxn ang="f4299">
                  <a:pos x="f6035" y="f6032"/>
                </a:cxn>
                <a:cxn ang="f4299">
                  <a:pos x="f6034" y="f6032"/>
                </a:cxn>
                <a:cxn ang="f4299">
                  <a:pos x="f6008" y="f6031"/>
                </a:cxn>
                <a:cxn ang="f4299">
                  <a:pos x="f6008" y="f6030"/>
                </a:cxn>
                <a:cxn ang="f4299">
                  <a:pos x="f6036" y="f6028"/>
                </a:cxn>
                <a:cxn ang="f4299">
                  <a:pos x="f6037" y="f6028"/>
                </a:cxn>
                <a:cxn ang="f4299">
                  <a:pos x="f6038" y="f6030"/>
                </a:cxn>
                <a:cxn ang="f4299">
                  <a:pos x="f6038" y="f6031"/>
                </a:cxn>
                <a:cxn ang="f4299">
                  <a:pos x="f6037" y="f6032"/>
                </a:cxn>
                <a:cxn ang="f4299">
                  <a:pos x="f6036" y="f6032"/>
                </a:cxn>
                <a:cxn ang="f4299">
                  <a:pos x="f6010" y="f6031"/>
                </a:cxn>
                <a:cxn ang="f4299">
                  <a:pos x="f6010" y="f6030"/>
                </a:cxn>
                <a:cxn ang="f4299">
                  <a:pos x="f6039" y="f6028"/>
                </a:cxn>
                <a:cxn ang="f4299">
                  <a:pos x="f6011" y="f6028"/>
                </a:cxn>
                <a:cxn ang="f4299">
                  <a:pos x="f6040" y="f6030"/>
                </a:cxn>
                <a:cxn ang="f4299">
                  <a:pos x="f6040" y="f6031"/>
                </a:cxn>
                <a:cxn ang="f4299">
                  <a:pos x="f6011" y="f6032"/>
                </a:cxn>
                <a:cxn ang="f4299">
                  <a:pos x="f6039" y="f6032"/>
                </a:cxn>
                <a:cxn ang="f4299">
                  <a:pos x="f6013" y="f6031"/>
                </a:cxn>
                <a:cxn ang="f4299">
                  <a:pos x="f6013" y="f6030"/>
                </a:cxn>
                <a:cxn ang="f4299">
                  <a:pos x="f6014" y="f6028"/>
                </a:cxn>
                <a:cxn ang="f4299">
                  <a:pos x="f6041" y="f6028"/>
                </a:cxn>
                <a:cxn ang="f4299">
                  <a:pos x="f6015" y="f6030"/>
                </a:cxn>
                <a:cxn ang="f4299">
                  <a:pos x="f6015" y="f6031"/>
                </a:cxn>
                <a:cxn ang="f4299">
                  <a:pos x="f6041" y="f6032"/>
                </a:cxn>
                <a:cxn ang="f4299">
                  <a:pos x="f6014" y="f6032"/>
                </a:cxn>
                <a:cxn ang="f4299">
                  <a:pos x="f6016" y="f6031"/>
                </a:cxn>
                <a:cxn ang="f4299">
                  <a:pos x="f6016" y="f6030"/>
                </a:cxn>
                <a:cxn ang="f4299">
                  <a:pos x="f5767" y="f6042"/>
                </a:cxn>
                <a:cxn ang="f4299">
                  <a:pos x="f5769" y="f6042"/>
                </a:cxn>
                <a:cxn ang="f4299">
                  <a:pos x="f5770" y="f6043"/>
                </a:cxn>
                <a:cxn ang="f4299">
                  <a:pos x="f5770" y="f6044"/>
                </a:cxn>
                <a:cxn ang="f4299">
                  <a:pos x="f5769" y="f6045"/>
                </a:cxn>
                <a:cxn ang="f4299">
                  <a:pos x="f5767" y="f6045"/>
                </a:cxn>
                <a:cxn ang="f4299">
                  <a:pos x="f5774" y="f6044"/>
                </a:cxn>
                <a:cxn ang="f4299">
                  <a:pos x="f5774" y="f6043"/>
                </a:cxn>
                <a:cxn ang="f4299">
                  <a:pos x="f5775" y="f6042"/>
                </a:cxn>
                <a:cxn ang="f4299">
                  <a:pos x="f5776" y="f6042"/>
                </a:cxn>
                <a:cxn ang="f4299">
                  <a:pos x="f5777" y="f6043"/>
                </a:cxn>
                <a:cxn ang="f4299">
                  <a:pos x="f5777" y="f6044"/>
                </a:cxn>
                <a:cxn ang="f4299">
                  <a:pos x="f5776" y="f6045"/>
                </a:cxn>
                <a:cxn ang="f4299">
                  <a:pos x="f5775" y="f6045"/>
                </a:cxn>
                <a:cxn ang="f4299">
                  <a:pos x="f5778" y="f6044"/>
                </a:cxn>
                <a:cxn ang="f4299">
                  <a:pos x="f5778" y="f6043"/>
                </a:cxn>
                <a:cxn ang="f4299">
                  <a:pos x="f5779" y="f6042"/>
                </a:cxn>
                <a:cxn ang="f4299">
                  <a:pos x="f5780" y="f6042"/>
                </a:cxn>
                <a:cxn ang="f4299">
                  <a:pos x="f5781" y="f6043"/>
                </a:cxn>
                <a:cxn ang="f4299">
                  <a:pos x="f5781" y="f6044"/>
                </a:cxn>
                <a:cxn ang="f4299">
                  <a:pos x="f5780" y="f6045"/>
                </a:cxn>
                <a:cxn ang="f4299">
                  <a:pos x="f5779" y="f6045"/>
                </a:cxn>
                <a:cxn ang="f4299">
                  <a:pos x="f5782" y="f6044"/>
                </a:cxn>
                <a:cxn ang="f4299">
                  <a:pos x="f5782" y="f6043"/>
                </a:cxn>
                <a:cxn ang="f4299">
                  <a:pos x="f5783" y="f6042"/>
                </a:cxn>
                <a:cxn ang="f4299">
                  <a:pos x="f5784" y="f6042"/>
                </a:cxn>
                <a:cxn ang="f4299">
                  <a:pos x="f5785" y="f6043"/>
                </a:cxn>
                <a:cxn ang="f4299">
                  <a:pos x="f5785" y="f6044"/>
                </a:cxn>
                <a:cxn ang="f4299">
                  <a:pos x="f5784" y="f6045"/>
                </a:cxn>
                <a:cxn ang="f4299">
                  <a:pos x="f5783" y="f6045"/>
                </a:cxn>
                <a:cxn ang="f4299">
                  <a:pos x="f5786" y="f6044"/>
                </a:cxn>
                <a:cxn ang="f4299">
                  <a:pos x="f5786" y="f6043"/>
                </a:cxn>
                <a:cxn ang="f4299">
                  <a:pos x="f5787" y="f6042"/>
                </a:cxn>
                <a:cxn ang="f4299">
                  <a:pos x="f5788" y="f6042"/>
                </a:cxn>
                <a:cxn ang="f4299">
                  <a:pos x="f5789" y="f6043"/>
                </a:cxn>
                <a:cxn ang="f4299">
                  <a:pos x="f5789" y="f6044"/>
                </a:cxn>
                <a:cxn ang="f4299">
                  <a:pos x="f5788" y="f6045"/>
                </a:cxn>
                <a:cxn ang="f4299">
                  <a:pos x="f5787" y="f6045"/>
                </a:cxn>
                <a:cxn ang="f4299">
                  <a:pos x="f5790" y="f6044"/>
                </a:cxn>
                <a:cxn ang="f4299">
                  <a:pos x="f5790" y="f6043"/>
                </a:cxn>
                <a:cxn ang="f4299">
                  <a:pos x="f5791" y="f6042"/>
                </a:cxn>
                <a:cxn ang="f4299">
                  <a:pos x="f5792" y="f6042"/>
                </a:cxn>
                <a:cxn ang="f4299">
                  <a:pos x="f5793" y="f6043"/>
                </a:cxn>
                <a:cxn ang="f4299">
                  <a:pos x="f5793" y="f6044"/>
                </a:cxn>
                <a:cxn ang="f4299">
                  <a:pos x="f5792" y="f6045"/>
                </a:cxn>
                <a:cxn ang="f4299">
                  <a:pos x="f5791" y="f6045"/>
                </a:cxn>
                <a:cxn ang="f4299">
                  <a:pos x="f5794" y="f6044"/>
                </a:cxn>
                <a:cxn ang="f4299">
                  <a:pos x="f5794" y="f6043"/>
                </a:cxn>
                <a:cxn ang="f4299">
                  <a:pos x="f5795" y="f6042"/>
                </a:cxn>
                <a:cxn ang="f4299">
                  <a:pos x="f5796" y="f6042"/>
                </a:cxn>
                <a:cxn ang="f4299">
                  <a:pos x="f5797" y="f6043"/>
                </a:cxn>
                <a:cxn ang="f4299">
                  <a:pos x="f5797" y="f6044"/>
                </a:cxn>
                <a:cxn ang="f4299">
                  <a:pos x="f5796" y="f6045"/>
                </a:cxn>
                <a:cxn ang="f4299">
                  <a:pos x="f5795" y="f6045"/>
                </a:cxn>
                <a:cxn ang="f4299">
                  <a:pos x="f5798" y="f6044"/>
                </a:cxn>
                <a:cxn ang="f4299">
                  <a:pos x="f5798" y="f6043"/>
                </a:cxn>
                <a:cxn ang="f4299">
                  <a:pos x="f5799" y="f6042"/>
                </a:cxn>
                <a:cxn ang="f4299">
                  <a:pos x="f5800" y="f6042"/>
                </a:cxn>
                <a:cxn ang="f4299">
                  <a:pos x="f5801" y="f6043"/>
                </a:cxn>
                <a:cxn ang="f4299">
                  <a:pos x="f5801" y="f6044"/>
                </a:cxn>
                <a:cxn ang="f4299">
                  <a:pos x="f5800" y="f6045"/>
                </a:cxn>
                <a:cxn ang="f4299">
                  <a:pos x="f5799" y="f6045"/>
                </a:cxn>
                <a:cxn ang="f4299">
                  <a:pos x="f5802" y="f6044"/>
                </a:cxn>
                <a:cxn ang="f4299">
                  <a:pos x="f5802" y="f6043"/>
                </a:cxn>
                <a:cxn ang="f4299">
                  <a:pos x="f5803" y="f6042"/>
                </a:cxn>
                <a:cxn ang="f4299">
                  <a:pos x="f5804" y="f6042"/>
                </a:cxn>
                <a:cxn ang="f4299">
                  <a:pos x="f5805" y="f6043"/>
                </a:cxn>
                <a:cxn ang="f4299">
                  <a:pos x="f5805" y="f6044"/>
                </a:cxn>
                <a:cxn ang="f4299">
                  <a:pos x="f5804" y="f6045"/>
                </a:cxn>
                <a:cxn ang="f4299">
                  <a:pos x="f5803" y="f6045"/>
                </a:cxn>
                <a:cxn ang="f4299">
                  <a:pos x="f5806" y="f6044"/>
                </a:cxn>
                <a:cxn ang="f4299">
                  <a:pos x="f5806" y="f6043"/>
                </a:cxn>
                <a:cxn ang="f4299">
                  <a:pos x="f5807" y="f6042"/>
                </a:cxn>
                <a:cxn ang="f4299">
                  <a:pos x="f5808" y="f6042"/>
                </a:cxn>
                <a:cxn ang="f4299">
                  <a:pos x="f5809" y="f6043"/>
                </a:cxn>
                <a:cxn ang="f4299">
                  <a:pos x="f5809" y="f6044"/>
                </a:cxn>
                <a:cxn ang="f4299">
                  <a:pos x="f5808" y="f6045"/>
                </a:cxn>
                <a:cxn ang="f4299">
                  <a:pos x="f5807" y="f6045"/>
                </a:cxn>
                <a:cxn ang="f4299">
                  <a:pos x="f5810" y="f6044"/>
                </a:cxn>
                <a:cxn ang="f4299">
                  <a:pos x="f5810" y="f6043"/>
                </a:cxn>
                <a:cxn ang="f4299">
                  <a:pos x="f5811" y="f6042"/>
                </a:cxn>
                <a:cxn ang="f4299">
                  <a:pos x="f5812" y="f6042"/>
                </a:cxn>
                <a:cxn ang="f4299">
                  <a:pos x="f5813" y="f6043"/>
                </a:cxn>
                <a:cxn ang="f4299">
                  <a:pos x="f5813" y="f6044"/>
                </a:cxn>
                <a:cxn ang="f4299">
                  <a:pos x="f5812" y="f6045"/>
                </a:cxn>
                <a:cxn ang="f4299">
                  <a:pos x="f5811" y="f6045"/>
                </a:cxn>
                <a:cxn ang="f4299">
                  <a:pos x="f5814" y="f6044"/>
                </a:cxn>
                <a:cxn ang="f4299">
                  <a:pos x="f5814" y="f6043"/>
                </a:cxn>
                <a:cxn ang="f4299">
                  <a:pos x="f5815" y="f6042"/>
                </a:cxn>
                <a:cxn ang="f4299">
                  <a:pos x="f5816" y="f6042"/>
                </a:cxn>
                <a:cxn ang="f4299">
                  <a:pos x="f5817" y="f6043"/>
                </a:cxn>
                <a:cxn ang="f4299">
                  <a:pos x="f5817" y="f6044"/>
                </a:cxn>
                <a:cxn ang="f4299">
                  <a:pos x="f5816" y="f6045"/>
                </a:cxn>
                <a:cxn ang="f4299">
                  <a:pos x="f5815" y="f6045"/>
                </a:cxn>
                <a:cxn ang="f4299">
                  <a:pos x="f5818" y="f6044"/>
                </a:cxn>
                <a:cxn ang="f4299">
                  <a:pos x="f5818" y="f6043"/>
                </a:cxn>
                <a:cxn ang="f4299">
                  <a:pos x="f5819" y="f6042"/>
                </a:cxn>
                <a:cxn ang="f4299">
                  <a:pos x="f5820" y="f6042"/>
                </a:cxn>
                <a:cxn ang="f4299">
                  <a:pos x="f5821" y="f6043"/>
                </a:cxn>
                <a:cxn ang="f4299">
                  <a:pos x="f5821" y="f6044"/>
                </a:cxn>
                <a:cxn ang="f4299">
                  <a:pos x="f5820" y="f6045"/>
                </a:cxn>
                <a:cxn ang="f4299">
                  <a:pos x="f5819" y="f6045"/>
                </a:cxn>
                <a:cxn ang="f4299">
                  <a:pos x="f5822" y="f6044"/>
                </a:cxn>
                <a:cxn ang="f4299">
                  <a:pos x="f5822" y="f6043"/>
                </a:cxn>
                <a:cxn ang="f4299">
                  <a:pos x="f5823" y="f6042"/>
                </a:cxn>
                <a:cxn ang="f4299">
                  <a:pos x="f5824" y="f6042"/>
                </a:cxn>
                <a:cxn ang="f4299">
                  <a:pos x="f5825" y="f6043"/>
                </a:cxn>
                <a:cxn ang="f4299">
                  <a:pos x="f5825" y="f6044"/>
                </a:cxn>
                <a:cxn ang="f4299">
                  <a:pos x="f5824" y="f6045"/>
                </a:cxn>
                <a:cxn ang="f4299">
                  <a:pos x="f5823" y="f6045"/>
                </a:cxn>
                <a:cxn ang="f4299">
                  <a:pos x="f5826" y="f6044"/>
                </a:cxn>
                <a:cxn ang="f4299">
                  <a:pos x="f5826" y="f6043"/>
                </a:cxn>
                <a:cxn ang="f4299">
                  <a:pos x="f5827" y="f6042"/>
                </a:cxn>
                <a:cxn ang="f4299">
                  <a:pos x="f5828" y="f6042"/>
                </a:cxn>
                <a:cxn ang="f4299">
                  <a:pos x="f5829" y="f6043"/>
                </a:cxn>
                <a:cxn ang="f4299">
                  <a:pos x="f5829" y="f6044"/>
                </a:cxn>
                <a:cxn ang="f4299">
                  <a:pos x="f5828" y="f6045"/>
                </a:cxn>
                <a:cxn ang="f4299">
                  <a:pos x="f5827" y="f6045"/>
                </a:cxn>
                <a:cxn ang="f4299">
                  <a:pos x="f5830" y="f6044"/>
                </a:cxn>
                <a:cxn ang="f4299">
                  <a:pos x="f5830" y="f6043"/>
                </a:cxn>
                <a:cxn ang="f4299">
                  <a:pos x="f5831" y="f6042"/>
                </a:cxn>
                <a:cxn ang="f4299">
                  <a:pos x="f5832" y="f6042"/>
                </a:cxn>
                <a:cxn ang="f4299">
                  <a:pos x="f5833" y="f6043"/>
                </a:cxn>
                <a:cxn ang="f4299">
                  <a:pos x="f5833" y="f6044"/>
                </a:cxn>
                <a:cxn ang="f4299">
                  <a:pos x="f5832" y="f6045"/>
                </a:cxn>
                <a:cxn ang="f4299">
                  <a:pos x="f5831" y="f6045"/>
                </a:cxn>
                <a:cxn ang="f4299">
                  <a:pos x="f5834" y="f6044"/>
                </a:cxn>
                <a:cxn ang="f4299">
                  <a:pos x="f5834" y="f6043"/>
                </a:cxn>
                <a:cxn ang="f4299">
                  <a:pos x="f5835" y="f6042"/>
                </a:cxn>
                <a:cxn ang="f4299">
                  <a:pos x="f5836" y="f6042"/>
                </a:cxn>
                <a:cxn ang="f4299">
                  <a:pos x="f5837" y="f6043"/>
                </a:cxn>
                <a:cxn ang="f4299">
                  <a:pos x="f5837" y="f6044"/>
                </a:cxn>
                <a:cxn ang="f4299">
                  <a:pos x="f5836" y="f6045"/>
                </a:cxn>
                <a:cxn ang="f4299">
                  <a:pos x="f5835" y="f6045"/>
                </a:cxn>
                <a:cxn ang="f4299">
                  <a:pos x="f5838" y="f6044"/>
                </a:cxn>
                <a:cxn ang="f4299">
                  <a:pos x="f5838" y="f6043"/>
                </a:cxn>
                <a:cxn ang="f4299">
                  <a:pos x="f5839" y="f6042"/>
                </a:cxn>
                <a:cxn ang="f4299">
                  <a:pos x="f5840" y="f6042"/>
                </a:cxn>
                <a:cxn ang="f4299">
                  <a:pos x="f5841" y="f6043"/>
                </a:cxn>
                <a:cxn ang="f4299">
                  <a:pos x="f5841" y="f6044"/>
                </a:cxn>
                <a:cxn ang="f4299">
                  <a:pos x="f5840" y="f6045"/>
                </a:cxn>
                <a:cxn ang="f4299">
                  <a:pos x="f5839" y="f6045"/>
                </a:cxn>
                <a:cxn ang="f4299">
                  <a:pos x="f5842" y="f6044"/>
                </a:cxn>
                <a:cxn ang="f4299">
                  <a:pos x="f5842" y="f6043"/>
                </a:cxn>
                <a:cxn ang="f4299">
                  <a:pos x="f5843" y="f6042"/>
                </a:cxn>
                <a:cxn ang="f4299">
                  <a:pos x="f5844" y="f6042"/>
                </a:cxn>
                <a:cxn ang="f4299">
                  <a:pos x="f5845" y="f6043"/>
                </a:cxn>
                <a:cxn ang="f4299">
                  <a:pos x="f5845" y="f6044"/>
                </a:cxn>
                <a:cxn ang="f4299">
                  <a:pos x="f5844" y="f6045"/>
                </a:cxn>
                <a:cxn ang="f4299">
                  <a:pos x="f5843" y="f6045"/>
                </a:cxn>
                <a:cxn ang="f4299">
                  <a:pos x="f5846" y="f6044"/>
                </a:cxn>
                <a:cxn ang="f4299">
                  <a:pos x="f5846" y="f6043"/>
                </a:cxn>
                <a:cxn ang="f4299">
                  <a:pos x="f5847" y="f6042"/>
                </a:cxn>
                <a:cxn ang="f4299">
                  <a:pos x="f5848" y="f6042"/>
                </a:cxn>
                <a:cxn ang="f4299">
                  <a:pos x="f5849" y="f6043"/>
                </a:cxn>
                <a:cxn ang="f4299">
                  <a:pos x="f5849" y="f6044"/>
                </a:cxn>
                <a:cxn ang="f4299">
                  <a:pos x="f5848" y="f6045"/>
                </a:cxn>
                <a:cxn ang="f4299">
                  <a:pos x="f5847" y="f6045"/>
                </a:cxn>
                <a:cxn ang="f4299">
                  <a:pos x="f5850" y="f6044"/>
                </a:cxn>
                <a:cxn ang="f4299">
                  <a:pos x="f5850" y="f6043"/>
                </a:cxn>
                <a:cxn ang="f4299">
                  <a:pos x="f5851" y="f6042"/>
                </a:cxn>
                <a:cxn ang="f4299">
                  <a:pos x="f5852" y="f6042"/>
                </a:cxn>
                <a:cxn ang="f4299">
                  <a:pos x="f5853" y="f6043"/>
                </a:cxn>
                <a:cxn ang="f4299">
                  <a:pos x="f5853" y="f6044"/>
                </a:cxn>
                <a:cxn ang="f4299">
                  <a:pos x="f5852" y="f6045"/>
                </a:cxn>
                <a:cxn ang="f4299">
                  <a:pos x="f5851" y="f6045"/>
                </a:cxn>
                <a:cxn ang="f4299">
                  <a:pos x="f5854" y="f6044"/>
                </a:cxn>
                <a:cxn ang="f4299">
                  <a:pos x="f5854" y="f6043"/>
                </a:cxn>
                <a:cxn ang="f4299">
                  <a:pos x="f5855" y="f6042"/>
                </a:cxn>
                <a:cxn ang="f4299">
                  <a:pos x="f5856" y="f6042"/>
                </a:cxn>
                <a:cxn ang="f4299">
                  <a:pos x="f5857" y="f6043"/>
                </a:cxn>
                <a:cxn ang="f4299">
                  <a:pos x="f5857" y="f6044"/>
                </a:cxn>
                <a:cxn ang="f4299">
                  <a:pos x="f5856" y="f6045"/>
                </a:cxn>
                <a:cxn ang="f4299">
                  <a:pos x="f5855" y="f6045"/>
                </a:cxn>
                <a:cxn ang="f4299">
                  <a:pos x="f5858" y="f6044"/>
                </a:cxn>
                <a:cxn ang="f4299">
                  <a:pos x="f5858" y="f6043"/>
                </a:cxn>
                <a:cxn ang="f4299">
                  <a:pos x="f5859" y="f6042"/>
                </a:cxn>
                <a:cxn ang="f4299">
                  <a:pos x="f5860" y="f6042"/>
                </a:cxn>
                <a:cxn ang="f4299">
                  <a:pos x="f5861" y="f6043"/>
                </a:cxn>
                <a:cxn ang="f4299">
                  <a:pos x="f5861" y="f6044"/>
                </a:cxn>
                <a:cxn ang="f4299">
                  <a:pos x="f5860" y="f6045"/>
                </a:cxn>
                <a:cxn ang="f4299">
                  <a:pos x="f5859" y="f6045"/>
                </a:cxn>
                <a:cxn ang="f4299">
                  <a:pos x="f5862" y="f6044"/>
                </a:cxn>
                <a:cxn ang="f4299">
                  <a:pos x="f5862" y="f6043"/>
                </a:cxn>
                <a:cxn ang="f4299">
                  <a:pos x="f5863" y="f6042"/>
                </a:cxn>
                <a:cxn ang="f4299">
                  <a:pos x="f5864" y="f6042"/>
                </a:cxn>
                <a:cxn ang="f4299">
                  <a:pos x="f5865" y="f6043"/>
                </a:cxn>
                <a:cxn ang="f4299">
                  <a:pos x="f5865" y="f6044"/>
                </a:cxn>
                <a:cxn ang="f4299">
                  <a:pos x="f5864" y="f6045"/>
                </a:cxn>
                <a:cxn ang="f4299">
                  <a:pos x="f5863" y="f6045"/>
                </a:cxn>
                <a:cxn ang="f4299">
                  <a:pos x="f5866" y="f6044"/>
                </a:cxn>
                <a:cxn ang="f4299">
                  <a:pos x="f5866" y="f6043"/>
                </a:cxn>
                <a:cxn ang="f4299">
                  <a:pos x="f5867" y="f6042"/>
                </a:cxn>
                <a:cxn ang="f4299">
                  <a:pos x="f5868" y="f6042"/>
                </a:cxn>
                <a:cxn ang="f4299">
                  <a:pos x="f5869" y="f6043"/>
                </a:cxn>
                <a:cxn ang="f4299">
                  <a:pos x="f5869" y="f6044"/>
                </a:cxn>
                <a:cxn ang="f4299">
                  <a:pos x="f5868" y="f6045"/>
                </a:cxn>
                <a:cxn ang="f4299">
                  <a:pos x="f5867" y="f6045"/>
                </a:cxn>
                <a:cxn ang="f4299">
                  <a:pos x="f5870" y="f6044"/>
                </a:cxn>
                <a:cxn ang="f4299">
                  <a:pos x="f5870" y="f6043"/>
                </a:cxn>
                <a:cxn ang="f4299">
                  <a:pos x="f5871" y="f6042"/>
                </a:cxn>
                <a:cxn ang="f4299">
                  <a:pos x="f5872" y="f6042"/>
                </a:cxn>
                <a:cxn ang="f4299">
                  <a:pos x="f5873" y="f6043"/>
                </a:cxn>
                <a:cxn ang="f4299">
                  <a:pos x="f5873" y="f6044"/>
                </a:cxn>
                <a:cxn ang="f4299">
                  <a:pos x="f5872" y="f6045"/>
                </a:cxn>
                <a:cxn ang="f4299">
                  <a:pos x="f5871" y="f6045"/>
                </a:cxn>
                <a:cxn ang="f4299">
                  <a:pos x="f5874" y="f6044"/>
                </a:cxn>
                <a:cxn ang="f4299">
                  <a:pos x="f5874" y="f6043"/>
                </a:cxn>
                <a:cxn ang="f4299">
                  <a:pos x="f5875" y="f6042"/>
                </a:cxn>
                <a:cxn ang="f4299">
                  <a:pos x="f5876" y="f6042"/>
                </a:cxn>
                <a:cxn ang="f4299">
                  <a:pos x="f5877" y="f6043"/>
                </a:cxn>
                <a:cxn ang="f4299">
                  <a:pos x="f5877" y="f6044"/>
                </a:cxn>
                <a:cxn ang="f4299">
                  <a:pos x="f5876" y="f6045"/>
                </a:cxn>
                <a:cxn ang="f4299">
                  <a:pos x="f5875" y="f6045"/>
                </a:cxn>
                <a:cxn ang="f4299">
                  <a:pos x="f5878" y="f6044"/>
                </a:cxn>
                <a:cxn ang="f4299">
                  <a:pos x="f5878" y="f6043"/>
                </a:cxn>
                <a:cxn ang="f4299">
                  <a:pos x="f5879" y="f6042"/>
                </a:cxn>
                <a:cxn ang="f4299">
                  <a:pos x="f5880" y="f6042"/>
                </a:cxn>
                <a:cxn ang="f4299">
                  <a:pos x="f5881" y="f6043"/>
                </a:cxn>
                <a:cxn ang="f4299">
                  <a:pos x="f5881" y="f6044"/>
                </a:cxn>
                <a:cxn ang="f4299">
                  <a:pos x="f5880" y="f6045"/>
                </a:cxn>
                <a:cxn ang="f4299">
                  <a:pos x="f5879" y="f6045"/>
                </a:cxn>
                <a:cxn ang="f4299">
                  <a:pos x="f5882" y="f6044"/>
                </a:cxn>
                <a:cxn ang="f4299">
                  <a:pos x="f5882" y="f6043"/>
                </a:cxn>
                <a:cxn ang="f4299">
                  <a:pos x="f5883" y="f6042"/>
                </a:cxn>
                <a:cxn ang="f4299">
                  <a:pos x="f5884" y="f6042"/>
                </a:cxn>
                <a:cxn ang="f4299">
                  <a:pos x="f5885" y="f6043"/>
                </a:cxn>
                <a:cxn ang="f4299">
                  <a:pos x="f5885" y="f6044"/>
                </a:cxn>
                <a:cxn ang="f4299">
                  <a:pos x="f5884" y="f6045"/>
                </a:cxn>
                <a:cxn ang="f4299">
                  <a:pos x="f5883" y="f6045"/>
                </a:cxn>
                <a:cxn ang="f4299">
                  <a:pos x="f5886" y="f6044"/>
                </a:cxn>
                <a:cxn ang="f4299">
                  <a:pos x="f5886" y="f6043"/>
                </a:cxn>
                <a:cxn ang="f4299">
                  <a:pos x="f5887" y="f6042"/>
                </a:cxn>
                <a:cxn ang="f4299">
                  <a:pos x="f5888" y="f6042"/>
                </a:cxn>
                <a:cxn ang="f4299">
                  <a:pos x="f5889" y="f6043"/>
                </a:cxn>
                <a:cxn ang="f4299">
                  <a:pos x="f5889" y="f6044"/>
                </a:cxn>
                <a:cxn ang="f4299">
                  <a:pos x="f5888" y="f6045"/>
                </a:cxn>
                <a:cxn ang="f4299">
                  <a:pos x="f5887" y="f6045"/>
                </a:cxn>
                <a:cxn ang="f4299">
                  <a:pos x="f5890" y="f6044"/>
                </a:cxn>
                <a:cxn ang="f4299">
                  <a:pos x="f5890" y="f6043"/>
                </a:cxn>
                <a:cxn ang="f4299">
                  <a:pos x="f5891" y="f6042"/>
                </a:cxn>
                <a:cxn ang="f4299">
                  <a:pos x="f5892" y="f6042"/>
                </a:cxn>
                <a:cxn ang="f4299">
                  <a:pos x="f5893" y="f6043"/>
                </a:cxn>
                <a:cxn ang="f4299">
                  <a:pos x="f5893" y="f6044"/>
                </a:cxn>
                <a:cxn ang="f4299">
                  <a:pos x="f5892" y="f6045"/>
                </a:cxn>
                <a:cxn ang="f4299">
                  <a:pos x="f5891" y="f6045"/>
                </a:cxn>
                <a:cxn ang="f4299">
                  <a:pos x="f5894" y="f6044"/>
                </a:cxn>
                <a:cxn ang="f4299">
                  <a:pos x="f5894" y="f6043"/>
                </a:cxn>
                <a:cxn ang="f4299">
                  <a:pos x="f6017" y="f6042"/>
                </a:cxn>
                <a:cxn ang="f4299">
                  <a:pos x="f6046" y="f6042"/>
                </a:cxn>
                <a:cxn ang="f4299">
                  <a:pos x="f6047" y="f6043"/>
                </a:cxn>
                <a:cxn ang="f4299">
                  <a:pos x="f6047" y="f6044"/>
                </a:cxn>
                <a:cxn ang="f4299">
                  <a:pos x="f6046" y="f6045"/>
                </a:cxn>
                <a:cxn ang="f4299">
                  <a:pos x="f6017" y="f6045"/>
                </a:cxn>
                <a:cxn ang="f4299">
                  <a:pos x="f6048" y="f6044"/>
                </a:cxn>
                <a:cxn ang="f4299">
                  <a:pos x="f6048" y="f6043"/>
                </a:cxn>
                <a:cxn ang="f4299">
                  <a:pos x="f6020" y="f6042"/>
                </a:cxn>
                <a:cxn ang="f4299">
                  <a:pos x="f6049" y="f6042"/>
                </a:cxn>
                <a:cxn ang="f4299">
                  <a:pos x="f6050" y="f6043"/>
                </a:cxn>
                <a:cxn ang="f4299">
                  <a:pos x="f6050" y="f6044"/>
                </a:cxn>
                <a:cxn ang="f4299">
                  <a:pos x="f6049" y="f6045"/>
                </a:cxn>
                <a:cxn ang="f4299">
                  <a:pos x="f6020" y="f6045"/>
                </a:cxn>
                <a:cxn ang="f4299">
                  <a:pos x="f6022" y="f6044"/>
                </a:cxn>
                <a:cxn ang="f4299">
                  <a:pos x="f6022" y="f6043"/>
                </a:cxn>
                <a:cxn ang="f4299">
                  <a:pos x="f6051" y="f6042"/>
                </a:cxn>
                <a:cxn ang="f4299">
                  <a:pos x="f6052" y="f6042"/>
                </a:cxn>
                <a:cxn ang="f4299">
                  <a:pos x="f6053" y="f6043"/>
                </a:cxn>
                <a:cxn ang="f4299">
                  <a:pos x="f6053" y="f6044"/>
                </a:cxn>
                <a:cxn ang="f4299">
                  <a:pos x="f6052" y="f6045"/>
                </a:cxn>
                <a:cxn ang="f4299">
                  <a:pos x="f6051" y="f6045"/>
                </a:cxn>
                <a:cxn ang="f4299">
                  <a:pos x="f6054" y="f6044"/>
                </a:cxn>
                <a:cxn ang="f4299">
                  <a:pos x="f6054" y="f6043"/>
                </a:cxn>
                <a:cxn ang="f4299">
                  <a:pos x="f6025" y="f6042"/>
                </a:cxn>
                <a:cxn ang="f4299">
                  <a:pos x="f6055" y="f6042"/>
                </a:cxn>
                <a:cxn ang="f4299">
                  <a:pos x="f6056" y="f6043"/>
                </a:cxn>
                <a:cxn ang="f4299">
                  <a:pos x="f6056" y="f6044"/>
                </a:cxn>
                <a:cxn ang="f4299">
                  <a:pos x="f6055" y="f6045"/>
                </a:cxn>
                <a:cxn ang="f4299">
                  <a:pos x="f6025" y="f6045"/>
                </a:cxn>
                <a:cxn ang="f4299">
                  <a:pos x="f6027" y="f6044"/>
                </a:cxn>
                <a:cxn ang="f4299">
                  <a:pos x="f6027" y="f6043"/>
                </a:cxn>
                <a:cxn ang="f4299">
                  <a:pos x="f6057" y="f6058"/>
                </a:cxn>
                <a:cxn ang="f4299">
                  <a:pos x="f6029" y="f6058"/>
                </a:cxn>
                <a:cxn ang="f4299">
                  <a:pos x="f6005" y="f6059"/>
                </a:cxn>
                <a:cxn ang="f4299">
                  <a:pos x="f6005" y="f6060"/>
                </a:cxn>
                <a:cxn ang="f4299">
                  <a:pos x="f6029" y="f6061"/>
                </a:cxn>
                <a:cxn ang="f4299">
                  <a:pos x="f6057" y="f6061"/>
                </a:cxn>
                <a:cxn ang="f4299">
                  <a:pos x="f6062" y="f6060"/>
                </a:cxn>
                <a:cxn ang="f4299">
                  <a:pos x="f6062" y="f6059"/>
                </a:cxn>
                <a:cxn ang="f4299">
                  <a:pos x="f5973" y="f6058"/>
                </a:cxn>
                <a:cxn ang="f4299">
                  <a:pos x="f5946" y="f6058"/>
                </a:cxn>
                <a:cxn ang="f4299">
                  <a:pos x="f6063" y="f6059"/>
                </a:cxn>
                <a:cxn ang="f4299">
                  <a:pos x="f6063" y="f6060"/>
                </a:cxn>
                <a:cxn ang="f4299">
                  <a:pos x="f5946" y="f6061"/>
                </a:cxn>
                <a:cxn ang="f4299">
                  <a:pos x="f5973" y="f6061"/>
                </a:cxn>
                <a:cxn ang="f4299">
                  <a:pos x="f6033" y="f6060"/>
                </a:cxn>
                <a:cxn ang="f4299">
                  <a:pos x="f6033" y="f6059"/>
                </a:cxn>
                <a:cxn ang="f4299">
                  <a:pos x="f6034" y="f6058"/>
                </a:cxn>
                <a:cxn ang="f4299">
                  <a:pos x="f6064" y="f6058"/>
                </a:cxn>
                <a:cxn ang="f4299">
                  <a:pos x="f6065" y="f6059"/>
                </a:cxn>
                <a:cxn ang="f4299">
                  <a:pos x="f6065" y="f6060"/>
                </a:cxn>
                <a:cxn ang="f4299">
                  <a:pos x="f6064" y="f6061"/>
                </a:cxn>
                <a:cxn ang="f4299">
                  <a:pos x="f6034" y="f6061"/>
                </a:cxn>
                <a:cxn ang="f4299">
                  <a:pos x="f6066" y="f6060"/>
                </a:cxn>
                <a:cxn ang="f4299">
                  <a:pos x="f6066" y="f6059"/>
                </a:cxn>
                <a:cxn ang="f4299">
                  <a:pos x="f6036" y="f6058"/>
                </a:cxn>
                <a:cxn ang="f4299">
                  <a:pos x="f6037" y="f6058"/>
                </a:cxn>
                <a:cxn ang="f4299">
                  <a:pos x="f6067" y="f6059"/>
                </a:cxn>
                <a:cxn ang="f4299">
                  <a:pos x="f6067" y="f6060"/>
                </a:cxn>
                <a:cxn ang="f4299">
                  <a:pos x="f6037" y="f6061"/>
                </a:cxn>
                <a:cxn ang="f4299">
                  <a:pos x="f6036" y="f6061"/>
                </a:cxn>
                <a:cxn ang="f4299">
                  <a:pos x="f6068" y="f6060"/>
                </a:cxn>
                <a:cxn ang="f4299">
                  <a:pos x="f6068" y="f6059"/>
                </a:cxn>
                <a:cxn ang="f4299">
                  <a:pos x="f6039" y="f6058"/>
                </a:cxn>
                <a:cxn ang="f4299">
                  <a:pos x="f6069" y="f6058"/>
                </a:cxn>
                <a:cxn ang="f4299">
                  <a:pos x="f6040" y="f6059"/>
                </a:cxn>
                <a:cxn ang="f4299">
                  <a:pos x="f6040" y="f6060"/>
                </a:cxn>
                <a:cxn ang="f4299">
                  <a:pos x="f6069" y="f6061"/>
                </a:cxn>
                <a:cxn ang="f4299">
                  <a:pos x="f6039" y="f6061"/>
                </a:cxn>
                <a:cxn ang="f4299">
                  <a:pos x="f6070" y="f6060"/>
                </a:cxn>
                <a:cxn ang="f4299">
                  <a:pos x="f6070" y="f6059"/>
                </a:cxn>
                <a:cxn ang="f4299">
                  <a:pos x="f6071" y="f6058"/>
                </a:cxn>
                <a:cxn ang="f4299">
                  <a:pos x="f6041" y="f6058"/>
                </a:cxn>
                <a:cxn ang="f4299">
                  <a:pos x="f6072" y="f6059"/>
                </a:cxn>
                <a:cxn ang="f4299">
                  <a:pos x="f6072" y="f6060"/>
                </a:cxn>
                <a:cxn ang="f4299">
                  <a:pos x="f6041" y="f6061"/>
                </a:cxn>
                <a:cxn ang="f4299">
                  <a:pos x="f6071" y="f6061"/>
                </a:cxn>
                <a:cxn ang="f4299">
                  <a:pos x="f6073" y="f6060"/>
                </a:cxn>
                <a:cxn ang="f4299">
                  <a:pos x="f6073" y="f6059"/>
                </a:cxn>
                <a:cxn ang="f4299">
                  <a:pos x="f5767" y="f6074"/>
                </a:cxn>
                <a:cxn ang="f4299">
                  <a:pos x="f5769" y="f6074"/>
                </a:cxn>
                <a:cxn ang="f4299">
                  <a:pos x="f5770" y="f6075"/>
                </a:cxn>
                <a:cxn ang="f4299">
                  <a:pos x="f5770" y="f6076"/>
                </a:cxn>
                <a:cxn ang="f4299">
                  <a:pos x="f5769" y="f6077"/>
                </a:cxn>
                <a:cxn ang="f4299">
                  <a:pos x="f5767" y="f6077"/>
                </a:cxn>
                <a:cxn ang="f4299">
                  <a:pos x="f5774" y="f6076"/>
                </a:cxn>
                <a:cxn ang="f4299">
                  <a:pos x="f5774" y="f6075"/>
                </a:cxn>
                <a:cxn ang="f4299">
                  <a:pos x="f5775" y="f6074"/>
                </a:cxn>
                <a:cxn ang="f4299">
                  <a:pos x="f5776" y="f6074"/>
                </a:cxn>
                <a:cxn ang="f4299">
                  <a:pos x="f5777" y="f6075"/>
                </a:cxn>
                <a:cxn ang="f4299">
                  <a:pos x="f5777" y="f6076"/>
                </a:cxn>
                <a:cxn ang="f4299">
                  <a:pos x="f5776" y="f6077"/>
                </a:cxn>
                <a:cxn ang="f4299">
                  <a:pos x="f5775" y="f6077"/>
                </a:cxn>
                <a:cxn ang="f4299">
                  <a:pos x="f5778" y="f6076"/>
                </a:cxn>
                <a:cxn ang="f4299">
                  <a:pos x="f5778" y="f6075"/>
                </a:cxn>
                <a:cxn ang="f4299">
                  <a:pos x="f5779" y="f6074"/>
                </a:cxn>
                <a:cxn ang="f4299">
                  <a:pos x="f5780" y="f6074"/>
                </a:cxn>
                <a:cxn ang="f4299">
                  <a:pos x="f5781" y="f6075"/>
                </a:cxn>
                <a:cxn ang="f4299">
                  <a:pos x="f5781" y="f6076"/>
                </a:cxn>
                <a:cxn ang="f4299">
                  <a:pos x="f5780" y="f6077"/>
                </a:cxn>
                <a:cxn ang="f4299">
                  <a:pos x="f5779" y="f6077"/>
                </a:cxn>
                <a:cxn ang="f4299">
                  <a:pos x="f5782" y="f6076"/>
                </a:cxn>
                <a:cxn ang="f4299">
                  <a:pos x="f5782" y="f6075"/>
                </a:cxn>
                <a:cxn ang="f4299">
                  <a:pos x="f5783" y="f6074"/>
                </a:cxn>
                <a:cxn ang="f4299">
                  <a:pos x="f5784" y="f6074"/>
                </a:cxn>
                <a:cxn ang="f4299">
                  <a:pos x="f5785" y="f6075"/>
                </a:cxn>
                <a:cxn ang="f4299">
                  <a:pos x="f5785" y="f6076"/>
                </a:cxn>
                <a:cxn ang="f4299">
                  <a:pos x="f5784" y="f6077"/>
                </a:cxn>
                <a:cxn ang="f4299">
                  <a:pos x="f5783" y="f6077"/>
                </a:cxn>
                <a:cxn ang="f4299">
                  <a:pos x="f5786" y="f6076"/>
                </a:cxn>
                <a:cxn ang="f4299">
                  <a:pos x="f5786" y="f6075"/>
                </a:cxn>
                <a:cxn ang="f4299">
                  <a:pos x="f5787" y="f6074"/>
                </a:cxn>
                <a:cxn ang="f4299">
                  <a:pos x="f5788" y="f6074"/>
                </a:cxn>
                <a:cxn ang="f4299">
                  <a:pos x="f5789" y="f6075"/>
                </a:cxn>
                <a:cxn ang="f4299">
                  <a:pos x="f5789" y="f6076"/>
                </a:cxn>
                <a:cxn ang="f4299">
                  <a:pos x="f5788" y="f6077"/>
                </a:cxn>
                <a:cxn ang="f4299">
                  <a:pos x="f5787" y="f6077"/>
                </a:cxn>
                <a:cxn ang="f4299">
                  <a:pos x="f5790" y="f6076"/>
                </a:cxn>
                <a:cxn ang="f4299">
                  <a:pos x="f5790" y="f6075"/>
                </a:cxn>
                <a:cxn ang="f4299">
                  <a:pos x="f5791" y="f6074"/>
                </a:cxn>
                <a:cxn ang="f4299">
                  <a:pos x="f5792" y="f6074"/>
                </a:cxn>
                <a:cxn ang="f4299">
                  <a:pos x="f5793" y="f6075"/>
                </a:cxn>
                <a:cxn ang="f4299">
                  <a:pos x="f5793" y="f6076"/>
                </a:cxn>
                <a:cxn ang="f4299">
                  <a:pos x="f5792" y="f6077"/>
                </a:cxn>
                <a:cxn ang="f4299">
                  <a:pos x="f5791" y="f6077"/>
                </a:cxn>
                <a:cxn ang="f4299">
                  <a:pos x="f5794" y="f6076"/>
                </a:cxn>
                <a:cxn ang="f4299">
                  <a:pos x="f5794" y="f6075"/>
                </a:cxn>
                <a:cxn ang="f4299">
                  <a:pos x="f5795" y="f6074"/>
                </a:cxn>
                <a:cxn ang="f4299">
                  <a:pos x="f5796" y="f6074"/>
                </a:cxn>
                <a:cxn ang="f4299">
                  <a:pos x="f5797" y="f6075"/>
                </a:cxn>
                <a:cxn ang="f4299">
                  <a:pos x="f5797" y="f6076"/>
                </a:cxn>
                <a:cxn ang="f4299">
                  <a:pos x="f5796" y="f6077"/>
                </a:cxn>
                <a:cxn ang="f4299">
                  <a:pos x="f5795" y="f6077"/>
                </a:cxn>
                <a:cxn ang="f4299">
                  <a:pos x="f5798" y="f6076"/>
                </a:cxn>
                <a:cxn ang="f4299">
                  <a:pos x="f5798" y="f6075"/>
                </a:cxn>
                <a:cxn ang="f4299">
                  <a:pos x="f5799" y="f6074"/>
                </a:cxn>
                <a:cxn ang="f4299">
                  <a:pos x="f5800" y="f6074"/>
                </a:cxn>
                <a:cxn ang="f4299">
                  <a:pos x="f5801" y="f6075"/>
                </a:cxn>
                <a:cxn ang="f4299">
                  <a:pos x="f5801" y="f6076"/>
                </a:cxn>
                <a:cxn ang="f4299">
                  <a:pos x="f5800" y="f6077"/>
                </a:cxn>
                <a:cxn ang="f4299">
                  <a:pos x="f5799" y="f6077"/>
                </a:cxn>
                <a:cxn ang="f4299">
                  <a:pos x="f5802" y="f6076"/>
                </a:cxn>
                <a:cxn ang="f4299">
                  <a:pos x="f5802" y="f6075"/>
                </a:cxn>
                <a:cxn ang="f4299">
                  <a:pos x="f5803" y="f6074"/>
                </a:cxn>
                <a:cxn ang="f4299">
                  <a:pos x="f5804" y="f6074"/>
                </a:cxn>
                <a:cxn ang="f4299">
                  <a:pos x="f5805" y="f6075"/>
                </a:cxn>
                <a:cxn ang="f4299">
                  <a:pos x="f5805" y="f6076"/>
                </a:cxn>
                <a:cxn ang="f4299">
                  <a:pos x="f5804" y="f6077"/>
                </a:cxn>
                <a:cxn ang="f4299">
                  <a:pos x="f5803" y="f6077"/>
                </a:cxn>
                <a:cxn ang="f4299">
                  <a:pos x="f5806" y="f6076"/>
                </a:cxn>
                <a:cxn ang="f4299">
                  <a:pos x="f5806" y="f6075"/>
                </a:cxn>
                <a:cxn ang="f4299">
                  <a:pos x="f5807" y="f6074"/>
                </a:cxn>
                <a:cxn ang="f4299">
                  <a:pos x="f5808" y="f6074"/>
                </a:cxn>
                <a:cxn ang="f4299">
                  <a:pos x="f5809" y="f6075"/>
                </a:cxn>
                <a:cxn ang="f4299">
                  <a:pos x="f5809" y="f6076"/>
                </a:cxn>
                <a:cxn ang="f4299">
                  <a:pos x="f5808" y="f6077"/>
                </a:cxn>
                <a:cxn ang="f4299">
                  <a:pos x="f5807" y="f6077"/>
                </a:cxn>
                <a:cxn ang="f4299">
                  <a:pos x="f5810" y="f6076"/>
                </a:cxn>
                <a:cxn ang="f4299">
                  <a:pos x="f5810" y="f6075"/>
                </a:cxn>
                <a:cxn ang="f4299">
                  <a:pos x="f5811" y="f6074"/>
                </a:cxn>
                <a:cxn ang="f4299">
                  <a:pos x="f5812" y="f6074"/>
                </a:cxn>
                <a:cxn ang="f4299">
                  <a:pos x="f5813" y="f6075"/>
                </a:cxn>
                <a:cxn ang="f4299">
                  <a:pos x="f5813" y="f6076"/>
                </a:cxn>
                <a:cxn ang="f4299">
                  <a:pos x="f5812" y="f6077"/>
                </a:cxn>
                <a:cxn ang="f4299">
                  <a:pos x="f5811" y="f6077"/>
                </a:cxn>
                <a:cxn ang="f4299">
                  <a:pos x="f5814" y="f6076"/>
                </a:cxn>
                <a:cxn ang="f4299">
                  <a:pos x="f5814" y="f6075"/>
                </a:cxn>
                <a:cxn ang="f4299">
                  <a:pos x="f5815" y="f6074"/>
                </a:cxn>
                <a:cxn ang="f4299">
                  <a:pos x="f5816" y="f6074"/>
                </a:cxn>
                <a:cxn ang="f4299">
                  <a:pos x="f5817" y="f6075"/>
                </a:cxn>
                <a:cxn ang="f4299">
                  <a:pos x="f5817" y="f6076"/>
                </a:cxn>
                <a:cxn ang="f4299">
                  <a:pos x="f5816" y="f6077"/>
                </a:cxn>
                <a:cxn ang="f4299">
                  <a:pos x="f5815" y="f6077"/>
                </a:cxn>
                <a:cxn ang="f4299">
                  <a:pos x="f5818" y="f6076"/>
                </a:cxn>
                <a:cxn ang="f4299">
                  <a:pos x="f5818" y="f6075"/>
                </a:cxn>
                <a:cxn ang="f4299">
                  <a:pos x="f5819" y="f6074"/>
                </a:cxn>
                <a:cxn ang="f4299">
                  <a:pos x="f5820" y="f6074"/>
                </a:cxn>
                <a:cxn ang="f4299">
                  <a:pos x="f5821" y="f6075"/>
                </a:cxn>
                <a:cxn ang="f4299">
                  <a:pos x="f5821" y="f6076"/>
                </a:cxn>
                <a:cxn ang="f4299">
                  <a:pos x="f5820" y="f6077"/>
                </a:cxn>
                <a:cxn ang="f4299">
                  <a:pos x="f5819" y="f6077"/>
                </a:cxn>
                <a:cxn ang="f4299">
                  <a:pos x="f5822" y="f6076"/>
                </a:cxn>
                <a:cxn ang="f4299">
                  <a:pos x="f5822" y="f6075"/>
                </a:cxn>
                <a:cxn ang="f4299">
                  <a:pos x="f5823" y="f6074"/>
                </a:cxn>
                <a:cxn ang="f4299">
                  <a:pos x="f5824" y="f6074"/>
                </a:cxn>
                <a:cxn ang="f4299">
                  <a:pos x="f5825" y="f6075"/>
                </a:cxn>
                <a:cxn ang="f4299">
                  <a:pos x="f5825" y="f6076"/>
                </a:cxn>
                <a:cxn ang="f4299">
                  <a:pos x="f5824" y="f6077"/>
                </a:cxn>
                <a:cxn ang="f4299">
                  <a:pos x="f5823" y="f6077"/>
                </a:cxn>
                <a:cxn ang="f4299">
                  <a:pos x="f5826" y="f6076"/>
                </a:cxn>
                <a:cxn ang="f4299">
                  <a:pos x="f5826" y="f6075"/>
                </a:cxn>
                <a:cxn ang="f4299">
                  <a:pos x="f5827" y="f6074"/>
                </a:cxn>
                <a:cxn ang="f4299">
                  <a:pos x="f5828" y="f6074"/>
                </a:cxn>
                <a:cxn ang="f4299">
                  <a:pos x="f5829" y="f6075"/>
                </a:cxn>
                <a:cxn ang="f4299">
                  <a:pos x="f5829" y="f6076"/>
                </a:cxn>
                <a:cxn ang="f4299">
                  <a:pos x="f5828" y="f6077"/>
                </a:cxn>
                <a:cxn ang="f4299">
                  <a:pos x="f5827" y="f6077"/>
                </a:cxn>
                <a:cxn ang="f4299">
                  <a:pos x="f5830" y="f6076"/>
                </a:cxn>
                <a:cxn ang="f4299">
                  <a:pos x="f5830" y="f6075"/>
                </a:cxn>
                <a:cxn ang="f4299">
                  <a:pos x="f5831" y="f6074"/>
                </a:cxn>
                <a:cxn ang="f4299">
                  <a:pos x="f5832" y="f6074"/>
                </a:cxn>
                <a:cxn ang="f4299">
                  <a:pos x="f5833" y="f6075"/>
                </a:cxn>
                <a:cxn ang="f4299">
                  <a:pos x="f5833" y="f6076"/>
                </a:cxn>
                <a:cxn ang="f4299">
                  <a:pos x="f5832" y="f6077"/>
                </a:cxn>
                <a:cxn ang="f4299">
                  <a:pos x="f5831" y="f6077"/>
                </a:cxn>
                <a:cxn ang="f4299">
                  <a:pos x="f5834" y="f6076"/>
                </a:cxn>
                <a:cxn ang="f4299">
                  <a:pos x="f5834" y="f6075"/>
                </a:cxn>
                <a:cxn ang="f4299">
                  <a:pos x="f5835" y="f6074"/>
                </a:cxn>
                <a:cxn ang="f4299">
                  <a:pos x="f5836" y="f6074"/>
                </a:cxn>
                <a:cxn ang="f4299">
                  <a:pos x="f5837" y="f6075"/>
                </a:cxn>
                <a:cxn ang="f4299">
                  <a:pos x="f5837" y="f6076"/>
                </a:cxn>
                <a:cxn ang="f4299">
                  <a:pos x="f5836" y="f6077"/>
                </a:cxn>
                <a:cxn ang="f4299">
                  <a:pos x="f5835" y="f6077"/>
                </a:cxn>
                <a:cxn ang="f4299">
                  <a:pos x="f5838" y="f6076"/>
                </a:cxn>
                <a:cxn ang="f4299">
                  <a:pos x="f5838" y="f6075"/>
                </a:cxn>
                <a:cxn ang="f4299">
                  <a:pos x="f5839" y="f6074"/>
                </a:cxn>
                <a:cxn ang="f4299">
                  <a:pos x="f5840" y="f6074"/>
                </a:cxn>
                <a:cxn ang="f4299">
                  <a:pos x="f5841" y="f6075"/>
                </a:cxn>
                <a:cxn ang="f4299">
                  <a:pos x="f5841" y="f6076"/>
                </a:cxn>
                <a:cxn ang="f4299">
                  <a:pos x="f5840" y="f6077"/>
                </a:cxn>
                <a:cxn ang="f4299">
                  <a:pos x="f5839" y="f6077"/>
                </a:cxn>
                <a:cxn ang="f4299">
                  <a:pos x="f5842" y="f6076"/>
                </a:cxn>
                <a:cxn ang="f4299">
                  <a:pos x="f5842" y="f6075"/>
                </a:cxn>
                <a:cxn ang="f4299">
                  <a:pos x="f5843" y="f6074"/>
                </a:cxn>
                <a:cxn ang="f4299">
                  <a:pos x="f5844" y="f6074"/>
                </a:cxn>
                <a:cxn ang="f4299">
                  <a:pos x="f5845" y="f6075"/>
                </a:cxn>
                <a:cxn ang="f4299">
                  <a:pos x="f5845" y="f6076"/>
                </a:cxn>
                <a:cxn ang="f4299">
                  <a:pos x="f5844" y="f6077"/>
                </a:cxn>
                <a:cxn ang="f4299">
                  <a:pos x="f5843" y="f6077"/>
                </a:cxn>
                <a:cxn ang="f4299">
                  <a:pos x="f5846" y="f6076"/>
                </a:cxn>
                <a:cxn ang="f4299">
                  <a:pos x="f5846" y="f6075"/>
                </a:cxn>
                <a:cxn ang="f4299">
                  <a:pos x="f5847" y="f6074"/>
                </a:cxn>
                <a:cxn ang="f4299">
                  <a:pos x="f5848" y="f6074"/>
                </a:cxn>
                <a:cxn ang="f4299">
                  <a:pos x="f5849" y="f6075"/>
                </a:cxn>
                <a:cxn ang="f4299">
                  <a:pos x="f5849" y="f6076"/>
                </a:cxn>
                <a:cxn ang="f4299">
                  <a:pos x="f5848" y="f6077"/>
                </a:cxn>
                <a:cxn ang="f4299">
                  <a:pos x="f5847" y="f6077"/>
                </a:cxn>
                <a:cxn ang="f4299">
                  <a:pos x="f5850" y="f6076"/>
                </a:cxn>
                <a:cxn ang="f4299">
                  <a:pos x="f5850" y="f6075"/>
                </a:cxn>
                <a:cxn ang="f4299">
                  <a:pos x="f5851" y="f6074"/>
                </a:cxn>
                <a:cxn ang="f4299">
                  <a:pos x="f5852" y="f6074"/>
                </a:cxn>
                <a:cxn ang="f4299">
                  <a:pos x="f5853" y="f6075"/>
                </a:cxn>
                <a:cxn ang="f4299">
                  <a:pos x="f5853" y="f6076"/>
                </a:cxn>
                <a:cxn ang="f4299">
                  <a:pos x="f5852" y="f6077"/>
                </a:cxn>
                <a:cxn ang="f4299">
                  <a:pos x="f5851" y="f6077"/>
                </a:cxn>
                <a:cxn ang="f4299">
                  <a:pos x="f5854" y="f6076"/>
                </a:cxn>
                <a:cxn ang="f4299">
                  <a:pos x="f5854" y="f6075"/>
                </a:cxn>
                <a:cxn ang="f4299">
                  <a:pos x="f5855" y="f6074"/>
                </a:cxn>
                <a:cxn ang="f4299">
                  <a:pos x="f5856" y="f6074"/>
                </a:cxn>
                <a:cxn ang="f4299">
                  <a:pos x="f5857" y="f6075"/>
                </a:cxn>
                <a:cxn ang="f4299">
                  <a:pos x="f5857" y="f6076"/>
                </a:cxn>
                <a:cxn ang="f4299">
                  <a:pos x="f5856" y="f6077"/>
                </a:cxn>
                <a:cxn ang="f4299">
                  <a:pos x="f5855" y="f6077"/>
                </a:cxn>
                <a:cxn ang="f4299">
                  <a:pos x="f5858" y="f6076"/>
                </a:cxn>
                <a:cxn ang="f4299">
                  <a:pos x="f5858" y="f6075"/>
                </a:cxn>
                <a:cxn ang="f4299">
                  <a:pos x="f5859" y="f6074"/>
                </a:cxn>
                <a:cxn ang="f4299">
                  <a:pos x="f5860" y="f6074"/>
                </a:cxn>
                <a:cxn ang="f4299">
                  <a:pos x="f5861" y="f6075"/>
                </a:cxn>
                <a:cxn ang="f4299">
                  <a:pos x="f5861" y="f6076"/>
                </a:cxn>
                <a:cxn ang="f4299">
                  <a:pos x="f5860" y="f6077"/>
                </a:cxn>
                <a:cxn ang="f4299">
                  <a:pos x="f5859" y="f6077"/>
                </a:cxn>
                <a:cxn ang="f4299">
                  <a:pos x="f5862" y="f6076"/>
                </a:cxn>
                <a:cxn ang="f4299">
                  <a:pos x="f5862" y="f6075"/>
                </a:cxn>
                <a:cxn ang="f4299">
                  <a:pos x="f5863" y="f6074"/>
                </a:cxn>
                <a:cxn ang="f4299">
                  <a:pos x="f5864" y="f6074"/>
                </a:cxn>
                <a:cxn ang="f4299">
                  <a:pos x="f5865" y="f6075"/>
                </a:cxn>
                <a:cxn ang="f4299">
                  <a:pos x="f5865" y="f6076"/>
                </a:cxn>
                <a:cxn ang="f4299">
                  <a:pos x="f5864" y="f6077"/>
                </a:cxn>
                <a:cxn ang="f4299">
                  <a:pos x="f5863" y="f6077"/>
                </a:cxn>
                <a:cxn ang="f4299">
                  <a:pos x="f5866" y="f6076"/>
                </a:cxn>
                <a:cxn ang="f4299">
                  <a:pos x="f5866" y="f6075"/>
                </a:cxn>
                <a:cxn ang="f4299">
                  <a:pos x="f5867" y="f6074"/>
                </a:cxn>
                <a:cxn ang="f4299">
                  <a:pos x="f5868" y="f6074"/>
                </a:cxn>
                <a:cxn ang="f4299">
                  <a:pos x="f5869" y="f6075"/>
                </a:cxn>
                <a:cxn ang="f4299">
                  <a:pos x="f5869" y="f6076"/>
                </a:cxn>
                <a:cxn ang="f4299">
                  <a:pos x="f5868" y="f6077"/>
                </a:cxn>
                <a:cxn ang="f4299">
                  <a:pos x="f5867" y="f6077"/>
                </a:cxn>
                <a:cxn ang="f4299">
                  <a:pos x="f5870" y="f6076"/>
                </a:cxn>
                <a:cxn ang="f4299">
                  <a:pos x="f5870" y="f6075"/>
                </a:cxn>
                <a:cxn ang="f4299">
                  <a:pos x="f5871" y="f6074"/>
                </a:cxn>
                <a:cxn ang="f4299">
                  <a:pos x="f5872" y="f6074"/>
                </a:cxn>
                <a:cxn ang="f4299">
                  <a:pos x="f5873" y="f6075"/>
                </a:cxn>
                <a:cxn ang="f4299">
                  <a:pos x="f5873" y="f6076"/>
                </a:cxn>
                <a:cxn ang="f4299">
                  <a:pos x="f5872" y="f6077"/>
                </a:cxn>
                <a:cxn ang="f4299">
                  <a:pos x="f5871" y="f6077"/>
                </a:cxn>
                <a:cxn ang="f4299">
                  <a:pos x="f5874" y="f6076"/>
                </a:cxn>
                <a:cxn ang="f4299">
                  <a:pos x="f5874" y="f6075"/>
                </a:cxn>
                <a:cxn ang="f4299">
                  <a:pos x="f5875" y="f6074"/>
                </a:cxn>
                <a:cxn ang="f4299">
                  <a:pos x="f5876" y="f6074"/>
                </a:cxn>
                <a:cxn ang="f4299">
                  <a:pos x="f5877" y="f6075"/>
                </a:cxn>
                <a:cxn ang="f4299">
                  <a:pos x="f5877" y="f6076"/>
                </a:cxn>
                <a:cxn ang="f4299">
                  <a:pos x="f5876" y="f6077"/>
                </a:cxn>
                <a:cxn ang="f4299">
                  <a:pos x="f5875" y="f6077"/>
                </a:cxn>
                <a:cxn ang="f4299">
                  <a:pos x="f5878" y="f6076"/>
                </a:cxn>
                <a:cxn ang="f4299">
                  <a:pos x="f5878" y="f6075"/>
                </a:cxn>
                <a:cxn ang="f4299">
                  <a:pos x="f5879" y="f6074"/>
                </a:cxn>
                <a:cxn ang="f4299">
                  <a:pos x="f5880" y="f6074"/>
                </a:cxn>
                <a:cxn ang="f4299">
                  <a:pos x="f5881" y="f6075"/>
                </a:cxn>
                <a:cxn ang="f4299">
                  <a:pos x="f5881" y="f6076"/>
                </a:cxn>
                <a:cxn ang="f4299">
                  <a:pos x="f5880" y="f6077"/>
                </a:cxn>
                <a:cxn ang="f4299">
                  <a:pos x="f5879" y="f6077"/>
                </a:cxn>
                <a:cxn ang="f4299">
                  <a:pos x="f5882" y="f6076"/>
                </a:cxn>
                <a:cxn ang="f4299">
                  <a:pos x="f5882" y="f6075"/>
                </a:cxn>
                <a:cxn ang="f4299">
                  <a:pos x="f5883" y="f6074"/>
                </a:cxn>
                <a:cxn ang="f4299">
                  <a:pos x="f5884" y="f6074"/>
                </a:cxn>
                <a:cxn ang="f4299">
                  <a:pos x="f5885" y="f6075"/>
                </a:cxn>
                <a:cxn ang="f4299">
                  <a:pos x="f5885" y="f6076"/>
                </a:cxn>
                <a:cxn ang="f4299">
                  <a:pos x="f5884" y="f6077"/>
                </a:cxn>
                <a:cxn ang="f4299">
                  <a:pos x="f5883" y="f6077"/>
                </a:cxn>
                <a:cxn ang="f4299">
                  <a:pos x="f5886" y="f6076"/>
                </a:cxn>
                <a:cxn ang="f4299">
                  <a:pos x="f5886" y="f6075"/>
                </a:cxn>
                <a:cxn ang="f4299">
                  <a:pos x="f5887" y="f6074"/>
                </a:cxn>
                <a:cxn ang="f4299">
                  <a:pos x="f5888" y="f6074"/>
                </a:cxn>
                <a:cxn ang="f4299">
                  <a:pos x="f5889" y="f6075"/>
                </a:cxn>
                <a:cxn ang="f4299">
                  <a:pos x="f5889" y="f6076"/>
                </a:cxn>
                <a:cxn ang="f4299">
                  <a:pos x="f5888" y="f6077"/>
                </a:cxn>
                <a:cxn ang="f4299">
                  <a:pos x="f5887" y="f6077"/>
                </a:cxn>
                <a:cxn ang="f4299">
                  <a:pos x="f5890" y="f6076"/>
                </a:cxn>
                <a:cxn ang="f4299">
                  <a:pos x="f5890" y="f6075"/>
                </a:cxn>
                <a:cxn ang="f4299">
                  <a:pos x="f5891" y="f6074"/>
                </a:cxn>
                <a:cxn ang="f4299">
                  <a:pos x="f5892" y="f6074"/>
                </a:cxn>
                <a:cxn ang="f4299">
                  <a:pos x="f5893" y="f6075"/>
                </a:cxn>
                <a:cxn ang="f4299">
                  <a:pos x="f5893" y="f6076"/>
                </a:cxn>
                <a:cxn ang="f4299">
                  <a:pos x="f5892" y="f6077"/>
                </a:cxn>
                <a:cxn ang="f4299">
                  <a:pos x="f5891" y="f6077"/>
                </a:cxn>
                <a:cxn ang="f4299">
                  <a:pos x="f5894" y="f6076"/>
                </a:cxn>
                <a:cxn ang="f4299">
                  <a:pos x="f5894" y="f6075"/>
                </a:cxn>
                <a:cxn ang="f4299">
                  <a:pos x="f6078" y="f6074"/>
                </a:cxn>
                <a:cxn ang="f4299">
                  <a:pos x="f6046" y="f6074"/>
                </a:cxn>
                <a:cxn ang="f4299">
                  <a:pos x="f6047" y="f6075"/>
                </a:cxn>
                <a:cxn ang="f4299">
                  <a:pos x="f6047" y="f6076"/>
                </a:cxn>
                <a:cxn ang="f4299">
                  <a:pos x="f6046" y="f6077"/>
                </a:cxn>
                <a:cxn ang="f4299">
                  <a:pos x="f6078" y="f6077"/>
                </a:cxn>
                <a:cxn ang="f4299">
                  <a:pos x="f6079" y="f6076"/>
                </a:cxn>
                <a:cxn ang="f4299">
                  <a:pos x="f6079" y="f6075"/>
                </a:cxn>
                <a:cxn ang="f4299">
                  <a:pos x="f6080" y="f6074"/>
                </a:cxn>
                <a:cxn ang="f4299">
                  <a:pos x="f6049" y="f6074"/>
                </a:cxn>
                <a:cxn ang="f4299">
                  <a:pos x="f6081" y="f6075"/>
                </a:cxn>
                <a:cxn ang="f4299">
                  <a:pos x="f6081" y="f6076"/>
                </a:cxn>
                <a:cxn ang="f4299">
                  <a:pos x="f6049" y="f6077"/>
                </a:cxn>
                <a:cxn ang="f4299">
                  <a:pos x="f6080" y="f6077"/>
                </a:cxn>
                <a:cxn ang="f4299">
                  <a:pos x="f6082" y="f6076"/>
                </a:cxn>
                <a:cxn ang="f4299">
                  <a:pos x="f6082" y="f6075"/>
                </a:cxn>
                <a:cxn ang="f4299">
                  <a:pos x="f6051" y="f6074"/>
                </a:cxn>
                <a:cxn ang="f4299">
                  <a:pos x="f6083" y="f6074"/>
                </a:cxn>
                <a:cxn ang="f4299">
                  <a:pos x="f6084" y="f6075"/>
                </a:cxn>
                <a:cxn ang="f4299">
                  <a:pos x="f6084" y="f6076"/>
                </a:cxn>
                <a:cxn ang="f4299">
                  <a:pos x="f6083" y="f6077"/>
                </a:cxn>
                <a:cxn ang="f4299">
                  <a:pos x="f6051" y="f6077"/>
                </a:cxn>
                <a:cxn ang="f4299">
                  <a:pos x="f6054" y="f6076"/>
                </a:cxn>
                <a:cxn ang="f4299">
                  <a:pos x="f6054" y="f6075"/>
                </a:cxn>
                <a:cxn ang="f4299">
                  <a:pos x="f6085" y="f6074"/>
                </a:cxn>
                <a:cxn ang="f4299">
                  <a:pos x="f6055" y="f6074"/>
                </a:cxn>
                <a:cxn ang="f4299">
                  <a:pos x="f6056" y="f6075"/>
                </a:cxn>
                <a:cxn ang="f4299">
                  <a:pos x="f6056" y="f6076"/>
                </a:cxn>
                <a:cxn ang="f4299">
                  <a:pos x="f6055" y="f6077"/>
                </a:cxn>
                <a:cxn ang="f4299">
                  <a:pos x="f6085" y="f6077"/>
                </a:cxn>
                <a:cxn ang="f4299">
                  <a:pos x="f6086" y="f6076"/>
                </a:cxn>
                <a:cxn ang="f4299">
                  <a:pos x="f6086" y="f6075"/>
                </a:cxn>
                <a:cxn ang="f4299">
                  <a:pos x="f5767" y="f6087"/>
                </a:cxn>
                <a:cxn ang="f4299">
                  <a:pos x="f5769" y="f6087"/>
                </a:cxn>
                <a:cxn ang="f4299">
                  <a:pos x="f5770" y="f6088"/>
                </a:cxn>
                <a:cxn ang="f4299">
                  <a:pos x="f5770" y="f6089"/>
                </a:cxn>
                <a:cxn ang="f4299">
                  <a:pos x="f5769" y="f6090"/>
                </a:cxn>
                <a:cxn ang="f4299">
                  <a:pos x="f5767" y="f6090"/>
                </a:cxn>
                <a:cxn ang="f4299">
                  <a:pos x="f5774" y="f6089"/>
                </a:cxn>
                <a:cxn ang="f4299">
                  <a:pos x="f5774" y="f6088"/>
                </a:cxn>
                <a:cxn ang="f4299">
                  <a:pos x="f5775" y="f6087"/>
                </a:cxn>
                <a:cxn ang="f4299">
                  <a:pos x="f5776" y="f6087"/>
                </a:cxn>
                <a:cxn ang="f4299">
                  <a:pos x="f5777" y="f6088"/>
                </a:cxn>
                <a:cxn ang="f4299">
                  <a:pos x="f5777" y="f6089"/>
                </a:cxn>
                <a:cxn ang="f4299">
                  <a:pos x="f5776" y="f6090"/>
                </a:cxn>
                <a:cxn ang="f4299">
                  <a:pos x="f5775" y="f6090"/>
                </a:cxn>
                <a:cxn ang="f4299">
                  <a:pos x="f5778" y="f6089"/>
                </a:cxn>
                <a:cxn ang="f4299">
                  <a:pos x="f5778" y="f6088"/>
                </a:cxn>
                <a:cxn ang="f4299">
                  <a:pos x="f5779" y="f6087"/>
                </a:cxn>
                <a:cxn ang="f4299">
                  <a:pos x="f5780" y="f6087"/>
                </a:cxn>
                <a:cxn ang="f4299">
                  <a:pos x="f5781" y="f6088"/>
                </a:cxn>
                <a:cxn ang="f4299">
                  <a:pos x="f5781" y="f6089"/>
                </a:cxn>
                <a:cxn ang="f4299">
                  <a:pos x="f5780" y="f6090"/>
                </a:cxn>
                <a:cxn ang="f4299">
                  <a:pos x="f5779" y="f6090"/>
                </a:cxn>
                <a:cxn ang="f4299">
                  <a:pos x="f5782" y="f6089"/>
                </a:cxn>
                <a:cxn ang="f4299">
                  <a:pos x="f5782" y="f6088"/>
                </a:cxn>
                <a:cxn ang="f4299">
                  <a:pos x="f5783" y="f6087"/>
                </a:cxn>
                <a:cxn ang="f4299">
                  <a:pos x="f5784" y="f6087"/>
                </a:cxn>
                <a:cxn ang="f4299">
                  <a:pos x="f5785" y="f6088"/>
                </a:cxn>
                <a:cxn ang="f4299">
                  <a:pos x="f5785" y="f6089"/>
                </a:cxn>
                <a:cxn ang="f4299">
                  <a:pos x="f5784" y="f6090"/>
                </a:cxn>
                <a:cxn ang="f4299">
                  <a:pos x="f5783" y="f6090"/>
                </a:cxn>
                <a:cxn ang="f4299">
                  <a:pos x="f5786" y="f6089"/>
                </a:cxn>
                <a:cxn ang="f4299">
                  <a:pos x="f5786" y="f6088"/>
                </a:cxn>
                <a:cxn ang="f4299">
                  <a:pos x="f5787" y="f6087"/>
                </a:cxn>
                <a:cxn ang="f4299">
                  <a:pos x="f5788" y="f6087"/>
                </a:cxn>
                <a:cxn ang="f4299">
                  <a:pos x="f5789" y="f6088"/>
                </a:cxn>
                <a:cxn ang="f4299">
                  <a:pos x="f5789" y="f6089"/>
                </a:cxn>
                <a:cxn ang="f4299">
                  <a:pos x="f5788" y="f6090"/>
                </a:cxn>
                <a:cxn ang="f4299">
                  <a:pos x="f5787" y="f6090"/>
                </a:cxn>
                <a:cxn ang="f4299">
                  <a:pos x="f5790" y="f6089"/>
                </a:cxn>
                <a:cxn ang="f4299">
                  <a:pos x="f5790" y="f6088"/>
                </a:cxn>
                <a:cxn ang="f4299">
                  <a:pos x="f5791" y="f6087"/>
                </a:cxn>
                <a:cxn ang="f4299">
                  <a:pos x="f5792" y="f6087"/>
                </a:cxn>
                <a:cxn ang="f4299">
                  <a:pos x="f5793" y="f6088"/>
                </a:cxn>
                <a:cxn ang="f4299">
                  <a:pos x="f5793" y="f6089"/>
                </a:cxn>
                <a:cxn ang="f4299">
                  <a:pos x="f5792" y="f6090"/>
                </a:cxn>
                <a:cxn ang="f4299">
                  <a:pos x="f5791" y="f6090"/>
                </a:cxn>
                <a:cxn ang="f4299">
                  <a:pos x="f5794" y="f6089"/>
                </a:cxn>
                <a:cxn ang="f4299">
                  <a:pos x="f5794" y="f6088"/>
                </a:cxn>
                <a:cxn ang="f4299">
                  <a:pos x="f5795" y="f6087"/>
                </a:cxn>
                <a:cxn ang="f4299">
                  <a:pos x="f5796" y="f6087"/>
                </a:cxn>
                <a:cxn ang="f4299">
                  <a:pos x="f5797" y="f6088"/>
                </a:cxn>
                <a:cxn ang="f4299">
                  <a:pos x="f5797" y="f6089"/>
                </a:cxn>
                <a:cxn ang="f4299">
                  <a:pos x="f5796" y="f6090"/>
                </a:cxn>
                <a:cxn ang="f4299">
                  <a:pos x="f5795" y="f6090"/>
                </a:cxn>
                <a:cxn ang="f4299">
                  <a:pos x="f5798" y="f6089"/>
                </a:cxn>
                <a:cxn ang="f4299">
                  <a:pos x="f5798" y="f6088"/>
                </a:cxn>
                <a:cxn ang="f4299">
                  <a:pos x="f5799" y="f6087"/>
                </a:cxn>
                <a:cxn ang="f4299">
                  <a:pos x="f5800" y="f6087"/>
                </a:cxn>
                <a:cxn ang="f4299">
                  <a:pos x="f5801" y="f6088"/>
                </a:cxn>
                <a:cxn ang="f4299">
                  <a:pos x="f5801" y="f6089"/>
                </a:cxn>
                <a:cxn ang="f4299">
                  <a:pos x="f5800" y="f6090"/>
                </a:cxn>
                <a:cxn ang="f4299">
                  <a:pos x="f5799" y="f6090"/>
                </a:cxn>
                <a:cxn ang="f4299">
                  <a:pos x="f5802" y="f6089"/>
                </a:cxn>
                <a:cxn ang="f4299">
                  <a:pos x="f5802" y="f6088"/>
                </a:cxn>
                <a:cxn ang="f4299">
                  <a:pos x="f5803" y="f6087"/>
                </a:cxn>
                <a:cxn ang="f4299">
                  <a:pos x="f5804" y="f6087"/>
                </a:cxn>
                <a:cxn ang="f4299">
                  <a:pos x="f5805" y="f6088"/>
                </a:cxn>
                <a:cxn ang="f4299">
                  <a:pos x="f5805" y="f6089"/>
                </a:cxn>
                <a:cxn ang="f4299">
                  <a:pos x="f5804" y="f6090"/>
                </a:cxn>
                <a:cxn ang="f4299">
                  <a:pos x="f5803" y="f6090"/>
                </a:cxn>
                <a:cxn ang="f4299">
                  <a:pos x="f5806" y="f6089"/>
                </a:cxn>
                <a:cxn ang="f4299">
                  <a:pos x="f5806" y="f6088"/>
                </a:cxn>
                <a:cxn ang="f4299">
                  <a:pos x="f5807" y="f6087"/>
                </a:cxn>
                <a:cxn ang="f4299">
                  <a:pos x="f5808" y="f6087"/>
                </a:cxn>
                <a:cxn ang="f4299">
                  <a:pos x="f5809" y="f6088"/>
                </a:cxn>
                <a:cxn ang="f4299">
                  <a:pos x="f5809" y="f6089"/>
                </a:cxn>
                <a:cxn ang="f4299">
                  <a:pos x="f5808" y="f6090"/>
                </a:cxn>
                <a:cxn ang="f4299">
                  <a:pos x="f5807" y="f6090"/>
                </a:cxn>
                <a:cxn ang="f4299">
                  <a:pos x="f5810" y="f6089"/>
                </a:cxn>
                <a:cxn ang="f4299">
                  <a:pos x="f5810" y="f6088"/>
                </a:cxn>
                <a:cxn ang="f4299">
                  <a:pos x="f5811" y="f6087"/>
                </a:cxn>
                <a:cxn ang="f4299">
                  <a:pos x="f5812" y="f6087"/>
                </a:cxn>
                <a:cxn ang="f4299">
                  <a:pos x="f5813" y="f6088"/>
                </a:cxn>
                <a:cxn ang="f4299">
                  <a:pos x="f5813" y="f6089"/>
                </a:cxn>
                <a:cxn ang="f4299">
                  <a:pos x="f5812" y="f6090"/>
                </a:cxn>
                <a:cxn ang="f4299">
                  <a:pos x="f5811" y="f6090"/>
                </a:cxn>
                <a:cxn ang="f4299">
                  <a:pos x="f5814" y="f6089"/>
                </a:cxn>
                <a:cxn ang="f4299">
                  <a:pos x="f5814" y="f6088"/>
                </a:cxn>
                <a:cxn ang="f4299">
                  <a:pos x="f5815" y="f6087"/>
                </a:cxn>
                <a:cxn ang="f4299">
                  <a:pos x="f5816" y="f6087"/>
                </a:cxn>
                <a:cxn ang="f4299">
                  <a:pos x="f5817" y="f6088"/>
                </a:cxn>
                <a:cxn ang="f4299">
                  <a:pos x="f5817" y="f6089"/>
                </a:cxn>
                <a:cxn ang="f4299">
                  <a:pos x="f5816" y="f6090"/>
                </a:cxn>
                <a:cxn ang="f4299">
                  <a:pos x="f5815" y="f6090"/>
                </a:cxn>
                <a:cxn ang="f4299">
                  <a:pos x="f5818" y="f6089"/>
                </a:cxn>
                <a:cxn ang="f4299">
                  <a:pos x="f5818" y="f6088"/>
                </a:cxn>
                <a:cxn ang="f4299">
                  <a:pos x="f5819" y="f6087"/>
                </a:cxn>
                <a:cxn ang="f4299">
                  <a:pos x="f5820" y="f6087"/>
                </a:cxn>
                <a:cxn ang="f4299">
                  <a:pos x="f5821" y="f6088"/>
                </a:cxn>
                <a:cxn ang="f4299">
                  <a:pos x="f5821" y="f6089"/>
                </a:cxn>
                <a:cxn ang="f4299">
                  <a:pos x="f5820" y="f6090"/>
                </a:cxn>
                <a:cxn ang="f4299">
                  <a:pos x="f5819" y="f6090"/>
                </a:cxn>
                <a:cxn ang="f4299">
                  <a:pos x="f5822" y="f6089"/>
                </a:cxn>
                <a:cxn ang="f4299">
                  <a:pos x="f5822" y="f6088"/>
                </a:cxn>
                <a:cxn ang="f4299">
                  <a:pos x="f5823" y="f6087"/>
                </a:cxn>
                <a:cxn ang="f4299">
                  <a:pos x="f5824" y="f6087"/>
                </a:cxn>
                <a:cxn ang="f4299">
                  <a:pos x="f5825" y="f6088"/>
                </a:cxn>
                <a:cxn ang="f4299">
                  <a:pos x="f5825" y="f6089"/>
                </a:cxn>
                <a:cxn ang="f4299">
                  <a:pos x="f5824" y="f6090"/>
                </a:cxn>
                <a:cxn ang="f4299">
                  <a:pos x="f5823" y="f6090"/>
                </a:cxn>
                <a:cxn ang="f4299">
                  <a:pos x="f5826" y="f6089"/>
                </a:cxn>
                <a:cxn ang="f4299">
                  <a:pos x="f5826" y="f6088"/>
                </a:cxn>
                <a:cxn ang="f4299">
                  <a:pos x="f5827" y="f6087"/>
                </a:cxn>
                <a:cxn ang="f4299">
                  <a:pos x="f5828" y="f6087"/>
                </a:cxn>
                <a:cxn ang="f4299">
                  <a:pos x="f5829" y="f6088"/>
                </a:cxn>
                <a:cxn ang="f4299">
                  <a:pos x="f5829" y="f6089"/>
                </a:cxn>
                <a:cxn ang="f4299">
                  <a:pos x="f5828" y="f6090"/>
                </a:cxn>
                <a:cxn ang="f4299">
                  <a:pos x="f5827" y="f6090"/>
                </a:cxn>
                <a:cxn ang="f4299">
                  <a:pos x="f5830" y="f6089"/>
                </a:cxn>
                <a:cxn ang="f4299">
                  <a:pos x="f5830" y="f6088"/>
                </a:cxn>
                <a:cxn ang="f4299">
                  <a:pos x="f5831" y="f6087"/>
                </a:cxn>
                <a:cxn ang="f4299">
                  <a:pos x="f5832" y="f6087"/>
                </a:cxn>
                <a:cxn ang="f4299">
                  <a:pos x="f5833" y="f6088"/>
                </a:cxn>
                <a:cxn ang="f4299">
                  <a:pos x="f5833" y="f6089"/>
                </a:cxn>
                <a:cxn ang="f4299">
                  <a:pos x="f5832" y="f6090"/>
                </a:cxn>
                <a:cxn ang="f4299">
                  <a:pos x="f5831" y="f6090"/>
                </a:cxn>
                <a:cxn ang="f4299">
                  <a:pos x="f5834" y="f6089"/>
                </a:cxn>
                <a:cxn ang="f4299">
                  <a:pos x="f5834" y="f6088"/>
                </a:cxn>
                <a:cxn ang="f4299">
                  <a:pos x="f5835" y="f6087"/>
                </a:cxn>
                <a:cxn ang="f4299">
                  <a:pos x="f5836" y="f6087"/>
                </a:cxn>
                <a:cxn ang="f4299">
                  <a:pos x="f5837" y="f6088"/>
                </a:cxn>
                <a:cxn ang="f4299">
                  <a:pos x="f5837" y="f6089"/>
                </a:cxn>
                <a:cxn ang="f4299">
                  <a:pos x="f5836" y="f6090"/>
                </a:cxn>
                <a:cxn ang="f4299">
                  <a:pos x="f5835" y="f6090"/>
                </a:cxn>
                <a:cxn ang="f4299">
                  <a:pos x="f5838" y="f6089"/>
                </a:cxn>
                <a:cxn ang="f4299">
                  <a:pos x="f5838" y="f6088"/>
                </a:cxn>
                <a:cxn ang="f4299">
                  <a:pos x="f5839" y="f6087"/>
                </a:cxn>
                <a:cxn ang="f4299">
                  <a:pos x="f5840" y="f6087"/>
                </a:cxn>
                <a:cxn ang="f4299">
                  <a:pos x="f5841" y="f6088"/>
                </a:cxn>
                <a:cxn ang="f4299">
                  <a:pos x="f5841" y="f6089"/>
                </a:cxn>
                <a:cxn ang="f4299">
                  <a:pos x="f5840" y="f6090"/>
                </a:cxn>
                <a:cxn ang="f4299">
                  <a:pos x="f5839" y="f6090"/>
                </a:cxn>
                <a:cxn ang="f4299">
                  <a:pos x="f5842" y="f6089"/>
                </a:cxn>
                <a:cxn ang="f4299">
                  <a:pos x="f5842" y="f6088"/>
                </a:cxn>
                <a:cxn ang="f4299">
                  <a:pos x="f5843" y="f6087"/>
                </a:cxn>
                <a:cxn ang="f4299">
                  <a:pos x="f5844" y="f6087"/>
                </a:cxn>
                <a:cxn ang="f4299">
                  <a:pos x="f5845" y="f6088"/>
                </a:cxn>
                <a:cxn ang="f4299">
                  <a:pos x="f5845" y="f6089"/>
                </a:cxn>
                <a:cxn ang="f4299">
                  <a:pos x="f5844" y="f6090"/>
                </a:cxn>
                <a:cxn ang="f4299">
                  <a:pos x="f5843" y="f6090"/>
                </a:cxn>
                <a:cxn ang="f4299">
                  <a:pos x="f5846" y="f6089"/>
                </a:cxn>
                <a:cxn ang="f4299">
                  <a:pos x="f5846" y="f6088"/>
                </a:cxn>
                <a:cxn ang="f4299">
                  <a:pos x="f5847" y="f6087"/>
                </a:cxn>
                <a:cxn ang="f4299">
                  <a:pos x="f5848" y="f6087"/>
                </a:cxn>
                <a:cxn ang="f4299">
                  <a:pos x="f5849" y="f6088"/>
                </a:cxn>
                <a:cxn ang="f4299">
                  <a:pos x="f5849" y="f6089"/>
                </a:cxn>
                <a:cxn ang="f4299">
                  <a:pos x="f5848" y="f6090"/>
                </a:cxn>
                <a:cxn ang="f4299">
                  <a:pos x="f5847" y="f6090"/>
                </a:cxn>
                <a:cxn ang="f4299">
                  <a:pos x="f5850" y="f6089"/>
                </a:cxn>
                <a:cxn ang="f4299">
                  <a:pos x="f5850" y="f6088"/>
                </a:cxn>
                <a:cxn ang="f4299">
                  <a:pos x="f5851" y="f6087"/>
                </a:cxn>
                <a:cxn ang="f4299">
                  <a:pos x="f5852" y="f6087"/>
                </a:cxn>
                <a:cxn ang="f4299">
                  <a:pos x="f5853" y="f6088"/>
                </a:cxn>
                <a:cxn ang="f4299">
                  <a:pos x="f5853" y="f6089"/>
                </a:cxn>
                <a:cxn ang="f4299">
                  <a:pos x="f5852" y="f6090"/>
                </a:cxn>
                <a:cxn ang="f4299">
                  <a:pos x="f5851" y="f6090"/>
                </a:cxn>
                <a:cxn ang="f4299">
                  <a:pos x="f5854" y="f6089"/>
                </a:cxn>
                <a:cxn ang="f4299">
                  <a:pos x="f5854" y="f6088"/>
                </a:cxn>
                <a:cxn ang="f4299">
                  <a:pos x="f5855" y="f6087"/>
                </a:cxn>
                <a:cxn ang="f4299">
                  <a:pos x="f5856" y="f6087"/>
                </a:cxn>
                <a:cxn ang="f4299">
                  <a:pos x="f5857" y="f6088"/>
                </a:cxn>
                <a:cxn ang="f4299">
                  <a:pos x="f5857" y="f6089"/>
                </a:cxn>
                <a:cxn ang="f4299">
                  <a:pos x="f5856" y="f6090"/>
                </a:cxn>
                <a:cxn ang="f4299">
                  <a:pos x="f5855" y="f6090"/>
                </a:cxn>
                <a:cxn ang="f4299">
                  <a:pos x="f5858" y="f6089"/>
                </a:cxn>
                <a:cxn ang="f4299">
                  <a:pos x="f5858" y="f6088"/>
                </a:cxn>
                <a:cxn ang="f4299">
                  <a:pos x="f5859" y="f6087"/>
                </a:cxn>
                <a:cxn ang="f4299">
                  <a:pos x="f5860" y="f6087"/>
                </a:cxn>
                <a:cxn ang="f4299">
                  <a:pos x="f5861" y="f6088"/>
                </a:cxn>
                <a:cxn ang="f4299">
                  <a:pos x="f5861" y="f6089"/>
                </a:cxn>
                <a:cxn ang="f4299">
                  <a:pos x="f5860" y="f6090"/>
                </a:cxn>
                <a:cxn ang="f4299">
                  <a:pos x="f5859" y="f6090"/>
                </a:cxn>
                <a:cxn ang="f4299">
                  <a:pos x="f5862" y="f6089"/>
                </a:cxn>
                <a:cxn ang="f4299">
                  <a:pos x="f5862" y="f6088"/>
                </a:cxn>
                <a:cxn ang="f4299">
                  <a:pos x="f5863" y="f6087"/>
                </a:cxn>
                <a:cxn ang="f4299">
                  <a:pos x="f5864" y="f6087"/>
                </a:cxn>
                <a:cxn ang="f4299">
                  <a:pos x="f5865" y="f6088"/>
                </a:cxn>
                <a:cxn ang="f4299">
                  <a:pos x="f5865" y="f6089"/>
                </a:cxn>
                <a:cxn ang="f4299">
                  <a:pos x="f5864" y="f6090"/>
                </a:cxn>
                <a:cxn ang="f4299">
                  <a:pos x="f5863" y="f6090"/>
                </a:cxn>
                <a:cxn ang="f4299">
                  <a:pos x="f5866" y="f6089"/>
                </a:cxn>
                <a:cxn ang="f4299">
                  <a:pos x="f5866" y="f6088"/>
                </a:cxn>
                <a:cxn ang="f4299">
                  <a:pos x="f5867" y="f6087"/>
                </a:cxn>
                <a:cxn ang="f4299">
                  <a:pos x="f5868" y="f6087"/>
                </a:cxn>
                <a:cxn ang="f4299">
                  <a:pos x="f5869" y="f6088"/>
                </a:cxn>
                <a:cxn ang="f4299">
                  <a:pos x="f5869" y="f6089"/>
                </a:cxn>
                <a:cxn ang="f4299">
                  <a:pos x="f5868" y="f6090"/>
                </a:cxn>
                <a:cxn ang="f4299">
                  <a:pos x="f5867" y="f6090"/>
                </a:cxn>
                <a:cxn ang="f4299">
                  <a:pos x="f5870" y="f6089"/>
                </a:cxn>
                <a:cxn ang="f4299">
                  <a:pos x="f5870" y="f6088"/>
                </a:cxn>
                <a:cxn ang="f4299">
                  <a:pos x="f5871" y="f6087"/>
                </a:cxn>
                <a:cxn ang="f4299">
                  <a:pos x="f5872" y="f6087"/>
                </a:cxn>
                <a:cxn ang="f4299">
                  <a:pos x="f5873" y="f6088"/>
                </a:cxn>
                <a:cxn ang="f4299">
                  <a:pos x="f5873" y="f6089"/>
                </a:cxn>
                <a:cxn ang="f4299">
                  <a:pos x="f5872" y="f6090"/>
                </a:cxn>
                <a:cxn ang="f4299">
                  <a:pos x="f5871" y="f6090"/>
                </a:cxn>
                <a:cxn ang="f4299">
                  <a:pos x="f5874" y="f6089"/>
                </a:cxn>
                <a:cxn ang="f4299">
                  <a:pos x="f5874" y="f6088"/>
                </a:cxn>
                <a:cxn ang="f4299">
                  <a:pos x="f5875" y="f6087"/>
                </a:cxn>
                <a:cxn ang="f4299">
                  <a:pos x="f5876" y="f6087"/>
                </a:cxn>
                <a:cxn ang="f4299">
                  <a:pos x="f5877" y="f6088"/>
                </a:cxn>
                <a:cxn ang="f4299">
                  <a:pos x="f5877" y="f6089"/>
                </a:cxn>
                <a:cxn ang="f4299">
                  <a:pos x="f5876" y="f6090"/>
                </a:cxn>
                <a:cxn ang="f4299">
                  <a:pos x="f5875" y="f6090"/>
                </a:cxn>
                <a:cxn ang="f4299">
                  <a:pos x="f5878" y="f6089"/>
                </a:cxn>
                <a:cxn ang="f4299">
                  <a:pos x="f5878" y="f6088"/>
                </a:cxn>
                <a:cxn ang="f4299">
                  <a:pos x="f5879" y="f6087"/>
                </a:cxn>
                <a:cxn ang="f4299">
                  <a:pos x="f5880" y="f6087"/>
                </a:cxn>
                <a:cxn ang="f4299">
                  <a:pos x="f5881" y="f6088"/>
                </a:cxn>
                <a:cxn ang="f4299">
                  <a:pos x="f5881" y="f6089"/>
                </a:cxn>
                <a:cxn ang="f4299">
                  <a:pos x="f5880" y="f6090"/>
                </a:cxn>
                <a:cxn ang="f4299">
                  <a:pos x="f5879" y="f6090"/>
                </a:cxn>
                <a:cxn ang="f4299">
                  <a:pos x="f5882" y="f6089"/>
                </a:cxn>
                <a:cxn ang="f4299">
                  <a:pos x="f5882" y="f6088"/>
                </a:cxn>
                <a:cxn ang="f4299">
                  <a:pos x="f5883" y="f6087"/>
                </a:cxn>
                <a:cxn ang="f4299">
                  <a:pos x="f5884" y="f6087"/>
                </a:cxn>
                <a:cxn ang="f4299">
                  <a:pos x="f5885" y="f6088"/>
                </a:cxn>
                <a:cxn ang="f4299">
                  <a:pos x="f5885" y="f6089"/>
                </a:cxn>
                <a:cxn ang="f4299">
                  <a:pos x="f5884" y="f6090"/>
                </a:cxn>
                <a:cxn ang="f4299">
                  <a:pos x="f5883" y="f6090"/>
                </a:cxn>
                <a:cxn ang="f4299">
                  <a:pos x="f5886" y="f6089"/>
                </a:cxn>
                <a:cxn ang="f4299">
                  <a:pos x="f5886" y="f6088"/>
                </a:cxn>
                <a:cxn ang="f4299">
                  <a:pos x="f5887" y="f6087"/>
                </a:cxn>
                <a:cxn ang="f4299">
                  <a:pos x="f5888" y="f6087"/>
                </a:cxn>
                <a:cxn ang="f4299">
                  <a:pos x="f5889" y="f6088"/>
                </a:cxn>
                <a:cxn ang="f4299">
                  <a:pos x="f5889" y="f6089"/>
                </a:cxn>
                <a:cxn ang="f4299">
                  <a:pos x="f5888" y="f6090"/>
                </a:cxn>
                <a:cxn ang="f4299">
                  <a:pos x="f5887" y="f6090"/>
                </a:cxn>
                <a:cxn ang="f4299">
                  <a:pos x="f5890" y="f6089"/>
                </a:cxn>
                <a:cxn ang="f4299">
                  <a:pos x="f5890" y="f6088"/>
                </a:cxn>
                <a:cxn ang="f4299">
                  <a:pos x="f5891" y="f6087"/>
                </a:cxn>
                <a:cxn ang="f4299">
                  <a:pos x="f5892" y="f6087"/>
                </a:cxn>
                <a:cxn ang="f4299">
                  <a:pos x="f5893" y="f6088"/>
                </a:cxn>
                <a:cxn ang="f4299">
                  <a:pos x="f5893" y="f6089"/>
                </a:cxn>
                <a:cxn ang="f4299">
                  <a:pos x="f5892" y="f6090"/>
                </a:cxn>
                <a:cxn ang="f4299">
                  <a:pos x="f5891" y="f6090"/>
                </a:cxn>
                <a:cxn ang="f4299">
                  <a:pos x="f5894" y="f6089"/>
                </a:cxn>
                <a:cxn ang="f4299">
                  <a:pos x="f5894" y="f6088"/>
                </a:cxn>
                <a:cxn ang="f4299">
                  <a:pos x="f6057" y="f6087"/>
                </a:cxn>
                <a:cxn ang="f4299">
                  <a:pos x="f6029" y="f6087"/>
                </a:cxn>
                <a:cxn ang="f4299">
                  <a:pos x="f6005" y="f6088"/>
                </a:cxn>
                <a:cxn ang="f4299">
                  <a:pos x="f6005" y="f6089"/>
                </a:cxn>
                <a:cxn ang="f4299">
                  <a:pos x="f6029" y="f6090"/>
                </a:cxn>
                <a:cxn ang="f4299">
                  <a:pos x="f6057" y="f6090"/>
                </a:cxn>
                <a:cxn ang="f4299">
                  <a:pos x="f6062" y="f6089"/>
                </a:cxn>
                <a:cxn ang="f4299">
                  <a:pos x="f6062" y="f6088"/>
                </a:cxn>
                <a:cxn ang="f4299">
                  <a:pos x="f5973" y="f6087"/>
                </a:cxn>
                <a:cxn ang="f4299">
                  <a:pos x="f5946" y="f6087"/>
                </a:cxn>
                <a:cxn ang="f4299">
                  <a:pos x="f6063" y="f6088"/>
                </a:cxn>
                <a:cxn ang="f4299">
                  <a:pos x="f6063" y="f6089"/>
                </a:cxn>
                <a:cxn ang="f4299">
                  <a:pos x="f5946" y="f6090"/>
                </a:cxn>
                <a:cxn ang="f4299">
                  <a:pos x="f5973" y="f6090"/>
                </a:cxn>
                <a:cxn ang="f4299">
                  <a:pos x="f6033" y="f6089"/>
                </a:cxn>
                <a:cxn ang="f4299">
                  <a:pos x="f6033" y="f6088"/>
                </a:cxn>
                <a:cxn ang="f4299">
                  <a:pos x="f6091" y="f6087"/>
                </a:cxn>
                <a:cxn ang="f4299">
                  <a:pos x="f6064" y="f6087"/>
                </a:cxn>
                <a:cxn ang="f4299">
                  <a:pos x="f6092" y="f6088"/>
                </a:cxn>
                <a:cxn ang="f4299">
                  <a:pos x="f6092" y="f6089"/>
                </a:cxn>
                <a:cxn ang="f4299">
                  <a:pos x="f6064" y="f6090"/>
                </a:cxn>
                <a:cxn ang="f4299">
                  <a:pos x="f6091" y="f6090"/>
                </a:cxn>
                <a:cxn ang="f4299">
                  <a:pos x="f6093" y="f6089"/>
                </a:cxn>
                <a:cxn ang="f4299">
                  <a:pos x="f6093" y="f6088"/>
                </a:cxn>
                <a:cxn ang="f4299">
                  <a:pos x="f6094" y="f6087"/>
                </a:cxn>
                <a:cxn ang="f4299">
                  <a:pos x="f6095" y="f6087"/>
                </a:cxn>
                <a:cxn ang="f4299">
                  <a:pos x="f6067" y="f6088"/>
                </a:cxn>
                <a:cxn ang="f4299">
                  <a:pos x="f6067" y="f6089"/>
                </a:cxn>
                <a:cxn ang="f4299">
                  <a:pos x="f6095" y="f6090"/>
                </a:cxn>
                <a:cxn ang="f4299">
                  <a:pos x="f6094" y="f6090"/>
                </a:cxn>
                <a:cxn ang="f4299">
                  <a:pos x="f6068" y="f6089"/>
                </a:cxn>
                <a:cxn ang="f4299">
                  <a:pos x="f6068" y="f6088"/>
                </a:cxn>
                <a:cxn ang="f4299">
                  <a:pos x="f6096" y="f6087"/>
                </a:cxn>
                <a:cxn ang="f4299">
                  <a:pos x="f6069" y="f6087"/>
                </a:cxn>
                <a:cxn ang="f4299">
                  <a:pos x="f6097" y="f6088"/>
                </a:cxn>
                <a:cxn ang="f4299">
                  <a:pos x="f6097" y="f6089"/>
                </a:cxn>
                <a:cxn ang="f4299">
                  <a:pos x="f6069" y="f6090"/>
                </a:cxn>
                <a:cxn ang="f4299">
                  <a:pos x="f6096" y="f6090"/>
                </a:cxn>
                <a:cxn ang="f4299">
                  <a:pos x="f6070" y="f6089"/>
                </a:cxn>
                <a:cxn ang="f4299">
                  <a:pos x="f6070" y="f6088"/>
                </a:cxn>
                <a:cxn ang="f4299">
                  <a:pos x="f6098" y="f6087"/>
                </a:cxn>
                <a:cxn ang="f4299">
                  <a:pos x="f6099" y="f6087"/>
                </a:cxn>
                <a:cxn ang="f4299">
                  <a:pos x="f6072" y="f6088"/>
                </a:cxn>
                <a:cxn ang="f4299">
                  <a:pos x="f6072" y="f6089"/>
                </a:cxn>
                <a:cxn ang="f4299">
                  <a:pos x="f6099" y="f6090"/>
                </a:cxn>
                <a:cxn ang="f4299">
                  <a:pos x="f6098" y="f6090"/>
                </a:cxn>
                <a:cxn ang="f4299">
                  <a:pos x="f6073" y="f6089"/>
                </a:cxn>
                <a:cxn ang="f4299">
                  <a:pos x="f6073" y="f6088"/>
                </a:cxn>
                <a:cxn ang="f4299">
                  <a:pos x="f6100" y="f6087"/>
                </a:cxn>
                <a:cxn ang="f4299">
                  <a:pos x="f6101" y="f6087"/>
                </a:cxn>
                <a:cxn ang="f4299">
                  <a:pos x="f6102" y="f6088"/>
                </a:cxn>
                <a:cxn ang="f4299">
                  <a:pos x="f6102" y="f6089"/>
                </a:cxn>
                <a:cxn ang="f4299">
                  <a:pos x="f6101" y="f6090"/>
                </a:cxn>
                <a:cxn ang="f4299">
                  <a:pos x="f6100" y="f6090"/>
                </a:cxn>
                <a:cxn ang="f4299">
                  <a:pos x="f6079" y="f6089"/>
                </a:cxn>
                <a:cxn ang="f4299">
                  <a:pos x="f6079" y="f6088"/>
                </a:cxn>
                <a:cxn ang="f4299">
                  <a:pos x="f6103" y="f6087"/>
                </a:cxn>
                <a:cxn ang="f4299">
                  <a:pos x="f6104" y="f6087"/>
                </a:cxn>
                <a:cxn ang="f4299">
                  <a:pos x="f6081" y="f6088"/>
                </a:cxn>
                <a:cxn ang="f4299">
                  <a:pos x="f6081" y="f6089"/>
                </a:cxn>
                <a:cxn ang="f4299">
                  <a:pos x="f6104" y="f6090"/>
                </a:cxn>
                <a:cxn ang="f4299">
                  <a:pos x="f6103" y="f6090"/>
                </a:cxn>
                <a:cxn ang="f4299">
                  <a:pos x="f6105" y="f6089"/>
                </a:cxn>
                <a:cxn ang="f4299">
                  <a:pos x="f6105" y="f6088"/>
                </a:cxn>
                <a:cxn ang="f4299">
                  <a:pos x="f6106" y="f6087"/>
                </a:cxn>
                <a:cxn ang="f4299">
                  <a:pos x="f6083" y="f6087"/>
                </a:cxn>
                <a:cxn ang="f4299">
                  <a:pos x="f6084" y="f6088"/>
                </a:cxn>
                <a:cxn ang="f4299">
                  <a:pos x="f6084" y="f6089"/>
                </a:cxn>
                <a:cxn ang="f4299">
                  <a:pos x="f6083" y="f6090"/>
                </a:cxn>
                <a:cxn ang="f4299">
                  <a:pos x="f6106" y="f6090"/>
                </a:cxn>
                <a:cxn ang="f4299">
                  <a:pos x="f6107" y="f6089"/>
                </a:cxn>
                <a:cxn ang="f4299">
                  <a:pos x="f6107" y="f6088"/>
                </a:cxn>
                <a:cxn ang="f4299">
                  <a:pos x="f6085" y="f6087"/>
                </a:cxn>
                <a:cxn ang="f4299">
                  <a:pos x="f6108" y="f6087"/>
                </a:cxn>
                <a:cxn ang="f4299">
                  <a:pos x="f6109" y="f6088"/>
                </a:cxn>
                <a:cxn ang="f4299">
                  <a:pos x="f6109" y="f6089"/>
                </a:cxn>
                <a:cxn ang="f4299">
                  <a:pos x="f6108" y="f6090"/>
                </a:cxn>
                <a:cxn ang="f4299">
                  <a:pos x="f6085" y="f6090"/>
                </a:cxn>
                <a:cxn ang="f4299">
                  <a:pos x="f6110" y="f6089"/>
                </a:cxn>
                <a:cxn ang="f4299">
                  <a:pos x="f6110" y="f6088"/>
                </a:cxn>
                <a:cxn ang="f4299">
                  <a:pos x="f6057" y="f6111"/>
                </a:cxn>
                <a:cxn ang="f4299">
                  <a:pos x="f6029" y="f6111"/>
                </a:cxn>
                <a:cxn ang="f4299">
                  <a:pos x="f6005" y="f6112"/>
                </a:cxn>
                <a:cxn ang="f4299">
                  <a:pos x="f6005" y="f6113"/>
                </a:cxn>
                <a:cxn ang="f4299">
                  <a:pos x="f6029" y="f6114"/>
                </a:cxn>
                <a:cxn ang="f4299">
                  <a:pos x="f6057" y="f6114"/>
                </a:cxn>
                <a:cxn ang="f4299">
                  <a:pos x="f6115" y="f6113"/>
                </a:cxn>
                <a:cxn ang="f4299">
                  <a:pos x="f6115" y="f6112"/>
                </a:cxn>
                <a:cxn ang="f4299">
                  <a:pos x="f5973" y="f6111"/>
                </a:cxn>
                <a:cxn ang="f4299">
                  <a:pos x="f6116" y="f6111"/>
                </a:cxn>
                <a:cxn ang="f4299">
                  <a:pos x="f6063" y="f6112"/>
                </a:cxn>
                <a:cxn ang="f4299">
                  <a:pos x="f6063" y="f6113"/>
                </a:cxn>
                <a:cxn ang="f4299">
                  <a:pos x="f6116" y="f6114"/>
                </a:cxn>
                <a:cxn ang="f4299">
                  <a:pos x="f5973" y="f6114"/>
                </a:cxn>
                <a:cxn ang="f4299">
                  <a:pos x="f6033" y="f6113"/>
                </a:cxn>
                <a:cxn ang="f4299">
                  <a:pos x="f6033" y="f6112"/>
                </a:cxn>
                <a:cxn ang="f4299">
                  <a:pos x="f6117" y="f6111"/>
                </a:cxn>
                <a:cxn ang="f4299">
                  <a:pos x="f6118" y="f6111"/>
                </a:cxn>
                <a:cxn ang="f4299">
                  <a:pos x="f6092" y="f6112"/>
                </a:cxn>
                <a:cxn ang="f4299">
                  <a:pos x="f6092" y="f6113"/>
                </a:cxn>
                <a:cxn ang="f4299">
                  <a:pos x="f6118" y="f6114"/>
                </a:cxn>
                <a:cxn ang="f4299">
                  <a:pos x="f6117" y="f6114"/>
                </a:cxn>
                <a:cxn ang="f4299">
                  <a:pos x="f6093" y="f6113"/>
                </a:cxn>
                <a:cxn ang="f4299">
                  <a:pos x="f6093" y="f6112"/>
                </a:cxn>
                <a:cxn ang="f4299">
                  <a:pos x="f6094" y="f6111"/>
                </a:cxn>
                <a:cxn ang="f4299">
                  <a:pos x="f6095" y="f6111"/>
                </a:cxn>
                <a:cxn ang="f4299">
                  <a:pos x="f6119" y="f6112"/>
                </a:cxn>
                <a:cxn ang="f4299">
                  <a:pos x="f6119" y="f6113"/>
                </a:cxn>
                <a:cxn ang="f4299">
                  <a:pos x="f6095" y="f6114"/>
                </a:cxn>
                <a:cxn ang="f4299">
                  <a:pos x="f6094" y="f6114"/>
                </a:cxn>
                <a:cxn ang="f4299">
                  <a:pos x="f6120" y="f6113"/>
                </a:cxn>
                <a:cxn ang="f4299">
                  <a:pos x="f6120" y="f6112"/>
                </a:cxn>
                <a:cxn ang="f4299">
                  <a:pos x="f6121" y="f6111"/>
                </a:cxn>
                <a:cxn ang="f4299">
                  <a:pos x="f6122" y="f6111"/>
                </a:cxn>
                <a:cxn ang="f4299">
                  <a:pos x="f6123" y="f6112"/>
                </a:cxn>
                <a:cxn ang="f4299">
                  <a:pos x="f6123" y="f6113"/>
                </a:cxn>
                <a:cxn ang="f4299">
                  <a:pos x="f6122" y="f6114"/>
                </a:cxn>
                <a:cxn ang="f4299">
                  <a:pos x="f6121" y="f6114"/>
                </a:cxn>
                <a:cxn ang="f4299">
                  <a:pos x="f6124" y="f6113"/>
                </a:cxn>
                <a:cxn ang="f4299">
                  <a:pos x="f6124" y="f6112"/>
                </a:cxn>
                <a:cxn ang="f4299">
                  <a:pos x="f6098" y="f6111"/>
                </a:cxn>
                <a:cxn ang="f4299">
                  <a:pos x="f6099" y="f6111"/>
                </a:cxn>
                <a:cxn ang="f4299">
                  <a:pos x="f6125" y="f6112"/>
                </a:cxn>
                <a:cxn ang="f4299">
                  <a:pos x="f6125" y="f6113"/>
                </a:cxn>
                <a:cxn ang="f4299">
                  <a:pos x="f6099" y="f6114"/>
                </a:cxn>
                <a:cxn ang="f4299">
                  <a:pos x="f6098" y="f6114"/>
                </a:cxn>
                <a:cxn ang="f4299">
                  <a:pos x="f6126" y="f6113"/>
                </a:cxn>
                <a:cxn ang="f4299">
                  <a:pos x="f6126" y="f6112"/>
                </a:cxn>
                <a:cxn ang="f4299">
                  <a:pos x="f5767" y="f6127"/>
                </a:cxn>
                <a:cxn ang="f4299">
                  <a:pos x="f5769" y="f6127"/>
                </a:cxn>
                <a:cxn ang="f4299">
                  <a:pos x="f5770" y="f6128"/>
                </a:cxn>
                <a:cxn ang="f4299">
                  <a:pos x="f5770" y="f6129"/>
                </a:cxn>
                <a:cxn ang="f4299">
                  <a:pos x="f5769" y="f6130"/>
                </a:cxn>
                <a:cxn ang="f4299">
                  <a:pos x="f5767" y="f6130"/>
                </a:cxn>
                <a:cxn ang="f4299">
                  <a:pos x="f5774" y="f6129"/>
                </a:cxn>
                <a:cxn ang="f4299">
                  <a:pos x="f5774" y="f6128"/>
                </a:cxn>
                <a:cxn ang="f4299">
                  <a:pos x="f5775" y="f6127"/>
                </a:cxn>
                <a:cxn ang="f4299">
                  <a:pos x="f5776" y="f6127"/>
                </a:cxn>
                <a:cxn ang="f4299">
                  <a:pos x="f5777" y="f6128"/>
                </a:cxn>
                <a:cxn ang="f4299">
                  <a:pos x="f5777" y="f6129"/>
                </a:cxn>
                <a:cxn ang="f4299">
                  <a:pos x="f5776" y="f6130"/>
                </a:cxn>
                <a:cxn ang="f4299">
                  <a:pos x="f5775" y="f6130"/>
                </a:cxn>
                <a:cxn ang="f4299">
                  <a:pos x="f5778" y="f6129"/>
                </a:cxn>
                <a:cxn ang="f4299">
                  <a:pos x="f5778" y="f6128"/>
                </a:cxn>
                <a:cxn ang="f4299">
                  <a:pos x="f5779" y="f6127"/>
                </a:cxn>
                <a:cxn ang="f4299">
                  <a:pos x="f5780" y="f6127"/>
                </a:cxn>
                <a:cxn ang="f4299">
                  <a:pos x="f5781" y="f6128"/>
                </a:cxn>
                <a:cxn ang="f4299">
                  <a:pos x="f5781" y="f6129"/>
                </a:cxn>
                <a:cxn ang="f4299">
                  <a:pos x="f5780" y="f6130"/>
                </a:cxn>
                <a:cxn ang="f4299">
                  <a:pos x="f5779" y="f6130"/>
                </a:cxn>
                <a:cxn ang="f4299">
                  <a:pos x="f5782" y="f6129"/>
                </a:cxn>
                <a:cxn ang="f4299">
                  <a:pos x="f5782" y="f6128"/>
                </a:cxn>
                <a:cxn ang="f4299">
                  <a:pos x="f5783" y="f6127"/>
                </a:cxn>
                <a:cxn ang="f4299">
                  <a:pos x="f5784" y="f6127"/>
                </a:cxn>
                <a:cxn ang="f4299">
                  <a:pos x="f5785" y="f6128"/>
                </a:cxn>
                <a:cxn ang="f4299">
                  <a:pos x="f5785" y="f6129"/>
                </a:cxn>
                <a:cxn ang="f4299">
                  <a:pos x="f5784" y="f6130"/>
                </a:cxn>
                <a:cxn ang="f4299">
                  <a:pos x="f5783" y="f6130"/>
                </a:cxn>
                <a:cxn ang="f4299">
                  <a:pos x="f5786" y="f6129"/>
                </a:cxn>
                <a:cxn ang="f4299">
                  <a:pos x="f5786" y="f6128"/>
                </a:cxn>
                <a:cxn ang="f4299">
                  <a:pos x="f5787" y="f6127"/>
                </a:cxn>
                <a:cxn ang="f4299">
                  <a:pos x="f5788" y="f6127"/>
                </a:cxn>
                <a:cxn ang="f4299">
                  <a:pos x="f5789" y="f6128"/>
                </a:cxn>
                <a:cxn ang="f4299">
                  <a:pos x="f5789" y="f6129"/>
                </a:cxn>
                <a:cxn ang="f4299">
                  <a:pos x="f5788" y="f6130"/>
                </a:cxn>
                <a:cxn ang="f4299">
                  <a:pos x="f5787" y="f6130"/>
                </a:cxn>
                <a:cxn ang="f4299">
                  <a:pos x="f5790" y="f6129"/>
                </a:cxn>
                <a:cxn ang="f4299">
                  <a:pos x="f5790" y="f6128"/>
                </a:cxn>
                <a:cxn ang="f4299">
                  <a:pos x="f5791" y="f6127"/>
                </a:cxn>
                <a:cxn ang="f4299">
                  <a:pos x="f5792" y="f6127"/>
                </a:cxn>
                <a:cxn ang="f4299">
                  <a:pos x="f5793" y="f6128"/>
                </a:cxn>
                <a:cxn ang="f4299">
                  <a:pos x="f5793" y="f6129"/>
                </a:cxn>
                <a:cxn ang="f4299">
                  <a:pos x="f5792" y="f6130"/>
                </a:cxn>
                <a:cxn ang="f4299">
                  <a:pos x="f5791" y="f6130"/>
                </a:cxn>
                <a:cxn ang="f4299">
                  <a:pos x="f5794" y="f6129"/>
                </a:cxn>
                <a:cxn ang="f4299">
                  <a:pos x="f5794" y="f6128"/>
                </a:cxn>
                <a:cxn ang="f4299">
                  <a:pos x="f5795" y="f6127"/>
                </a:cxn>
                <a:cxn ang="f4299">
                  <a:pos x="f5796" y="f6127"/>
                </a:cxn>
                <a:cxn ang="f4299">
                  <a:pos x="f5797" y="f6128"/>
                </a:cxn>
                <a:cxn ang="f4299">
                  <a:pos x="f5797" y="f6129"/>
                </a:cxn>
                <a:cxn ang="f4299">
                  <a:pos x="f5796" y="f6130"/>
                </a:cxn>
                <a:cxn ang="f4299">
                  <a:pos x="f5795" y="f6130"/>
                </a:cxn>
                <a:cxn ang="f4299">
                  <a:pos x="f5798" y="f6129"/>
                </a:cxn>
                <a:cxn ang="f4299">
                  <a:pos x="f5798" y="f6128"/>
                </a:cxn>
                <a:cxn ang="f4299">
                  <a:pos x="f5799" y="f6127"/>
                </a:cxn>
                <a:cxn ang="f4299">
                  <a:pos x="f5800" y="f6127"/>
                </a:cxn>
                <a:cxn ang="f4299">
                  <a:pos x="f5801" y="f6128"/>
                </a:cxn>
                <a:cxn ang="f4299">
                  <a:pos x="f5801" y="f6129"/>
                </a:cxn>
                <a:cxn ang="f4299">
                  <a:pos x="f5800" y="f6130"/>
                </a:cxn>
                <a:cxn ang="f4299">
                  <a:pos x="f5799" y="f6130"/>
                </a:cxn>
                <a:cxn ang="f4299">
                  <a:pos x="f5802" y="f6129"/>
                </a:cxn>
                <a:cxn ang="f4299">
                  <a:pos x="f5802" y="f6128"/>
                </a:cxn>
                <a:cxn ang="f4299">
                  <a:pos x="f5803" y="f6127"/>
                </a:cxn>
                <a:cxn ang="f4299">
                  <a:pos x="f5804" y="f6127"/>
                </a:cxn>
                <a:cxn ang="f4299">
                  <a:pos x="f5805" y="f6128"/>
                </a:cxn>
                <a:cxn ang="f4299">
                  <a:pos x="f5805" y="f6129"/>
                </a:cxn>
                <a:cxn ang="f4299">
                  <a:pos x="f5804" y="f6130"/>
                </a:cxn>
                <a:cxn ang="f4299">
                  <a:pos x="f5803" y="f6130"/>
                </a:cxn>
                <a:cxn ang="f4299">
                  <a:pos x="f5806" y="f6129"/>
                </a:cxn>
                <a:cxn ang="f4299">
                  <a:pos x="f5806" y="f6128"/>
                </a:cxn>
                <a:cxn ang="f4299">
                  <a:pos x="f5807" y="f6127"/>
                </a:cxn>
                <a:cxn ang="f4299">
                  <a:pos x="f5808" y="f6127"/>
                </a:cxn>
                <a:cxn ang="f4299">
                  <a:pos x="f5809" y="f6128"/>
                </a:cxn>
                <a:cxn ang="f4299">
                  <a:pos x="f5809" y="f6129"/>
                </a:cxn>
                <a:cxn ang="f4299">
                  <a:pos x="f5808" y="f6130"/>
                </a:cxn>
                <a:cxn ang="f4299">
                  <a:pos x="f5807" y="f6130"/>
                </a:cxn>
                <a:cxn ang="f4299">
                  <a:pos x="f5810" y="f6129"/>
                </a:cxn>
                <a:cxn ang="f4299">
                  <a:pos x="f5810" y="f6128"/>
                </a:cxn>
                <a:cxn ang="f4299">
                  <a:pos x="f5811" y="f6127"/>
                </a:cxn>
                <a:cxn ang="f4299">
                  <a:pos x="f5812" y="f6127"/>
                </a:cxn>
                <a:cxn ang="f4299">
                  <a:pos x="f5813" y="f6128"/>
                </a:cxn>
                <a:cxn ang="f4299">
                  <a:pos x="f5813" y="f6129"/>
                </a:cxn>
                <a:cxn ang="f4299">
                  <a:pos x="f5812" y="f6130"/>
                </a:cxn>
                <a:cxn ang="f4299">
                  <a:pos x="f5811" y="f6130"/>
                </a:cxn>
                <a:cxn ang="f4299">
                  <a:pos x="f5814" y="f6129"/>
                </a:cxn>
                <a:cxn ang="f4299">
                  <a:pos x="f5814" y="f6128"/>
                </a:cxn>
                <a:cxn ang="f4299">
                  <a:pos x="f5815" y="f6127"/>
                </a:cxn>
                <a:cxn ang="f4299">
                  <a:pos x="f5816" y="f6127"/>
                </a:cxn>
                <a:cxn ang="f4299">
                  <a:pos x="f5817" y="f6128"/>
                </a:cxn>
                <a:cxn ang="f4299">
                  <a:pos x="f5817" y="f6129"/>
                </a:cxn>
                <a:cxn ang="f4299">
                  <a:pos x="f5816" y="f6130"/>
                </a:cxn>
                <a:cxn ang="f4299">
                  <a:pos x="f5815" y="f6130"/>
                </a:cxn>
                <a:cxn ang="f4299">
                  <a:pos x="f5818" y="f6129"/>
                </a:cxn>
                <a:cxn ang="f4299">
                  <a:pos x="f5818" y="f6128"/>
                </a:cxn>
                <a:cxn ang="f4299">
                  <a:pos x="f5819" y="f6127"/>
                </a:cxn>
                <a:cxn ang="f4299">
                  <a:pos x="f5820" y="f6127"/>
                </a:cxn>
                <a:cxn ang="f4299">
                  <a:pos x="f5821" y="f6128"/>
                </a:cxn>
                <a:cxn ang="f4299">
                  <a:pos x="f5821" y="f6129"/>
                </a:cxn>
                <a:cxn ang="f4299">
                  <a:pos x="f5820" y="f6130"/>
                </a:cxn>
                <a:cxn ang="f4299">
                  <a:pos x="f5819" y="f6130"/>
                </a:cxn>
                <a:cxn ang="f4299">
                  <a:pos x="f5822" y="f6129"/>
                </a:cxn>
                <a:cxn ang="f4299">
                  <a:pos x="f5822" y="f6128"/>
                </a:cxn>
                <a:cxn ang="f4299">
                  <a:pos x="f5823" y="f6127"/>
                </a:cxn>
                <a:cxn ang="f4299">
                  <a:pos x="f5824" y="f6127"/>
                </a:cxn>
                <a:cxn ang="f4299">
                  <a:pos x="f5825" y="f6128"/>
                </a:cxn>
                <a:cxn ang="f4299">
                  <a:pos x="f5825" y="f6129"/>
                </a:cxn>
                <a:cxn ang="f4299">
                  <a:pos x="f5824" y="f6130"/>
                </a:cxn>
                <a:cxn ang="f4299">
                  <a:pos x="f5823" y="f6130"/>
                </a:cxn>
                <a:cxn ang="f4299">
                  <a:pos x="f5826" y="f6129"/>
                </a:cxn>
                <a:cxn ang="f4299">
                  <a:pos x="f5826" y="f6128"/>
                </a:cxn>
                <a:cxn ang="f4299">
                  <a:pos x="f5827" y="f6127"/>
                </a:cxn>
                <a:cxn ang="f4299">
                  <a:pos x="f5828" y="f6127"/>
                </a:cxn>
                <a:cxn ang="f4299">
                  <a:pos x="f5829" y="f6128"/>
                </a:cxn>
                <a:cxn ang="f4299">
                  <a:pos x="f5829" y="f6129"/>
                </a:cxn>
                <a:cxn ang="f4299">
                  <a:pos x="f5828" y="f6130"/>
                </a:cxn>
                <a:cxn ang="f4299">
                  <a:pos x="f5827" y="f6130"/>
                </a:cxn>
                <a:cxn ang="f4299">
                  <a:pos x="f5830" y="f6129"/>
                </a:cxn>
                <a:cxn ang="f4299">
                  <a:pos x="f5830" y="f6128"/>
                </a:cxn>
                <a:cxn ang="f4299">
                  <a:pos x="f5831" y="f6127"/>
                </a:cxn>
                <a:cxn ang="f4299">
                  <a:pos x="f5832" y="f6127"/>
                </a:cxn>
                <a:cxn ang="f4299">
                  <a:pos x="f5833" y="f6128"/>
                </a:cxn>
                <a:cxn ang="f4299">
                  <a:pos x="f5833" y="f6129"/>
                </a:cxn>
                <a:cxn ang="f4299">
                  <a:pos x="f5832" y="f6130"/>
                </a:cxn>
                <a:cxn ang="f4299">
                  <a:pos x="f5831" y="f6130"/>
                </a:cxn>
                <a:cxn ang="f4299">
                  <a:pos x="f5834" y="f6129"/>
                </a:cxn>
                <a:cxn ang="f4299">
                  <a:pos x="f5834" y="f6128"/>
                </a:cxn>
                <a:cxn ang="f4299">
                  <a:pos x="f5835" y="f6127"/>
                </a:cxn>
                <a:cxn ang="f4299">
                  <a:pos x="f5836" y="f6127"/>
                </a:cxn>
                <a:cxn ang="f4299">
                  <a:pos x="f5837" y="f6128"/>
                </a:cxn>
                <a:cxn ang="f4299">
                  <a:pos x="f5837" y="f6129"/>
                </a:cxn>
                <a:cxn ang="f4299">
                  <a:pos x="f5836" y="f6130"/>
                </a:cxn>
                <a:cxn ang="f4299">
                  <a:pos x="f5835" y="f6130"/>
                </a:cxn>
                <a:cxn ang="f4299">
                  <a:pos x="f5838" y="f6129"/>
                </a:cxn>
                <a:cxn ang="f4299">
                  <a:pos x="f5838" y="f6128"/>
                </a:cxn>
                <a:cxn ang="f4299">
                  <a:pos x="f5839" y="f6127"/>
                </a:cxn>
                <a:cxn ang="f4299">
                  <a:pos x="f5840" y="f6127"/>
                </a:cxn>
                <a:cxn ang="f4299">
                  <a:pos x="f5841" y="f6128"/>
                </a:cxn>
                <a:cxn ang="f4299">
                  <a:pos x="f5841" y="f6129"/>
                </a:cxn>
                <a:cxn ang="f4299">
                  <a:pos x="f5840" y="f6130"/>
                </a:cxn>
                <a:cxn ang="f4299">
                  <a:pos x="f5839" y="f6130"/>
                </a:cxn>
                <a:cxn ang="f4299">
                  <a:pos x="f5842" y="f6129"/>
                </a:cxn>
                <a:cxn ang="f4299">
                  <a:pos x="f5842" y="f6128"/>
                </a:cxn>
                <a:cxn ang="f4299">
                  <a:pos x="f5843" y="f6127"/>
                </a:cxn>
                <a:cxn ang="f4299">
                  <a:pos x="f5844" y="f6127"/>
                </a:cxn>
                <a:cxn ang="f4299">
                  <a:pos x="f5845" y="f6128"/>
                </a:cxn>
                <a:cxn ang="f4299">
                  <a:pos x="f5845" y="f6129"/>
                </a:cxn>
                <a:cxn ang="f4299">
                  <a:pos x="f5844" y="f6130"/>
                </a:cxn>
                <a:cxn ang="f4299">
                  <a:pos x="f5843" y="f6130"/>
                </a:cxn>
                <a:cxn ang="f4299">
                  <a:pos x="f5846" y="f6129"/>
                </a:cxn>
                <a:cxn ang="f4299">
                  <a:pos x="f5846" y="f6128"/>
                </a:cxn>
                <a:cxn ang="f4299">
                  <a:pos x="f5847" y="f6127"/>
                </a:cxn>
                <a:cxn ang="f4299">
                  <a:pos x="f5848" y="f6127"/>
                </a:cxn>
                <a:cxn ang="f4299">
                  <a:pos x="f5849" y="f6128"/>
                </a:cxn>
                <a:cxn ang="f4299">
                  <a:pos x="f5849" y="f6129"/>
                </a:cxn>
                <a:cxn ang="f4299">
                  <a:pos x="f5848" y="f6130"/>
                </a:cxn>
                <a:cxn ang="f4299">
                  <a:pos x="f5847" y="f6130"/>
                </a:cxn>
                <a:cxn ang="f4299">
                  <a:pos x="f5850" y="f6129"/>
                </a:cxn>
                <a:cxn ang="f4299">
                  <a:pos x="f5850" y="f6128"/>
                </a:cxn>
                <a:cxn ang="f4299">
                  <a:pos x="f5851" y="f6127"/>
                </a:cxn>
                <a:cxn ang="f4299">
                  <a:pos x="f5852" y="f6127"/>
                </a:cxn>
                <a:cxn ang="f4299">
                  <a:pos x="f5853" y="f6128"/>
                </a:cxn>
                <a:cxn ang="f4299">
                  <a:pos x="f5853" y="f6129"/>
                </a:cxn>
                <a:cxn ang="f4299">
                  <a:pos x="f5852" y="f6130"/>
                </a:cxn>
                <a:cxn ang="f4299">
                  <a:pos x="f5851" y="f6130"/>
                </a:cxn>
                <a:cxn ang="f4299">
                  <a:pos x="f5854" y="f6129"/>
                </a:cxn>
                <a:cxn ang="f4299">
                  <a:pos x="f5854" y="f6128"/>
                </a:cxn>
                <a:cxn ang="f4299">
                  <a:pos x="f5855" y="f6127"/>
                </a:cxn>
                <a:cxn ang="f4299">
                  <a:pos x="f5856" y="f6127"/>
                </a:cxn>
                <a:cxn ang="f4299">
                  <a:pos x="f5857" y="f6128"/>
                </a:cxn>
                <a:cxn ang="f4299">
                  <a:pos x="f5857" y="f6129"/>
                </a:cxn>
                <a:cxn ang="f4299">
                  <a:pos x="f5856" y="f6130"/>
                </a:cxn>
                <a:cxn ang="f4299">
                  <a:pos x="f5855" y="f6130"/>
                </a:cxn>
                <a:cxn ang="f4299">
                  <a:pos x="f5858" y="f6129"/>
                </a:cxn>
                <a:cxn ang="f4299">
                  <a:pos x="f5858" y="f6128"/>
                </a:cxn>
                <a:cxn ang="f4299">
                  <a:pos x="f5859" y="f6127"/>
                </a:cxn>
                <a:cxn ang="f4299">
                  <a:pos x="f5860" y="f6127"/>
                </a:cxn>
                <a:cxn ang="f4299">
                  <a:pos x="f5861" y="f6128"/>
                </a:cxn>
                <a:cxn ang="f4299">
                  <a:pos x="f5861" y="f6129"/>
                </a:cxn>
                <a:cxn ang="f4299">
                  <a:pos x="f5860" y="f6130"/>
                </a:cxn>
                <a:cxn ang="f4299">
                  <a:pos x="f5859" y="f6130"/>
                </a:cxn>
                <a:cxn ang="f4299">
                  <a:pos x="f5862" y="f6129"/>
                </a:cxn>
                <a:cxn ang="f4299">
                  <a:pos x="f5862" y="f6128"/>
                </a:cxn>
                <a:cxn ang="f4299">
                  <a:pos x="f5863" y="f6127"/>
                </a:cxn>
                <a:cxn ang="f4299">
                  <a:pos x="f5864" y="f6127"/>
                </a:cxn>
                <a:cxn ang="f4299">
                  <a:pos x="f5865" y="f6128"/>
                </a:cxn>
                <a:cxn ang="f4299">
                  <a:pos x="f5865" y="f6129"/>
                </a:cxn>
                <a:cxn ang="f4299">
                  <a:pos x="f5864" y="f6130"/>
                </a:cxn>
                <a:cxn ang="f4299">
                  <a:pos x="f5863" y="f6130"/>
                </a:cxn>
                <a:cxn ang="f4299">
                  <a:pos x="f5866" y="f6129"/>
                </a:cxn>
                <a:cxn ang="f4299">
                  <a:pos x="f5866" y="f6128"/>
                </a:cxn>
                <a:cxn ang="f4299">
                  <a:pos x="f5867" y="f6127"/>
                </a:cxn>
                <a:cxn ang="f4299">
                  <a:pos x="f5868" y="f6127"/>
                </a:cxn>
                <a:cxn ang="f4299">
                  <a:pos x="f5869" y="f6128"/>
                </a:cxn>
                <a:cxn ang="f4299">
                  <a:pos x="f5869" y="f6129"/>
                </a:cxn>
                <a:cxn ang="f4299">
                  <a:pos x="f5868" y="f6130"/>
                </a:cxn>
                <a:cxn ang="f4299">
                  <a:pos x="f5867" y="f6130"/>
                </a:cxn>
                <a:cxn ang="f4299">
                  <a:pos x="f5870" y="f6129"/>
                </a:cxn>
                <a:cxn ang="f4299">
                  <a:pos x="f5870" y="f6128"/>
                </a:cxn>
                <a:cxn ang="f4299">
                  <a:pos x="f5871" y="f6127"/>
                </a:cxn>
                <a:cxn ang="f4299">
                  <a:pos x="f5872" y="f6127"/>
                </a:cxn>
                <a:cxn ang="f4299">
                  <a:pos x="f5873" y="f6128"/>
                </a:cxn>
                <a:cxn ang="f4299">
                  <a:pos x="f5873" y="f6129"/>
                </a:cxn>
                <a:cxn ang="f4299">
                  <a:pos x="f5872" y="f6130"/>
                </a:cxn>
                <a:cxn ang="f4299">
                  <a:pos x="f5871" y="f6130"/>
                </a:cxn>
                <a:cxn ang="f4299">
                  <a:pos x="f5874" y="f6129"/>
                </a:cxn>
                <a:cxn ang="f4299">
                  <a:pos x="f5874" y="f6128"/>
                </a:cxn>
                <a:cxn ang="f4299">
                  <a:pos x="f5875" y="f6127"/>
                </a:cxn>
                <a:cxn ang="f4299">
                  <a:pos x="f5876" y="f6127"/>
                </a:cxn>
                <a:cxn ang="f4299">
                  <a:pos x="f5877" y="f6128"/>
                </a:cxn>
                <a:cxn ang="f4299">
                  <a:pos x="f5877" y="f6129"/>
                </a:cxn>
                <a:cxn ang="f4299">
                  <a:pos x="f5876" y="f6130"/>
                </a:cxn>
                <a:cxn ang="f4299">
                  <a:pos x="f5875" y="f6130"/>
                </a:cxn>
                <a:cxn ang="f4299">
                  <a:pos x="f5878" y="f6129"/>
                </a:cxn>
                <a:cxn ang="f4299">
                  <a:pos x="f5878" y="f6128"/>
                </a:cxn>
                <a:cxn ang="f4299">
                  <a:pos x="f5879" y="f6127"/>
                </a:cxn>
                <a:cxn ang="f4299">
                  <a:pos x="f5880" y="f6127"/>
                </a:cxn>
                <a:cxn ang="f4299">
                  <a:pos x="f5881" y="f6128"/>
                </a:cxn>
                <a:cxn ang="f4299">
                  <a:pos x="f5881" y="f6129"/>
                </a:cxn>
                <a:cxn ang="f4299">
                  <a:pos x="f5880" y="f6130"/>
                </a:cxn>
                <a:cxn ang="f4299">
                  <a:pos x="f5879" y="f6130"/>
                </a:cxn>
                <a:cxn ang="f4299">
                  <a:pos x="f5882" y="f6129"/>
                </a:cxn>
                <a:cxn ang="f4299">
                  <a:pos x="f5882" y="f6128"/>
                </a:cxn>
                <a:cxn ang="f4299">
                  <a:pos x="f5883" y="f6127"/>
                </a:cxn>
                <a:cxn ang="f4299">
                  <a:pos x="f5884" y="f6127"/>
                </a:cxn>
                <a:cxn ang="f4299">
                  <a:pos x="f5885" y="f6128"/>
                </a:cxn>
                <a:cxn ang="f4299">
                  <a:pos x="f5885" y="f6129"/>
                </a:cxn>
                <a:cxn ang="f4299">
                  <a:pos x="f5884" y="f6130"/>
                </a:cxn>
                <a:cxn ang="f4299">
                  <a:pos x="f5883" y="f6130"/>
                </a:cxn>
                <a:cxn ang="f4299">
                  <a:pos x="f5886" y="f6129"/>
                </a:cxn>
                <a:cxn ang="f4299">
                  <a:pos x="f5886" y="f6128"/>
                </a:cxn>
                <a:cxn ang="f4299">
                  <a:pos x="f5887" y="f6127"/>
                </a:cxn>
                <a:cxn ang="f4299">
                  <a:pos x="f5888" y="f6127"/>
                </a:cxn>
                <a:cxn ang="f4299">
                  <a:pos x="f5889" y="f6128"/>
                </a:cxn>
                <a:cxn ang="f4299">
                  <a:pos x="f5889" y="f6129"/>
                </a:cxn>
                <a:cxn ang="f4299">
                  <a:pos x="f5888" y="f6130"/>
                </a:cxn>
                <a:cxn ang="f4299">
                  <a:pos x="f5887" y="f6130"/>
                </a:cxn>
                <a:cxn ang="f4299">
                  <a:pos x="f5890" y="f6129"/>
                </a:cxn>
                <a:cxn ang="f4299">
                  <a:pos x="f5890" y="f6128"/>
                </a:cxn>
                <a:cxn ang="f4299">
                  <a:pos x="f5891" y="f6127"/>
                </a:cxn>
                <a:cxn ang="f4299">
                  <a:pos x="f5892" y="f6127"/>
                </a:cxn>
                <a:cxn ang="f4299">
                  <a:pos x="f5893" y="f6128"/>
                </a:cxn>
                <a:cxn ang="f4299">
                  <a:pos x="f5893" y="f6129"/>
                </a:cxn>
                <a:cxn ang="f4299">
                  <a:pos x="f5892" y="f6130"/>
                </a:cxn>
                <a:cxn ang="f4299">
                  <a:pos x="f5891" y="f6130"/>
                </a:cxn>
                <a:cxn ang="f4299">
                  <a:pos x="f5894" y="f6129"/>
                </a:cxn>
                <a:cxn ang="f4299">
                  <a:pos x="f5894" y="f6128"/>
                </a:cxn>
                <a:cxn ang="f4299">
                  <a:pos x="f6131" y="f6127"/>
                </a:cxn>
                <a:cxn ang="f4299">
                  <a:pos x="f6132" y="f6127"/>
                </a:cxn>
                <a:cxn ang="f4299">
                  <a:pos x="f6133" y="f6128"/>
                </a:cxn>
                <a:cxn ang="f4299">
                  <a:pos x="f6133" y="f6129"/>
                </a:cxn>
                <a:cxn ang="f4299">
                  <a:pos x="f6132" y="f6130"/>
                </a:cxn>
                <a:cxn ang="f4299">
                  <a:pos x="f6131" y="f6130"/>
                </a:cxn>
                <a:cxn ang="f4299">
                  <a:pos x="f6134" y="f6129"/>
                </a:cxn>
                <a:cxn ang="f4299">
                  <a:pos x="f6134" y="f6128"/>
                </a:cxn>
                <a:cxn ang="f4299">
                  <a:pos x="f6103" y="f6127"/>
                </a:cxn>
                <a:cxn ang="f4299">
                  <a:pos x="f6135" y="f6127"/>
                </a:cxn>
                <a:cxn ang="f4299">
                  <a:pos x="f6136" y="f6128"/>
                </a:cxn>
                <a:cxn ang="f4299">
                  <a:pos x="f6136" y="f6129"/>
                </a:cxn>
                <a:cxn ang="f4299">
                  <a:pos x="f6135" y="f6130"/>
                </a:cxn>
                <a:cxn ang="f4299">
                  <a:pos x="f6103" y="f6130"/>
                </a:cxn>
                <a:cxn ang="f4299">
                  <a:pos x="f6105" y="f6129"/>
                </a:cxn>
                <a:cxn ang="f4299">
                  <a:pos x="f6105" y="f6128"/>
                </a:cxn>
                <a:cxn ang="f4299">
                  <a:pos x="f6106" y="f6127"/>
                </a:cxn>
                <a:cxn ang="f4299">
                  <a:pos x="f6137" y="f6127"/>
                </a:cxn>
                <a:cxn ang="f4299">
                  <a:pos x="f6138" y="f6128"/>
                </a:cxn>
                <a:cxn ang="f4299">
                  <a:pos x="f6138" y="f6129"/>
                </a:cxn>
                <a:cxn ang="f4299">
                  <a:pos x="f6137" y="f6130"/>
                </a:cxn>
                <a:cxn ang="f4299">
                  <a:pos x="f6106" y="f6130"/>
                </a:cxn>
                <a:cxn ang="f4299">
                  <a:pos x="f6139" y="f6129"/>
                </a:cxn>
                <a:cxn ang="f4299">
                  <a:pos x="f6139" y="f6128"/>
                </a:cxn>
                <a:cxn ang="f4299">
                  <a:pos x="f6140" y="f6127"/>
                </a:cxn>
                <a:cxn ang="f4299">
                  <a:pos x="f6141" y="f6127"/>
                </a:cxn>
                <a:cxn ang="f4299">
                  <a:pos x="f6109" y="f6128"/>
                </a:cxn>
                <a:cxn ang="f4299">
                  <a:pos x="f6109" y="f6129"/>
                </a:cxn>
                <a:cxn ang="f4299">
                  <a:pos x="f6141" y="f6130"/>
                </a:cxn>
                <a:cxn ang="f4299">
                  <a:pos x="f6140" y="f6130"/>
                </a:cxn>
                <a:cxn ang="f4299">
                  <a:pos x="f6142" y="f6129"/>
                </a:cxn>
                <a:cxn ang="f4299">
                  <a:pos x="f6142" y="f6128"/>
                </a:cxn>
                <a:cxn ang="f4299">
                  <a:pos x="f6057" y="f6143"/>
                </a:cxn>
                <a:cxn ang="f4299">
                  <a:pos x="f6029" y="f6143"/>
                </a:cxn>
                <a:cxn ang="f4299">
                  <a:pos x="f6144" y="f6145"/>
                </a:cxn>
                <a:cxn ang="f4299">
                  <a:pos x="f6144" y="f6146"/>
                </a:cxn>
                <a:cxn ang="f4299">
                  <a:pos x="f6029" y="f6147"/>
                </a:cxn>
                <a:cxn ang="f4299">
                  <a:pos x="f6057" y="f6147"/>
                </a:cxn>
                <a:cxn ang="f4299">
                  <a:pos x="f6115" y="f6146"/>
                </a:cxn>
                <a:cxn ang="f4299">
                  <a:pos x="f6115" y="f6145"/>
                </a:cxn>
                <a:cxn ang="f4299">
                  <a:pos x="f6148" y="f6143"/>
                </a:cxn>
                <a:cxn ang="f4299">
                  <a:pos x="f6116" y="f6143"/>
                </a:cxn>
                <a:cxn ang="f4299">
                  <a:pos x="f6063" y="f6145"/>
                </a:cxn>
                <a:cxn ang="f4299">
                  <a:pos x="f6063" y="f6146"/>
                </a:cxn>
                <a:cxn ang="f4299">
                  <a:pos x="f6116" y="f6147"/>
                </a:cxn>
                <a:cxn ang="f4299">
                  <a:pos x="f6148" y="f6147"/>
                </a:cxn>
                <a:cxn ang="f4299">
                  <a:pos x="f6033" y="f6146"/>
                </a:cxn>
                <a:cxn ang="f4299">
                  <a:pos x="f6033" y="f6145"/>
                </a:cxn>
                <a:cxn ang="f4299">
                  <a:pos x="f6117" y="f6143"/>
                </a:cxn>
                <a:cxn ang="f4299">
                  <a:pos x="f6149" y="f6143"/>
                </a:cxn>
                <a:cxn ang="f4299">
                  <a:pos x="f6150" y="f6145"/>
                </a:cxn>
                <a:cxn ang="f4299">
                  <a:pos x="f6150" y="f6146"/>
                </a:cxn>
                <a:cxn ang="f4299">
                  <a:pos x="f6149" y="f6147"/>
                </a:cxn>
                <a:cxn ang="f4299">
                  <a:pos x="f6117" y="f6147"/>
                </a:cxn>
                <a:cxn ang="f4299">
                  <a:pos x="f6151" y="f6146"/>
                </a:cxn>
                <a:cxn ang="f4299">
                  <a:pos x="f6151" y="f6145"/>
                </a:cxn>
                <a:cxn ang="f4299">
                  <a:pos x="f6152" y="f6143"/>
                </a:cxn>
                <a:cxn ang="f4299">
                  <a:pos x="f6153" y="f6143"/>
                </a:cxn>
                <a:cxn ang="f4299">
                  <a:pos x="f6119" y="f6145"/>
                </a:cxn>
                <a:cxn ang="f4299">
                  <a:pos x="f6119" y="f6146"/>
                </a:cxn>
                <a:cxn ang="f4299">
                  <a:pos x="f6153" y="f6147"/>
                </a:cxn>
                <a:cxn ang="f4299">
                  <a:pos x="f6152" y="f6147"/>
                </a:cxn>
                <a:cxn ang="f4299">
                  <a:pos x="f6120" y="f6146"/>
                </a:cxn>
                <a:cxn ang="f4299">
                  <a:pos x="f6120" y="f6145"/>
                </a:cxn>
                <a:cxn ang="f4299">
                  <a:pos x="f6121" y="f6143"/>
                </a:cxn>
                <a:cxn ang="f4299">
                  <a:pos x="f6154" y="f6143"/>
                </a:cxn>
                <a:cxn ang="f4299">
                  <a:pos x="f6155" y="f6145"/>
                </a:cxn>
                <a:cxn ang="f4299">
                  <a:pos x="f6155" y="f6146"/>
                </a:cxn>
                <a:cxn ang="f4299">
                  <a:pos x="f6154" y="f6147"/>
                </a:cxn>
                <a:cxn ang="f4299">
                  <a:pos x="f6121" y="f6147"/>
                </a:cxn>
                <a:cxn ang="f4299">
                  <a:pos x="f6124" y="f6146"/>
                </a:cxn>
                <a:cxn ang="f4299">
                  <a:pos x="f6124" y="f6145"/>
                </a:cxn>
                <a:cxn ang="f4299">
                  <a:pos x="f6156" y="f6143"/>
                </a:cxn>
                <a:cxn ang="f4299">
                  <a:pos x="f6157" y="f6143"/>
                </a:cxn>
                <a:cxn ang="f4299">
                  <a:pos x="f6125" y="f6145"/>
                </a:cxn>
                <a:cxn ang="f4299">
                  <a:pos x="f6125" y="f6146"/>
                </a:cxn>
                <a:cxn ang="f4299">
                  <a:pos x="f6157" y="f6147"/>
                </a:cxn>
                <a:cxn ang="f4299">
                  <a:pos x="f6156" y="f6147"/>
                </a:cxn>
                <a:cxn ang="f4299">
                  <a:pos x="f6158" y="f6146"/>
                </a:cxn>
                <a:cxn ang="f4299">
                  <a:pos x="f6158" y="f6145"/>
                </a:cxn>
                <a:cxn ang="f4299">
                  <a:pos x="f5767" y="f6159"/>
                </a:cxn>
                <a:cxn ang="f4299">
                  <a:pos x="f5769" y="f6159"/>
                </a:cxn>
                <a:cxn ang="f4299">
                  <a:pos x="f5770" y="f6160"/>
                </a:cxn>
                <a:cxn ang="f4299">
                  <a:pos x="f5770" y="f6161"/>
                </a:cxn>
                <a:cxn ang="f4299">
                  <a:pos x="f5769" y="f6162"/>
                </a:cxn>
                <a:cxn ang="f4299">
                  <a:pos x="f5767" y="f6162"/>
                </a:cxn>
                <a:cxn ang="f4299">
                  <a:pos x="f5774" y="f6161"/>
                </a:cxn>
                <a:cxn ang="f4299">
                  <a:pos x="f5774" y="f6160"/>
                </a:cxn>
                <a:cxn ang="f4299">
                  <a:pos x="f5775" y="f6159"/>
                </a:cxn>
                <a:cxn ang="f4299">
                  <a:pos x="f5776" y="f6159"/>
                </a:cxn>
                <a:cxn ang="f4299">
                  <a:pos x="f5777" y="f6160"/>
                </a:cxn>
                <a:cxn ang="f4299">
                  <a:pos x="f5777" y="f6161"/>
                </a:cxn>
                <a:cxn ang="f4299">
                  <a:pos x="f5776" y="f6162"/>
                </a:cxn>
                <a:cxn ang="f4299">
                  <a:pos x="f5775" y="f6162"/>
                </a:cxn>
                <a:cxn ang="f4299">
                  <a:pos x="f5778" y="f6161"/>
                </a:cxn>
                <a:cxn ang="f4299">
                  <a:pos x="f5778" y="f6160"/>
                </a:cxn>
                <a:cxn ang="f4299">
                  <a:pos x="f5779" y="f6159"/>
                </a:cxn>
                <a:cxn ang="f4299">
                  <a:pos x="f5780" y="f6159"/>
                </a:cxn>
                <a:cxn ang="f4299">
                  <a:pos x="f5781" y="f6160"/>
                </a:cxn>
                <a:cxn ang="f4299">
                  <a:pos x="f5781" y="f6161"/>
                </a:cxn>
                <a:cxn ang="f4299">
                  <a:pos x="f5780" y="f6162"/>
                </a:cxn>
                <a:cxn ang="f4299">
                  <a:pos x="f5779" y="f6162"/>
                </a:cxn>
                <a:cxn ang="f4299">
                  <a:pos x="f5782" y="f6161"/>
                </a:cxn>
                <a:cxn ang="f4299">
                  <a:pos x="f5782" y="f6160"/>
                </a:cxn>
                <a:cxn ang="f4299">
                  <a:pos x="f5783" y="f6159"/>
                </a:cxn>
                <a:cxn ang="f4299">
                  <a:pos x="f5784" y="f6159"/>
                </a:cxn>
                <a:cxn ang="f4299">
                  <a:pos x="f5785" y="f6160"/>
                </a:cxn>
                <a:cxn ang="f4299">
                  <a:pos x="f5785" y="f6161"/>
                </a:cxn>
                <a:cxn ang="f4299">
                  <a:pos x="f5784" y="f6162"/>
                </a:cxn>
                <a:cxn ang="f4299">
                  <a:pos x="f5783" y="f6162"/>
                </a:cxn>
                <a:cxn ang="f4299">
                  <a:pos x="f5786" y="f6161"/>
                </a:cxn>
                <a:cxn ang="f4299">
                  <a:pos x="f5786" y="f6160"/>
                </a:cxn>
                <a:cxn ang="f4299">
                  <a:pos x="f5787" y="f6159"/>
                </a:cxn>
                <a:cxn ang="f4299">
                  <a:pos x="f5788" y="f6159"/>
                </a:cxn>
                <a:cxn ang="f4299">
                  <a:pos x="f5789" y="f6160"/>
                </a:cxn>
                <a:cxn ang="f4299">
                  <a:pos x="f5789" y="f6161"/>
                </a:cxn>
                <a:cxn ang="f4299">
                  <a:pos x="f5788" y="f6162"/>
                </a:cxn>
                <a:cxn ang="f4299">
                  <a:pos x="f5787" y="f6162"/>
                </a:cxn>
                <a:cxn ang="f4299">
                  <a:pos x="f5790" y="f6161"/>
                </a:cxn>
                <a:cxn ang="f4299">
                  <a:pos x="f5790" y="f6160"/>
                </a:cxn>
                <a:cxn ang="f4299">
                  <a:pos x="f5791" y="f6159"/>
                </a:cxn>
                <a:cxn ang="f4299">
                  <a:pos x="f5792" y="f6159"/>
                </a:cxn>
                <a:cxn ang="f4299">
                  <a:pos x="f5793" y="f6160"/>
                </a:cxn>
                <a:cxn ang="f4299">
                  <a:pos x="f5793" y="f6161"/>
                </a:cxn>
                <a:cxn ang="f4299">
                  <a:pos x="f5792" y="f6162"/>
                </a:cxn>
                <a:cxn ang="f4299">
                  <a:pos x="f5791" y="f6162"/>
                </a:cxn>
                <a:cxn ang="f4299">
                  <a:pos x="f5794" y="f6161"/>
                </a:cxn>
                <a:cxn ang="f4299">
                  <a:pos x="f5794" y="f6160"/>
                </a:cxn>
                <a:cxn ang="f4299">
                  <a:pos x="f5795" y="f6159"/>
                </a:cxn>
                <a:cxn ang="f4299">
                  <a:pos x="f5796" y="f6159"/>
                </a:cxn>
                <a:cxn ang="f4299">
                  <a:pos x="f5797" y="f6160"/>
                </a:cxn>
                <a:cxn ang="f4299">
                  <a:pos x="f5797" y="f6161"/>
                </a:cxn>
                <a:cxn ang="f4299">
                  <a:pos x="f5796" y="f6162"/>
                </a:cxn>
                <a:cxn ang="f4299">
                  <a:pos x="f5795" y="f6162"/>
                </a:cxn>
                <a:cxn ang="f4299">
                  <a:pos x="f5798" y="f6161"/>
                </a:cxn>
                <a:cxn ang="f4299">
                  <a:pos x="f5798" y="f6160"/>
                </a:cxn>
                <a:cxn ang="f4299">
                  <a:pos x="f5799" y="f6159"/>
                </a:cxn>
                <a:cxn ang="f4299">
                  <a:pos x="f5800" y="f6159"/>
                </a:cxn>
                <a:cxn ang="f4299">
                  <a:pos x="f5801" y="f6160"/>
                </a:cxn>
                <a:cxn ang="f4299">
                  <a:pos x="f5801" y="f6161"/>
                </a:cxn>
                <a:cxn ang="f4299">
                  <a:pos x="f5800" y="f6162"/>
                </a:cxn>
                <a:cxn ang="f4299">
                  <a:pos x="f5799" y="f6162"/>
                </a:cxn>
                <a:cxn ang="f4299">
                  <a:pos x="f5802" y="f6161"/>
                </a:cxn>
                <a:cxn ang="f4299">
                  <a:pos x="f5802" y="f6160"/>
                </a:cxn>
                <a:cxn ang="f4299">
                  <a:pos x="f5803" y="f6159"/>
                </a:cxn>
                <a:cxn ang="f4299">
                  <a:pos x="f5804" y="f6159"/>
                </a:cxn>
                <a:cxn ang="f4299">
                  <a:pos x="f5805" y="f6160"/>
                </a:cxn>
                <a:cxn ang="f4299">
                  <a:pos x="f5805" y="f6161"/>
                </a:cxn>
                <a:cxn ang="f4299">
                  <a:pos x="f5804" y="f6162"/>
                </a:cxn>
                <a:cxn ang="f4299">
                  <a:pos x="f5803" y="f6162"/>
                </a:cxn>
                <a:cxn ang="f4299">
                  <a:pos x="f5806" y="f6161"/>
                </a:cxn>
                <a:cxn ang="f4299">
                  <a:pos x="f5806" y="f6160"/>
                </a:cxn>
                <a:cxn ang="f4299">
                  <a:pos x="f5807" y="f6159"/>
                </a:cxn>
                <a:cxn ang="f4299">
                  <a:pos x="f5808" y="f6159"/>
                </a:cxn>
                <a:cxn ang="f4299">
                  <a:pos x="f5809" y="f6160"/>
                </a:cxn>
                <a:cxn ang="f4299">
                  <a:pos x="f5809" y="f6161"/>
                </a:cxn>
                <a:cxn ang="f4299">
                  <a:pos x="f5808" y="f6162"/>
                </a:cxn>
                <a:cxn ang="f4299">
                  <a:pos x="f5807" y="f6162"/>
                </a:cxn>
                <a:cxn ang="f4299">
                  <a:pos x="f5810" y="f6161"/>
                </a:cxn>
                <a:cxn ang="f4299">
                  <a:pos x="f5810" y="f6160"/>
                </a:cxn>
                <a:cxn ang="f4299">
                  <a:pos x="f5811" y="f6159"/>
                </a:cxn>
                <a:cxn ang="f4299">
                  <a:pos x="f5812" y="f6159"/>
                </a:cxn>
                <a:cxn ang="f4299">
                  <a:pos x="f5813" y="f6160"/>
                </a:cxn>
                <a:cxn ang="f4299">
                  <a:pos x="f5813" y="f6161"/>
                </a:cxn>
                <a:cxn ang="f4299">
                  <a:pos x="f5812" y="f6162"/>
                </a:cxn>
                <a:cxn ang="f4299">
                  <a:pos x="f5811" y="f6162"/>
                </a:cxn>
                <a:cxn ang="f4299">
                  <a:pos x="f5814" y="f6161"/>
                </a:cxn>
                <a:cxn ang="f4299">
                  <a:pos x="f5814" y="f6160"/>
                </a:cxn>
                <a:cxn ang="f4299">
                  <a:pos x="f5815" y="f6159"/>
                </a:cxn>
                <a:cxn ang="f4299">
                  <a:pos x="f5816" y="f6159"/>
                </a:cxn>
                <a:cxn ang="f4299">
                  <a:pos x="f5817" y="f6160"/>
                </a:cxn>
                <a:cxn ang="f4299">
                  <a:pos x="f5817" y="f6161"/>
                </a:cxn>
                <a:cxn ang="f4299">
                  <a:pos x="f5816" y="f6162"/>
                </a:cxn>
                <a:cxn ang="f4299">
                  <a:pos x="f5815" y="f6162"/>
                </a:cxn>
                <a:cxn ang="f4299">
                  <a:pos x="f5818" y="f6161"/>
                </a:cxn>
                <a:cxn ang="f4299">
                  <a:pos x="f5818" y="f6160"/>
                </a:cxn>
                <a:cxn ang="f4299">
                  <a:pos x="f5819" y="f6159"/>
                </a:cxn>
                <a:cxn ang="f4299">
                  <a:pos x="f5820" y="f6159"/>
                </a:cxn>
                <a:cxn ang="f4299">
                  <a:pos x="f5821" y="f6160"/>
                </a:cxn>
                <a:cxn ang="f4299">
                  <a:pos x="f5821" y="f6161"/>
                </a:cxn>
                <a:cxn ang="f4299">
                  <a:pos x="f5820" y="f6162"/>
                </a:cxn>
                <a:cxn ang="f4299">
                  <a:pos x="f5819" y="f6162"/>
                </a:cxn>
                <a:cxn ang="f4299">
                  <a:pos x="f5822" y="f6161"/>
                </a:cxn>
                <a:cxn ang="f4299">
                  <a:pos x="f5822" y="f6160"/>
                </a:cxn>
                <a:cxn ang="f4299">
                  <a:pos x="f5823" y="f6159"/>
                </a:cxn>
                <a:cxn ang="f4299">
                  <a:pos x="f5824" y="f6159"/>
                </a:cxn>
                <a:cxn ang="f4299">
                  <a:pos x="f5825" y="f6160"/>
                </a:cxn>
                <a:cxn ang="f4299">
                  <a:pos x="f5825" y="f6161"/>
                </a:cxn>
                <a:cxn ang="f4299">
                  <a:pos x="f5824" y="f6162"/>
                </a:cxn>
                <a:cxn ang="f4299">
                  <a:pos x="f5823" y="f6162"/>
                </a:cxn>
                <a:cxn ang="f4299">
                  <a:pos x="f5826" y="f6161"/>
                </a:cxn>
                <a:cxn ang="f4299">
                  <a:pos x="f5826" y="f6160"/>
                </a:cxn>
                <a:cxn ang="f4299">
                  <a:pos x="f5827" y="f6159"/>
                </a:cxn>
                <a:cxn ang="f4299">
                  <a:pos x="f5828" y="f6159"/>
                </a:cxn>
                <a:cxn ang="f4299">
                  <a:pos x="f5829" y="f6160"/>
                </a:cxn>
                <a:cxn ang="f4299">
                  <a:pos x="f5829" y="f6161"/>
                </a:cxn>
                <a:cxn ang="f4299">
                  <a:pos x="f5828" y="f6162"/>
                </a:cxn>
                <a:cxn ang="f4299">
                  <a:pos x="f5827" y="f6162"/>
                </a:cxn>
                <a:cxn ang="f4299">
                  <a:pos x="f5830" y="f6161"/>
                </a:cxn>
                <a:cxn ang="f4299">
                  <a:pos x="f5830" y="f6160"/>
                </a:cxn>
                <a:cxn ang="f4299">
                  <a:pos x="f5831" y="f6159"/>
                </a:cxn>
                <a:cxn ang="f4299">
                  <a:pos x="f5832" y="f6159"/>
                </a:cxn>
                <a:cxn ang="f4299">
                  <a:pos x="f5833" y="f6160"/>
                </a:cxn>
                <a:cxn ang="f4299">
                  <a:pos x="f5833" y="f6161"/>
                </a:cxn>
                <a:cxn ang="f4299">
                  <a:pos x="f5832" y="f6162"/>
                </a:cxn>
                <a:cxn ang="f4299">
                  <a:pos x="f5831" y="f6162"/>
                </a:cxn>
                <a:cxn ang="f4299">
                  <a:pos x="f5834" y="f6161"/>
                </a:cxn>
                <a:cxn ang="f4299">
                  <a:pos x="f5834" y="f6160"/>
                </a:cxn>
                <a:cxn ang="f4299">
                  <a:pos x="f5835" y="f6159"/>
                </a:cxn>
                <a:cxn ang="f4299">
                  <a:pos x="f5836" y="f6159"/>
                </a:cxn>
                <a:cxn ang="f4299">
                  <a:pos x="f5837" y="f6160"/>
                </a:cxn>
                <a:cxn ang="f4299">
                  <a:pos x="f5837" y="f6161"/>
                </a:cxn>
                <a:cxn ang="f4299">
                  <a:pos x="f5836" y="f6162"/>
                </a:cxn>
                <a:cxn ang="f4299">
                  <a:pos x="f5835" y="f6162"/>
                </a:cxn>
                <a:cxn ang="f4299">
                  <a:pos x="f5838" y="f6161"/>
                </a:cxn>
                <a:cxn ang="f4299">
                  <a:pos x="f5838" y="f6160"/>
                </a:cxn>
                <a:cxn ang="f4299">
                  <a:pos x="f5839" y="f6159"/>
                </a:cxn>
                <a:cxn ang="f4299">
                  <a:pos x="f5840" y="f6159"/>
                </a:cxn>
                <a:cxn ang="f4299">
                  <a:pos x="f5841" y="f6160"/>
                </a:cxn>
                <a:cxn ang="f4299">
                  <a:pos x="f5841" y="f6161"/>
                </a:cxn>
                <a:cxn ang="f4299">
                  <a:pos x="f5840" y="f6162"/>
                </a:cxn>
                <a:cxn ang="f4299">
                  <a:pos x="f5839" y="f6162"/>
                </a:cxn>
                <a:cxn ang="f4299">
                  <a:pos x="f5842" y="f6161"/>
                </a:cxn>
                <a:cxn ang="f4299">
                  <a:pos x="f5842" y="f6160"/>
                </a:cxn>
                <a:cxn ang="f4299">
                  <a:pos x="f5843" y="f6159"/>
                </a:cxn>
                <a:cxn ang="f4299">
                  <a:pos x="f5844" y="f6159"/>
                </a:cxn>
                <a:cxn ang="f4299">
                  <a:pos x="f5845" y="f6160"/>
                </a:cxn>
                <a:cxn ang="f4299">
                  <a:pos x="f5845" y="f6161"/>
                </a:cxn>
                <a:cxn ang="f4299">
                  <a:pos x="f5844" y="f6162"/>
                </a:cxn>
                <a:cxn ang="f4299">
                  <a:pos x="f5843" y="f6162"/>
                </a:cxn>
                <a:cxn ang="f4299">
                  <a:pos x="f5846" y="f6161"/>
                </a:cxn>
                <a:cxn ang="f4299">
                  <a:pos x="f5846" y="f6160"/>
                </a:cxn>
                <a:cxn ang="f4299">
                  <a:pos x="f5847" y="f6159"/>
                </a:cxn>
                <a:cxn ang="f4299">
                  <a:pos x="f5848" y="f6159"/>
                </a:cxn>
                <a:cxn ang="f4299">
                  <a:pos x="f5849" y="f6160"/>
                </a:cxn>
                <a:cxn ang="f4299">
                  <a:pos x="f5849" y="f6161"/>
                </a:cxn>
                <a:cxn ang="f4299">
                  <a:pos x="f5848" y="f6162"/>
                </a:cxn>
                <a:cxn ang="f4299">
                  <a:pos x="f5847" y="f6162"/>
                </a:cxn>
                <a:cxn ang="f4299">
                  <a:pos x="f5850" y="f6161"/>
                </a:cxn>
                <a:cxn ang="f4299">
                  <a:pos x="f5850" y="f6160"/>
                </a:cxn>
                <a:cxn ang="f4299">
                  <a:pos x="f5851" y="f6159"/>
                </a:cxn>
                <a:cxn ang="f4299">
                  <a:pos x="f5852" y="f6159"/>
                </a:cxn>
                <a:cxn ang="f4299">
                  <a:pos x="f5853" y="f6160"/>
                </a:cxn>
                <a:cxn ang="f4299">
                  <a:pos x="f5853" y="f6161"/>
                </a:cxn>
                <a:cxn ang="f4299">
                  <a:pos x="f5852" y="f6162"/>
                </a:cxn>
                <a:cxn ang="f4299">
                  <a:pos x="f5851" y="f6162"/>
                </a:cxn>
                <a:cxn ang="f4299">
                  <a:pos x="f5854" y="f6161"/>
                </a:cxn>
                <a:cxn ang="f4299">
                  <a:pos x="f5854" y="f6160"/>
                </a:cxn>
                <a:cxn ang="f4299">
                  <a:pos x="f5855" y="f6159"/>
                </a:cxn>
                <a:cxn ang="f4299">
                  <a:pos x="f5856" y="f6159"/>
                </a:cxn>
                <a:cxn ang="f4299">
                  <a:pos x="f5857" y="f6160"/>
                </a:cxn>
                <a:cxn ang="f4299">
                  <a:pos x="f5857" y="f6161"/>
                </a:cxn>
                <a:cxn ang="f4299">
                  <a:pos x="f5856" y="f6162"/>
                </a:cxn>
                <a:cxn ang="f4299">
                  <a:pos x="f5855" y="f6162"/>
                </a:cxn>
                <a:cxn ang="f4299">
                  <a:pos x="f5858" y="f6161"/>
                </a:cxn>
                <a:cxn ang="f4299">
                  <a:pos x="f5858" y="f6160"/>
                </a:cxn>
                <a:cxn ang="f4299">
                  <a:pos x="f5859" y="f6159"/>
                </a:cxn>
                <a:cxn ang="f4299">
                  <a:pos x="f5860" y="f6159"/>
                </a:cxn>
                <a:cxn ang="f4299">
                  <a:pos x="f5861" y="f6160"/>
                </a:cxn>
                <a:cxn ang="f4299">
                  <a:pos x="f5861" y="f6161"/>
                </a:cxn>
                <a:cxn ang="f4299">
                  <a:pos x="f5860" y="f6162"/>
                </a:cxn>
                <a:cxn ang="f4299">
                  <a:pos x="f5859" y="f6162"/>
                </a:cxn>
                <a:cxn ang="f4299">
                  <a:pos x="f5862" y="f6161"/>
                </a:cxn>
                <a:cxn ang="f4299">
                  <a:pos x="f5862" y="f6160"/>
                </a:cxn>
                <a:cxn ang="f4299">
                  <a:pos x="f5863" y="f6159"/>
                </a:cxn>
                <a:cxn ang="f4299">
                  <a:pos x="f5864" y="f6159"/>
                </a:cxn>
                <a:cxn ang="f4299">
                  <a:pos x="f5865" y="f6160"/>
                </a:cxn>
                <a:cxn ang="f4299">
                  <a:pos x="f5865" y="f6161"/>
                </a:cxn>
                <a:cxn ang="f4299">
                  <a:pos x="f5864" y="f6162"/>
                </a:cxn>
                <a:cxn ang="f4299">
                  <a:pos x="f5863" y="f6162"/>
                </a:cxn>
                <a:cxn ang="f4299">
                  <a:pos x="f5866" y="f6161"/>
                </a:cxn>
                <a:cxn ang="f4299">
                  <a:pos x="f5866" y="f6160"/>
                </a:cxn>
                <a:cxn ang="f4299">
                  <a:pos x="f5867" y="f6159"/>
                </a:cxn>
                <a:cxn ang="f4299">
                  <a:pos x="f5868" y="f6159"/>
                </a:cxn>
                <a:cxn ang="f4299">
                  <a:pos x="f5869" y="f6160"/>
                </a:cxn>
                <a:cxn ang="f4299">
                  <a:pos x="f5869" y="f6161"/>
                </a:cxn>
                <a:cxn ang="f4299">
                  <a:pos x="f5868" y="f6162"/>
                </a:cxn>
                <a:cxn ang="f4299">
                  <a:pos x="f5867" y="f6162"/>
                </a:cxn>
                <a:cxn ang="f4299">
                  <a:pos x="f5870" y="f6161"/>
                </a:cxn>
                <a:cxn ang="f4299">
                  <a:pos x="f5870" y="f6160"/>
                </a:cxn>
                <a:cxn ang="f4299">
                  <a:pos x="f5871" y="f6159"/>
                </a:cxn>
                <a:cxn ang="f4299">
                  <a:pos x="f5872" y="f6159"/>
                </a:cxn>
                <a:cxn ang="f4299">
                  <a:pos x="f5873" y="f6160"/>
                </a:cxn>
                <a:cxn ang="f4299">
                  <a:pos x="f5873" y="f6161"/>
                </a:cxn>
                <a:cxn ang="f4299">
                  <a:pos x="f5872" y="f6162"/>
                </a:cxn>
                <a:cxn ang="f4299">
                  <a:pos x="f5871" y="f6162"/>
                </a:cxn>
                <a:cxn ang="f4299">
                  <a:pos x="f5874" y="f6161"/>
                </a:cxn>
                <a:cxn ang="f4299">
                  <a:pos x="f5874" y="f6160"/>
                </a:cxn>
                <a:cxn ang="f4299">
                  <a:pos x="f5875" y="f6159"/>
                </a:cxn>
                <a:cxn ang="f4299">
                  <a:pos x="f5876" y="f6159"/>
                </a:cxn>
                <a:cxn ang="f4299">
                  <a:pos x="f5877" y="f6160"/>
                </a:cxn>
                <a:cxn ang="f4299">
                  <a:pos x="f5877" y="f6161"/>
                </a:cxn>
                <a:cxn ang="f4299">
                  <a:pos x="f5876" y="f6162"/>
                </a:cxn>
                <a:cxn ang="f4299">
                  <a:pos x="f5875" y="f6162"/>
                </a:cxn>
                <a:cxn ang="f4299">
                  <a:pos x="f5878" y="f6161"/>
                </a:cxn>
                <a:cxn ang="f4299">
                  <a:pos x="f5878" y="f6160"/>
                </a:cxn>
                <a:cxn ang="f4299">
                  <a:pos x="f5879" y="f6159"/>
                </a:cxn>
                <a:cxn ang="f4299">
                  <a:pos x="f5880" y="f6159"/>
                </a:cxn>
                <a:cxn ang="f4299">
                  <a:pos x="f5881" y="f6160"/>
                </a:cxn>
                <a:cxn ang="f4299">
                  <a:pos x="f5881" y="f6161"/>
                </a:cxn>
                <a:cxn ang="f4299">
                  <a:pos x="f5880" y="f6162"/>
                </a:cxn>
                <a:cxn ang="f4299">
                  <a:pos x="f5879" y="f6162"/>
                </a:cxn>
                <a:cxn ang="f4299">
                  <a:pos x="f5882" y="f6161"/>
                </a:cxn>
                <a:cxn ang="f4299">
                  <a:pos x="f5882" y="f6160"/>
                </a:cxn>
                <a:cxn ang="f4299">
                  <a:pos x="f5883" y="f6159"/>
                </a:cxn>
                <a:cxn ang="f4299">
                  <a:pos x="f5884" y="f6159"/>
                </a:cxn>
                <a:cxn ang="f4299">
                  <a:pos x="f5885" y="f6160"/>
                </a:cxn>
                <a:cxn ang="f4299">
                  <a:pos x="f5885" y="f6161"/>
                </a:cxn>
                <a:cxn ang="f4299">
                  <a:pos x="f5884" y="f6162"/>
                </a:cxn>
                <a:cxn ang="f4299">
                  <a:pos x="f5883" y="f6162"/>
                </a:cxn>
                <a:cxn ang="f4299">
                  <a:pos x="f5886" y="f6161"/>
                </a:cxn>
                <a:cxn ang="f4299">
                  <a:pos x="f5886" y="f6160"/>
                </a:cxn>
                <a:cxn ang="f4299">
                  <a:pos x="f5887" y="f6159"/>
                </a:cxn>
                <a:cxn ang="f4299">
                  <a:pos x="f5888" y="f6159"/>
                </a:cxn>
                <a:cxn ang="f4299">
                  <a:pos x="f5889" y="f6160"/>
                </a:cxn>
                <a:cxn ang="f4299">
                  <a:pos x="f5889" y="f6161"/>
                </a:cxn>
                <a:cxn ang="f4299">
                  <a:pos x="f5888" y="f6162"/>
                </a:cxn>
                <a:cxn ang="f4299">
                  <a:pos x="f5887" y="f6162"/>
                </a:cxn>
                <a:cxn ang="f4299">
                  <a:pos x="f5890" y="f6161"/>
                </a:cxn>
                <a:cxn ang="f4299">
                  <a:pos x="f5890" y="f6160"/>
                </a:cxn>
                <a:cxn ang="f4299">
                  <a:pos x="f5891" y="f6159"/>
                </a:cxn>
                <a:cxn ang="f4299">
                  <a:pos x="f5892" y="f6159"/>
                </a:cxn>
                <a:cxn ang="f4299">
                  <a:pos x="f5893" y="f6160"/>
                </a:cxn>
                <a:cxn ang="f4299">
                  <a:pos x="f5893" y="f6161"/>
                </a:cxn>
                <a:cxn ang="f4299">
                  <a:pos x="f5892" y="f6162"/>
                </a:cxn>
                <a:cxn ang="f4299">
                  <a:pos x="f5891" y="f6162"/>
                </a:cxn>
                <a:cxn ang="f4299">
                  <a:pos x="f5894" y="f6161"/>
                </a:cxn>
                <a:cxn ang="f4299">
                  <a:pos x="f5894" y="f6160"/>
                </a:cxn>
                <a:cxn ang="f4299">
                  <a:pos x="f6163" y="f6159"/>
                </a:cxn>
                <a:cxn ang="f4299">
                  <a:pos x="f6132" y="f6159"/>
                </a:cxn>
                <a:cxn ang="f4299">
                  <a:pos x="f6133" y="f6160"/>
                </a:cxn>
                <a:cxn ang="f4299">
                  <a:pos x="f6133" y="f6161"/>
                </a:cxn>
                <a:cxn ang="f4299">
                  <a:pos x="f6132" y="f6162"/>
                </a:cxn>
                <a:cxn ang="f4299">
                  <a:pos x="f6163" y="f6162"/>
                </a:cxn>
                <a:cxn ang="f4299">
                  <a:pos x="f6134" y="f6161"/>
                </a:cxn>
                <a:cxn ang="f4299">
                  <a:pos x="f6134" y="f6160"/>
                </a:cxn>
                <a:cxn ang="f4299">
                  <a:pos x="f6164" y="f6159"/>
                </a:cxn>
                <a:cxn ang="f4299">
                  <a:pos x="f6135" y="f6159"/>
                </a:cxn>
                <a:cxn ang="f4299">
                  <a:pos x="f6136" y="f6160"/>
                </a:cxn>
                <a:cxn ang="f4299">
                  <a:pos x="f6136" y="f6161"/>
                </a:cxn>
                <a:cxn ang="f4299">
                  <a:pos x="f6135" y="f6162"/>
                </a:cxn>
                <a:cxn ang="f4299">
                  <a:pos x="f6164" y="f6162"/>
                </a:cxn>
                <a:cxn ang="f4299">
                  <a:pos x="f6165" y="f6161"/>
                </a:cxn>
                <a:cxn ang="f4299">
                  <a:pos x="f6165" y="f6160"/>
                </a:cxn>
                <a:cxn ang="f4299">
                  <a:pos x="f6166" y="f6159"/>
                </a:cxn>
                <a:cxn ang="f4299">
                  <a:pos x="f6167" y="f6159"/>
                </a:cxn>
                <a:cxn ang="f4299">
                  <a:pos x="f6168" y="f6160"/>
                </a:cxn>
                <a:cxn ang="f4299">
                  <a:pos x="f6168" y="f6161"/>
                </a:cxn>
                <a:cxn ang="f4299">
                  <a:pos x="f6167" y="f6162"/>
                </a:cxn>
                <a:cxn ang="f4299">
                  <a:pos x="f6166" y="f6162"/>
                </a:cxn>
                <a:cxn ang="f4299">
                  <a:pos x="f6169" y="f6161"/>
                </a:cxn>
                <a:cxn ang="f4299">
                  <a:pos x="f6169" y="f6160"/>
                </a:cxn>
                <a:cxn ang="f4299">
                  <a:pos x="f6140" y="f6159"/>
                </a:cxn>
                <a:cxn ang="f4299">
                  <a:pos x="f6170" y="f6159"/>
                </a:cxn>
                <a:cxn ang="f4299">
                  <a:pos x="f6171" y="f6160"/>
                </a:cxn>
                <a:cxn ang="f4299">
                  <a:pos x="f6171" y="f6161"/>
                </a:cxn>
                <a:cxn ang="f4299">
                  <a:pos x="f6170" y="f6162"/>
                </a:cxn>
                <a:cxn ang="f4299">
                  <a:pos x="f6140" y="f6162"/>
                </a:cxn>
                <a:cxn ang="f4299">
                  <a:pos x="f6172" y="f6161"/>
                </a:cxn>
                <a:cxn ang="f4299">
                  <a:pos x="f6172" y="f6160"/>
                </a:cxn>
                <a:cxn ang="f4299">
                  <a:pos x="f5767" y="f6173"/>
                </a:cxn>
                <a:cxn ang="f4299">
                  <a:pos x="f5769" y="f6173"/>
                </a:cxn>
                <a:cxn ang="f4299">
                  <a:pos x="f5770" y="f6174"/>
                </a:cxn>
                <a:cxn ang="f4299">
                  <a:pos x="f5770" y="f6175"/>
                </a:cxn>
                <a:cxn ang="f4299">
                  <a:pos x="f5769" y="f6176"/>
                </a:cxn>
                <a:cxn ang="f4299">
                  <a:pos x="f5767" y="f6176"/>
                </a:cxn>
                <a:cxn ang="f4299">
                  <a:pos x="f5774" y="f6175"/>
                </a:cxn>
                <a:cxn ang="f4299">
                  <a:pos x="f5774" y="f6174"/>
                </a:cxn>
                <a:cxn ang="f4299">
                  <a:pos x="f5775" y="f6173"/>
                </a:cxn>
                <a:cxn ang="f4299">
                  <a:pos x="f5776" y="f6173"/>
                </a:cxn>
                <a:cxn ang="f4299">
                  <a:pos x="f5777" y="f6174"/>
                </a:cxn>
                <a:cxn ang="f4299">
                  <a:pos x="f5777" y="f6175"/>
                </a:cxn>
                <a:cxn ang="f4299">
                  <a:pos x="f5776" y="f6176"/>
                </a:cxn>
                <a:cxn ang="f4299">
                  <a:pos x="f5775" y="f6176"/>
                </a:cxn>
                <a:cxn ang="f4299">
                  <a:pos x="f5778" y="f6175"/>
                </a:cxn>
                <a:cxn ang="f4299">
                  <a:pos x="f5778" y="f6174"/>
                </a:cxn>
                <a:cxn ang="f4299">
                  <a:pos x="f5779" y="f6173"/>
                </a:cxn>
                <a:cxn ang="f4299">
                  <a:pos x="f5780" y="f6173"/>
                </a:cxn>
                <a:cxn ang="f4299">
                  <a:pos x="f5781" y="f6174"/>
                </a:cxn>
                <a:cxn ang="f4299">
                  <a:pos x="f5781" y="f6175"/>
                </a:cxn>
                <a:cxn ang="f4299">
                  <a:pos x="f5780" y="f6176"/>
                </a:cxn>
                <a:cxn ang="f4299">
                  <a:pos x="f5779" y="f6176"/>
                </a:cxn>
                <a:cxn ang="f4299">
                  <a:pos x="f5782" y="f6175"/>
                </a:cxn>
                <a:cxn ang="f4299">
                  <a:pos x="f5782" y="f6174"/>
                </a:cxn>
                <a:cxn ang="f4299">
                  <a:pos x="f5783" y="f6173"/>
                </a:cxn>
                <a:cxn ang="f4299">
                  <a:pos x="f5784" y="f6173"/>
                </a:cxn>
                <a:cxn ang="f4299">
                  <a:pos x="f5785" y="f6174"/>
                </a:cxn>
                <a:cxn ang="f4299">
                  <a:pos x="f5785" y="f6175"/>
                </a:cxn>
                <a:cxn ang="f4299">
                  <a:pos x="f5784" y="f6176"/>
                </a:cxn>
                <a:cxn ang="f4299">
                  <a:pos x="f5783" y="f6176"/>
                </a:cxn>
                <a:cxn ang="f4299">
                  <a:pos x="f5786" y="f6175"/>
                </a:cxn>
                <a:cxn ang="f4299">
                  <a:pos x="f5786" y="f6174"/>
                </a:cxn>
                <a:cxn ang="f4299">
                  <a:pos x="f5787" y="f6173"/>
                </a:cxn>
                <a:cxn ang="f4299">
                  <a:pos x="f5788" y="f6173"/>
                </a:cxn>
                <a:cxn ang="f4299">
                  <a:pos x="f5789" y="f6174"/>
                </a:cxn>
                <a:cxn ang="f4299">
                  <a:pos x="f5789" y="f6175"/>
                </a:cxn>
                <a:cxn ang="f4299">
                  <a:pos x="f5788" y="f6176"/>
                </a:cxn>
                <a:cxn ang="f4299">
                  <a:pos x="f5787" y="f6176"/>
                </a:cxn>
                <a:cxn ang="f4299">
                  <a:pos x="f5790" y="f6175"/>
                </a:cxn>
                <a:cxn ang="f4299">
                  <a:pos x="f5790" y="f6174"/>
                </a:cxn>
                <a:cxn ang="f4299">
                  <a:pos x="f5791" y="f6173"/>
                </a:cxn>
                <a:cxn ang="f4299">
                  <a:pos x="f5792" y="f6173"/>
                </a:cxn>
                <a:cxn ang="f4299">
                  <a:pos x="f5793" y="f6174"/>
                </a:cxn>
                <a:cxn ang="f4299">
                  <a:pos x="f5793" y="f6175"/>
                </a:cxn>
                <a:cxn ang="f4299">
                  <a:pos x="f5792" y="f6176"/>
                </a:cxn>
                <a:cxn ang="f4299">
                  <a:pos x="f5791" y="f6176"/>
                </a:cxn>
                <a:cxn ang="f4299">
                  <a:pos x="f5794" y="f6175"/>
                </a:cxn>
                <a:cxn ang="f4299">
                  <a:pos x="f5794" y="f6174"/>
                </a:cxn>
                <a:cxn ang="f4299">
                  <a:pos x="f5795" y="f6173"/>
                </a:cxn>
                <a:cxn ang="f4299">
                  <a:pos x="f5796" y="f6173"/>
                </a:cxn>
                <a:cxn ang="f4299">
                  <a:pos x="f5797" y="f6174"/>
                </a:cxn>
                <a:cxn ang="f4299">
                  <a:pos x="f5797" y="f6175"/>
                </a:cxn>
                <a:cxn ang="f4299">
                  <a:pos x="f5796" y="f6176"/>
                </a:cxn>
                <a:cxn ang="f4299">
                  <a:pos x="f5795" y="f6176"/>
                </a:cxn>
                <a:cxn ang="f4299">
                  <a:pos x="f5798" y="f6175"/>
                </a:cxn>
                <a:cxn ang="f4299">
                  <a:pos x="f5798" y="f6174"/>
                </a:cxn>
                <a:cxn ang="f4299">
                  <a:pos x="f5799" y="f6173"/>
                </a:cxn>
                <a:cxn ang="f4299">
                  <a:pos x="f5800" y="f6173"/>
                </a:cxn>
                <a:cxn ang="f4299">
                  <a:pos x="f5801" y="f6174"/>
                </a:cxn>
                <a:cxn ang="f4299">
                  <a:pos x="f5801" y="f6175"/>
                </a:cxn>
                <a:cxn ang="f4299">
                  <a:pos x="f5800" y="f6176"/>
                </a:cxn>
                <a:cxn ang="f4299">
                  <a:pos x="f5799" y="f6176"/>
                </a:cxn>
                <a:cxn ang="f4299">
                  <a:pos x="f5802" y="f6175"/>
                </a:cxn>
                <a:cxn ang="f4299">
                  <a:pos x="f5802" y="f6174"/>
                </a:cxn>
                <a:cxn ang="f4299">
                  <a:pos x="f5803" y="f6173"/>
                </a:cxn>
                <a:cxn ang="f4299">
                  <a:pos x="f5804" y="f6173"/>
                </a:cxn>
                <a:cxn ang="f4299">
                  <a:pos x="f5805" y="f6174"/>
                </a:cxn>
                <a:cxn ang="f4299">
                  <a:pos x="f5805" y="f6175"/>
                </a:cxn>
                <a:cxn ang="f4299">
                  <a:pos x="f5804" y="f6176"/>
                </a:cxn>
                <a:cxn ang="f4299">
                  <a:pos x="f5803" y="f6176"/>
                </a:cxn>
                <a:cxn ang="f4299">
                  <a:pos x="f5806" y="f6175"/>
                </a:cxn>
                <a:cxn ang="f4299">
                  <a:pos x="f5806" y="f6174"/>
                </a:cxn>
                <a:cxn ang="f4299">
                  <a:pos x="f5807" y="f6173"/>
                </a:cxn>
                <a:cxn ang="f4299">
                  <a:pos x="f5808" y="f6173"/>
                </a:cxn>
                <a:cxn ang="f4299">
                  <a:pos x="f5809" y="f6174"/>
                </a:cxn>
                <a:cxn ang="f4299">
                  <a:pos x="f5809" y="f6175"/>
                </a:cxn>
                <a:cxn ang="f4299">
                  <a:pos x="f5808" y="f6176"/>
                </a:cxn>
                <a:cxn ang="f4299">
                  <a:pos x="f5807" y="f6176"/>
                </a:cxn>
                <a:cxn ang="f4299">
                  <a:pos x="f5810" y="f6175"/>
                </a:cxn>
                <a:cxn ang="f4299">
                  <a:pos x="f5810" y="f6174"/>
                </a:cxn>
                <a:cxn ang="f4299">
                  <a:pos x="f5811" y="f6173"/>
                </a:cxn>
                <a:cxn ang="f4299">
                  <a:pos x="f5812" y="f6173"/>
                </a:cxn>
                <a:cxn ang="f4299">
                  <a:pos x="f5813" y="f6174"/>
                </a:cxn>
                <a:cxn ang="f4299">
                  <a:pos x="f5813" y="f6175"/>
                </a:cxn>
                <a:cxn ang="f4299">
                  <a:pos x="f5812" y="f6176"/>
                </a:cxn>
                <a:cxn ang="f4299">
                  <a:pos x="f5811" y="f6176"/>
                </a:cxn>
                <a:cxn ang="f4299">
                  <a:pos x="f5814" y="f6175"/>
                </a:cxn>
                <a:cxn ang="f4299">
                  <a:pos x="f5814" y="f6174"/>
                </a:cxn>
                <a:cxn ang="f4299">
                  <a:pos x="f5815" y="f6173"/>
                </a:cxn>
                <a:cxn ang="f4299">
                  <a:pos x="f5816" y="f6173"/>
                </a:cxn>
                <a:cxn ang="f4299">
                  <a:pos x="f5817" y="f6174"/>
                </a:cxn>
                <a:cxn ang="f4299">
                  <a:pos x="f5817" y="f6175"/>
                </a:cxn>
                <a:cxn ang="f4299">
                  <a:pos x="f5816" y="f6176"/>
                </a:cxn>
                <a:cxn ang="f4299">
                  <a:pos x="f5815" y="f6176"/>
                </a:cxn>
                <a:cxn ang="f4299">
                  <a:pos x="f5818" y="f6175"/>
                </a:cxn>
                <a:cxn ang="f4299">
                  <a:pos x="f5818" y="f6174"/>
                </a:cxn>
                <a:cxn ang="f4299">
                  <a:pos x="f5819" y="f6173"/>
                </a:cxn>
                <a:cxn ang="f4299">
                  <a:pos x="f5820" y="f6173"/>
                </a:cxn>
                <a:cxn ang="f4299">
                  <a:pos x="f5821" y="f6174"/>
                </a:cxn>
                <a:cxn ang="f4299">
                  <a:pos x="f5821" y="f6175"/>
                </a:cxn>
                <a:cxn ang="f4299">
                  <a:pos x="f5820" y="f6176"/>
                </a:cxn>
                <a:cxn ang="f4299">
                  <a:pos x="f5819" y="f6176"/>
                </a:cxn>
                <a:cxn ang="f4299">
                  <a:pos x="f5822" y="f6175"/>
                </a:cxn>
                <a:cxn ang="f4299">
                  <a:pos x="f5822" y="f6174"/>
                </a:cxn>
                <a:cxn ang="f4299">
                  <a:pos x="f5823" y="f6173"/>
                </a:cxn>
                <a:cxn ang="f4299">
                  <a:pos x="f5824" y="f6173"/>
                </a:cxn>
                <a:cxn ang="f4299">
                  <a:pos x="f5825" y="f6174"/>
                </a:cxn>
                <a:cxn ang="f4299">
                  <a:pos x="f5825" y="f6175"/>
                </a:cxn>
                <a:cxn ang="f4299">
                  <a:pos x="f5824" y="f6176"/>
                </a:cxn>
                <a:cxn ang="f4299">
                  <a:pos x="f5823" y="f6176"/>
                </a:cxn>
                <a:cxn ang="f4299">
                  <a:pos x="f5826" y="f6175"/>
                </a:cxn>
                <a:cxn ang="f4299">
                  <a:pos x="f5826" y="f6174"/>
                </a:cxn>
                <a:cxn ang="f4299">
                  <a:pos x="f5827" y="f6173"/>
                </a:cxn>
                <a:cxn ang="f4299">
                  <a:pos x="f5828" y="f6173"/>
                </a:cxn>
                <a:cxn ang="f4299">
                  <a:pos x="f5829" y="f6174"/>
                </a:cxn>
                <a:cxn ang="f4299">
                  <a:pos x="f5829" y="f6175"/>
                </a:cxn>
                <a:cxn ang="f4299">
                  <a:pos x="f5828" y="f6176"/>
                </a:cxn>
                <a:cxn ang="f4299">
                  <a:pos x="f5827" y="f6176"/>
                </a:cxn>
                <a:cxn ang="f4299">
                  <a:pos x="f5830" y="f6175"/>
                </a:cxn>
                <a:cxn ang="f4299">
                  <a:pos x="f5830" y="f6174"/>
                </a:cxn>
                <a:cxn ang="f4299">
                  <a:pos x="f5831" y="f6173"/>
                </a:cxn>
                <a:cxn ang="f4299">
                  <a:pos x="f5832" y="f6173"/>
                </a:cxn>
                <a:cxn ang="f4299">
                  <a:pos x="f5833" y="f6174"/>
                </a:cxn>
                <a:cxn ang="f4299">
                  <a:pos x="f5833" y="f6175"/>
                </a:cxn>
                <a:cxn ang="f4299">
                  <a:pos x="f5832" y="f6176"/>
                </a:cxn>
                <a:cxn ang="f4299">
                  <a:pos x="f5831" y="f6176"/>
                </a:cxn>
                <a:cxn ang="f4299">
                  <a:pos x="f5834" y="f6175"/>
                </a:cxn>
                <a:cxn ang="f4299">
                  <a:pos x="f5834" y="f6174"/>
                </a:cxn>
                <a:cxn ang="f4299">
                  <a:pos x="f5835" y="f6173"/>
                </a:cxn>
                <a:cxn ang="f4299">
                  <a:pos x="f5836" y="f6173"/>
                </a:cxn>
                <a:cxn ang="f4299">
                  <a:pos x="f5837" y="f6174"/>
                </a:cxn>
                <a:cxn ang="f4299">
                  <a:pos x="f5837" y="f6175"/>
                </a:cxn>
                <a:cxn ang="f4299">
                  <a:pos x="f5836" y="f6176"/>
                </a:cxn>
                <a:cxn ang="f4299">
                  <a:pos x="f5835" y="f6176"/>
                </a:cxn>
                <a:cxn ang="f4299">
                  <a:pos x="f5838" y="f6175"/>
                </a:cxn>
                <a:cxn ang="f4299">
                  <a:pos x="f5838" y="f6174"/>
                </a:cxn>
                <a:cxn ang="f4299">
                  <a:pos x="f5839" y="f6173"/>
                </a:cxn>
                <a:cxn ang="f4299">
                  <a:pos x="f5840" y="f6173"/>
                </a:cxn>
                <a:cxn ang="f4299">
                  <a:pos x="f5841" y="f6174"/>
                </a:cxn>
                <a:cxn ang="f4299">
                  <a:pos x="f5841" y="f6175"/>
                </a:cxn>
                <a:cxn ang="f4299">
                  <a:pos x="f5840" y="f6176"/>
                </a:cxn>
                <a:cxn ang="f4299">
                  <a:pos x="f5839" y="f6176"/>
                </a:cxn>
                <a:cxn ang="f4299">
                  <a:pos x="f5842" y="f6175"/>
                </a:cxn>
                <a:cxn ang="f4299">
                  <a:pos x="f5842" y="f6174"/>
                </a:cxn>
                <a:cxn ang="f4299">
                  <a:pos x="f5843" y="f6173"/>
                </a:cxn>
                <a:cxn ang="f4299">
                  <a:pos x="f5844" y="f6173"/>
                </a:cxn>
                <a:cxn ang="f4299">
                  <a:pos x="f5845" y="f6174"/>
                </a:cxn>
                <a:cxn ang="f4299">
                  <a:pos x="f5845" y="f6175"/>
                </a:cxn>
                <a:cxn ang="f4299">
                  <a:pos x="f5844" y="f6176"/>
                </a:cxn>
                <a:cxn ang="f4299">
                  <a:pos x="f5843" y="f6176"/>
                </a:cxn>
                <a:cxn ang="f4299">
                  <a:pos x="f5846" y="f6175"/>
                </a:cxn>
                <a:cxn ang="f4299">
                  <a:pos x="f5846" y="f6174"/>
                </a:cxn>
                <a:cxn ang="f4299">
                  <a:pos x="f5847" y="f6173"/>
                </a:cxn>
                <a:cxn ang="f4299">
                  <a:pos x="f5848" y="f6173"/>
                </a:cxn>
                <a:cxn ang="f4299">
                  <a:pos x="f5849" y="f6174"/>
                </a:cxn>
                <a:cxn ang="f4299">
                  <a:pos x="f5849" y="f6175"/>
                </a:cxn>
                <a:cxn ang="f4299">
                  <a:pos x="f5848" y="f6176"/>
                </a:cxn>
                <a:cxn ang="f4299">
                  <a:pos x="f5847" y="f6176"/>
                </a:cxn>
                <a:cxn ang="f4299">
                  <a:pos x="f5850" y="f6175"/>
                </a:cxn>
                <a:cxn ang="f4299">
                  <a:pos x="f5850" y="f6174"/>
                </a:cxn>
                <a:cxn ang="f4299">
                  <a:pos x="f5851" y="f6173"/>
                </a:cxn>
                <a:cxn ang="f4299">
                  <a:pos x="f5852" y="f6173"/>
                </a:cxn>
                <a:cxn ang="f4299">
                  <a:pos x="f5853" y="f6174"/>
                </a:cxn>
                <a:cxn ang="f4299">
                  <a:pos x="f5853" y="f6175"/>
                </a:cxn>
                <a:cxn ang="f4299">
                  <a:pos x="f5852" y="f6176"/>
                </a:cxn>
                <a:cxn ang="f4299">
                  <a:pos x="f5851" y="f6176"/>
                </a:cxn>
                <a:cxn ang="f4299">
                  <a:pos x="f5854" y="f6175"/>
                </a:cxn>
                <a:cxn ang="f4299">
                  <a:pos x="f5854" y="f6174"/>
                </a:cxn>
                <a:cxn ang="f4299">
                  <a:pos x="f5855" y="f6173"/>
                </a:cxn>
                <a:cxn ang="f4299">
                  <a:pos x="f5856" y="f6173"/>
                </a:cxn>
                <a:cxn ang="f4299">
                  <a:pos x="f5857" y="f6174"/>
                </a:cxn>
                <a:cxn ang="f4299">
                  <a:pos x="f5857" y="f6175"/>
                </a:cxn>
                <a:cxn ang="f4299">
                  <a:pos x="f5856" y="f6176"/>
                </a:cxn>
                <a:cxn ang="f4299">
                  <a:pos x="f5855" y="f6176"/>
                </a:cxn>
                <a:cxn ang="f4299">
                  <a:pos x="f5858" y="f6175"/>
                </a:cxn>
                <a:cxn ang="f4299">
                  <a:pos x="f5858" y="f6174"/>
                </a:cxn>
                <a:cxn ang="f4299">
                  <a:pos x="f5859" y="f6173"/>
                </a:cxn>
                <a:cxn ang="f4299">
                  <a:pos x="f5860" y="f6173"/>
                </a:cxn>
                <a:cxn ang="f4299">
                  <a:pos x="f5861" y="f6174"/>
                </a:cxn>
                <a:cxn ang="f4299">
                  <a:pos x="f5861" y="f6175"/>
                </a:cxn>
                <a:cxn ang="f4299">
                  <a:pos x="f5860" y="f6176"/>
                </a:cxn>
                <a:cxn ang="f4299">
                  <a:pos x="f5859" y="f6176"/>
                </a:cxn>
                <a:cxn ang="f4299">
                  <a:pos x="f5862" y="f6175"/>
                </a:cxn>
                <a:cxn ang="f4299">
                  <a:pos x="f5862" y="f6174"/>
                </a:cxn>
                <a:cxn ang="f4299">
                  <a:pos x="f5863" y="f6173"/>
                </a:cxn>
                <a:cxn ang="f4299">
                  <a:pos x="f5864" y="f6173"/>
                </a:cxn>
                <a:cxn ang="f4299">
                  <a:pos x="f5865" y="f6174"/>
                </a:cxn>
                <a:cxn ang="f4299">
                  <a:pos x="f5865" y="f6175"/>
                </a:cxn>
                <a:cxn ang="f4299">
                  <a:pos x="f5864" y="f6176"/>
                </a:cxn>
                <a:cxn ang="f4299">
                  <a:pos x="f5863" y="f6176"/>
                </a:cxn>
                <a:cxn ang="f4299">
                  <a:pos x="f5866" y="f6175"/>
                </a:cxn>
                <a:cxn ang="f4299">
                  <a:pos x="f5866" y="f6174"/>
                </a:cxn>
                <a:cxn ang="f4299">
                  <a:pos x="f5867" y="f6173"/>
                </a:cxn>
                <a:cxn ang="f4299">
                  <a:pos x="f5868" y="f6173"/>
                </a:cxn>
                <a:cxn ang="f4299">
                  <a:pos x="f5869" y="f6174"/>
                </a:cxn>
                <a:cxn ang="f4299">
                  <a:pos x="f5869" y="f6175"/>
                </a:cxn>
                <a:cxn ang="f4299">
                  <a:pos x="f5868" y="f6176"/>
                </a:cxn>
                <a:cxn ang="f4299">
                  <a:pos x="f5867" y="f6176"/>
                </a:cxn>
                <a:cxn ang="f4299">
                  <a:pos x="f5870" y="f6175"/>
                </a:cxn>
                <a:cxn ang="f4299">
                  <a:pos x="f5870" y="f6174"/>
                </a:cxn>
                <a:cxn ang="f4299">
                  <a:pos x="f5871" y="f6173"/>
                </a:cxn>
                <a:cxn ang="f4299">
                  <a:pos x="f5872" y="f6173"/>
                </a:cxn>
                <a:cxn ang="f4299">
                  <a:pos x="f5873" y="f6174"/>
                </a:cxn>
                <a:cxn ang="f4299">
                  <a:pos x="f5873" y="f6175"/>
                </a:cxn>
                <a:cxn ang="f4299">
                  <a:pos x="f5872" y="f6176"/>
                </a:cxn>
                <a:cxn ang="f4299">
                  <a:pos x="f5871" y="f6176"/>
                </a:cxn>
                <a:cxn ang="f4299">
                  <a:pos x="f5874" y="f6175"/>
                </a:cxn>
                <a:cxn ang="f4299">
                  <a:pos x="f5874" y="f6174"/>
                </a:cxn>
                <a:cxn ang="f4299">
                  <a:pos x="f5875" y="f6173"/>
                </a:cxn>
                <a:cxn ang="f4299">
                  <a:pos x="f5876" y="f6173"/>
                </a:cxn>
                <a:cxn ang="f4299">
                  <a:pos x="f5877" y="f6174"/>
                </a:cxn>
                <a:cxn ang="f4299">
                  <a:pos x="f5877" y="f6175"/>
                </a:cxn>
                <a:cxn ang="f4299">
                  <a:pos x="f5876" y="f6176"/>
                </a:cxn>
                <a:cxn ang="f4299">
                  <a:pos x="f5875" y="f6176"/>
                </a:cxn>
                <a:cxn ang="f4299">
                  <a:pos x="f5878" y="f6175"/>
                </a:cxn>
                <a:cxn ang="f4299">
                  <a:pos x="f5878" y="f6174"/>
                </a:cxn>
                <a:cxn ang="f4299">
                  <a:pos x="f5879" y="f6173"/>
                </a:cxn>
                <a:cxn ang="f4299">
                  <a:pos x="f5880" y="f6173"/>
                </a:cxn>
                <a:cxn ang="f4299">
                  <a:pos x="f5881" y="f6174"/>
                </a:cxn>
                <a:cxn ang="f4299">
                  <a:pos x="f5881" y="f6175"/>
                </a:cxn>
                <a:cxn ang="f4299">
                  <a:pos x="f5880" y="f6176"/>
                </a:cxn>
                <a:cxn ang="f4299">
                  <a:pos x="f5879" y="f6176"/>
                </a:cxn>
                <a:cxn ang="f4299">
                  <a:pos x="f5882" y="f6175"/>
                </a:cxn>
                <a:cxn ang="f4299">
                  <a:pos x="f5882" y="f6174"/>
                </a:cxn>
                <a:cxn ang="f4299">
                  <a:pos x="f5883" y="f6173"/>
                </a:cxn>
                <a:cxn ang="f4299">
                  <a:pos x="f5884" y="f6173"/>
                </a:cxn>
                <a:cxn ang="f4299">
                  <a:pos x="f5885" y="f6174"/>
                </a:cxn>
                <a:cxn ang="f4299">
                  <a:pos x="f5885" y="f6175"/>
                </a:cxn>
                <a:cxn ang="f4299">
                  <a:pos x="f5884" y="f6176"/>
                </a:cxn>
                <a:cxn ang="f4299">
                  <a:pos x="f5883" y="f6176"/>
                </a:cxn>
                <a:cxn ang="f4299">
                  <a:pos x="f5886" y="f6175"/>
                </a:cxn>
                <a:cxn ang="f4299">
                  <a:pos x="f5886" y="f6174"/>
                </a:cxn>
                <a:cxn ang="f4299">
                  <a:pos x="f5887" y="f6173"/>
                </a:cxn>
                <a:cxn ang="f4299">
                  <a:pos x="f5888" y="f6173"/>
                </a:cxn>
                <a:cxn ang="f4299">
                  <a:pos x="f5889" y="f6174"/>
                </a:cxn>
                <a:cxn ang="f4299">
                  <a:pos x="f5889" y="f6175"/>
                </a:cxn>
                <a:cxn ang="f4299">
                  <a:pos x="f5888" y="f6176"/>
                </a:cxn>
                <a:cxn ang="f4299">
                  <a:pos x="f5887" y="f6176"/>
                </a:cxn>
                <a:cxn ang="f4299">
                  <a:pos x="f5890" y="f6175"/>
                </a:cxn>
                <a:cxn ang="f4299">
                  <a:pos x="f5890" y="f6174"/>
                </a:cxn>
                <a:cxn ang="f4299">
                  <a:pos x="f5891" y="f6173"/>
                </a:cxn>
                <a:cxn ang="f4299">
                  <a:pos x="f5892" y="f6173"/>
                </a:cxn>
                <a:cxn ang="f4299">
                  <a:pos x="f5893" y="f6174"/>
                </a:cxn>
                <a:cxn ang="f4299">
                  <a:pos x="f5893" y="f6175"/>
                </a:cxn>
                <a:cxn ang="f4299">
                  <a:pos x="f5892" y="f6176"/>
                </a:cxn>
                <a:cxn ang="f4299">
                  <a:pos x="f5891" y="f6176"/>
                </a:cxn>
                <a:cxn ang="f4299">
                  <a:pos x="f5894" y="f6175"/>
                </a:cxn>
                <a:cxn ang="f4299">
                  <a:pos x="f5894" y="f6174"/>
                </a:cxn>
                <a:cxn ang="f4299">
                  <a:pos x="f6057" y="f6173"/>
                </a:cxn>
                <a:cxn ang="f4299">
                  <a:pos x="f6029" y="f6173"/>
                </a:cxn>
                <a:cxn ang="f4299">
                  <a:pos x="f6144" y="f6174"/>
                </a:cxn>
                <a:cxn ang="f4299">
                  <a:pos x="f6144" y="f6175"/>
                </a:cxn>
                <a:cxn ang="f4299">
                  <a:pos x="f6029" y="f6176"/>
                </a:cxn>
                <a:cxn ang="f4299">
                  <a:pos x="f6057" y="f6176"/>
                </a:cxn>
                <a:cxn ang="f4299">
                  <a:pos x="f6115" y="f6175"/>
                </a:cxn>
                <a:cxn ang="f4299">
                  <a:pos x="f6115" y="f6174"/>
                </a:cxn>
                <a:cxn ang="f4299">
                  <a:pos x="f6148" y="f6173"/>
                </a:cxn>
                <a:cxn ang="f4299">
                  <a:pos x="f6116" y="f6173"/>
                </a:cxn>
                <a:cxn ang="f4299">
                  <a:pos x="f6063" y="f6174"/>
                </a:cxn>
                <a:cxn ang="f4299">
                  <a:pos x="f6063" y="f6175"/>
                </a:cxn>
                <a:cxn ang="f4299">
                  <a:pos x="f6116" y="f6176"/>
                </a:cxn>
                <a:cxn ang="f4299">
                  <a:pos x="f6148" y="f6176"/>
                </a:cxn>
                <a:cxn ang="f4299">
                  <a:pos x="f6033" y="f6175"/>
                </a:cxn>
                <a:cxn ang="f4299">
                  <a:pos x="f6033" y="f6174"/>
                </a:cxn>
                <a:cxn ang="f4299">
                  <a:pos x="f6177" y="f6173"/>
                </a:cxn>
                <a:cxn ang="f4299">
                  <a:pos x="f6149" y="f6173"/>
                </a:cxn>
                <a:cxn ang="f4299">
                  <a:pos x="f6178" y="f6174"/>
                </a:cxn>
                <a:cxn ang="f4299">
                  <a:pos x="f6178" y="f6175"/>
                </a:cxn>
                <a:cxn ang="f4299">
                  <a:pos x="f6149" y="f6176"/>
                </a:cxn>
                <a:cxn ang="f4299">
                  <a:pos x="f6177" y="f6176"/>
                </a:cxn>
                <a:cxn ang="f4299">
                  <a:pos x="f6179" y="f6175"/>
                </a:cxn>
                <a:cxn ang="f4299">
                  <a:pos x="f6179" y="f6174"/>
                </a:cxn>
                <a:cxn ang="f4299">
                  <a:pos x="f6152" y="f6173"/>
                </a:cxn>
                <a:cxn ang="f4299">
                  <a:pos x="f6180" y="f6173"/>
                </a:cxn>
                <a:cxn ang="f4299">
                  <a:pos x="f6181" y="f6174"/>
                </a:cxn>
                <a:cxn ang="f4299">
                  <a:pos x="f6181" y="f6175"/>
                </a:cxn>
                <a:cxn ang="f4299">
                  <a:pos x="f6180" y="f6176"/>
                </a:cxn>
                <a:cxn ang="f4299">
                  <a:pos x="f6152" y="f6176"/>
                </a:cxn>
                <a:cxn ang="f4299">
                  <a:pos x="f6182" y="f6175"/>
                </a:cxn>
                <a:cxn ang="f4299">
                  <a:pos x="f6182" y="f6174"/>
                </a:cxn>
                <a:cxn ang="f4299">
                  <a:pos x="f6183" y="f6173"/>
                </a:cxn>
                <a:cxn ang="f4299">
                  <a:pos x="f6154" y="f6173"/>
                </a:cxn>
                <a:cxn ang="f4299">
                  <a:pos x="f6155" y="f6174"/>
                </a:cxn>
                <a:cxn ang="f4299">
                  <a:pos x="f6155" y="f6175"/>
                </a:cxn>
                <a:cxn ang="f4299">
                  <a:pos x="f6154" y="f6176"/>
                </a:cxn>
                <a:cxn ang="f4299">
                  <a:pos x="f6183" y="f6176"/>
                </a:cxn>
                <a:cxn ang="f4299">
                  <a:pos x="f6184" y="f6175"/>
                </a:cxn>
                <a:cxn ang="f4299">
                  <a:pos x="f6184" y="f6174"/>
                </a:cxn>
                <a:cxn ang="f4299">
                  <a:pos x="f6156" y="f6173"/>
                </a:cxn>
                <a:cxn ang="f4299">
                  <a:pos x="f6185" y="f6173"/>
                </a:cxn>
                <a:cxn ang="f4299">
                  <a:pos x="f6186" y="f6174"/>
                </a:cxn>
                <a:cxn ang="f4299">
                  <a:pos x="f6186" y="f6175"/>
                </a:cxn>
                <a:cxn ang="f4299">
                  <a:pos x="f6185" y="f6176"/>
                </a:cxn>
                <a:cxn ang="f4299">
                  <a:pos x="f6156" y="f6176"/>
                </a:cxn>
                <a:cxn ang="f4299">
                  <a:pos x="f6158" y="f6175"/>
                </a:cxn>
                <a:cxn ang="f4299">
                  <a:pos x="f6158" y="f6174"/>
                </a:cxn>
                <a:cxn ang="f4299">
                  <a:pos x="f6163" y="f6173"/>
                </a:cxn>
                <a:cxn ang="f4299">
                  <a:pos x="f6187" y="f6173"/>
                </a:cxn>
                <a:cxn ang="f4299">
                  <a:pos x="f6188" y="f6174"/>
                </a:cxn>
                <a:cxn ang="f4299">
                  <a:pos x="f6188" y="f6175"/>
                </a:cxn>
                <a:cxn ang="f4299">
                  <a:pos x="f6187" y="f6176"/>
                </a:cxn>
                <a:cxn ang="f4299">
                  <a:pos x="f6163" y="f6176"/>
                </a:cxn>
                <a:cxn ang="f4299">
                  <a:pos x="f6189" y="f6175"/>
                </a:cxn>
                <a:cxn ang="f4299">
                  <a:pos x="f6189" y="f6174"/>
                </a:cxn>
                <a:cxn ang="f4299">
                  <a:pos x="f6190" y="f6173"/>
                </a:cxn>
                <a:cxn ang="f4299">
                  <a:pos x="f6191" y="f6173"/>
                </a:cxn>
                <a:cxn ang="f4299">
                  <a:pos x="f6192" y="f6174"/>
                </a:cxn>
                <a:cxn ang="f4299">
                  <a:pos x="f6192" y="f6175"/>
                </a:cxn>
                <a:cxn ang="f4299">
                  <a:pos x="f6191" y="f6176"/>
                </a:cxn>
                <a:cxn ang="f4299">
                  <a:pos x="f6190" y="f6176"/>
                </a:cxn>
                <a:cxn ang="f4299">
                  <a:pos x="f6193" y="f6175"/>
                </a:cxn>
                <a:cxn ang="f4299">
                  <a:pos x="f6193" y="f6174"/>
                </a:cxn>
                <a:cxn ang="f4299">
                  <a:pos x="f6166" y="f6173"/>
                </a:cxn>
                <a:cxn ang="f4299">
                  <a:pos x="f6194" y="f6173"/>
                </a:cxn>
                <a:cxn ang="f4299">
                  <a:pos x="f6195" y="f6174"/>
                </a:cxn>
                <a:cxn ang="f4299">
                  <a:pos x="f6195" y="f6175"/>
                </a:cxn>
                <a:cxn ang="f4299">
                  <a:pos x="f6194" y="f6176"/>
                </a:cxn>
                <a:cxn ang="f4299">
                  <a:pos x="f6166" y="f6176"/>
                </a:cxn>
                <a:cxn ang="f4299">
                  <a:pos x="f6169" y="f6175"/>
                </a:cxn>
                <a:cxn ang="f4299">
                  <a:pos x="f6169" y="f6174"/>
                </a:cxn>
                <a:cxn ang="f4299">
                  <a:pos x="f6196" y="f6173"/>
                </a:cxn>
                <a:cxn ang="f4299">
                  <a:pos x="f6170" y="f6173"/>
                </a:cxn>
                <a:cxn ang="f4299">
                  <a:pos x="f6197" y="f6174"/>
                </a:cxn>
                <a:cxn ang="f4299">
                  <a:pos x="f6197" y="f6175"/>
                </a:cxn>
                <a:cxn ang="f4299">
                  <a:pos x="f6170" y="f6176"/>
                </a:cxn>
                <a:cxn ang="f4299">
                  <a:pos x="f6196" y="f6176"/>
                </a:cxn>
                <a:cxn ang="f4299">
                  <a:pos x="f6172" y="f6175"/>
                </a:cxn>
                <a:cxn ang="f4299">
                  <a:pos x="f6172" y="f6174"/>
                </a:cxn>
                <a:cxn ang="f4299">
                  <a:pos x="f6198" y="f6199"/>
                </a:cxn>
                <a:cxn ang="f4299">
                  <a:pos x="f6200" y="f6199"/>
                </a:cxn>
                <a:cxn ang="f4299">
                  <a:pos x="f6144" y="f6201"/>
                </a:cxn>
                <a:cxn ang="f4299">
                  <a:pos x="f6144" y="f6202"/>
                </a:cxn>
                <a:cxn ang="f4299">
                  <a:pos x="f6200" y="f6203"/>
                </a:cxn>
                <a:cxn ang="f4299">
                  <a:pos x="f6198" y="f6203"/>
                </a:cxn>
                <a:cxn ang="f4299">
                  <a:pos x="f6115" y="f6202"/>
                </a:cxn>
                <a:cxn ang="f4299">
                  <a:pos x="f6115" y="f6201"/>
                </a:cxn>
                <a:cxn ang="f4299">
                  <a:pos x="f6148" y="f6199"/>
                </a:cxn>
                <a:cxn ang="f4299">
                  <a:pos x="f6116" y="f6199"/>
                </a:cxn>
                <a:cxn ang="f4299">
                  <a:pos x="f6063" y="f6201"/>
                </a:cxn>
                <a:cxn ang="f4299">
                  <a:pos x="f6063" y="f6202"/>
                </a:cxn>
                <a:cxn ang="f4299">
                  <a:pos x="f6116" y="f6203"/>
                </a:cxn>
                <a:cxn ang="f4299">
                  <a:pos x="f6148" y="f6203"/>
                </a:cxn>
                <a:cxn ang="f4299">
                  <a:pos x="f6204" y="f6202"/>
                </a:cxn>
                <a:cxn ang="f4299">
                  <a:pos x="f6204" y="f6201"/>
                </a:cxn>
                <a:cxn ang="f4299">
                  <a:pos x="f6205" y="f6199"/>
                </a:cxn>
                <a:cxn ang="f4299">
                  <a:pos x="f6206" y="f6199"/>
                </a:cxn>
                <a:cxn ang="f4299">
                  <a:pos x="f6178" y="f6201"/>
                </a:cxn>
                <a:cxn ang="f4299">
                  <a:pos x="f6178" y="f6202"/>
                </a:cxn>
                <a:cxn ang="f4299">
                  <a:pos x="f6206" y="f6203"/>
                </a:cxn>
                <a:cxn ang="f4299">
                  <a:pos x="f6205" y="f6203"/>
                </a:cxn>
                <a:cxn ang="f4299">
                  <a:pos x="f6179" y="f6202"/>
                </a:cxn>
                <a:cxn ang="f4299">
                  <a:pos x="f6179" y="f6201"/>
                </a:cxn>
                <a:cxn ang="f4299">
                  <a:pos x="f6207" y="f6199"/>
                </a:cxn>
                <a:cxn ang="f4299">
                  <a:pos x="f6180" y="f6199"/>
                </a:cxn>
                <a:cxn ang="f4299">
                  <a:pos x="f6181" y="f6201"/>
                </a:cxn>
                <a:cxn ang="f4299">
                  <a:pos x="f6181" y="f6202"/>
                </a:cxn>
                <a:cxn ang="f4299">
                  <a:pos x="f6180" y="f6203"/>
                </a:cxn>
                <a:cxn ang="f4299">
                  <a:pos x="f6207" y="f6203"/>
                </a:cxn>
                <a:cxn ang="f4299">
                  <a:pos x="f6208" y="f6202"/>
                </a:cxn>
                <a:cxn ang="f4299">
                  <a:pos x="f6208" y="f6201"/>
                </a:cxn>
                <a:cxn ang="f4299">
                  <a:pos x="f6209" y="f6199"/>
                </a:cxn>
                <a:cxn ang="f4299">
                  <a:pos x="f6210" y="f6199"/>
                </a:cxn>
                <a:cxn ang="f4299">
                  <a:pos x="f6211" y="f6201"/>
                </a:cxn>
                <a:cxn ang="f4299">
                  <a:pos x="f6211" y="f6202"/>
                </a:cxn>
                <a:cxn ang="f4299">
                  <a:pos x="f6210" y="f6203"/>
                </a:cxn>
                <a:cxn ang="f4299">
                  <a:pos x="f6209" y="f6203"/>
                </a:cxn>
                <a:cxn ang="f4299">
                  <a:pos x="f6184" y="f6202"/>
                </a:cxn>
                <a:cxn ang="f4299">
                  <a:pos x="f6184" y="f6201"/>
                </a:cxn>
                <a:cxn ang="f4299">
                  <a:pos x="f6212" y="f6199"/>
                </a:cxn>
                <a:cxn ang="f4299">
                  <a:pos x="f6185" y="f6199"/>
                </a:cxn>
                <a:cxn ang="f4299">
                  <a:pos x="f6213" y="f6201"/>
                </a:cxn>
                <a:cxn ang="f4299">
                  <a:pos x="f6213" y="f6202"/>
                </a:cxn>
                <a:cxn ang="f4299">
                  <a:pos x="f6185" y="f6203"/>
                </a:cxn>
                <a:cxn ang="f4299">
                  <a:pos x="f6212" y="f6203"/>
                </a:cxn>
                <a:cxn ang="f4299">
                  <a:pos x="f6214" y="f6202"/>
                </a:cxn>
                <a:cxn ang="f4299">
                  <a:pos x="f6214" y="f6201"/>
                </a:cxn>
                <a:cxn ang="f4299">
                  <a:pos x="f5767" y="f6215"/>
                </a:cxn>
                <a:cxn ang="f4299">
                  <a:pos x="f5769" y="f6215"/>
                </a:cxn>
                <a:cxn ang="f4299">
                  <a:pos x="f5770" y="f6216"/>
                </a:cxn>
                <a:cxn ang="f4299">
                  <a:pos x="f5770" y="f6217"/>
                </a:cxn>
                <a:cxn ang="f4299">
                  <a:pos x="f5769" y="f6218"/>
                </a:cxn>
                <a:cxn ang="f4299">
                  <a:pos x="f5767" y="f6218"/>
                </a:cxn>
                <a:cxn ang="f4299">
                  <a:pos x="f5774" y="f6217"/>
                </a:cxn>
                <a:cxn ang="f4299">
                  <a:pos x="f5774" y="f6216"/>
                </a:cxn>
                <a:cxn ang="f4299">
                  <a:pos x="f5775" y="f6215"/>
                </a:cxn>
                <a:cxn ang="f4299">
                  <a:pos x="f5776" y="f6215"/>
                </a:cxn>
                <a:cxn ang="f4299">
                  <a:pos x="f5777" y="f6216"/>
                </a:cxn>
                <a:cxn ang="f4299">
                  <a:pos x="f5777" y="f6217"/>
                </a:cxn>
                <a:cxn ang="f4299">
                  <a:pos x="f5776" y="f6218"/>
                </a:cxn>
                <a:cxn ang="f4299">
                  <a:pos x="f5775" y="f6218"/>
                </a:cxn>
                <a:cxn ang="f4299">
                  <a:pos x="f5778" y="f6217"/>
                </a:cxn>
                <a:cxn ang="f4299">
                  <a:pos x="f5778" y="f6216"/>
                </a:cxn>
                <a:cxn ang="f4299">
                  <a:pos x="f5779" y="f6215"/>
                </a:cxn>
                <a:cxn ang="f4299">
                  <a:pos x="f5780" y="f6215"/>
                </a:cxn>
                <a:cxn ang="f4299">
                  <a:pos x="f5781" y="f6216"/>
                </a:cxn>
                <a:cxn ang="f4299">
                  <a:pos x="f5781" y="f6217"/>
                </a:cxn>
                <a:cxn ang="f4299">
                  <a:pos x="f5780" y="f6218"/>
                </a:cxn>
                <a:cxn ang="f4299">
                  <a:pos x="f5779" y="f6218"/>
                </a:cxn>
                <a:cxn ang="f4299">
                  <a:pos x="f5782" y="f6217"/>
                </a:cxn>
                <a:cxn ang="f4299">
                  <a:pos x="f5782" y="f6216"/>
                </a:cxn>
                <a:cxn ang="f4299">
                  <a:pos x="f5783" y="f6215"/>
                </a:cxn>
                <a:cxn ang="f4299">
                  <a:pos x="f5784" y="f6215"/>
                </a:cxn>
                <a:cxn ang="f4299">
                  <a:pos x="f5785" y="f6216"/>
                </a:cxn>
                <a:cxn ang="f4299">
                  <a:pos x="f5785" y="f6217"/>
                </a:cxn>
                <a:cxn ang="f4299">
                  <a:pos x="f5784" y="f6218"/>
                </a:cxn>
                <a:cxn ang="f4299">
                  <a:pos x="f5783" y="f6218"/>
                </a:cxn>
                <a:cxn ang="f4299">
                  <a:pos x="f5786" y="f6217"/>
                </a:cxn>
                <a:cxn ang="f4299">
                  <a:pos x="f5786" y="f6216"/>
                </a:cxn>
                <a:cxn ang="f4299">
                  <a:pos x="f5787" y="f6215"/>
                </a:cxn>
                <a:cxn ang="f4299">
                  <a:pos x="f5788" y="f6215"/>
                </a:cxn>
                <a:cxn ang="f4299">
                  <a:pos x="f5789" y="f6216"/>
                </a:cxn>
                <a:cxn ang="f4299">
                  <a:pos x="f5789" y="f6217"/>
                </a:cxn>
                <a:cxn ang="f4299">
                  <a:pos x="f5788" y="f6218"/>
                </a:cxn>
                <a:cxn ang="f4299">
                  <a:pos x="f5787" y="f6218"/>
                </a:cxn>
                <a:cxn ang="f4299">
                  <a:pos x="f5790" y="f6217"/>
                </a:cxn>
                <a:cxn ang="f4299">
                  <a:pos x="f5790" y="f6216"/>
                </a:cxn>
                <a:cxn ang="f4299">
                  <a:pos x="f5791" y="f6215"/>
                </a:cxn>
                <a:cxn ang="f4299">
                  <a:pos x="f5792" y="f6215"/>
                </a:cxn>
                <a:cxn ang="f4299">
                  <a:pos x="f5793" y="f6216"/>
                </a:cxn>
                <a:cxn ang="f4299">
                  <a:pos x="f5793" y="f6217"/>
                </a:cxn>
                <a:cxn ang="f4299">
                  <a:pos x="f5792" y="f6218"/>
                </a:cxn>
                <a:cxn ang="f4299">
                  <a:pos x="f5791" y="f6218"/>
                </a:cxn>
                <a:cxn ang="f4299">
                  <a:pos x="f5794" y="f6217"/>
                </a:cxn>
                <a:cxn ang="f4299">
                  <a:pos x="f5794" y="f6216"/>
                </a:cxn>
                <a:cxn ang="f4299">
                  <a:pos x="f5795" y="f6215"/>
                </a:cxn>
                <a:cxn ang="f4299">
                  <a:pos x="f5796" y="f6215"/>
                </a:cxn>
                <a:cxn ang="f4299">
                  <a:pos x="f5797" y="f6216"/>
                </a:cxn>
                <a:cxn ang="f4299">
                  <a:pos x="f5797" y="f6217"/>
                </a:cxn>
                <a:cxn ang="f4299">
                  <a:pos x="f5796" y="f6218"/>
                </a:cxn>
                <a:cxn ang="f4299">
                  <a:pos x="f5795" y="f6218"/>
                </a:cxn>
                <a:cxn ang="f4299">
                  <a:pos x="f5798" y="f6217"/>
                </a:cxn>
                <a:cxn ang="f4299">
                  <a:pos x="f5798" y="f6216"/>
                </a:cxn>
                <a:cxn ang="f4299">
                  <a:pos x="f5799" y="f6215"/>
                </a:cxn>
                <a:cxn ang="f4299">
                  <a:pos x="f5800" y="f6215"/>
                </a:cxn>
                <a:cxn ang="f4299">
                  <a:pos x="f5801" y="f6216"/>
                </a:cxn>
                <a:cxn ang="f4299">
                  <a:pos x="f5801" y="f6217"/>
                </a:cxn>
                <a:cxn ang="f4299">
                  <a:pos x="f5800" y="f6218"/>
                </a:cxn>
                <a:cxn ang="f4299">
                  <a:pos x="f5799" y="f6218"/>
                </a:cxn>
                <a:cxn ang="f4299">
                  <a:pos x="f5802" y="f6217"/>
                </a:cxn>
                <a:cxn ang="f4299">
                  <a:pos x="f5802" y="f6216"/>
                </a:cxn>
                <a:cxn ang="f4299">
                  <a:pos x="f5803" y="f6215"/>
                </a:cxn>
                <a:cxn ang="f4299">
                  <a:pos x="f5804" y="f6215"/>
                </a:cxn>
                <a:cxn ang="f4299">
                  <a:pos x="f5805" y="f6216"/>
                </a:cxn>
                <a:cxn ang="f4299">
                  <a:pos x="f5805" y="f6217"/>
                </a:cxn>
                <a:cxn ang="f4299">
                  <a:pos x="f5804" y="f6218"/>
                </a:cxn>
                <a:cxn ang="f4299">
                  <a:pos x="f5803" y="f6218"/>
                </a:cxn>
                <a:cxn ang="f4299">
                  <a:pos x="f5806" y="f6217"/>
                </a:cxn>
                <a:cxn ang="f4299">
                  <a:pos x="f5806" y="f6216"/>
                </a:cxn>
                <a:cxn ang="f4299">
                  <a:pos x="f5807" y="f6215"/>
                </a:cxn>
                <a:cxn ang="f4299">
                  <a:pos x="f5808" y="f6215"/>
                </a:cxn>
                <a:cxn ang="f4299">
                  <a:pos x="f5809" y="f6216"/>
                </a:cxn>
                <a:cxn ang="f4299">
                  <a:pos x="f5809" y="f6217"/>
                </a:cxn>
                <a:cxn ang="f4299">
                  <a:pos x="f5808" y="f6218"/>
                </a:cxn>
                <a:cxn ang="f4299">
                  <a:pos x="f5807" y="f6218"/>
                </a:cxn>
                <a:cxn ang="f4299">
                  <a:pos x="f5810" y="f6217"/>
                </a:cxn>
                <a:cxn ang="f4299">
                  <a:pos x="f5810" y="f6216"/>
                </a:cxn>
                <a:cxn ang="f4299">
                  <a:pos x="f5811" y="f6215"/>
                </a:cxn>
                <a:cxn ang="f4299">
                  <a:pos x="f5812" y="f6215"/>
                </a:cxn>
                <a:cxn ang="f4299">
                  <a:pos x="f5813" y="f6216"/>
                </a:cxn>
                <a:cxn ang="f4299">
                  <a:pos x="f5813" y="f6217"/>
                </a:cxn>
                <a:cxn ang="f4299">
                  <a:pos x="f5812" y="f6218"/>
                </a:cxn>
                <a:cxn ang="f4299">
                  <a:pos x="f5811" y="f6218"/>
                </a:cxn>
                <a:cxn ang="f4299">
                  <a:pos x="f5814" y="f6217"/>
                </a:cxn>
                <a:cxn ang="f4299">
                  <a:pos x="f5814" y="f6216"/>
                </a:cxn>
                <a:cxn ang="f4299">
                  <a:pos x="f5815" y="f6215"/>
                </a:cxn>
                <a:cxn ang="f4299">
                  <a:pos x="f5816" y="f6215"/>
                </a:cxn>
                <a:cxn ang="f4299">
                  <a:pos x="f5817" y="f6216"/>
                </a:cxn>
                <a:cxn ang="f4299">
                  <a:pos x="f5817" y="f6217"/>
                </a:cxn>
                <a:cxn ang="f4299">
                  <a:pos x="f5816" y="f6218"/>
                </a:cxn>
                <a:cxn ang="f4299">
                  <a:pos x="f5815" y="f6218"/>
                </a:cxn>
                <a:cxn ang="f4299">
                  <a:pos x="f5818" y="f6217"/>
                </a:cxn>
                <a:cxn ang="f4299">
                  <a:pos x="f5818" y="f6216"/>
                </a:cxn>
                <a:cxn ang="f4299">
                  <a:pos x="f5819" y="f6215"/>
                </a:cxn>
                <a:cxn ang="f4299">
                  <a:pos x="f5820" y="f6215"/>
                </a:cxn>
                <a:cxn ang="f4299">
                  <a:pos x="f5821" y="f6216"/>
                </a:cxn>
                <a:cxn ang="f4299">
                  <a:pos x="f5821" y="f6217"/>
                </a:cxn>
                <a:cxn ang="f4299">
                  <a:pos x="f5820" y="f6218"/>
                </a:cxn>
                <a:cxn ang="f4299">
                  <a:pos x="f5819" y="f6218"/>
                </a:cxn>
                <a:cxn ang="f4299">
                  <a:pos x="f5822" y="f6217"/>
                </a:cxn>
                <a:cxn ang="f4299">
                  <a:pos x="f5822" y="f6216"/>
                </a:cxn>
                <a:cxn ang="f4299">
                  <a:pos x="f5823" y="f6215"/>
                </a:cxn>
                <a:cxn ang="f4299">
                  <a:pos x="f5824" y="f6215"/>
                </a:cxn>
                <a:cxn ang="f4299">
                  <a:pos x="f5825" y="f6216"/>
                </a:cxn>
                <a:cxn ang="f4299">
                  <a:pos x="f5825" y="f6217"/>
                </a:cxn>
                <a:cxn ang="f4299">
                  <a:pos x="f5824" y="f6218"/>
                </a:cxn>
                <a:cxn ang="f4299">
                  <a:pos x="f5823" y="f6218"/>
                </a:cxn>
                <a:cxn ang="f4299">
                  <a:pos x="f5826" y="f6217"/>
                </a:cxn>
                <a:cxn ang="f4299">
                  <a:pos x="f5826" y="f6216"/>
                </a:cxn>
                <a:cxn ang="f4299">
                  <a:pos x="f5827" y="f6215"/>
                </a:cxn>
                <a:cxn ang="f4299">
                  <a:pos x="f5828" y="f6215"/>
                </a:cxn>
                <a:cxn ang="f4299">
                  <a:pos x="f5829" y="f6216"/>
                </a:cxn>
                <a:cxn ang="f4299">
                  <a:pos x="f5829" y="f6217"/>
                </a:cxn>
                <a:cxn ang="f4299">
                  <a:pos x="f5828" y="f6218"/>
                </a:cxn>
                <a:cxn ang="f4299">
                  <a:pos x="f5827" y="f6218"/>
                </a:cxn>
                <a:cxn ang="f4299">
                  <a:pos x="f5830" y="f6217"/>
                </a:cxn>
                <a:cxn ang="f4299">
                  <a:pos x="f5830" y="f6216"/>
                </a:cxn>
                <a:cxn ang="f4299">
                  <a:pos x="f5831" y="f6215"/>
                </a:cxn>
                <a:cxn ang="f4299">
                  <a:pos x="f5832" y="f6215"/>
                </a:cxn>
                <a:cxn ang="f4299">
                  <a:pos x="f5833" y="f6216"/>
                </a:cxn>
                <a:cxn ang="f4299">
                  <a:pos x="f5833" y="f6217"/>
                </a:cxn>
                <a:cxn ang="f4299">
                  <a:pos x="f5832" y="f6218"/>
                </a:cxn>
                <a:cxn ang="f4299">
                  <a:pos x="f5831" y="f6218"/>
                </a:cxn>
                <a:cxn ang="f4299">
                  <a:pos x="f5834" y="f6217"/>
                </a:cxn>
                <a:cxn ang="f4299">
                  <a:pos x="f5834" y="f6216"/>
                </a:cxn>
                <a:cxn ang="f4299">
                  <a:pos x="f5835" y="f6215"/>
                </a:cxn>
                <a:cxn ang="f4299">
                  <a:pos x="f5836" y="f6215"/>
                </a:cxn>
                <a:cxn ang="f4299">
                  <a:pos x="f5837" y="f6216"/>
                </a:cxn>
                <a:cxn ang="f4299">
                  <a:pos x="f5837" y="f6217"/>
                </a:cxn>
                <a:cxn ang="f4299">
                  <a:pos x="f5836" y="f6218"/>
                </a:cxn>
                <a:cxn ang="f4299">
                  <a:pos x="f5835" y="f6218"/>
                </a:cxn>
                <a:cxn ang="f4299">
                  <a:pos x="f5838" y="f6217"/>
                </a:cxn>
                <a:cxn ang="f4299">
                  <a:pos x="f5838" y="f6216"/>
                </a:cxn>
                <a:cxn ang="f4299">
                  <a:pos x="f5839" y="f6215"/>
                </a:cxn>
                <a:cxn ang="f4299">
                  <a:pos x="f5840" y="f6215"/>
                </a:cxn>
                <a:cxn ang="f4299">
                  <a:pos x="f5841" y="f6216"/>
                </a:cxn>
                <a:cxn ang="f4299">
                  <a:pos x="f5841" y="f6217"/>
                </a:cxn>
                <a:cxn ang="f4299">
                  <a:pos x="f5840" y="f6218"/>
                </a:cxn>
                <a:cxn ang="f4299">
                  <a:pos x="f5839" y="f6218"/>
                </a:cxn>
                <a:cxn ang="f4299">
                  <a:pos x="f5842" y="f6217"/>
                </a:cxn>
                <a:cxn ang="f4299">
                  <a:pos x="f5842" y="f6216"/>
                </a:cxn>
                <a:cxn ang="f4299">
                  <a:pos x="f5843" y="f6215"/>
                </a:cxn>
                <a:cxn ang="f4299">
                  <a:pos x="f5844" y="f6215"/>
                </a:cxn>
                <a:cxn ang="f4299">
                  <a:pos x="f5845" y="f6216"/>
                </a:cxn>
                <a:cxn ang="f4299">
                  <a:pos x="f5845" y="f6217"/>
                </a:cxn>
                <a:cxn ang="f4299">
                  <a:pos x="f5844" y="f6218"/>
                </a:cxn>
                <a:cxn ang="f4299">
                  <a:pos x="f5843" y="f6218"/>
                </a:cxn>
                <a:cxn ang="f4299">
                  <a:pos x="f5846" y="f6217"/>
                </a:cxn>
                <a:cxn ang="f4299">
                  <a:pos x="f5846" y="f6216"/>
                </a:cxn>
                <a:cxn ang="f4299">
                  <a:pos x="f5847" y="f6215"/>
                </a:cxn>
                <a:cxn ang="f4299">
                  <a:pos x="f5848" y="f6215"/>
                </a:cxn>
                <a:cxn ang="f4299">
                  <a:pos x="f5849" y="f6216"/>
                </a:cxn>
                <a:cxn ang="f4299">
                  <a:pos x="f5849" y="f6217"/>
                </a:cxn>
                <a:cxn ang="f4299">
                  <a:pos x="f5848" y="f6218"/>
                </a:cxn>
                <a:cxn ang="f4299">
                  <a:pos x="f5847" y="f6218"/>
                </a:cxn>
                <a:cxn ang="f4299">
                  <a:pos x="f5850" y="f6217"/>
                </a:cxn>
                <a:cxn ang="f4299">
                  <a:pos x="f5850" y="f6216"/>
                </a:cxn>
                <a:cxn ang="f4299">
                  <a:pos x="f5851" y="f6215"/>
                </a:cxn>
                <a:cxn ang="f4299">
                  <a:pos x="f5852" y="f6215"/>
                </a:cxn>
                <a:cxn ang="f4299">
                  <a:pos x="f5853" y="f6216"/>
                </a:cxn>
                <a:cxn ang="f4299">
                  <a:pos x="f5853" y="f6217"/>
                </a:cxn>
                <a:cxn ang="f4299">
                  <a:pos x="f5852" y="f6218"/>
                </a:cxn>
                <a:cxn ang="f4299">
                  <a:pos x="f5851" y="f6218"/>
                </a:cxn>
                <a:cxn ang="f4299">
                  <a:pos x="f5854" y="f6217"/>
                </a:cxn>
                <a:cxn ang="f4299">
                  <a:pos x="f5854" y="f6216"/>
                </a:cxn>
                <a:cxn ang="f4299">
                  <a:pos x="f5855" y="f6215"/>
                </a:cxn>
                <a:cxn ang="f4299">
                  <a:pos x="f5856" y="f6215"/>
                </a:cxn>
                <a:cxn ang="f4299">
                  <a:pos x="f5857" y="f6216"/>
                </a:cxn>
                <a:cxn ang="f4299">
                  <a:pos x="f5857" y="f6217"/>
                </a:cxn>
                <a:cxn ang="f4299">
                  <a:pos x="f5856" y="f6218"/>
                </a:cxn>
                <a:cxn ang="f4299">
                  <a:pos x="f5855" y="f6218"/>
                </a:cxn>
                <a:cxn ang="f4299">
                  <a:pos x="f5858" y="f6217"/>
                </a:cxn>
                <a:cxn ang="f4299">
                  <a:pos x="f5858" y="f6216"/>
                </a:cxn>
                <a:cxn ang="f4299">
                  <a:pos x="f5859" y="f6215"/>
                </a:cxn>
                <a:cxn ang="f4299">
                  <a:pos x="f5860" y="f6215"/>
                </a:cxn>
                <a:cxn ang="f4299">
                  <a:pos x="f5861" y="f6216"/>
                </a:cxn>
                <a:cxn ang="f4299">
                  <a:pos x="f5861" y="f6217"/>
                </a:cxn>
                <a:cxn ang="f4299">
                  <a:pos x="f5860" y="f6218"/>
                </a:cxn>
                <a:cxn ang="f4299">
                  <a:pos x="f5859" y="f6218"/>
                </a:cxn>
                <a:cxn ang="f4299">
                  <a:pos x="f5862" y="f6217"/>
                </a:cxn>
                <a:cxn ang="f4299">
                  <a:pos x="f5862" y="f6216"/>
                </a:cxn>
                <a:cxn ang="f4299">
                  <a:pos x="f5863" y="f6215"/>
                </a:cxn>
                <a:cxn ang="f4299">
                  <a:pos x="f5864" y="f6215"/>
                </a:cxn>
                <a:cxn ang="f4299">
                  <a:pos x="f5865" y="f6216"/>
                </a:cxn>
                <a:cxn ang="f4299">
                  <a:pos x="f5865" y="f6217"/>
                </a:cxn>
                <a:cxn ang="f4299">
                  <a:pos x="f5864" y="f6218"/>
                </a:cxn>
                <a:cxn ang="f4299">
                  <a:pos x="f5863" y="f6218"/>
                </a:cxn>
                <a:cxn ang="f4299">
                  <a:pos x="f5866" y="f6217"/>
                </a:cxn>
                <a:cxn ang="f4299">
                  <a:pos x="f5866" y="f6216"/>
                </a:cxn>
                <a:cxn ang="f4299">
                  <a:pos x="f5867" y="f6215"/>
                </a:cxn>
                <a:cxn ang="f4299">
                  <a:pos x="f5868" y="f6215"/>
                </a:cxn>
                <a:cxn ang="f4299">
                  <a:pos x="f5869" y="f6216"/>
                </a:cxn>
                <a:cxn ang="f4299">
                  <a:pos x="f5869" y="f6217"/>
                </a:cxn>
                <a:cxn ang="f4299">
                  <a:pos x="f5868" y="f6218"/>
                </a:cxn>
                <a:cxn ang="f4299">
                  <a:pos x="f5867" y="f6218"/>
                </a:cxn>
                <a:cxn ang="f4299">
                  <a:pos x="f5870" y="f6217"/>
                </a:cxn>
                <a:cxn ang="f4299">
                  <a:pos x="f5870" y="f6216"/>
                </a:cxn>
                <a:cxn ang="f4299">
                  <a:pos x="f5871" y="f6215"/>
                </a:cxn>
                <a:cxn ang="f4299">
                  <a:pos x="f5872" y="f6215"/>
                </a:cxn>
                <a:cxn ang="f4299">
                  <a:pos x="f5873" y="f6216"/>
                </a:cxn>
                <a:cxn ang="f4299">
                  <a:pos x="f5873" y="f6217"/>
                </a:cxn>
                <a:cxn ang="f4299">
                  <a:pos x="f5872" y="f6218"/>
                </a:cxn>
                <a:cxn ang="f4299">
                  <a:pos x="f5871" y="f6218"/>
                </a:cxn>
                <a:cxn ang="f4299">
                  <a:pos x="f5874" y="f6217"/>
                </a:cxn>
                <a:cxn ang="f4299">
                  <a:pos x="f5874" y="f6216"/>
                </a:cxn>
                <a:cxn ang="f4299">
                  <a:pos x="f5875" y="f6215"/>
                </a:cxn>
                <a:cxn ang="f4299">
                  <a:pos x="f5876" y="f6215"/>
                </a:cxn>
                <a:cxn ang="f4299">
                  <a:pos x="f5877" y="f6216"/>
                </a:cxn>
                <a:cxn ang="f4299">
                  <a:pos x="f5877" y="f6217"/>
                </a:cxn>
                <a:cxn ang="f4299">
                  <a:pos x="f5876" y="f6218"/>
                </a:cxn>
                <a:cxn ang="f4299">
                  <a:pos x="f5875" y="f6218"/>
                </a:cxn>
                <a:cxn ang="f4299">
                  <a:pos x="f5878" y="f6217"/>
                </a:cxn>
                <a:cxn ang="f4299">
                  <a:pos x="f5878" y="f6216"/>
                </a:cxn>
                <a:cxn ang="f4299">
                  <a:pos x="f5879" y="f6215"/>
                </a:cxn>
                <a:cxn ang="f4299">
                  <a:pos x="f5880" y="f6215"/>
                </a:cxn>
                <a:cxn ang="f4299">
                  <a:pos x="f5881" y="f6216"/>
                </a:cxn>
                <a:cxn ang="f4299">
                  <a:pos x="f5881" y="f6217"/>
                </a:cxn>
                <a:cxn ang="f4299">
                  <a:pos x="f5880" y="f6218"/>
                </a:cxn>
                <a:cxn ang="f4299">
                  <a:pos x="f5879" y="f6218"/>
                </a:cxn>
                <a:cxn ang="f4299">
                  <a:pos x="f5882" y="f6217"/>
                </a:cxn>
                <a:cxn ang="f4299">
                  <a:pos x="f5882" y="f6216"/>
                </a:cxn>
                <a:cxn ang="f4299">
                  <a:pos x="f5883" y="f6215"/>
                </a:cxn>
                <a:cxn ang="f4299">
                  <a:pos x="f5884" y="f6215"/>
                </a:cxn>
                <a:cxn ang="f4299">
                  <a:pos x="f5885" y="f6216"/>
                </a:cxn>
                <a:cxn ang="f4299">
                  <a:pos x="f5885" y="f6217"/>
                </a:cxn>
                <a:cxn ang="f4299">
                  <a:pos x="f5884" y="f6218"/>
                </a:cxn>
                <a:cxn ang="f4299">
                  <a:pos x="f5883" y="f6218"/>
                </a:cxn>
                <a:cxn ang="f4299">
                  <a:pos x="f5886" y="f6217"/>
                </a:cxn>
                <a:cxn ang="f4299">
                  <a:pos x="f5886" y="f6216"/>
                </a:cxn>
                <a:cxn ang="f4299">
                  <a:pos x="f5887" y="f6215"/>
                </a:cxn>
                <a:cxn ang="f4299">
                  <a:pos x="f5888" y="f6215"/>
                </a:cxn>
                <a:cxn ang="f4299">
                  <a:pos x="f5889" y="f6216"/>
                </a:cxn>
                <a:cxn ang="f4299">
                  <a:pos x="f5889" y="f6217"/>
                </a:cxn>
                <a:cxn ang="f4299">
                  <a:pos x="f5888" y="f6218"/>
                </a:cxn>
                <a:cxn ang="f4299">
                  <a:pos x="f5887" y="f6218"/>
                </a:cxn>
                <a:cxn ang="f4299">
                  <a:pos x="f5890" y="f6217"/>
                </a:cxn>
                <a:cxn ang="f4299">
                  <a:pos x="f5890" y="f6216"/>
                </a:cxn>
                <a:cxn ang="f4299">
                  <a:pos x="f5891" y="f6215"/>
                </a:cxn>
                <a:cxn ang="f4299">
                  <a:pos x="f5892" y="f6215"/>
                </a:cxn>
                <a:cxn ang="f4299">
                  <a:pos x="f5893" y="f6216"/>
                </a:cxn>
                <a:cxn ang="f4299">
                  <a:pos x="f5893" y="f6217"/>
                </a:cxn>
                <a:cxn ang="f4299">
                  <a:pos x="f5892" y="f6218"/>
                </a:cxn>
                <a:cxn ang="f4299">
                  <a:pos x="f5891" y="f6218"/>
                </a:cxn>
                <a:cxn ang="f4299">
                  <a:pos x="f5894" y="f6217"/>
                </a:cxn>
                <a:cxn ang="f4299">
                  <a:pos x="f5894" y="f6216"/>
                </a:cxn>
                <a:cxn ang="f4299">
                  <a:pos x="f6219" y="f6215"/>
                </a:cxn>
                <a:cxn ang="f4299">
                  <a:pos x="f6187" y="f6215"/>
                </a:cxn>
                <a:cxn ang="f4299">
                  <a:pos x="f6220" y="f6216"/>
                </a:cxn>
                <a:cxn ang="f4299">
                  <a:pos x="f6220" y="f6217"/>
                </a:cxn>
                <a:cxn ang="f4299">
                  <a:pos x="f6187" y="f6218"/>
                </a:cxn>
                <a:cxn ang="f4299">
                  <a:pos x="f6219" y="f6218"/>
                </a:cxn>
                <a:cxn ang="f4299">
                  <a:pos x="f6221" y="f6217"/>
                </a:cxn>
                <a:cxn ang="f4299">
                  <a:pos x="f6221" y="f6216"/>
                </a:cxn>
                <a:cxn ang="f4299">
                  <a:pos x="f6222" y="f6215"/>
                </a:cxn>
                <a:cxn ang="f4299">
                  <a:pos x="f6223" y="f6215"/>
                </a:cxn>
                <a:cxn ang="f4299">
                  <a:pos x="f6192" y="f6216"/>
                </a:cxn>
                <a:cxn ang="f4299">
                  <a:pos x="f6192" y="f6217"/>
                </a:cxn>
                <a:cxn ang="f4299">
                  <a:pos x="f6223" y="f6218"/>
                </a:cxn>
                <a:cxn ang="f4299">
                  <a:pos x="f6222" y="f6218"/>
                </a:cxn>
                <a:cxn ang="f4299">
                  <a:pos x="f6224" y="f6217"/>
                </a:cxn>
                <a:cxn ang="f4299">
                  <a:pos x="f6224" y="f6216"/>
                </a:cxn>
                <a:cxn ang="f4299">
                  <a:pos x="f6225" y="f6215"/>
                </a:cxn>
                <a:cxn ang="f4299">
                  <a:pos x="f6194" y="f6215"/>
                </a:cxn>
                <a:cxn ang="f4299">
                  <a:pos x="f6195" y="f6216"/>
                </a:cxn>
                <a:cxn ang="f4299">
                  <a:pos x="f6195" y="f6217"/>
                </a:cxn>
                <a:cxn ang="f4299">
                  <a:pos x="f6194" y="f6218"/>
                </a:cxn>
                <a:cxn ang="f4299">
                  <a:pos x="f6225" y="f6218"/>
                </a:cxn>
                <a:cxn ang="f4299">
                  <a:pos x="f6226" y="f6217"/>
                </a:cxn>
                <a:cxn ang="f4299">
                  <a:pos x="f6226" y="f6216"/>
                </a:cxn>
                <a:cxn ang="f4299">
                  <a:pos x="f6227" y="f6215"/>
                </a:cxn>
                <a:cxn ang="f4299">
                  <a:pos x="f6228" y="f6215"/>
                </a:cxn>
                <a:cxn ang="f4299">
                  <a:pos x="f6197" y="f6216"/>
                </a:cxn>
                <a:cxn ang="f4299">
                  <a:pos x="f6197" y="f6217"/>
                </a:cxn>
                <a:cxn ang="f4299">
                  <a:pos x="f6228" y="f6218"/>
                </a:cxn>
                <a:cxn ang="f4299">
                  <a:pos x="f6227" y="f6218"/>
                </a:cxn>
                <a:cxn ang="f4299">
                  <a:pos x="f6229" y="f6217"/>
                </a:cxn>
                <a:cxn ang="f4299">
                  <a:pos x="f6229" y="f6216"/>
                </a:cxn>
                <a:cxn ang="f4299">
                  <a:pos x="f6198" y="f6230"/>
                </a:cxn>
                <a:cxn ang="f4299">
                  <a:pos x="f6200" y="f6230"/>
                </a:cxn>
                <a:cxn ang="f4299">
                  <a:pos x="f6144" y="f6231"/>
                </a:cxn>
                <a:cxn ang="f4299">
                  <a:pos x="f6144" y="f6232"/>
                </a:cxn>
                <a:cxn ang="f4299">
                  <a:pos x="f6200" y="f6233"/>
                </a:cxn>
                <a:cxn ang="f4299">
                  <a:pos x="f6198" y="f6233"/>
                </a:cxn>
                <a:cxn ang="f4299">
                  <a:pos x="f6115" y="f6232"/>
                </a:cxn>
                <a:cxn ang="f4299">
                  <a:pos x="f6115" y="f6231"/>
                </a:cxn>
                <a:cxn ang="f4299">
                  <a:pos x="f6148" y="f6230"/>
                </a:cxn>
                <a:cxn ang="f4299">
                  <a:pos x="f6116" y="f6230"/>
                </a:cxn>
                <a:cxn ang="f4299">
                  <a:pos x="f6234" y="f6231"/>
                </a:cxn>
                <a:cxn ang="f4299">
                  <a:pos x="f6234" y="f6232"/>
                </a:cxn>
                <a:cxn ang="f4299">
                  <a:pos x="f6116" y="f6233"/>
                </a:cxn>
                <a:cxn ang="f4299">
                  <a:pos x="f6148" y="f6233"/>
                </a:cxn>
                <a:cxn ang="f4299">
                  <a:pos x="f6204" y="f6232"/>
                </a:cxn>
                <a:cxn ang="f4299">
                  <a:pos x="f6204" y="f6231"/>
                </a:cxn>
                <a:cxn ang="f4299">
                  <a:pos x="f6205" y="f6230"/>
                </a:cxn>
                <a:cxn ang="f4299">
                  <a:pos x="f6206" y="f6230"/>
                </a:cxn>
                <a:cxn ang="f4299">
                  <a:pos x="f6235" y="f6231"/>
                </a:cxn>
                <a:cxn ang="f4299">
                  <a:pos x="f6235" y="f6232"/>
                </a:cxn>
                <a:cxn ang="f4299">
                  <a:pos x="f6206" y="f6233"/>
                </a:cxn>
                <a:cxn ang="f4299">
                  <a:pos x="f6205" y="f6233"/>
                </a:cxn>
                <a:cxn ang="f4299">
                  <a:pos x="f6236" y="f6232"/>
                </a:cxn>
                <a:cxn ang="f4299">
                  <a:pos x="f6236" y="f6231"/>
                </a:cxn>
                <a:cxn ang="f4299">
                  <a:pos x="f6207" y="f6230"/>
                </a:cxn>
                <a:cxn ang="f4299">
                  <a:pos x="f6237" y="f6230"/>
                </a:cxn>
                <a:cxn ang="f4299">
                  <a:pos x="f6238" y="f6231"/>
                </a:cxn>
                <a:cxn ang="f4299">
                  <a:pos x="f6238" y="f6232"/>
                </a:cxn>
                <a:cxn ang="f4299">
                  <a:pos x="f6237" y="f6233"/>
                </a:cxn>
                <a:cxn ang="f4299">
                  <a:pos x="f6207" y="f6233"/>
                </a:cxn>
                <a:cxn ang="f4299">
                  <a:pos x="f6208" y="f6232"/>
                </a:cxn>
                <a:cxn ang="f4299">
                  <a:pos x="f6208" y="f6231"/>
                </a:cxn>
                <a:cxn ang="f4299">
                  <a:pos x="f6209" y="f6230"/>
                </a:cxn>
                <a:cxn ang="f4299">
                  <a:pos x="f6239" y="f6230"/>
                </a:cxn>
                <a:cxn ang="f4299">
                  <a:pos x="f6211" y="f6231"/>
                </a:cxn>
                <a:cxn ang="f4299">
                  <a:pos x="f6211" y="f6232"/>
                </a:cxn>
                <a:cxn ang="f4299">
                  <a:pos x="f6239" y="f6233"/>
                </a:cxn>
                <a:cxn ang="f4299">
                  <a:pos x="f6209" y="f6233"/>
                </a:cxn>
                <a:cxn ang="f4299">
                  <a:pos x="f6240" y="f6232"/>
                </a:cxn>
                <a:cxn ang="f4299">
                  <a:pos x="f6240" y="f6231"/>
                </a:cxn>
                <a:cxn ang="f4299">
                  <a:pos x="f6241" y="f6230"/>
                </a:cxn>
                <a:cxn ang="f4299">
                  <a:pos x="f6242" y="f6230"/>
                </a:cxn>
                <a:cxn ang="f4299">
                  <a:pos x="f6213" y="f6231"/>
                </a:cxn>
                <a:cxn ang="f4299">
                  <a:pos x="f6213" y="f6232"/>
                </a:cxn>
                <a:cxn ang="f4299">
                  <a:pos x="f6242" y="f6233"/>
                </a:cxn>
                <a:cxn ang="f4299">
                  <a:pos x="f6241" y="f6233"/>
                </a:cxn>
                <a:cxn ang="f4299">
                  <a:pos x="f6243" y="f6232"/>
                </a:cxn>
                <a:cxn ang="f4299">
                  <a:pos x="f6243" y="f6231"/>
                </a:cxn>
                <a:cxn ang="f4299">
                  <a:pos x="f5767" y="f6244"/>
                </a:cxn>
                <a:cxn ang="f4299">
                  <a:pos x="f5769" y="f6244"/>
                </a:cxn>
                <a:cxn ang="f4299">
                  <a:pos x="f5770" y="f6245"/>
                </a:cxn>
                <a:cxn ang="f4299">
                  <a:pos x="f5770" y="f6246"/>
                </a:cxn>
                <a:cxn ang="f4299">
                  <a:pos x="f5769" y="f6247"/>
                </a:cxn>
                <a:cxn ang="f4299">
                  <a:pos x="f5767" y="f6247"/>
                </a:cxn>
                <a:cxn ang="f4299">
                  <a:pos x="f5774" y="f6246"/>
                </a:cxn>
                <a:cxn ang="f4299">
                  <a:pos x="f5774" y="f6245"/>
                </a:cxn>
                <a:cxn ang="f4299">
                  <a:pos x="f5775" y="f6244"/>
                </a:cxn>
                <a:cxn ang="f4299">
                  <a:pos x="f5776" y="f6244"/>
                </a:cxn>
                <a:cxn ang="f4299">
                  <a:pos x="f5777" y="f6245"/>
                </a:cxn>
                <a:cxn ang="f4299">
                  <a:pos x="f5777" y="f6246"/>
                </a:cxn>
                <a:cxn ang="f4299">
                  <a:pos x="f5776" y="f6247"/>
                </a:cxn>
                <a:cxn ang="f4299">
                  <a:pos x="f5775" y="f6247"/>
                </a:cxn>
                <a:cxn ang="f4299">
                  <a:pos x="f5778" y="f6246"/>
                </a:cxn>
                <a:cxn ang="f4299">
                  <a:pos x="f5778" y="f6245"/>
                </a:cxn>
                <a:cxn ang="f4299">
                  <a:pos x="f5779" y="f6244"/>
                </a:cxn>
                <a:cxn ang="f4299">
                  <a:pos x="f5780" y="f6244"/>
                </a:cxn>
                <a:cxn ang="f4299">
                  <a:pos x="f5781" y="f6245"/>
                </a:cxn>
                <a:cxn ang="f4299">
                  <a:pos x="f5781" y="f6246"/>
                </a:cxn>
                <a:cxn ang="f4299">
                  <a:pos x="f5780" y="f6247"/>
                </a:cxn>
                <a:cxn ang="f4299">
                  <a:pos x="f5779" y="f6247"/>
                </a:cxn>
                <a:cxn ang="f4299">
                  <a:pos x="f5782" y="f6246"/>
                </a:cxn>
                <a:cxn ang="f4299">
                  <a:pos x="f5782" y="f6245"/>
                </a:cxn>
                <a:cxn ang="f4299">
                  <a:pos x="f5783" y="f6244"/>
                </a:cxn>
                <a:cxn ang="f4299">
                  <a:pos x="f5784" y="f6244"/>
                </a:cxn>
                <a:cxn ang="f4299">
                  <a:pos x="f5785" y="f6245"/>
                </a:cxn>
                <a:cxn ang="f4299">
                  <a:pos x="f5785" y="f6246"/>
                </a:cxn>
                <a:cxn ang="f4299">
                  <a:pos x="f5784" y="f6247"/>
                </a:cxn>
                <a:cxn ang="f4299">
                  <a:pos x="f5783" y="f6247"/>
                </a:cxn>
                <a:cxn ang="f4299">
                  <a:pos x="f5786" y="f6246"/>
                </a:cxn>
                <a:cxn ang="f4299">
                  <a:pos x="f5786" y="f6245"/>
                </a:cxn>
                <a:cxn ang="f4299">
                  <a:pos x="f5787" y="f6244"/>
                </a:cxn>
                <a:cxn ang="f4299">
                  <a:pos x="f5788" y="f6244"/>
                </a:cxn>
                <a:cxn ang="f4299">
                  <a:pos x="f5789" y="f6245"/>
                </a:cxn>
                <a:cxn ang="f4299">
                  <a:pos x="f5789" y="f6246"/>
                </a:cxn>
                <a:cxn ang="f4299">
                  <a:pos x="f5788" y="f6247"/>
                </a:cxn>
                <a:cxn ang="f4299">
                  <a:pos x="f5787" y="f6247"/>
                </a:cxn>
                <a:cxn ang="f4299">
                  <a:pos x="f5790" y="f6246"/>
                </a:cxn>
                <a:cxn ang="f4299">
                  <a:pos x="f5790" y="f6245"/>
                </a:cxn>
                <a:cxn ang="f4299">
                  <a:pos x="f5791" y="f6244"/>
                </a:cxn>
                <a:cxn ang="f4299">
                  <a:pos x="f5792" y="f6244"/>
                </a:cxn>
                <a:cxn ang="f4299">
                  <a:pos x="f5793" y="f6245"/>
                </a:cxn>
                <a:cxn ang="f4299">
                  <a:pos x="f5793" y="f6246"/>
                </a:cxn>
                <a:cxn ang="f4299">
                  <a:pos x="f5792" y="f6247"/>
                </a:cxn>
                <a:cxn ang="f4299">
                  <a:pos x="f5791" y="f6247"/>
                </a:cxn>
                <a:cxn ang="f4299">
                  <a:pos x="f5794" y="f6246"/>
                </a:cxn>
                <a:cxn ang="f4299">
                  <a:pos x="f5794" y="f6245"/>
                </a:cxn>
                <a:cxn ang="f4299">
                  <a:pos x="f5795" y="f6244"/>
                </a:cxn>
                <a:cxn ang="f4299">
                  <a:pos x="f5796" y="f6244"/>
                </a:cxn>
                <a:cxn ang="f4299">
                  <a:pos x="f5797" y="f6245"/>
                </a:cxn>
                <a:cxn ang="f4299">
                  <a:pos x="f5797" y="f6246"/>
                </a:cxn>
                <a:cxn ang="f4299">
                  <a:pos x="f5796" y="f6247"/>
                </a:cxn>
                <a:cxn ang="f4299">
                  <a:pos x="f5795" y="f6247"/>
                </a:cxn>
                <a:cxn ang="f4299">
                  <a:pos x="f5798" y="f6246"/>
                </a:cxn>
                <a:cxn ang="f4299">
                  <a:pos x="f5798" y="f6245"/>
                </a:cxn>
                <a:cxn ang="f4299">
                  <a:pos x="f5799" y="f6244"/>
                </a:cxn>
                <a:cxn ang="f4299">
                  <a:pos x="f5800" y="f6244"/>
                </a:cxn>
                <a:cxn ang="f4299">
                  <a:pos x="f5801" y="f6245"/>
                </a:cxn>
                <a:cxn ang="f4299">
                  <a:pos x="f5801" y="f6246"/>
                </a:cxn>
                <a:cxn ang="f4299">
                  <a:pos x="f5800" y="f6247"/>
                </a:cxn>
                <a:cxn ang="f4299">
                  <a:pos x="f5799" y="f6247"/>
                </a:cxn>
                <a:cxn ang="f4299">
                  <a:pos x="f5802" y="f6246"/>
                </a:cxn>
                <a:cxn ang="f4299">
                  <a:pos x="f5802" y="f6245"/>
                </a:cxn>
                <a:cxn ang="f4299">
                  <a:pos x="f5803" y="f6244"/>
                </a:cxn>
                <a:cxn ang="f4299">
                  <a:pos x="f5804" y="f6244"/>
                </a:cxn>
                <a:cxn ang="f4299">
                  <a:pos x="f5805" y="f6245"/>
                </a:cxn>
                <a:cxn ang="f4299">
                  <a:pos x="f5805" y="f6246"/>
                </a:cxn>
                <a:cxn ang="f4299">
                  <a:pos x="f5804" y="f6247"/>
                </a:cxn>
                <a:cxn ang="f4299">
                  <a:pos x="f5803" y="f6247"/>
                </a:cxn>
                <a:cxn ang="f4299">
                  <a:pos x="f5806" y="f6246"/>
                </a:cxn>
                <a:cxn ang="f4299">
                  <a:pos x="f5806" y="f6245"/>
                </a:cxn>
                <a:cxn ang="f4299">
                  <a:pos x="f5807" y="f6244"/>
                </a:cxn>
                <a:cxn ang="f4299">
                  <a:pos x="f5808" y="f6244"/>
                </a:cxn>
                <a:cxn ang="f4299">
                  <a:pos x="f5809" y="f6245"/>
                </a:cxn>
                <a:cxn ang="f4299">
                  <a:pos x="f5809" y="f6246"/>
                </a:cxn>
                <a:cxn ang="f4299">
                  <a:pos x="f5808" y="f6247"/>
                </a:cxn>
                <a:cxn ang="f4299">
                  <a:pos x="f5807" y="f6247"/>
                </a:cxn>
                <a:cxn ang="f4299">
                  <a:pos x="f5810" y="f6246"/>
                </a:cxn>
                <a:cxn ang="f4299">
                  <a:pos x="f5810" y="f6245"/>
                </a:cxn>
                <a:cxn ang="f4299">
                  <a:pos x="f5811" y="f6244"/>
                </a:cxn>
                <a:cxn ang="f4299">
                  <a:pos x="f5812" y="f6244"/>
                </a:cxn>
                <a:cxn ang="f4299">
                  <a:pos x="f5813" y="f6245"/>
                </a:cxn>
                <a:cxn ang="f4299">
                  <a:pos x="f5813" y="f6246"/>
                </a:cxn>
                <a:cxn ang="f4299">
                  <a:pos x="f5812" y="f6247"/>
                </a:cxn>
                <a:cxn ang="f4299">
                  <a:pos x="f5811" y="f6247"/>
                </a:cxn>
                <a:cxn ang="f4299">
                  <a:pos x="f5814" y="f6246"/>
                </a:cxn>
                <a:cxn ang="f4299">
                  <a:pos x="f5814" y="f6245"/>
                </a:cxn>
                <a:cxn ang="f4299">
                  <a:pos x="f5815" y="f6244"/>
                </a:cxn>
                <a:cxn ang="f4299">
                  <a:pos x="f5816" y="f6244"/>
                </a:cxn>
                <a:cxn ang="f4299">
                  <a:pos x="f5817" y="f6245"/>
                </a:cxn>
                <a:cxn ang="f4299">
                  <a:pos x="f5817" y="f6246"/>
                </a:cxn>
                <a:cxn ang="f4299">
                  <a:pos x="f5816" y="f6247"/>
                </a:cxn>
                <a:cxn ang="f4299">
                  <a:pos x="f5815" y="f6247"/>
                </a:cxn>
                <a:cxn ang="f4299">
                  <a:pos x="f5818" y="f6246"/>
                </a:cxn>
                <a:cxn ang="f4299">
                  <a:pos x="f5818" y="f6245"/>
                </a:cxn>
                <a:cxn ang="f4299">
                  <a:pos x="f5819" y="f6244"/>
                </a:cxn>
                <a:cxn ang="f4299">
                  <a:pos x="f5820" y="f6244"/>
                </a:cxn>
                <a:cxn ang="f4299">
                  <a:pos x="f5821" y="f6245"/>
                </a:cxn>
                <a:cxn ang="f4299">
                  <a:pos x="f5821" y="f6246"/>
                </a:cxn>
                <a:cxn ang="f4299">
                  <a:pos x="f5820" y="f6247"/>
                </a:cxn>
                <a:cxn ang="f4299">
                  <a:pos x="f5819" y="f6247"/>
                </a:cxn>
                <a:cxn ang="f4299">
                  <a:pos x="f5822" y="f6246"/>
                </a:cxn>
                <a:cxn ang="f4299">
                  <a:pos x="f5822" y="f6245"/>
                </a:cxn>
                <a:cxn ang="f4299">
                  <a:pos x="f5823" y="f6244"/>
                </a:cxn>
                <a:cxn ang="f4299">
                  <a:pos x="f5824" y="f6244"/>
                </a:cxn>
                <a:cxn ang="f4299">
                  <a:pos x="f5825" y="f6245"/>
                </a:cxn>
                <a:cxn ang="f4299">
                  <a:pos x="f5825" y="f6246"/>
                </a:cxn>
                <a:cxn ang="f4299">
                  <a:pos x="f5824" y="f6247"/>
                </a:cxn>
                <a:cxn ang="f4299">
                  <a:pos x="f5823" y="f6247"/>
                </a:cxn>
                <a:cxn ang="f4299">
                  <a:pos x="f5826" y="f6246"/>
                </a:cxn>
                <a:cxn ang="f4299">
                  <a:pos x="f5826" y="f6245"/>
                </a:cxn>
                <a:cxn ang="f4299">
                  <a:pos x="f5827" y="f6244"/>
                </a:cxn>
                <a:cxn ang="f4299">
                  <a:pos x="f5828" y="f6244"/>
                </a:cxn>
                <a:cxn ang="f4299">
                  <a:pos x="f5829" y="f6245"/>
                </a:cxn>
                <a:cxn ang="f4299">
                  <a:pos x="f5829" y="f6246"/>
                </a:cxn>
                <a:cxn ang="f4299">
                  <a:pos x="f5828" y="f6247"/>
                </a:cxn>
                <a:cxn ang="f4299">
                  <a:pos x="f5827" y="f6247"/>
                </a:cxn>
                <a:cxn ang="f4299">
                  <a:pos x="f5830" y="f6246"/>
                </a:cxn>
                <a:cxn ang="f4299">
                  <a:pos x="f5830" y="f6245"/>
                </a:cxn>
                <a:cxn ang="f4299">
                  <a:pos x="f5831" y="f6244"/>
                </a:cxn>
                <a:cxn ang="f4299">
                  <a:pos x="f5832" y="f6244"/>
                </a:cxn>
                <a:cxn ang="f4299">
                  <a:pos x="f5833" y="f6245"/>
                </a:cxn>
                <a:cxn ang="f4299">
                  <a:pos x="f5833" y="f6246"/>
                </a:cxn>
                <a:cxn ang="f4299">
                  <a:pos x="f5832" y="f6247"/>
                </a:cxn>
                <a:cxn ang="f4299">
                  <a:pos x="f5831" y="f6247"/>
                </a:cxn>
                <a:cxn ang="f4299">
                  <a:pos x="f5834" y="f6246"/>
                </a:cxn>
                <a:cxn ang="f4299">
                  <a:pos x="f5834" y="f6245"/>
                </a:cxn>
                <a:cxn ang="f4299">
                  <a:pos x="f5835" y="f6244"/>
                </a:cxn>
                <a:cxn ang="f4299">
                  <a:pos x="f5836" y="f6244"/>
                </a:cxn>
                <a:cxn ang="f4299">
                  <a:pos x="f5837" y="f6245"/>
                </a:cxn>
                <a:cxn ang="f4299">
                  <a:pos x="f5837" y="f6246"/>
                </a:cxn>
                <a:cxn ang="f4299">
                  <a:pos x="f5836" y="f6247"/>
                </a:cxn>
                <a:cxn ang="f4299">
                  <a:pos x="f5835" y="f6247"/>
                </a:cxn>
                <a:cxn ang="f4299">
                  <a:pos x="f5838" y="f6246"/>
                </a:cxn>
                <a:cxn ang="f4299">
                  <a:pos x="f5838" y="f6245"/>
                </a:cxn>
                <a:cxn ang="f4299">
                  <a:pos x="f5839" y="f6244"/>
                </a:cxn>
                <a:cxn ang="f4299">
                  <a:pos x="f5840" y="f6244"/>
                </a:cxn>
                <a:cxn ang="f4299">
                  <a:pos x="f5841" y="f6245"/>
                </a:cxn>
                <a:cxn ang="f4299">
                  <a:pos x="f5841" y="f6246"/>
                </a:cxn>
                <a:cxn ang="f4299">
                  <a:pos x="f5840" y="f6247"/>
                </a:cxn>
                <a:cxn ang="f4299">
                  <a:pos x="f5839" y="f6247"/>
                </a:cxn>
                <a:cxn ang="f4299">
                  <a:pos x="f5842" y="f6246"/>
                </a:cxn>
                <a:cxn ang="f4299">
                  <a:pos x="f5842" y="f6245"/>
                </a:cxn>
                <a:cxn ang="f4299">
                  <a:pos x="f5843" y="f6244"/>
                </a:cxn>
                <a:cxn ang="f4299">
                  <a:pos x="f5844" y="f6244"/>
                </a:cxn>
                <a:cxn ang="f4299">
                  <a:pos x="f5845" y="f6245"/>
                </a:cxn>
                <a:cxn ang="f4299">
                  <a:pos x="f5845" y="f6246"/>
                </a:cxn>
                <a:cxn ang="f4299">
                  <a:pos x="f5844" y="f6247"/>
                </a:cxn>
                <a:cxn ang="f4299">
                  <a:pos x="f5843" y="f6247"/>
                </a:cxn>
                <a:cxn ang="f4299">
                  <a:pos x="f5846" y="f6246"/>
                </a:cxn>
                <a:cxn ang="f4299">
                  <a:pos x="f5846" y="f6245"/>
                </a:cxn>
                <a:cxn ang="f4299">
                  <a:pos x="f5847" y="f6244"/>
                </a:cxn>
                <a:cxn ang="f4299">
                  <a:pos x="f5848" y="f6244"/>
                </a:cxn>
                <a:cxn ang="f4299">
                  <a:pos x="f5849" y="f6245"/>
                </a:cxn>
                <a:cxn ang="f4299">
                  <a:pos x="f5849" y="f6246"/>
                </a:cxn>
                <a:cxn ang="f4299">
                  <a:pos x="f5848" y="f6247"/>
                </a:cxn>
                <a:cxn ang="f4299">
                  <a:pos x="f5847" y="f6247"/>
                </a:cxn>
                <a:cxn ang="f4299">
                  <a:pos x="f5850" y="f6246"/>
                </a:cxn>
                <a:cxn ang="f4299">
                  <a:pos x="f5850" y="f6245"/>
                </a:cxn>
                <a:cxn ang="f4299">
                  <a:pos x="f5851" y="f6244"/>
                </a:cxn>
                <a:cxn ang="f4299">
                  <a:pos x="f5852" y="f6244"/>
                </a:cxn>
                <a:cxn ang="f4299">
                  <a:pos x="f5853" y="f6245"/>
                </a:cxn>
                <a:cxn ang="f4299">
                  <a:pos x="f5853" y="f6246"/>
                </a:cxn>
                <a:cxn ang="f4299">
                  <a:pos x="f5852" y="f6247"/>
                </a:cxn>
                <a:cxn ang="f4299">
                  <a:pos x="f5851" y="f6247"/>
                </a:cxn>
                <a:cxn ang="f4299">
                  <a:pos x="f5854" y="f6246"/>
                </a:cxn>
                <a:cxn ang="f4299">
                  <a:pos x="f5854" y="f6245"/>
                </a:cxn>
                <a:cxn ang="f4299">
                  <a:pos x="f5855" y="f6244"/>
                </a:cxn>
                <a:cxn ang="f4299">
                  <a:pos x="f5856" y="f6244"/>
                </a:cxn>
                <a:cxn ang="f4299">
                  <a:pos x="f5857" y="f6245"/>
                </a:cxn>
                <a:cxn ang="f4299">
                  <a:pos x="f5857" y="f6246"/>
                </a:cxn>
                <a:cxn ang="f4299">
                  <a:pos x="f5856" y="f6247"/>
                </a:cxn>
                <a:cxn ang="f4299">
                  <a:pos x="f5855" y="f6247"/>
                </a:cxn>
                <a:cxn ang="f4299">
                  <a:pos x="f5858" y="f6246"/>
                </a:cxn>
                <a:cxn ang="f4299">
                  <a:pos x="f5858" y="f6245"/>
                </a:cxn>
                <a:cxn ang="f4299">
                  <a:pos x="f5859" y="f6244"/>
                </a:cxn>
                <a:cxn ang="f4299">
                  <a:pos x="f5860" y="f6244"/>
                </a:cxn>
                <a:cxn ang="f4299">
                  <a:pos x="f5861" y="f6245"/>
                </a:cxn>
                <a:cxn ang="f4299">
                  <a:pos x="f5861" y="f6246"/>
                </a:cxn>
                <a:cxn ang="f4299">
                  <a:pos x="f5860" y="f6247"/>
                </a:cxn>
                <a:cxn ang="f4299">
                  <a:pos x="f5859" y="f6247"/>
                </a:cxn>
                <a:cxn ang="f4299">
                  <a:pos x="f5862" y="f6246"/>
                </a:cxn>
                <a:cxn ang="f4299">
                  <a:pos x="f5862" y="f6245"/>
                </a:cxn>
                <a:cxn ang="f4299">
                  <a:pos x="f5863" y="f6244"/>
                </a:cxn>
                <a:cxn ang="f4299">
                  <a:pos x="f5864" y="f6244"/>
                </a:cxn>
                <a:cxn ang="f4299">
                  <a:pos x="f5865" y="f6245"/>
                </a:cxn>
                <a:cxn ang="f4299">
                  <a:pos x="f5865" y="f6246"/>
                </a:cxn>
                <a:cxn ang="f4299">
                  <a:pos x="f5864" y="f6247"/>
                </a:cxn>
                <a:cxn ang="f4299">
                  <a:pos x="f5863" y="f6247"/>
                </a:cxn>
                <a:cxn ang="f4299">
                  <a:pos x="f5866" y="f6246"/>
                </a:cxn>
                <a:cxn ang="f4299">
                  <a:pos x="f5866" y="f6245"/>
                </a:cxn>
                <a:cxn ang="f4299">
                  <a:pos x="f5867" y="f6244"/>
                </a:cxn>
                <a:cxn ang="f4299">
                  <a:pos x="f5868" y="f6244"/>
                </a:cxn>
                <a:cxn ang="f4299">
                  <a:pos x="f5869" y="f6245"/>
                </a:cxn>
                <a:cxn ang="f4299">
                  <a:pos x="f5869" y="f6246"/>
                </a:cxn>
                <a:cxn ang="f4299">
                  <a:pos x="f5868" y="f6247"/>
                </a:cxn>
                <a:cxn ang="f4299">
                  <a:pos x="f5867" y="f6247"/>
                </a:cxn>
                <a:cxn ang="f4299">
                  <a:pos x="f5870" y="f6246"/>
                </a:cxn>
                <a:cxn ang="f4299">
                  <a:pos x="f5870" y="f6245"/>
                </a:cxn>
                <a:cxn ang="f4299">
                  <a:pos x="f5871" y="f6244"/>
                </a:cxn>
                <a:cxn ang="f4299">
                  <a:pos x="f5872" y="f6244"/>
                </a:cxn>
                <a:cxn ang="f4299">
                  <a:pos x="f5873" y="f6245"/>
                </a:cxn>
                <a:cxn ang="f4299">
                  <a:pos x="f5873" y="f6246"/>
                </a:cxn>
                <a:cxn ang="f4299">
                  <a:pos x="f5872" y="f6247"/>
                </a:cxn>
                <a:cxn ang="f4299">
                  <a:pos x="f5871" y="f6247"/>
                </a:cxn>
                <a:cxn ang="f4299">
                  <a:pos x="f5874" y="f6246"/>
                </a:cxn>
                <a:cxn ang="f4299">
                  <a:pos x="f5874" y="f6245"/>
                </a:cxn>
                <a:cxn ang="f4299">
                  <a:pos x="f5875" y="f6244"/>
                </a:cxn>
                <a:cxn ang="f4299">
                  <a:pos x="f5876" y="f6244"/>
                </a:cxn>
                <a:cxn ang="f4299">
                  <a:pos x="f5877" y="f6245"/>
                </a:cxn>
                <a:cxn ang="f4299">
                  <a:pos x="f5877" y="f6246"/>
                </a:cxn>
                <a:cxn ang="f4299">
                  <a:pos x="f5876" y="f6247"/>
                </a:cxn>
                <a:cxn ang="f4299">
                  <a:pos x="f5875" y="f6247"/>
                </a:cxn>
                <a:cxn ang="f4299">
                  <a:pos x="f5878" y="f6246"/>
                </a:cxn>
                <a:cxn ang="f4299">
                  <a:pos x="f5878" y="f6245"/>
                </a:cxn>
                <a:cxn ang="f4299">
                  <a:pos x="f5879" y="f6244"/>
                </a:cxn>
                <a:cxn ang="f4299">
                  <a:pos x="f5880" y="f6244"/>
                </a:cxn>
                <a:cxn ang="f4299">
                  <a:pos x="f5881" y="f6245"/>
                </a:cxn>
                <a:cxn ang="f4299">
                  <a:pos x="f5881" y="f6246"/>
                </a:cxn>
                <a:cxn ang="f4299">
                  <a:pos x="f5880" y="f6247"/>
                </a:cxn>
                <a:cxn ang="f4299">
                  <a:pos x="f5879" y="f6247"/>
                </a:cxn>
                <a:cxn ang="f4299">
                  <a:pos x="f5882" y="f6246"/>
                </a:cxn>
                <a:cxn ang="f4299">
                  <a:pos x="f5882" y="f6245"/>
                </a:cxn>
                <a:cxn ang="f4299">
                  <a:pos x="f5883" y="f6244"/>
                </a:cxn>
                <a:cxn ang="f4299">
                  <a:pos x="f5884" y="f6244"/>
                </a:cxn>
                <a:cxn ang="f4299">
                  <a:pos x="f5885" y="f6245"/>
                </a:cxn>
                <a:cxn ang="f4299">
                  <a:pos x="f5885" y="f6246"/>
                </a:cxn>
                <a:cxn ang="f4299">
                  <a:pos x="f5884" y="f6247"/>
                </a:cxn>
                <a:cxn ang="f4299">
                  <a:pos x="f5883" y="f6247"/>
                </a:cxn>
                <a:cxn ang="f4299">
                  <a:pos x="f5886" y="f6246"/>
                </a:cxn>
                <a:cxn ang="f4299">
                  <a:pos x="f5886" y="f6245"/>
                </a:cxn>
                <a:cxn ang="f4299">
                  <a:pos x="f5887" y="f6244"/>
                </a:cxn>
                <a:cxn ang="f4299">
                  <a:pos x="f5888" y="f6244"/>
                </a:cxn>
                <a:cxn ang="f4299">
                  <a:pos x="f5889" y="f6245"/>
                </a:cxn>
                <a:cxn ang="f4299">
                  <a:pos x="f5889" y="f6246"/>
                </a:cxn>
                <a:cxn ang="f4299">
                  <a:pos x="f5888" y="f6247"/>
                </a:cxn>
                <a:cxn ang="f4299">
                  <a:pos x="f5887" y="f6247"/>
                </a:cxn>
                <a:cxn ang="f4299">
                  <a:pos x="f5890" y="f6246"/>
                </a:cxn>
                <a:cxn ang="f4299">
                  <a:pos x="f5890" y="f6245"/>
                </a:cxn>
                <a:cxn ang="f4299">
                  <a:pos x="f5891" y="f6244"/>
                </a:cxn>
                <a:cxn ang="f4299">
                  <a:pos x="f5892" y="f6244"/>
                </a:cxn>
                <a:cxn ang="f4299">
                  <a:pos x="f5893" y="f6245"/>
                </a:cxn>
                <a:cxn ang="f4299">
                  <a:pos x="f5893" y="f6246"/>
                </a:cxn>
                <a:cxn ang="f4299">
                  <a:pos x="f5892" y="f6247"/>
                </a:cxn>
                <a:cxn ang="f4299">
                  <a:pos x="f5891" y="f6247"/>
                </a:cxn>
                <a:cxn ang="f4299">
                  <a:pos x="f5894" y="f6246"/>
                </a:cxn>
                <a:cxn ang="f4299">
                  <a:pos x="f5894" y="f6245"/>
                </a:cxn>
                <a:cxn ang="f4299">
                  <a:pos x="f6219" y="f6244"/>
                </a:cxn>
                <a:cxn ang="f4299">
                  <a:pos x="f6248" y="f6244"/>
                </a:cxn>
                <a:cxn ang="f4299">
                  <a:pos x="f6249" y="f6245"/>
                </a:cxn>
                <a:cxn ang="f4299">
                  <a:pos x="f6249" y="f6246"/>
                </a:cxn>
                <a:cxn ang="f4299">
                  <a:pos x="f6248" y="f6247"/>
                </a:cxn>
                <a:cxn ang="f4299">
                  <a:pos x="f6219" y="f6247"/>
                </a:cxn>
                <a:cxn ang="f4299">
                  <a:pos x="f6250" y="f6246"/>
                </a:cxn>
                <a:cxn ang="f4299">
                  <a:pos x="f6250" y="f6245"/>
                </a:cxn>
                <a:cxn ang="f4299">
                  <a:pos x="f6222" y="f6244"/>
                </a:cxn>
                <a:cxn ang="f4299">
                  <a:pos x="f6251" y="f6244"/>
                </a:cxn>
                <a:cxn ang="f4299">
                  <a:pos x="f6252" y="f6245"/>
                </a:cxn>
                <a:cxn ang="f4299">
                  <a:pos x="f6252" y="f6246"/>
                </a:cxn>
                <a:cxn ang="f4299">
                  <a:pos x="f6251" y="f6247"/>
                </a:cxn>
                <a:cxn ang="f4299">
                  <a:pos x="f6222" y="f6247"/>
                </a:cxn>
                <a:cxn ang="f4299">
                  <a:pos x="f6224" y="f6246"/>
                </a:cxn>
                <a:cxn ang="f4299">
                  <a:pos x="f6224" y="f6245"/>
                </a:cxn>
                <a:cxn ang="f4299">
                  <a:pos x="f6253" y="f6244"/>
                </a:cxn>
                <a:cxn ang="f4299">
                  <a:pos x="f6254" y="f6244"/>
                </a:cxn>
                <a:cxn ang="f4299">
                  <a:pos x="f6255" y="f6245"/>
                </a:cxn>
                <a:cxn ang="f4299">
                  <a:pos x="f6255" y="f6246"/>
                </a:cxn>
                <a:cxn ang="f4299">
                  <a:pos x="f6254" y="f6247"/>
                </a:cxn>
                <a:cxn ang="f4299">
                  <a:pos x="f6253" y="f6247"/>
                </a:cxn>
                <a:cxn ang="f4299">
                  <a:pos x="f6226" y="f6246"/>
                </a:cxn>
                <a:cxn ang="f4299">
                  <a:pos x="f6226" y="f6245"/>
                </a:cxn>
                <a:cxn ang="f4299">
                  <a:pos x="f6227" y="f6244"/>
                </a:cxn>
                <a:cxn ang="f4299">
                  <a:pos x="f6256" y="f6244"/>
                </a:cxn>
                <a:cxn ang="f4299">
                  <a:pos x="f6257" y="f6245"/>
                </a:cxn>
                <a:cxn ang="f4299">
                  <a:pos x="f6257" y="f6246"/>
                </a:cxn>
                <a:cxn ang="f4299">
                  <a:pos x="f6256" y="f6247"/>
                </a:cxn>
                <a:cxn ang="f4299">
                  <a:pos x="f6227" y="f6247"/>
                </a:cxn>
                <a:cxn ang="f4299">
                  <a:pos x="f6229" y="f6246"/>
                </a:cxn>
                <a:cxn ang="f4299">
                  <a:pos x="f6229" y="f6245"/>
                </a:cxn>
                <a:cxn ang="f4299">
                  <a:pos x="f5767" y="f6258"/>
                </a:cxn>
                <a:cxn ang="f4299">
                  <a:pos x="f5769" y="f6258"/>
                </a:cxn>
                <a:cxn ang="f4299">
                  <a:pos x="f5770" y="f6259"/>
                </a:cxn>
                <a:cxn ang="f4299">
                  <a:pos x="f5770" y="f6260"/>
                </a:cxn>
                <a:cxn ang="f4299">
                  <a:pos x="f5769" y="f6261"/>
                </a:cxn>
                <a:cxn ang="f4299">
                  <a:pos x="f5767" y="f6261"/>
                </a:cxn>
                <a:cxn ang="f4299">
                  <a:pos x="f5774" y="f6260"/>
                </a:cxn>
                <a:cxn ang="f4299">
                  <a:pos x="f5774" y="f6259"/>
                </a:cxn>
                <a:cxn ang="f4299">
                  <a:pos x="f5775" y="f6258"/>
                </a:cxn>
                <a:cxn ang="f4299">
                  <a:pos x="f5776" y="f6258"/>
                </a:cxn>
                <a:cxn ang="f4299">
                  <a:pos x="f5777" y="f6259"/>
                </a:cxn>
                <a:cxn ang="f4299">
                  <a:pos x="f5777" y="f6260"/>
                </a:cxn>
                <a:cxn ang="f4299">
                  <a:pos x="f5776" y="f6261"/>
                </a:cxn>
                <a:cxn ang="f4299">
                  <a:pos x="f5775" y="f6261"/>
                </a:cxn>
                <a:cxn ang="f4299">
                  <a:pos x="f5778" y="f6260"/>
                </a:cxn>
                <a:cxn ang="f4299">
                  <a:pos x="f5778" y="f6259"/>
                </a:cxn>
                <a:cxn ang="f4299">
                  <a:pos x="f5779" y="f6258"/>
                </a:cxn>
                <a:cxn ang="f4299">
                  <a:pos x="f5780" y="f6258"/>
                </a:cxn>
                <a:cxn ang="f4299">
                  <a:pos x="f5781" y="f6259"/>
                </a:cxn>
                <a:cxn ang="f4299">
                  <a:pos x="f5781" y="f6260"/>
                </a:cxn>
                <a:cxn ang="f4299">
                  <a:pos x="f5780" y="f6261"/>
                </a:cxn>
                <a:cxn ang="f4299">
                  <a:pos x="f5779" y="f6261"/>
                </a:cxn>
                <a:cxn ang="f4299">
                  <a:pos x="f5782" y="f6260"/>
                </a:cxn>
                <a:cxn ang="f4299">
                  <a:pos x="f5782" y="f6259"/>
                </a:cxn>
                <a:cxn ang="f4299">
                  <a:pos x="f5783" y="f6258"/>
                </a:cxn>
                <a:cxn ang="f4299">
                  <a:pos x="f5784" y="f6258"/>
                </a:cxn>
                <a:cxn ang="f4299">
                  <a:pos x="f5785" y="f6259"/>
                </a:cxn>
                <a:cxn ang="f4299">
                  <a:pos x="f5785" y="f6260"/>
                </a:cxn>
                <a:cxn ang="f4299">
                  <a:pos x="f5784" y="f6261"/>
                </a:cxn>
                <a:cxn ang="f4299">
                  <a:pos x="f5783" y="f6261"/>
                </a:cxn>
                <a:cxn ang="f4299">
                  <a:pos x="f5786" y="f6260"/>
                </a:cxn>
                <a:cxn ang="f4299">
                  <a:pos x="f5786" y="f6259"/>
                </a:cxn>
                <a:cxn ang="f4299">
                  <a:pos x="f5787" y="f6258"/>
                </a:cxn>
                <a:cxn ang="f4299">
                  <a:pos x="f5788" y="f6258"/>
                </a:cxn>
                <a:cxn ang="f4299">
                  <a:pos x="f5789" y="f6259"/>
                </a:cxn>
                <a:cxn ang="f4299">
                  <a:pos x="f5789" y="f6260"/>
                </a:cxn>
                <a:cxn ang="f4299">
                  <a:pos x="f5788" y="f6261"/>
                </a:cxn>
                <a:cxn ang="f4299">
                  <a:pos x="f5787" y="f6261"/>
                </a:cxn>
                <a:cxn ang="f4299">
                  <a:pos x="f5790" y="f6260"/>
                </a:cxn>
                <a:cxn ang="f4299">
                  <a:pos x="f5790" y="f6259"/>
                </a:cxn>
                <a:cxn ang="f4299">
                  <a:pos x="f5791" y="f6258"/>
                </a:cxn>
                <a:cxn ang="f4299">
                  <a:pos x="f5792" y="f6258"/>
                </a:cxn>
                <a:cxn ang="f4299">
                  <a:pos x="f5793" y="f6259"/>
                </a:cxn>
                <a:cxn ang="f4299">
                  <a:pos x="f5793" y="f6260"/>
                </a:cxn>
                <a:cxn ang="f4299">
                  <a:pos x="f5792" y="f6261"/>
                </a:cxn>
                <a:cxn ang="f4299">
                  <a:pos x="f5791" y="f6261"/>
                </a:cxn>
                <a:cxn ang="f4299">
                  <a:pos x="f5794" y="f6260"/>
                </a:cxn>
                <a:cxn ang="f4299">
                  <a:pos x="f5794" y="f6259"/>
                </a:cxn>
                <a:cxn ang="f4299">
                  <a:pos x="f5795" y="f6258"/>
                </a:cxn>
                <a:cxn ang="f4299">
                  <a:pos x="f5796" y="f6258"/>
                </a:cxn>
                <a:cxn ang="f4299">
                  <a:pos x="f5797" y="f6259"/>
                </a:cxn>
                <a:cxn ang="f4299">
                  <a:pos x="f5797" y="f6260"/>
                </a:cxn>
                <a:cxn ang="f4299">
                  <a:pos x="f5796" y="f6261"/>
                </a:cxn>
                <a:cxn ang="f4299">
                  <a:pos x="f5795" y="f6261"/>
                </a:cxn>
                <a:cxn ang="f4299">
                  <a:pos x="f5798" y="f6260"/>
                </a:cxn>
                <a:cxn ang="f4299">
                  <a:pos x="f5798" y="f6259"/>
                </a:cxn>
                <a:cxn ang="f4299">
                  <a:pos x="f5799" y="f6258"/>
                </a:cxn>
                <a:cxn ang="f4299">
                  <a:pos x="f5800" y="f6258"/>
                </a:cxn>
                <a:cxn ang="f4299">
                  <a:pos x="f5801" y="f6259"/>
                </a:cxn>
                <a:cxn ang="f4299">
                  <a:pos x="f5801" y="f6260"/>
                </a:cxn>
                <a:cxn ang="f4299">
                  <a:pos x="f5800" y="f6261"/>
                </a:cxn>
                <a:cxn ang="f4299">
                  <a:pos x="f5799" y="f6261"/>
                </a:cxn>
                <a:cxn ang="f4299">
                  <a:pos x="f5802" y="f6260"/>
                </a:cxn>
                <a:cxn ang="f4299">
                  <a:pos x="f5802" y="f6259"/>
                </a:cxn>
                <a:cxn ang="f4299">
                  <a:pos x="f5803" y="f6258"/>
                </a:cxn>
                <a:cxn ang="f4299">
                  <a:pos x="f5804" y="f6258"/>
                </a:cxn>
                <a:cxn ang="f4299">
                  <a:pos x="f5805" y="f6259"/>
                </a:cxn>
                <a:cxn ang="f4299">
                  <a:pos x="f5805" y="f6260"/>
                </a:cxn>
                <a:cxn ang="f4299">
                  <a:pos x="f5804" y="f6261"/>
                </a:cxn>
                <a:cxn ang="f4299">
                  <a:pos x="f5803" y="f6261"/>
                </a:cxn>
                <a:cxn ang="f4299">
                  <a:pos x="f5806" y="f6260"/>
                </a:cxn>
                <a:cxn ang="f4299">
                  <a:pos x="f5806" y="f6259"/>
                </a:cxn>
                <a:cxn ang="f4299">
                  <a:pos x="f5807" y="f6258"/>
                </a:cxn>
                <a:cxn ang="f4299">
                  <a:pos x="f5808" y="f6258"/>
                </a:cxn>
                <a:cxn ang="f4299">
                  <a:pos x="f5809" y="f6259"/>
                </a:cxn>
                <a:cxn ang="f4299">
                  <a:pos x="f5809" y="f6260"/>
                </a:cxn>
                <a:cxn ang="f4299">
                  <a:pos x="f5808" y="f6261"/>
                </a:cxn>
                <a:cxn ang="f4299">
                  <a:pos x="f5807" y="f6261"/>
                </a:cxn>
                <a:cxn ang="f4299">
                  <a:pos x="f5810" y="f6260"/>
                </a:cxn>
                <a:cxn ang="f4299">
                  <a:pos x="f5810" y="f6259"/>
                </a:cxn>
                <a:cxn ang="f4299">
                  <a:pos x="f5811" y="f6258"/>
                </a:cxn>
                <a:cxn ang="f4299">
                  <a:pos x="f5812" y="f6258"/>
                </a:cxn>
                <a:cxn ang="f4299">
                  <a:pos x="f5813" y="f6259"/>
                </a:cxn>
                <a:cxn ang="f4299">
                  <a:pos x="f5813" y="f6260"/>
                </a:cxn>
                <a:cxn ang="f4299">
                  <a:pos x="f5812" y="f6261"/>
                </a:cxn>
                <a:cxn ang="f4299">
                  <a:pos x="f5811" y="f6261"/>
                </a:cxn>
                <a:cxn ang="f4299">
                  <a:pos x="f5814" y="f6260"/>
                </a:cxn>
                <a:cxn ang="f4299">
                  <a:pos x="f5814" y="f6259"/>
                </a:cxn>
                <a:cxn ang="f4299">
                  <a:pos x="f5815" y="f6258"/>
                </a:cxn>
                <a:cxn ang="f4299">
                  <a:pos x="f5816" y="f6258"/>
                </a:cxn>
                <a:cxn ang="f4299">
                  <a:pos x="f5817" y="f6259"/>
                </a:cxn>
                <a:cxn ang="f4299">
                  <a:pos x="f5817" y="f6260"/>
                </a:cxn>
                <a:cxn ang="f4299">
                  <a:pos x="f5816" y="f6261"/>
                </a:cxn>
                <a:cxn ang="f4299">
                  <a:pos x="f5815" y="f6261"/>
                </a:cxn>
                <a:cxn ang="f4299">
                  <a:pos x="f5818" y="f6260"/>
                </a:cxn>
                <a:cxn ang="f4299">
                  <a:pos x="f5818" y="f6259"/>
                </a:cxn>
                <a:cxn ang="f4299">
                  <a:pos x="f5819" y="f6258"/>
                </a:cxn>
                <a:cxn ang="f4299">
                  <a:pos x="f5820" y="f6258"/>
                </a:cxn>
                <a:cxn ang="f4299">
                  <a:pos x="f5821" y="f6259"/>
                </a:cxn>
                <a:cxn ang="f4299">
                  <a:pos x="f5821" y="f6260"/>
                </a:cxn>
                <a:cxn ang="f4299">
                  <a:pos x="f5820" y="f6261"/>
                </a:cxn>
                <a:cxn ang="f4299">
                  <a:pos x="f5819" y="f6261"/>
                </a:cxn>
                <a:cxn ang="f4299">
                  <a:pos x="f5822" y="f6260"/>
                </a:cxn>
                <a:cxn ang="f4299">
                  <a:pos x="f5822" y="f6259"/>
                </a:cxn>
                <a:cxn ang="f4299">
                  <a:pos x="f5823" y="f6258"/>
                </a:cxn>
                <a:cxn ang="f4299">
                  <a:pos x="f5824" y="f6258"/>
                </a:cxn>
                <a:cxn ang="f4299">
                  <a:pos x="f5825" y="f6259"/>
                </a:cxn>
                <a:cxn ang="f4299">
                  <a:pos x="f5825" y="f6260"/>
                </a:cxn>
                <a:cxn ang="f4299">
                  <a:pos x="f5824" y="f6261"/>
                </a:cxn>
                <a:cxn ang="f4299">
                  <a:pos x="f5823" y="f6261"/>
                </a:cxn>
                <a:cxn ang="f4299">
                  <a:pos x="f5826" y="f6260"/>
                </a:cxn>
                <a:cxn ang="f4299">
                  <a:pos x="f5826" y="f6259"/>
                </a:cxn>
                <a:cxn ang="f4299">
                  <a:pos x="f5827" y="f6258"/>
                </a:cxn>
                <a:cxn ang="f4299">
                  <a:pos x="f5828" y="f6258"/>
                </a:cxn>
                <a:cxn ang="f4299">
                  <a:pos x="f5829" y="f6259"/>
                </a:cxn>
                <a:cxn ang="f4299">
                  <a:pos x="f5829" y="f6260"/>
                </a:cxn>
                <a:cxn ang="f4299">
                  <a:pos x="f5828" y="f6261"/>
                </a:cxn>
                <a:cxn ang="f4299">
                  <a:pos x="f5827" y="f6261"/>
                </a:cxn>
                <a:cxn ang="f4299">
                  <a:pos x="f5830" y="f6260"/>
                </a:cxn>
                <a:cxn ang="f4299">
                  <a:pos x="f5830" y="f6259"/>
                </a:cxn>
                <a:cxn ang="f4299">
                  <a:pos x="f5831" y="f6258"/>
                </a:cxn>
                <a:cxn ang="f4299">
                  <a:pos x="f5832" y="f6258"/>
                </a:cxn>
                <a:cxn ang="f4299">
                  <a:pos x="f5833" y="f6259"/>
                </a:cxn>
                <a:cxn ang="f4299">
                  <a:pos x="f5833" y="f6260"/>
                </a:cxn>
                <a:cxn ang="f4299">
                  <a:pos x="f5832" y="f6261"/>
                </a:cxn>
                <a:cxn ang="f4299">
                  <a:pos x="f5831" y="f6261"/>
                </a:cxn>
                <a:cxn ang="f4299">
                  <a:pos x="f5834" y="f6260"/>
                </a:cxn>
                <a:cxn ang="f4299">
                  <a:pos x="f5834" y="f6259"/>
                </a:cxn>
                <a:cxn ang="f4299">
                  <a:pos x="f5835" y="f6258"/>
                </a:cxn>
                <a:cxn ang="f4299">
                  <a:pos x="f5836" y="f6258"/>
                </a:cxn>
                <a:cxn ang="f4299">
                  <a:pos x="f5837" y="f6259"/>
                </a:cxn>
                <a:cxn ang="f4299">
                  <a:pos x="f5837" y="f6260"/>
                </a:cxn>
                <a:cxn ang="f4299">
                  <a:pos x="f5836" y="f6261"/>
                </a:cxn>
                <a:cxn ang="f4299">
                  <a:pos x="f5835" y="f6261"/>
                </a:cxn>
                <a:cxn ang="f4299">
                  <a:pos x="f5838" y="f6260"/>
                </a:cxn>
                <a:cxn ang="f4299">
                  <a:pos x="f5838" y="f6259"/>
                </a:cxn>
                <a:cxn ang="f4299">
                  <a:pos x="f5839" y="f6258"/>
                </a:cxn>
                <a:cxn ang="f4299">
                  <a:pos x="f5840" y="f6258"/>
                </a:cxn>
                <a:cxn ang="f4299">
                  <a:pos x="f5841" y="f6259"/>
                </a:cxn>
                <a:cxn ang="f4299">
                  <a:pos x="f5841" y="f6260"/>
                </a:cxn>
                <a:cxn ang="f4299">
                  <a:pos x="f5840" y="f6261"/>
                </a:cxn>
                <a:cxn ang="f4299">
                  <a:pos x="f5839" y="f6261"/>
                </a:cxn>
                <a:cxn ang="f4299">
                  <a:pos x="f5842" y="f6260"/>
                </a:cxn>
                <a:cxn ang="f4299">
                  <a:pos x="f5842" y="f6259"/>
                </a:cxn>
                <a:cxn ang="f4299">
                  <a:pos x="f5843" y="f6258"/>
                </a:cxn>
                <a:cxn ang="f4299">
                  <a:pos x="f5844" y="f6258"/>
                </a:cxn>
                <a:cxn ang="f4299">
                  <a:pos x="f5845" y="f6259"/>
                </a:cxn>
                <a:cxn ang="f4299">
                  <a:pos x="f5845" y="f6260"/>
                </a:cxn>
                <a:cxn ang="f4299">
                  <a:pos x="f5844" y="f6261"/>
                </a:cxn>
                <a:cxn ang="f4299">
                  <a:pos x="f5843" y="f6261"/>
                </a:cxn>
                <a:cxn ang="f4299">
                  <a:pos x="f5846" y="f6260"/>
                </a:cxn>
                <a:cxn ang="f4299">
                  <a:pos x="f5846" y="f6259"/>
                </a:cxn>
                <a:cxn ang="f4299">
                  <a:pos x="f5847" y="f6258"/>
                </a:cxn>
                <a:cxn ang="f4299">
                  <a:pos x="f5848" y="f6258"/>
                </a:cxn>
                <a:cxn ang="f4299">
                  <a:pos x="f5849" y="f6259"/>
                </a:cxn>
                <a:cxn ang="f4299">
                  <a:pos x="f5849" y="f6260"/>
                </a:cxn>
                <a:cxn ang="f4299">
                  <a:pos x="f5848" y="f6261"/>
                </a:cxn>
                <a:cxn ang="f4299">
                  <a:pos x="f5847" y="f6261"/>
                </a:cxn>
                <a:cxn ang="f4299">
                  <a:pos x="f5850" y="f6260"/>
                </a:cxn>
                <a:cxn ang="f4299">
                  <a:pos x="f5850" y="f6259"/>
                </a:cxn>
                <a:cxn ang="f4299">
                  <a:pos x="f5851" y="f6258"/>
                </a:cxn>
                <a:cxn ang="f4299">
                  <a:pos x="f5852" y="f6258"/>
                </a:cxn>
                <a:cxn ang="f4299">
                  <a:pos x="f5853" y="f6259"/>
                </a:cxn>
                <a:cxn ang="f4299">
                  <a:pos x="f5853" y="f6260"/>
                </a:cxn>
                <a:cxn ang="f4299">
                  <a:pos x="f5852" y="f6261"/>
                </a:cxn>
                <a:cxn ang="f4299">
                  <a:pos x="f5851" y="f6261"/>
                </a:cxn>
                <a:cxn ang="f4299">
                  <a:pos x="f5854" y="f6260"/>
                </a:cxn>
                <a:cxn ang="f4299">
                  <a:pos x="f5854" y="f6259"/>
                </a:cxn>
                <a:cxn ang="f4299">
                  <a:pos x="f5855" y="f6258"/>
                </a:cxn>
                <a:cxn ang="f4299">
                  <a:pos x="f5856" y="f6258"/>
                </a:cxn>
                <a:cxn ang="f4299">
                  <a:pos x="f5857" y="f6259"/>
                </a:cxn>
                <a:cxn ang="f4299">
                  <a:pos x="f5857" y="f6260"/>
                </a:cxn>
                <a:cxn ang="f4299">
                  <a:pos x="f5856" y="f6261"/>
                </a:cxn>
                <a:cxn ang="f4299">
                  <a:pos x="f5855" y="f6261"/>
                </a:cxn>
                <a:cxn ang="f4299">
                  <a:pos x="f5858" y="f6260"/>
                </a:cxn>
                <a:cxn ang="f4299">
                  <a:pos x="f5858" y="f6259"/>
                </a:cxn>
                <a:cxn ang="f4299">
                  <a:pos x="f5859" y="f6258"/>
                </a:cxn>
                <a:cxn ang="f4299">
                  <a:pos x="f5860" y="f6258"/>
                </a:cxn>
                <a:cxn ang="f4299">
                  <a:pos x="f5861" y="f6259"/>
                </a:cxn>
                <a:cxn ang="f4299">
                  <a:pos x="f5861" y="f6260"/>
                </a:cxn>
                <a:cxn ang="f4299">
                  <a:pos x="f5860" y="f6261"/>
                </a:cxn>
                <a:cxn ang="f4299">
                  <a:pos x="f5859" y="f6261"/>
                </a:cxn>
                <a:cxn ang="f4299">
                  <a:pos x="f5862" y="f6260"/>
                </a:cxn>
                <a:cxn ang="f4299">
                  <a:pos x="f5862" y="f6259"/>
                </a:cxn>
                <a:cxn ang="f4299">
                  <a:pos x="f5863" y="f6258"/>
                </a:cxn>
                <a:cxn ang="f4299">
                  <a:pos x="f5864" y="f6258"/>
                </a:cxn>
                <a:cxn ang="f4299">
                  <a:pos x="f5865" y="f6259"/>
                </a:cxn>
                <a:cxn ang="f4299">
                  <a:pos x="f5865" y="f6260"/>
                </a:cxn>
                <a:cxn ang="f4299">
                  <a:pos x="f5864" y="f6261"/>
                </a:cxn>
                <a:cxn ang="f4299">
                  <a:pos x="f5863" y="f6261"/>
                </a:cxn>
                <a:cxn ang="f4299">
                  <a:pos x="f5866" y="f6260"/>
                </a:cxn>
                <a:cxn ang="f4299">
                  <a:pos x="f5866" y="f6259"/>
                </a:cxn>
                <a:cxn ang="f4299">
                  <a:pos x="f5867" y="f6258"/>
                </a:cxn>
                <a:cxn ang="f4299">
                  <a:pos x="f5868" y="f6258"/>
                </a:cxn>
                <a:cxn ang="f4299">
                  <a:pos x="f5869" y="f6259"/>
                </a:cxn>
                <a:cxn ang="f4299">
                  <a:pos x="f5869" y="f6260"/>
                </a:cxn>
                <a:cxn ang="f4299">
                  <a:pos x="f5868" y="f6261"/>
                </a:cxn>
                <a:cxn ang="f4299">
                  <a:pos x="f5867" y="f6261"/>
                </a:cxn>
                <a:cxn ang="f4299">
                  <a:pos x="f5870" y="f6260"/>
                </a:cxn>
                <a:cxn ang="f4299">
                  <a:pos x="f5870" y="f6259"/>
                </a:cxn>
                <a:cxn ang="f4299">
                  <a:pos x="f5871" y="f6258"/>
                </a:cxn>
                <a:cxn ang="f4299">
                  <a:pos x="f5872" y="f6258"/>
                </a:cxn>
                <a:cxn ang="f4299">
                  <a:pos x="f5873" y="f6259"/>
                </a:cxn>
                <a:cxn ang="f4299">
                  <a:pos x="f5873" y="f6260"/>
                </a:cxn>
                <a:cxn ang="f4299">
                  <a:pos x="f5872" y="f6261"/>
                </a:cxn>
                <a:cxn ang="f4299">
                  <a:pos x="f5871" y="f6261"/>
                </a:cxn>
                <a:cxn ang="f4299">
                  <a:pos x="f5874" y="f6260"/>
                </a:cxn>
                <a:cxn ang="f4299">
                  <a:pos x="f5874" y="f6259"/>
                </a:cxn>
                <a:cxn ang="f4299">
                  <a:pos x="f5875" y="f6258"/>
                </a:cxn>
                <a:cxn ang="f4299">
                  <a:pos x="f5876" y="f6258"/>
                </a:cxn>
                <a:cxn ang="f4299">
                  <a:pos x="f5877" y="f6259"/>
                </a:cxn>
                <a:cxn ang="f4299">
                  <a:pos x="f5877" y="f6260"/>
                </a:cxn>
                <a:cxn ang="f4299">
                  <a:pos x="f5876" y="f6261"/>
                </a:cxn>
                <a:cxn ang="f4299">
                  <a:pos x="f5875" y="f6261"/>
                </a:cxn>
                <a:cxn ang="f4299">
                  <a:pos x="f5878" y="f6260"/>
                </a:cxn>
                <a:cxn ang="f4299">
                  <a:pos x="f5878" y="f6259"/>
                </a:cxn>
                <a:cxn ang="f4299">
                  <a:pos x="f5879" y="f6258"/>
                </a:cxn>
                <a:cxn ang="f4299">
                  <a:pos x="f5880" y="f6258"/>
                </a:cxn>
                <a:cxn ang="f4299">
                  <a:pos x="f5881" y="f6259"/>
                </a:cxn>
                <a:cxn ang="f4299">
                  <a:pos x="f5881" y="f6260"/>
                </a:cxn>
                <a:cxn ang="f4299">
                  <a:pos x="f5880" y="f6261"/>
                </a:cxn>
                <a:cxn ang="f4299">
                  <a:pos x="f5879" y="f6261"/>
                </a:cxn>
                <a:cxn ang="f4299">
                  <a:pos x="f5882" y="f6260"/>
                </a:cxn>
                <a:cxn ang="f4299">
                  <a:pos x="f5882" y="f6259"/>
                </a:cxn>
                <a:cxn ang="f4299">
                  <a:pos x="f5883" y="f6258"/>
                </a:cxn>
                <a:cxn ang="f4299">
                  <a:pos x="f5884" y="f6258"/>
                </a:cxn>
                <a:cxn ang="f4299">
                  <a:pos x="f5885" y="f6259"/>
                </a:cxn>
                <a:cxn ang="f4299">
                  <a:pos x="f5885" y="f6260"/>
                </a:cxn>
                <a:cxn ang="f4299">
                  <a:pos x="f5884" y="f6261"/>
                </a:cxn>
                <a:cxn ang="f4299">
                  <a:pos x="f5883" y="f6261"/>
                </a:cxn>
                <a:cxn ang="f4299">
                  <a:pos x="f5886" y="f6260"/>
                </a:cxn>
                <a:cxn ang="f4299">
                  <a:pos x="f5886" y="f6259"/>
                </a:cxn>
                <a:cxn ang="f4299">
                  <a:pos x="f5887" y="f6258"/>
                </a:cxn>
                <a:cxn ang="f4299">
                  <a:pos x="f5888" y="f6258"/>
                </a:cxn>
                <a:cxn ang="f4299">
                  <a:pos x="f5889" y="f6259"/>
                </a:cxn>
                <a:cxn ang="f4299">
                  <a:pos x="f5889" y="f6260"/>
                </a:cxn>
                <a:cxn ang="f4299">
                  <a:pos x="f5888" y="f6261"/>
                </a:cxn>
                <a:cxn ang="f4299">
                  <a:pos x="f5887" y="f6261"/>
                </a:cxn>
                <a:cxn ang="f4299">
                  <a:pos x="f5890" y="f6260"/>
                </a:cxn>
                <a:cxn ang="f4299">
                  <a:pos x="f5890" y="f6259"/>
                </a:cxn>
                <a:cxn ang="f4299">
                  <a:pos x="f5891" y="f6258"/>
                </a:cxn>
                <a:cxn ang="f4299">
                  <a:pos x="f5892" y="f6258"/>
                </a:cxn>
                <a:cxn ang="f4299">
                  <a:pos x="f5893" y="f6259"/>
                </a:cxn>
                <a:cxn ang="f4299">
                  <a:pos x="f5893" y="f6260"/>
                </a:cxn>
                <a:cxn ang="f4299">
                  <a:pos x="f5892" y="f6261"/>
                </a:cxn>
                <a:cxn ang="f4299">
                  <a:pos x="f5891" y="f6261"/>
                </a:cxn>
                <a:cxn ang="f4299">
                  <a:pos x="f5894" y="f6260"/>
                </a:cxn>
                <a:cxn ang="f4299">
                  <a:pos x="f5894" y="f6259"/>
                </a:cxn>
                <a:cxn ang="f4299">
                  <a:pos x="f6198" y="f6258"/>
                </a:cxn>
                <a:cxn ang="f4299">
                  <a:pos x="f6200" y="f6258"/>
                </a:cxn>
                <a:cxn ang="f4299">
                  <a:pos x="f6144" y="f6259"/>
                </a:cxn>
                <a:cxn ang="f4299">
                  <a:pos x="f6144" y="f6260"/>
                </a:cxn>
                <a:cxn ang="f4299">
                  <a:pos x="f6200" y="f6261"/>
                </a:cxn>
                <a:cxn ang="f4299">
                  <a:pos x="f6198" y="f6261"/>
                </a:cxn>
                <a:cxn ang="f4299">
                  <a:pos x="f6262" y="f6260"/>
                </a:cxn>
                <a:cxn ang="f4299">
                  <a:pos x="f6262" y="f6259"/>
                </a:cxn>
                <a:cxn ang="f4299">
                  <a:pos x="f6148" y="f6258"/>
                </a:cxn>
                <a:cxn ang="f4299">
                  <a:pos x="f6263" y="f6258"/>
                </a:cxn>
                <a:cxn ang="f4299">
                  <a:pos x="f6234" y="f6259"/>
                </a:cxn>
                <a:cxn ang="f4299">
                  <a:pos x="f6234" y="f6260"/>
                </a:cxn>
                <a:cxn ang="f4299">
                  <a:pos x="f6263" y="f6261"/>
                </a:cxn>
                <a:cxn ang="f4299">
                  <a:pos x="f6148" y="f6261"/>
                </a:cxn>
                <a:cxn ang="f4299">
                  <a:pos x="f6204" y="f6260"/>
                </a:cxn>
                <a:cxn ang="f4299">
                  <a:pos x="f6204" y="f6259"/>
                </a:cxn>
                <a:cxn ang="f4299">
                  <a:pos x="f6264" y="f6258"/>
                </a:cxn>
                <a:cxn ang="f4299">
                  <a:pos x="f6265" y="f6258"/>
                </a:cxn>
                <a:cxn ang="f4299">
                  <a:pos x="f6235" y="f6259"/>
                </a:cxn>
                <a:cxn ang="f4299">
                  <a:pos x="f6235" y="f6260"/>
                </a:cxn>
                <a:cxn ang="f4299">
                  <a:pos x="f6265" y="f6261"/>
                </a:cxn>
                <a:cxn ang="f4299">
                  <a:pos x="f6264" y="f6261"/>
                </a:cxn>
                <a:cxn ang="f4299">
                  <a:pos x="f6266" y="f6260"/>
                </a:cxn>
                <a:cxn ang="f4299">
                  <a:pos x="f6266" y="f6259"/>
                </a:cxn>
                <a:cxn ang="f4299">
                  <a:pos x="f6267" y="f6258"/>
                </a:cxn>
                <a:cxn ang="f4299">
                  <a:pos x="f6237" y="f6258"/>
                </a:cxn>
                <a:cxn ang="f4299">
                  <a:pos x="f6268" y="f6259"/>
                </a:cxn>
                <a:cxn ang="f4299">
                  <a:pos x="f6268" y="f6260"/>
                </a:cxn>
                <a:cxn ang="f4299">
                  <a:pos x="f6237" y="f6261"/>
                </a:cxn>
                <a:cxn ang="f4299">
                  <a:pos x="f6267" y="f6261"/>
                </a:cxn>
                <a:cxn ang="f4299">
                  <a:pos x="f6269" y="f6260"/>
                </a:cxn>
                <a:cxn ang="f4299">
                  <a:pos x="f6269" y="f6259"/>
                </a:cxn>
                <a:cxn ang="f4299">
                  <a:pos x="f6270" y="f6258"/>
                </a:cxn>
                <a:cxn ang="f4299">
                  <a:pos x="f6239" y="f6258"/>
                </a:cxn>
                <a:cxn ang="f4299">
                  <a:pos x="f6271" y="f6259"/>
                </a:cxn>
                <a:cxn ang="f4299">
                  <a:pos x="f6271" y="f6260"/>
                </a:cxn>
                <a:cxn ang="f4299">
                  <a:pos x="f6239" y="f6261"/>
                </a:cxn>
                <a:cxn ang="f4299">
                  <a:pos x="f6270" y="f6261"/>
                </a:cxn>
                <a:cxn ang="f4299">
                  <a:pos x="f6240" y="f6260"/>
                </a:cxn>
                <a:cxn ang="f4299">
                  <a:pos x="f6240" y="f6259"/>
                </a:cxn>
                <a:cxn ang="f4299">
                  <a:pos x="f6241" y="f6258"/>
                </a:cxn>
                <a:cxn ang="f4299">
                  <a:pos x="f6272" y="f6258"/>
                </a:cxn>
                <a:cxn ang="f4299">
                  <a:pos x="f6273" y="f6259"/>
                </a:cxn>
                <a:cxn ang="f4299">
                  <a:pos x="f6273" y="f6260"/>
                </a:cxn>
                <a:cxn ang="f4299">
                  <a:pos x="f6272" y="f6261"/>
                </a:cxn>
                <a:cxn ang="f4299">
                  <a:pos x="f6241" y="f6261"/>
                </a:cxn>
                <a:cxn ang="f4299">
                  <a:pos x="f6243" y="f6260"/>
                </a:cxn>
                <a:cxn ang="f4299">
                  <a:pos x="f6243" y="f6259"/>
                </a:cxn>
                <a:cxn ang="f4299">
                  <a:pos x="f6274" y="f6258"/>
                </a:cxn>
                <a:cxn ang="f4299">
                  <a:pos x="f6248" y="f6258"/>
                </a:cxn>
                <a:cxn ang="f4299">
                  <a:pos x="f6249" y="f6259"/>
                </a:cxn>
                <a:cxn ang="f4299">
                  <a:pos x="f6249" y="f6260"/>
                </a:cxn>
                <a:cxn ang="f4299">
                  <a:pos x="f6248" y="f6261"/>
                </a:cxn>
                <a:cxn ang="f4299">
                  <a:pos x="f6274" y="f6261"/>
                </a:cxn>
                <a:cxn ang="f4299">
                  <a:pos x="f6275" y="f6260"/>
                </a:cxn>
                <a:cxn ang="f4299">
                  <a:pos x="f6275" y="f6259"/>
                </a:cxn>
                <a:cxn ang="f4299">
                  <a:pos x="f6276" y="f6258"/>
                </a:cxn>
                <a:cxn ang="f4299">
                  <a:pos x="f6251" y="f6258"/>
                </a:cxn>
                <a:cxn ang="f4299">
                  <a:pos x="f6252" y="f6259"/>
                </a:cxn>
                <a:cxn ang="f4299">
                  <a:pos x="f6252" y="f6260"/>
                </a:cxn>
                <a:cxn ang="f4299">
                  <a:pos x="f6251" y="f6261"/>
                </a:cxn>
                <a:cxn ang="f4299">
                  <a:pos x="f6276" y="f6261"/>
                </a:cxn>
                <a:cxn ang="f4299">
                  <a:pos x="f6277" y="f6260"/>
                </a:cxn>
                <a:cxn ang="f4299">
                  <a:pos x="f6277" y="f6259"/>
                </a:cxn>
                <a:cxn ang="f4299">
                  <a:pos x="f6253" y="f6258"/>
                </a:cxn>
                <a:cxn ang="f4299">
                  <a:pos x="f6278" y="f6258"/>
                </a:cxn>
                <a:cxn ang="f4299">
                  <a:pos x="f6279" y="f6259"/>
                </a:cxn>
                <a:cxn ang="f4299">
                  <a:pos x="f6279" y="f6260"/>
                </a:cxn>
                <a:cxn ang="f4299">
                  <a:pos x="f6278" y="f6261"/>
                </a:cxn>
                <a:cxn ang="f4299">
                  <a:pos x="f6253" y="f6261"/>
                </a:cxn>
                <a:cxn ang="f4299">
                  <a:pos x="f6280" y="f6260"/>
                </a:cxn>
                <a:cxn ang="f4299">
                  <a:pos x="f6280" y="f6259"/>
                </a:cxn>
                <a:cxn ang="f4299">
                  <a:pos x="f6281" y="f6258"/>
                </a:cxn>
                <a:cxn ang="f4299">
                  <a:pos x="f6256" y="f6258"/>
                </a:cxn>
                <a:cxn ang="f4299">
                  <a:pos x="f6257" y="f6259"/>
                </a:cxn>
                <a:cxn ang="f4299">
                  <a:pos x="f6257" y="f6260"/>
                </a:cxn>
                <a:cxn ang="f4299">
                  <a:pos x="f6256" y="f6261"/>
                </a:cxn>
                <a:cxn ang="f4299">
                  <a:pos x="f6281" y="f6261"/>
                </a:cxn>
                <a:cxn ang="f4299">
                  <a:pos x="f6282" y="f6260"/>
                </a:cxn>
                <a:cxn ang="f4299">
                  <a:pos x="f6282" y="f6259"/>
                </a:cxn>
                <a:cxn ang="f4299">
                  <a:pos x="f6198" y="f6283"/>
                </a:cxn>
                <a:cxn ang="f4299">
                  <a:pos x="f6200" y="f6283"/>
                </a:cxn>
                <a:cxn ang="f4299">
                  <a:pos x="f6284" y="f6285"/>
                </a:cxn>
                <a:cxn ang="f4299">
                  <a:pos x="f6284" y="f6286"/>
                </a:cxn>
                <a:cxn ang="f4299">
                  <a:pos x="f6200" y="f6287"/>
                </a:cxn>
                <a:cxn ang="f4299">
                  <a:pos x="f6198" y="f6287"/>
                </a:cxn>
                <a:cxn ang="f4299">
                  <a:pos x="f6262" y="f6286"/>
                </a:cxn>
                <a:cxn ang="f4299">
                  <a:pos x="f6262" y="f6285"/>
                </a:cxn>
                <a:cxn ang="f4299">
                  <a:pos x="f6288" y="f6283"/>
                </a:cxn>
                <a:cxn ang="f4299">
                  <a:pos x="f6263" y="f6283"/>
                </a:cxn>
                <a:cxn ang="f4299">
                  <a:pos x="f6234" y="f6285"/>
                </a:cxn>
                <a:cxn ang="f4299">
                  <a:pos x="f6234" y="f6286"/>
                </a:cxn>
                <a:cxn ang="f4299">
                  <a:pos x="f6263" y="f6287"/>
                </a:cxn>
                <a:cxn ang="f4299">
                  <a:pos x="f6288" y="f6287"/>
                </a:cxn>
                <a:cxn ang="f4299">
                  <a:pos x="f6204" y="f6286"/>
                </a:cxn>
                <a:cxn ang="f4299">
                  <a:pos x="f6204" y="f6285"/>
                </a:cxn>
                <a:cxn ang="f4299">
                  <a:pos x="f6289" y="f6283"/>
                </a:cxn>
                <a:cxn ang="f4299">
                  <a:pos x="f6290" y="f6283"/>
                </a:cxn>
                <a:cxn ang="f4299">
                  <a:pos x="f6291" y="f6285"/>
                </a:cxn>
                <a:cxn ang="f4299">
                  <a:pos x="f6291" y="f6286"/>
                </a:cxn>
                <a:cxn ang="f4299">
                  <a:pos x="f6290" y="f6287"/>
                </a:cxn>
                <a:cxn ang="f4299">
                  <a:pos x="f6289" y="f6287"/>
                </a:cxn>
                <a:cxn ang="f4299">
                  <a:pos x="f6266" y="f6286"/>
                </a:cxn>
                <a:cxn ang="f4299">
                  <a:pos x="f6266" y="f6285"/>
                </a:cxn>
                <a:cxn ang="f4299">
                  <a:pos x="f6292" y="f6283"/>
                </a:cxn>
                <a:cxn ang="f4299">
                  <a:pos x="f6293" y="f6283"/>
                </a:cxn>
                <a:cxn ang="f4299">
                  <a:pos x="f6268" y="f6285"/>
                </a:cxn>
                <a:cxn ang="f4299">
                  <a:pos x="f6268" y="f6286"/>
                </a:cxn>
                <a:cxn ang="f4299">
                  <a:pos x="f6293" y="f6287"/>
                </a:cxn>
                <a:cxn ang="f4299">
                  <a:pos x="f6292" y="f6287"/>
                </a:cxn>
                <a:cxn ang="f4299">
                  <a:pos x="f6269" y="f6286"/>
                </a:cxn>
                <a:cxn ang="f4299">
                  <a:pos x="f6269" y="f6285"/>
                </a:cxn>
                <a:cxn ang="f4299">
                  <a:pos x="f6270" y="f6283"/>
                </a:cxn>
                <a:cxn ang="f4299">
                  <a:pos x="f6294" y="f6283"/>
                </a:cxn>
                <a:cxn ang="f4299">
                  <a:pos x="f6271" y="f6285"/>
                </a:cxn>
                <a:cxn ang="f4299">
                  <a:pos x="f6271" y="f6286"/>
                </a:cxn>
                <a:cxn ang="f4299">
                  <a:pos x="f6294" y="f6287"/>
                </a:cxn>
                <a:cxn ang="f4299">
                  <a:pos x="f6270" y="f6287"/>
                </a:cxn>
                <a:cxn ang="f4299">
                  <a:pos x="f6295" y="f6286"/>
                </a:cxn>
                <a:cxn ang="f4299">
                  <a:pos x="f6295" y="f6285"/>
                </a:cxn>
                <a:cxn ang="f4299">
                  <a:pos x="f6296" y="f6283"/>
                </a:cxn>
                <a:cxn ang="f4299">
                  <a:pos x="f6272" y="f6283"/>
                </a:cxn>
                <a:cxn ang="f4299">
                  <a:pos x="f6297" y="f6285"/>
                </a:cxn>
                <a:cxn ang="f4299">
                  <a:pos x="f6297" y="f6286"/>
                </a:cxn>
                <a:cxn ang="f4299">
                  <a:pos x="f6272" y="f6287"/>
                </a:cxn>
                <a:cxn ang="f4299">
                  <a:pos x="f6296" y="f6287"/>
                </a:cxn>
                <a:cxn ang="f4299">
                  <a:pos x="f6298" y="f6286"/>
                </a:cxn>
                <a:cxn ang="f4299">
                  <a:pos x="f6298" y="f6285"/>
                </a:cxn>
                <a:cxn ang="f4299">
                  <a:pos x="f5767" y="f6299"/>
                </a:cxn>
                <a:cxn ang="f4299">
                  <a:pos x="f5769" y="f6299"/>
                </a:cxn>
                <a:cxn ang="f4299">
                  <a:pos x="f5770" y="f6300"/>
                </a:cxn>
                <a:cxn ang="f4299">
                  <a:pos x="f5770" y="f6301"/>
                </a:cxn>
                <a:cxn ang="f4299">
                  <a:pos x="f5769" y="f6302"/>
                </a:cxn>
                <a:cxn ang="f4299">
                  <a:pos x="f5767" y="f6302"/>
                </a:cxn>
                <a:cxn ang="f4299">
                  <a:pos x="f5774" y="f6301"/>
                </a:cxn>
                <a:cxn ang="f4299">
                  <a:pos x="f5774" y="f6300"/>
                </a:cxn>
                <a:cxn ang="f4299">
                  <a:pos x="f5775" y="f6299"/>
                </a:cxn>
                <a:cxn ang="f4299">
                  <a:pos x="f5776" y="f6299"/>
                </a:cxn>
                <a:cxn ang="f4299">
                  <a:pos x="f5777" y="f6300"/>
                </a:cxn>
                <a:cxn ang="f4299">
                  <a:pos x="f5777" y="f6301"/>
                </a:cxn>
                <a:cxn ang="f4299">
                  <a:pos x="f5776" y="f6302"/>
                </a:cxn>
                <a:cxn ang="f4299">
                  <a:pos x="f5775" y="f6302"/>
                </a:cxn>
                <a:cxn ang="f4299">
                  <a:pos x="f5778" y="f6301"/>
                </a:cxn>
                <a:cxn ang="f4299">
                  <a:pos x="f5778" y="f6300"/>
                </a:cxn>
                <a:cxn ang="f4299">
                  <a:pos x="f5779" y="f6299"/>
                </a:cxn>
                <a:cxn ang="f4299">
                  <a:pos x="f5780" y="f6299"/>
                </a:cxn>
                <a:cxn ang="f4299">
                  <a:pos x="f5781" y="f6300"/>
                </a:cxn>
                <a:cxn ang="f4299">
                  <a:pos x="f5781" y="f6301"/>
                </a:cxn>
                <a:cxn ang="f4299">
                  <a:pos x="f5780" y="f6302"/>
                </a:cxn>
                <a:cxn ang="f4299">
                  <a:pos x="f5779" y="f6302"/>
                </a:cxn>
                <a:cxn ang="f4299">
                  <a:pos x="f5782" y="f6301"/>
                </a:cxn>
                <a:cxn ang="f4299">
                  <a:pos x="f5782" y="f6300"/>
                </a:cxn>
                <a:cxn ang="f4299">
                  <a:pos x="f5783" y="f6299"/>
                </a:cxn>
                <a:cxn ang="f4299">
                  <a:pos x="f5784" y="f6299"/>
                </a:cxn>
                <a:cxn ang="f4299">
                  <a:pos x="f5785" y="f6300"/>
                </a:cxn>
                <a:cxn ang="f4299">
                  <a:pos x="f5785" y="f6301"/>
                </a:cxn>
                <a:cxn ang="f4299">
                  <a:pos x="f5784" y="f6302"/>
                </a:cxn>
                <a:cxn ang="f4299">
                  <a:pos x="f5783" y="f6302"/>
                </a:cxn>
                <a:cxn ang="f4299">
                  <a:pos x="f5786" y="f6301"/>
                </a:cxn>
                <a:cxn ang="f4299">
                  <a:pos x="f5786" y="f6300"/>
                </a:cxn>
                <a:cxn ang="f4299">
                  <a:pos x="f5787" y="f6299"/>
                </a:cxn>
                <a:cxn ang="f4299">
                  <a:pos x="f5788" y="f6299"/>
                </a:cxn>
                <a:cxn ang="f4299">
                  <a:pos x="f5789" y="f6300"/>
                </a:cxn>
                <a:cxn ang="f4299">
                  <a:pos x="f5789" y="f6301"/>
                </a:cxn>
                <a:cxn ang="f4299">
                  <a:pos x="f5788" y="f6302"/>
                </a:cxn>
                <a:cxn ang="f4299">
                  <a:pos x="f5787" y="f6302"/>
                </a:cxn>
                <a:cxn ang="f4299">
                  <a:pos x="f5790" y="f6301"/>
                </a:cxn>
                <a:cxn ang="f4299">
                  <a:pos x="f5790" y="f6300"/>
                </a:cxn>
                <a:cxn ang="f4299">
                  <a:pos x="f5791" y="f6299"/>
                </a:cxn>
                <a:cxn ang="f4299">
                  <a:pos x="f5792" y="f6299"/>
                </a:cxn>
                <a:cxn ang="f4299">
                  <a:pos x="f5793" y="f6300"/>
                </a:cxn>
                <a:cxn ang="f4299">
                  <a:pos x="f5793" y="f6301"/>
                </a:cxn>
                <a:cxn ang="f4299">
                  <a:pos x="f5792" y="f6302"/>
                </a:cxn>
                <a:cxn ang="f4299">
                  <a:pos x="f5791" y="f6302"/>
                </a:cxn>
                <a:cxn ang="f4299">
                  <a:pos x="f5794" y="f6301"/>
                </a:cxn>
                <a:cxn ang="f4299">
                  <a:pos x="f5794" y="f6300"/>
                </a:cxn>
                <a:cxn ang="f4299">
                  <a:pos x="f5795" y="f6299"/>
                </a:cxn>
                <a:cxn ang="f4299">
                  <a:pos x="f5796" y="f6299"/>
                </a:cxn>
                <a:cxn ang="f4299">
                  <a:pos x="f5797" y="f6300"/>
                </a:cxn>
                <a:cxn ang="f4299">
                  <a:pos x="f5797" y="f6301"/>
                </a:cxn>
                <a:cxn ang="f4299">
                  <a:pos x="f5796" y="f6302"/>
                </a:cxn>
                <a:cxn ang="f4299">
                  <a:pos x="f5795" y="f6302"/>
                </a:cxn>
                <a:cxn ang="f4299">
                  <a:pos x="f5798" y="f6301"/>
                </a:cxn>
                <a:cxn ang="f4299">
                  <a:pos x="f5798" y="f6300"/>
                </a:cxn>
                <a:cxn ang="f4299">
                  <a:pos x="f5799" y="f6299"/>
                </a:cxn>
                <a:cxn ang="f4299">
                  <a:pos x="f5800" y="f6299"/>
                </a:cxn>
                <a:cxn ang="f4299">
                  <a:pos x="f5801" y="f6300"/>
                </a:cxn>
                <a:cxn ang="f4299">
                  <a:pos x="f5801" y="f6301"/>
                </a:cxn>
                <a:cxn ang="f4299">
                  <a:pos x="f5800" y="f6302"/>
                </a:cxn>
                <a:cxn ang="f4299">
                  <a:pos x="f5799" y="f6302"/>
                </a:cxn>
                <a:cxn ang="f4299">
                  <a:pos x="f5802" y="f6301"/>
                </a:cxn>
                <a:cxn ang="f4299">
                  <a:pos x="f5802" y="f6300"/>
                </a:cxn>
                <a:cxn ang="f4299">
                  <a:pos x="f5803" y="f6299"/>
                </a:cxn>
                <a:cxn ang="f4299">
                  <a:pos x="f5804" y="f6299"/>
                </a:cxn>
                <a:cxn ang="f4299">
                  <a:pos x="f5805" y="f6300"/>
                </a:cxn>
                <a:cxn ang="f4299">
                  <a:pos x="f5805" y="f6301"/>
                </a:cxn>
                <a:cxn ang="f4299">
                  <a:pos x="f5804" y="f6302"/>
                </a:cxn>
                <a:cxn ang="f4299">
                  <a:pos x="f5803" y="f6302"/>
                </a:cxn>
                <a:cxn ang="f4299">
                  <a:pos x="f5806" y="f6301"/>
                </a:cxn>
                <a:cxn ang="f4299">
                  <a:pos x="f5806" y="f6300"/>
                </a:cxn>
                <a:cxn ang="f4299">
                  <a:pos x="f5807" y="f6299"/>
                </a:cxn>
                <a:cxn ang="f4299">
                  <a:pos x="f5808" y="f6299"/>
                </a:cxn>
                <a:cxn ang="f4299">
                  <a:pos x="f5809" y="f6300"/>
                </a:cxn>
                <a:cxn ang="f4299">
                  <a:pos x="f5809" y="f6301"/>
                </a:cxn>
                <a:cxn ang="f4299">
                  <a:pos x="f5808" y="f6302"/>
                </a:cxn>
                <a:cxn ang="f4299">
                  <a:pos x="f5807" y="f6302"/>
                </a:cxn>
                <a:cxn ang="f4299">
                  <a:pos x="f5810" y="f6301"/>
                </a:cxn>
                <a:cxn ang="f4299">
                  <a:pos x="f5810" y="f6300"/>
                </a:cxn>
                <a:cxn ang="f4299">
                  <a:pos x="f5811" y="f6299"/>
                </a:cxn>
                <a:cxn ang="f4299">
                  <a:pos x="f5812" y="f6299"/>
                </a:cxn>
                <a:cxn ang="f4299">
                  <a:pos x="f5813" y="f6300"/>
                </a:cxn>
                <a:cxn ang="f4299">
                  <a:pos x="f5813" y="f6301"/>
                </a:cxn>
                <a:cxn ang="f4299">
                  <a:pos x="f5812" y="f6302"/>
                </a:cxn>
                <a:cxn ang="f4299">
                  <a:pos x="f5811" y="f6302"/>
                </a:cxn>
                <a:cxn ang="f4299">
                  <a:pos x="f5814" y="f6301"/>
                </a:cxn>
                <a:cxn ang="f4299">
                  <a:pos x="f5814" y="f6300"/>
                </a:cxn>
                <a:cxn ang="f4299">
                  <a:pos x="f5815" y="f6299"/>
                </a:cxn>
                <a:cxn ang="f4299">
                  <a:pos x="f5816" y="f6299"/>
                </a:cxn>
                <a:cxn ang="f4299">
                  <a:pos x="f5817" y="f6300"/>
                </a:cxn>
                <a:cxn ang="f4299">
                  <a:pos x="f5817" y="f6301"/>
                </a:cxn>
                <a:cxn ang="f4299">
                  <a:pos x="f5816" y="f6302"/>
                </a:cxn>
                <a:cxn ang="f4299">
                  <a:pos x="f5815" y="f6302"/>
                </a:cxn>
                <a:cxn ang="f4299">
                  <a:pos x="f5818" y="f6301"/>
                </a:cxn>
                <a:cxn ang="f4299">
                  <a:pos x="f5818" y="f6300"/>
                </a:cxn>
                <a:cxn ang="f4299">
                  <a:pos x="f5819" y="f6299"/>
                </a:cxn>
                <a:cxn ang="f4299">
                  <a:pos x="f5820" y="f6299"/>
                </a:cxn>
                <a:cxn ang="f4299">
                  <a:pos x="f5821" y="f6300"/>
                </a:cxn>
                <a:cxn ang="f4299">
                  <a:pos x="f5821" y="f6301"/>
                </a:cxn>
                <a:cxn ang="f4299">
                  <a:pos x="f5820" y="f6302"/>
                </a:cxn>
                <a:cxn ang="f4299">
                  <a:pos x="f5819" y="f6302"/>
                </a:cxn>
                <a:cxn ang="f4299">
                  <a:pos x="f5822" y="f6301"/>
                </a:cxn>
                <a:cxn ang="f4299">
                  <a:pos x="f5822" y="f6300"/>
                </a:cxn>
                <a:cxn ang="f4299">
                  <a:pos x="f5823" y="f6299"/>
                </a:cxn>
                <a:cxn ang="f4299">
                  <a:pos x="f5824" y="f6299"/>
                </a:cxn>
                <a:cxn ang="f4299">
                  <a:pos x="f5825" y="f6300"/>
                </a:cxn>
                <a:cxn ang="f4299">
                  <a:pos x="f5825" y="f6301"/>
                </a:cxn>
                <a:cxn ang="f4299">
                  <a:pos x="f5824" y="f6302"/>
                </a:cxn>
                <a:cxn ang="f4299">
                  <a:pos x="f5823" y="f6302"/>
                </a:cxn>
                <a:cxn ang="f4299">
                  <a:pos x="f5826" y="f6301"/>
                </a:cxn>
                <a:cxn ang="f4299">
                  <a:pos x="f5826" y="f6300"/>
                </a:cxn>
                <a:cxn ang="f4299">
                  <a:pos x="f5827" y="f6299"/>
                </a:cxn>
                <a:cxn ang="f4299">
                  <a:pos x="f5828" y="f6299"/>
                </a:cxn>
                <a:cxn ang="f4299">
                  <a:pos x="f5829" y="f6300"/>
                </a:cxn>
                <a:cxn ang="f4299">
                  <a:pos x="f5829" y="f6301"/>
                </a:cxn>
                <a:cxn ang="f4299">
                  <a:pos x="f5828" y="f6302"/>
                </a:cxn>
                <a:cxn ang="f4299">
                  <a:pos x="f5827" y="f6302"/>
                </a:cxn>
                <a:cxn ang="f4299">
                  <a:pos x="f5830" y="f6301"/>
                </a:cxn>
                <a:cxn ang="f4299">
                  <a:pos x="f5830" y="f6300"/>
                </a:cxn>
                <a:cxn ang="f4299">
                  <a:pos x="f5831" y="f6299"/>
                </a:cxn>
                <a:cxn ang="f4299">
                  <a:pos x="f5832" y="f6299"/>
                </a:cxn>
                <a:cxn ang="f4299">
                  <a:pos x="f5833" y="f6300"/>
                </a:cxn>
                <a:cxn ang="f4299">
                  <a:pos x="f5833" y="f6301"/>
                </a:cxn>
                <a:cxn ang="f4299">
                  <a:pos x="f5832" y="f6302"/>
                </a:cxn>
                <a:cxn ang="f4299">
                  <a:pos x="f5831" y="f6302"/>
                </a:cxn>
                <a:cxn ang="f4299">
                  <a:pos x="f5834" y="f6301"/>
                </a:cxn>
                <a:cxn ang="f4299">
                  <a:pos x="f5834" y="f6300"/>
                </a:cxn>
                <a:cxn ang="f4299">
                  <a:pos x="f5835" y="f6299"/>
                </a:cxn>
                <a:cxn ang="f4299">
                  <a:pos x="f5836" y="f6299"/>
                </a:cxn>
                <a:cxn ang="f4299">
                  <a:pos x="f5837" y="f6300"/>
                </a:cxn>
                <a:cxn ang="f4299">
                  <a:pos x="f5837" y="f6301"/>
                </a:cxn>
                <a:cxn ang="f4299">
                  <a:pos x="f5836" y="f6302"/>
                </a:cxn>
                <a:cxn ang="f4299">
                  <a:pos x="f5835" y="f6302"/>
                </a:cxn>
                <a:cxn ang="f4299">
                  <a:pos x="f5838" y="f6301"/>
                </a:cxn>
                <a:cxn ang="f4299">
                  <a:pos x="f5838" y="f6300"/>
                </a:cxn>
                <a:cxn ang="f4299">
                  <a:pos x="f5839" y="f6299"/>
                </a:cxn>
                <a:cxn ang="f4299">
                  <a:pos x="f5840" y="f6299"/>
                </a:cxn>
                <a:cxn ang="f4299">
                  <a:pos x="f5841" y="f6300"/>
                </a:cxn>
                <a:cxn ang="f4299">
                  <a:pos x="f5841" y="f6301"/>
                </a:cxn>
                <a:cxn ang="f4299">
                  <a:pos x="f5840" y="f6302"/>
                </a:cxn>
                <a:cxn ang="f4299">
                  <a:pos x="f5839" y="f6302"/>
                </a:cxn>
                <a:cxn ang="f4299">
                  <a:pos x="f5842" y="f6301"/>
                </a:cxn>
                <a:cxn ang="f4299">
                  <a:pos x="f5842" y="f6300"/>
                </a:cxn>
                <a:cxn ang="f4299">
                  <a:pos x="f5843" y="f6299"/>
                </a:cxn>
                <a:cxn ang="f4299">
                  <a:pos x="f5844" y="f6299"/>
                </a:cxn>
                <a:cxn ang="f4299">
                  <a:pos x="f5845" y="f6300"/>
                </a:cxn>
                <a:cxn ang="f4299">
                  <a:pos x="f5845" y="f6301"/>
                </a:cxn>
                <a:cxn ang="f4299">
                  <a:pos x="f5844" y="f6302"/>
                </a:cxn>
                <a:cxn ang="f4299">
                  <a:pos x="f5843" y="f6302"/>
                </a:cxn>
                <a:cxn ang="f4299">
                  <a:pos x="f5846" y="f6301"/>
                </a:cxn>
                <a:cxn ang="f4299">
                  <a:pos x="f5846" y="f6300"/>
                </a:cxn>
                <a:cxn ang="f4299">
                  <a:pos x="f5847" y="f6299"/>
                </a:cxn>
                <a:cxn ang="f4299">
                  <a:pos x="f5848" y="f6299"/>
                </a:cxn>
                <a:cxn ang="f4299">
                  <a:pos x="f5849" y="f6300"/>
                </a:cxn>
                <a:cxn ang="f4299">
                  <a:pos x="f5849" y="f6301"/>
                </a:cxn>
                <a:cxn ang="f4299">
                  <a:pos x="f5848" y="f6302"/>
                </a:cxn>
                <a:cxn ang="f4299">
                  <a:pos x="f5847" y="f6302"/>
                </a:cxn>
                <a:cxn ang="f4299">
                  <a:pos x="f5850" y="f6301"/>
                </a:cxn>
                <a:cxn ang="f4299">
                  <a:pos x="f5850" y="f6300"/>
                </a:cxn>
                <a:cxn ang="f4299">
                  <a:pos x="f5851" y="f6299"/>
                </a:cxn>
                <a:cxn ang="f4299">
                  <a:pos x="f5852" y="f6299"/>
                </a:cxn>
                <a:cxn ang="f4299">
                  <a:pos x="f5853" y="f6300"/>
                </a:cxn>
                <a:cxn ang="f4299">
                  <a:pos x="f5853" y="f6301"/>
                </a:cxn>
                <a:cxn ang="f4299">
                  <a:pos x="f5852" y="f6302"/>
                </a:cxn>
                <a:cxn ang="f4299">
                  <a:pos x="f5851" y="f6302"/>
                </a:cxn>
                <a:cxn ang="f4299">
                  <a:pos x="f5854" y="f6301"/>
                </a:cxn>
                <a:cxn ang="f4299">
                  <a:pos x="f5854" y="f6300"/>
                </a:cxn>
                <a:cxn ang="f4299">
                  <a:pos x="f5855" y="f6299"/>
                </a:cxn>
                <a:cxn ang="f4299">
                  <a:pos x="f5856" y="f6299"/>
                </a:cxn>
                <a:cxn ang="f4299">
                  <a:pos x="f5857" y="f6300"/>
                </a:cxn>
                <a:cxn ang="f4299">
                  <a:pos x="f5857" y="f6301"/>
                </a:cxn>
                <a:cxn ang="f4299">
                  <a:pos x="f5856" y="f6302"/>
                </a:cxn>
                <a:cxn ang="f4299">
                  <a:pos x="f5855" y="f6302"/>
                </a:cxn>
                <a:cxn ang="f4299">
                  <a:pos x="f5858" y="f6301"/>
                </a:cxn>
                <a:cxn ang="f4299">
                  <a:pos x="f5858" y="f6300"/>
                </a:cxn>
                <a:cxn ang="f4299">
                  <a:pos x="f5859" y="f6299"/>
                </a:cxn>
                <a:cxn ang="f4299">
                  <a:pos x="f5860" y="f6299"/>
                </a:cxn>
                <a:cxn ang="f4299">
                  <a:pos x="f5861" y="f6300"/>
                </a:cxn>
                <a:cxn ang="f4299">
                  <a:pos x="f5861" y="f6301"/>
                </a:cxn>
                <a:cxn ang="f4299">
                  <a:pos x="f5860" y="f6302"/>
                </a:cxn>
                <a:cxn ang="f4299">
                  <a:pos x="f5859" y="f6302"/>
                </a:cxn>
                <a:cxn ang="f4299">
                  <a:pos x="f5862" y="f6301"/>
                </a:cxn>
                <a:cxn ang="f4299">
                  <a:pos x="f5862" y="f6300"/>
                </a:cxn>
                <a:cxn ang="f4299">
                  <a:pos x="f5863" y="f6299"/>
                </a:cxn>
                <a:cxn ang="f4299">
                  <a:pos x="f5864" y="f6299"/>
                </a:cxn>
                <a:cxn ang="f4299">
                  <a:pos x="f5865" y="f6300"/>
                </a:cxn>
                <a:cxn ang="f4299">
                  <a:pos x="f5865" y="f6301"/>
                </a:cxn>
                <a:cxn ang="f4299">
                  <a:pos x="f5864" y="f6302"/>
                </a:cxn>
                <a:cxn ang="f4299">
                  <a:pos x="f5863" y="f6302"/>
                </a:cxn>
                <a:cxn ang="f4299">
                  <a:pos x="f5866" y="f6301"/>
                </a:cxn>
                <a:cxn ang="f4299">
                  <a:pos x="f5866" y="f6300"/>
                </a:cxn>
                <a:cxn ang="f4299">
                  <a:pos x="f5867" y="f6299"/>
                </a:cxn>
                <a:cxn ang="f4299">
                  <a:pos x="f5868" y="f6299"/>
                </a:cxn>
                <a:cxn ang="f4299">
                  <a:pos x="f5869" y="f6300"/>
                </a:cxn>
                <a:cxn ang="f4299">
                  <a:pos x="f5869" y="f6301"/>
                </a:cxn>
                <a:cxn ang="f4299">
                  <a:pos x="f5868" y="f6302"/>
                </a:cxn>
                <a:cxn ang="f4299">
                  <a:pos x="f5867" y="f6302"/>
                </a:cxn>
                <a:cxn ang="f4299">
                  <a:pos x="f5870" y="f6301"/>
                </a:cxn>
                <a:cxn ang="f4299">
                  <a:pos x="f5870" y="f6300"/>
                </a:cxn>
                <a:cxn ang="f4299">
                  <a:pos x="f5871" y="f6299"/>
                </a:cxn>
                <a:cxn ang="f4299">
                  <a:pos x="f5872" y="f6299"/>
                </a:cxn>
                <a:cxn ang="f4299">
                  <a:pos x="f5873" y="f6300"/>
                </a:cxn>
                <a:cxn ang="f4299">
                  <a:pos x="f5873" y="f6301"/>
                </a:cxn>
                <a:cxn ang="f4299">
                  <a:pos x="f5872" y="f6302"/>
                </a:cxn>
                <a:cxn ang="f4299">
                  <a:pos x="f5871" y="f6302"/>
                </a:cxn>
                <a:cxn ang="f4299">
                  <a:pos x="f5874" y="f6301"/>
                </a:cxn>
                <a:cxn ang="f4299">
                  <a:pos x="f5874" y="f6300"/>
                </a:cxn>
                <a:cxn ang="f4299">
                  <a:pos x="f5875" y="f6299"/>
                </a:cxn>
                <a:cxn ang="f4299">
                  <a:pos x="f5876" y="f6299"/>
                </a:cxn>
                <a:cxn ang="f4299">
                  <a:pos x="f5877" y="f6300"/>
                </a:cxn>
                <a:cxn ang="f4299">
                  <a:pos x="f5877" y="f6301"/>
                </a:cxn>
                <a:cxn ang="f4299">
                  <a:pos x="f5876" y="f6302"/>
                </a:cxn>
                <a:cxn ang="f4299">
                  <a:pos x="f5875" y="f6302"/>
                </a:cxn>
                <a:cxn ang="f4299">
                  <a:pos x="f5878" y="f6301"/>
                </a:cxn>
                <a:cxn ang="f4299">
                  <a:pos x="f5878" y="f6300"/>
                </a:cxn>
                <a:cxn ang="f4299">
                  <a:pos x="f5879" y="f6299"/>
                </a:cxn>
                <a:cxn ang="f4299">
                  <a:pos x="f5880" y="f6299"/>
                </a:cxn>
                <a:cxn ang="f4299">
                  <a:pos x="f5881" y="f6300"/>
                </a:cxn>
                <a:cxn ang="f4299">
                  <a:pos x="f5881" y="f6301"/>
                </a:cxn>
                <a:cxn ang="f4299">
                  <a:pos x="f5880" y="f6302"/>
                </a:cxn>
                <a:cxn ang="f4299">
                  <a:pos x="f5879" y="f6302"/>
                </a:cxn>
                <a:cxn ang="f4299">
                  <a:pos x="f5882" y="f6301"/>
                </a:cxn>
                <a:cxn ang="f4299">
                  <a:pos x="f5882" y="f6300"/>
                </a:cxn>
                <a:cxn ang="f4299">
                  <a:pos x="f5883" y="f6299"/>
                </a:cxn>
                <a:cxn ang="f4299">
                  <a:pos x="f5884" y="f6299"/>
                </a:cxn>
                <a:cxn ang="f4299">
                  <a:pos x="f5885" y="f6300"/>
                </a:cxn>
                <a:cxn ang="f4299">
                  <a:pos x="f5885" y="f6301"/>
                </a:cxn>
                <a:cxn ang="f4299">
                  <a:pos x="f5884" y="f6302"/>
                </a:cxn>
                <a:cxn ang="f4299">
                  <a:pos x="f5883" y="f6302"/>
                </a:cxn>
                <a:cxn ang="f4299">
                  <a:pos x="f5886" y="f6301"/>
                </a:cxn>
                <a:cxn ang="f4299">
                  <a:pos x="f5886" y="f6300"/>
                </a:cxn>
                <a:cxn ang="f4299">
                  <a:pos x="f5887" y="f6299"/>
                </a:cxn>
                <a:cxn ang="f4299">
                  <a:pos x="f5888" y="f6299"/>
                </a:cxn>
                <a:cxn ang="f4299">
                  <a:pos x="f5889" y="f6300"/>
                </a:cxn>
                <a:cxn ang="f4299">
                  <a:pos x="f5889" y="f6301"/>
                </a:cxn>
                <a:cxn ang="f4299">
                  <a:pos x="f5888" y="f6302"/>
                </a:cxn>
                <a:cxn ang="f4299">
                  <a:pos x="f5887" y="f6302"/>
                </a:cxn>
                <a:cxn ang="f4299">
                  <a:pos x="f5890" y="f6301"/>
                </a:cxn>
                <a:cxn ang="f4299">
                  <a:pos x="f5890" y="f6300"/>
                </a:cxn>
                <a:cxn ang="f4299">
                  <a:pos x="f5891" y="f6299"/>
                </a:cxn>
                <a:cxn ang="f4299">
                  <a:pos x="f5892" y="f6299"/>
                </a:cxn>
                <a:cxn ang="f4299">
                  <a:pos x="f5893" y="f6300"/>
                </a:cxn>
                <a:cxn ang="f4299">
                  <a:pos x="f5893" y="f6301"/>
                </a:cxn>
                <a:cxn ang="f4299">
                  <a:pos x="f5892" y="f6302"/>
                </a:cxn>
                <a:cxn ang="f4299">
                  <a:pos x="f5891" y="f6302"/>
                </a:cxn>
                <a:cxn ang="f4299">
                  <a:pos x="f5894" y="f6301"/>
                </a:cxn>
                <a:cxn ang="f4299">
                  <a:pos x="f5894" y="f6300"/>
                </a:cxn>
                <a:cxn ang="f4299">
                  <a:pos x="f6303" y="f6299"/>
                </a:cxn>
                <a:cxn ang="f4299">
                  <a:pos x="f6304" y="f6299"/>
                </a:cxn>
                <a:cxn ang="f4299">
                  <a:pos x="f6305" y="f6300"/>
                </a:cxn>
                <a:cxn ang="f4299">
                  <a:pos x="f6305" y="f6301"/>
                </a:cxn>
                <a:cxn ang="f4299">
                  <a:pos x="f6304" y="f6302"/>
                </a:cxn>
                <a:cxn ang="f4299">
                  <a:pos x="f6303" y="f6302"/>
                </a:cxn>
                <a:cxn ang="f4299">
                  <a:pos x="f6275" y="f6301"/>
                </a:cxn>
                <a:cxn ang="f4299">
                  <a:pos x="f6275" y="f6300"/>
                </a:cxn>
                <a:cxn ang="f4299">
                  <a:pos x="f6306" y="f6299"/>
                </a:cxn>
                <a:cxn ang="f4299">
                  <a:pos x="f6307" y="f6299"/>
                </a:cxn>
                <a:cxn ang="f4299">
                  <a:pos x="f6308" y="f6300"/>
                </a:cxn>
                <a:cxn ang="f4299">
                  <a:pos x="f6308" y="f6301"/>
                </a:cxn>
                <a:cxn ang="f4299">
                  <a:pos x="f6307" y="f6302"/>
                </a:cxn>
                <a:cxn ang="f4299">
                  <a:pos x="f6306" y="f6302"/>
                </a:cxn>
                <a:cxn ang="f4299">
                  <a:pos x="f6309" y="f6301"/>
                </a:cxn>
                <a:cxn ang="f4299">
                  <a:pos x="f6309" y="f6300"/>
                </a:cxn>
                <a:cxn ang="f4299">
                  <a:pos x="f6310" y="f6299"/>
                </a:cxn>
                <a:cxn ang="f4299">
                  <a:pos x="f6278" y="f6299"/>
                </a:cxn>
                <a:cxn ang="f4299">
                  <a:pos x="f6279" y="f6300"/>
                </a:cxn>
                <a:cxn ang="f4299">
                  <a:pos x="f6279" y="f6301"/>
                </a:cxn>
                <a:cxn ang="f4299">
                  <a:pos x="f6278" y="f6302"/>
                </a:cxn>
                <a:cxn ang="f4299">
                  <a:pos x="f6310" y="f6302"/>
                </a:cxn>
                <a:cxn ang="f4299">
                  <a:pos x="f6311" y="f6301"/>
                </a:cxn>
                <a:cxn ang="f4299">
                  <a:pos x="f6311" y="f6300"/>
                </a:cxn>
                <a:cxn ang="f4299">
                  <a:pos x="f6281" y="f6299"/>
                </a:cxn>
                <a:cxn ang="f4299">
                  <a:pos x="f6312" y="f6299"/>
                </a:cxn>
                <a:cxn ang="f4299">
                  <a:pos x="f6313" y="f6300"/>
                </a:cxn>
                <a:cxn ang="f4299">
                  <a:pos x="f6313" y="f6301"/>
                </a:cxn>
                <a:cxn ang="f4299">
                  <a:pos x="f6312" y="f6302"/>
                </a:cxn>
                <a:cxn ang="f4299">
                  <a:pos x="f6281" y="f6302"/>
                </a:cxn>
                <a:cxn ang="f4299">
                  <a:pos x="f6314" y="f6301"/>
                </a:cxn>
                <a:cxn ang="f4299">
                  <a:pos x="f6314" y="f6300"/>
                </a:cxn>
                <a:cxn ang="f4299">
                  <a:pos x="f6198" y="f6315"/>
                </a:cxn>
                <a:cxn ang="f4299">
                  <a:pos x="f6316" y="f6315"/>
                </a:cxn>
                <a:cxn ang="f4299">
                  <a:pos x="f6284" y="f6317"/>
                </a:cxn>
                <a:cxn ang="f4299">
                  <a:pos x="f6284" y="f6318"/>
                </a:cxn>
                <a:cxn ang="f4299">
                  <a:pos x="f6316" y="f6319"/>
                </a:cxn>
                <a:cxn ang="f4299">
                  <a:pos x="f6198" y="f6319"/>
                </a:cxn>
                <a:cxn ang="f4299">
                  <a:pos x="f6262" y="f6318"/>
                </a:cxn>
                <a:cxn ang="f4299">
                  <a:pos x="f6262" y="f6317"/>
                </a:cxn>
                <a:cxn ang="f4299">
                  <a:pos x="f6288" y="f6315"/>
                </a:cxn>
                <a:cxn ang="f4299">
                  <a:pos x="f6263" y="f6315"/>
                </a:cxn>
                <a:cxn ang="f4299">
                  <a:pos x="f6234" y="f6317"/>
                </a:cxn>
                <a:cxn ang="f4299">
                  <a:pos x="f6234" y="f6318"/>
                </a:cxn>
                <a:cxn ang="f4299">
                  <a:pos x="f6263" y="f6319"/>
                </a:cxn>
                <a:cxn ang="f4299">
                  <a:pos x="f6288" y="f6319"/>
                </a:cxn>
                <a:cxn ang="f4299">
                  <a:pos x="f6204" y="f6318"/>
                </a:cxn>
                <a:cxn ang="f4299">
                  <a:pos x="f6204" y="f6317"/>
                </a:cxn>
                <a:cxn ang="f4299">
                  <a:pos x="f6289" y="f6315"/>
                </a:cxn>
                <a:cxn ang="f4299">
                  <a:pos x="f6290" y="f6315"/>
                </a:cxn>
                <a:cxn ang="f4299">
                  <a:pos x="f6320" y="f6317"/>
                </a:cxn>
                <a:cxn ang="f4299">
                  <a:pos x="f6320" y="f6318"/>
                </a:cxn>
                <a:cxn ang="f4299">
                  <a:pos x="f6290" y="f6319"/>
                </a:cxn>
                <a:cxn ang="f4299">
                  <a:pos x="f6289" y="f6319"/>
                </a:cxn>
                <a:cxn ang="f4299">
                  <a:pos x="f6321" y="f6318"/>
                </a:cxn>
                <a:cxn ang="f4299">
                  <a:pos x="f6321" y="f6317"/>
                </a:cxn>
                <a:cxn ang="f4299">
                  <a:pos x="f6292" y="f6315"/>
                </a:cxn>
                <a:cxn ang="f4299">
                  <a:pos x="f6293" y="f6315"/>
                </a:cxn>
                <a:cxn ang="f4299">
                  <a:pos x="f6322" y="f6317"/>
                </a:cxn>
                <a:cxn ang="f4299">
                  <a:pos x="f6322" y="f6318"/>
                </a:cxn>
                <a:cxn ang="f4299">
                  <a:pos x="f6293" y="f6319"/>
                </a:cxn>
                <a:cxn ang="f4299">
                  <a:pos x="f6292" y="f6319"/>
                </a:cxn>
                <a:cxn ang="f4299">
                  <a:pos x="f6323" y="f6318"/>
                </a:cxn>
                <a:cxn ang="f4299">
                  <a:pos x="f6323" y="f6317"/>
                </a:cxn>
                <a:cxn ang="f4299">
                  <a:pos x="f6324" y="f6315"/>
                </a:cxn>
                <a:cxn ang="f4299">
                  <a:pos x="f6294" y="f6315"/>
                </a:cxn>
                <a:cxn ang="f4299">
                  <a:pos x="f6325" y="f6317"/>
                </a:cxn>
                <a:cxn ang="f4299">
                  <a:pos x="f6325" y="f6318"/>
                </a:cxn>
                <a:cxn ang="f4299">
                  <a:pos x="f6294" y="f6319"/>
                </a:cxn>
                <a:cxn ang="f4299">
                  <a:pos x="f6324" y="f6319"/>
                </a:cxn>
                <a:cxn ang="f4299">
                  <a:pos x="f6295" y="f6318"/>
                </a:cxn>
                <a:cxn ang="f4299">
                  <a:pos x="f6295" y="f6317"/>
                </a:cxn>
                <a:cxn ang="f4299">
                  <a:pos x="f6326" y="f6315"/>
                </a:cxn>
                <a:cxn ang="f4299">
                  <a:pos x="f6327" y="f6315"/>
                </a:cxn>
                <a:cxn ang="f4299">
                  <a:pos x="f6297" y="f6317"/>
                </a:cxn>
                <a:cxn ang="f4299">
                  <a:pos x="f6297" y="f6318"/>
                </a:cxn>
                <a:cxn ang="f4299">
                  <a:pos x="f6327" y="f6319"/>
                </a:cxn>
                <a:cxn ang="f4299">
                  <a:pos x="f6326" y="f6319"/>
                </a:cxn>
                <a:cxn ang="f4299">
                  <a:pos x="f6298" y="f6318"/>
                </a:cxn>
                <a:cxn ang="f4299">
                  <a:pos x="f6298" y="f6317"/>
                </a:cxn>
                <a:cxn ang="f4299">
                  <a:pos x="f5767" y="f6328"/>
                </a:cxn>
                <a:cxn ang="f4299">
                  <a:pos x="f5769" y="f6328"/>
                </a:cxn>
                <a:cxn ang="f4299">
                  <a:pos x="f5770" y="f6329"/>
                </a:cxn>
                <a:cxn ang="f4299">
                  <a:pos x="f5770" y="f6330"/>
                </a:cxn>
                <a:cxn ang="f4299">
                  <a:pos x="f5769" y="f6331"/>
                </a:cxn>
                <a:cxn ang="f4299">
                  <a:pos x="f5767" y="f6331"/>
                </a:cxn>
                <a:cxn ang="f4299">
                  <a:pos x="f5774" y="f6330"/>
                </a:cxn>
                <a:cxn ang="f4299">
                  <a:pos x="f5774" y="f6329"/>
                </a:cxn>
                <a:cxn ang="f4299">
                  <a:pos x="f5775" y="f6328"/>
                </a:cxn>
                <a:cxn ang="f4299">
                  <a:pos x="f5776" y="f6328"/>
                </a:cxn>
                <a:cxn ang="f4299">
                  <a:pos x="f5777" y="f6329"/>
                </a:cxn>
                <a:cxn ang="f4299">
                  <a:pos x="f5777" y="f6330"/>
                </a:cxn>
                <a:cxn ang="f4299">
                  <a:pos x="f5776" y="f6331"/>
                </a:cxn>
                <a:cxn ang="f4299">
                  <a:pos x="f5775" y="f6331"/>
                </a:cxn>
                <a:cxn ang="f4299">
                  <a:pos x="f5778" y="f6330"/>
                </a:cxn>
                <a:cxn ang="f4299">
                  <a:pos x="f5778" y="f6329"/>
                </a:cxn>
                <a:cxn ang="f4299">
                  <a:pos x="f5779" y="f6328"/>
                </a:cxn>
                <a:cxn ang="f4299">
                  <a:pos x="f5780" y="f6328"/>
                </a:cxn>
                <a:cxn ang="f4299">
                  <a:pos x="f5781" y="f6329"/>
                </a:cxn>
                <a:cxn ang="f4299">
                  <a:pos x="f5781" y="f6330"/>
                </a:cxn>
                <a:cxn ang="f4299">
                  <a:pos x="f5780" y="f6331"/>
                </a:cxn>
                <a:cxn ang="f4299">
                  <a:pos x="f5779" y="f6331"/>
                </a:cxn>
                <a:cxn ang="f4299">
                  <a:pos x="f5782" y="f6330"/>
                </a:cxn>
                <a:cxn ang="f4299">
                  <a:pos x="f5782" y="f6329"/>
                </a:cxn>
                <a:cxn ang="f4299">
                  <a:pos x="f5783" y="f6328"/>
                </a:cxn>
                <a:cxn ang="f4299">
                  <a:pos x="f5784" y="f6328"/>
                </a:cxn>
                <a:cxn ang="f4299">
                  <a:pos x="f5785" y="f6329"/>
                </a:cxn>
                <a:cxn ang="f4299">
                  <a:pos x="f5785" y="f6330"/>
                </a:cxn>
                <a:cxn ang="f4299">
                  <a:pos x="f5784" y="f6331"/>
                </a:cxn>
                <a:cxn ang="f4299">
                  <a:pos x="f5783" y="f6331"/>
                </a:cxn>
                <a:cxn ang="f4299">
                  <a:pos x="f5786" y="f6330"/>
                </a:cxn>
                <a:cxn ang="f4299">
                  <a:pos x="f5786" y="f6329"/>
                </a:cxn>
                <a:cxn ang="f4299">
                  <a:pos x="f5787" y="f6328"/>
                </a:cxn>
                <a:cxn ang="f4299">
                  <a:pos x="f5788" y="f6328"/>
                </a:cxn>
                <a:cxn ang="f4299">
                  <a:pos x="f5789" y="f6329"/>
                </a:cxn>
                <a:cxn ang="f4299">
                  <a:pos x="f5789" y="f6330"/>
                </a:cxn>
                <a:cxn ang="f4299">
                  <a:pos x="f5788" y="f6331"/>
                </a:cxn>
                <a:cxn ang="f4299">
                  <a:pos x="f5787" y="f6331"/>
                </a:cxn>
                <a:cxn ang="f4299">
                  <a:pos x="f5790" y="f6330"/>
                </a:cxn>
                <a:cxn ang="f4299">
                  <a:pos x="f5790" y="f6329"/>
                </a:cxn>
                <a:cxn ang="f4299">
                  <a:pos x="f5791" y="f6328"/>
                </a:cxn>
                <a:cxn ang="f4299">
                  <a:pos x="f5792" y="f6328"/>
                </a:cxn>
                <a:cxn ang="f4299">
                  <a:pos x="f5793" y="f6329"/>
                </a:cxn>
                <a:cxn ang="f4299">
                  <a:pos x="f5793" y="f6330"/>
                </a:cxn>
                <a:cxn ang="f4299">
                  <a:pos x="f5792" y="f6331"/>
                </a:cxn>
                <a:cxn ang="f4299">
                  <a:pos x="f5791" y="f6331"/>
                </a:cxn>
                <a:cxn ang="f4299">
                  <a:pos x="f5794" y="f6330"/>
                </a:cxn>
                <a:cxn ang="f4299">
                  <a:pos x="f5794" y="f6329"/>
                </a:cxn>
                <a:cxn ang="f4299">
                  <a:pos x="f5795" y="f6328"/>
                </a:cxn>
                <a:cxn ang="f4299">
                  <a:pos x="f5796" y="f6328"/>
                </a:cxn>
                <a:cxn ang="f4299">
                  <a:pos x="f5797" y="f6329"/>
                </a:cxn>
                <a:cxn ang="f4299">
                  <a:pos x="f5797" y="f6330"/>
                </a:cxn>
                <a:cxn ang="f4299">
                  <a:pos x="f5796" y="f6331"/>
                </a:cxn>
                <a:cxn ang="f4299">
                  <a:pos x="f5795" y="f6331"/>
                </a:cxn>
                <a:cxn ang="f4299">
                  <a:pos x="f5798" y="f6330"/>
                </a:cxn>
                <a:cxn ang="f4299">
                  <a:pos x="f5798" y="f6329"/>
                </a:cxn>
                <a:cxn ang="f4299">
                  <a:pos x="f5799" y="f6328"/>
                </a:cxn>
                <a:cxn ang="f4299">
                  <a:pos x="f5800" y="f6328"/>
                </a:cxn>
                <a:cxn ang="f4299">
                  <a:pos x="f5801" y="f6329"/>
                </a:cxn>
                <a:cxn ang="f4299">
                  <a:pos x="f5801" y="f6330"/>
                </a:cxn>
                <a:cxn ang="f4299">
                  <a:pos x="f5800" y="f6331"/>
                </a:cxn>
                <a:cxn ang="f4299">
                  <a:pos x="f5799" y="f6331"/>
                </a:cxn>
                <a:cxn ang="f4299">
                  <a:pos x="f5802" y="f6330"/>
                </a:cxn>
                <a:cxn ang="f4299">
                  <a:pos x="f5802" y="f6329"/>
                </a:cxn>
                <a:cxn ang="f4299">
                  <a:pos x="f5803" y="f6328"/>
                </a:cxn>
                <a:cxn ang="f4299">
                  <a:pos x="f5804" y="f6328"/>
                </a:cxn>
                <a:cxn ang="f4299">
                  <a:pos x="f5805" y="f6329"/>
                </a:cxn>
                <a:cxn ang="f4299">
                  <a:pos x="f5805" y="f6330"/>
                </a:cxn>
                <a:cxn ang="f4299">
                  <a:pos x="f5804" y="f6331"/>
                </a:cxn>
                <a:cxn ang="f4299">
                  <a:pos x="f5803" y="f6331"/>
                </a:cxn>
                <a:cxn ang="f4299">
                  <a:pos x="f5806" y="f6330"/>
                </a:cxn>
                <a:cxn ang="f4299">
                  <a:pos x="f5806" y="f6329"/>
                </a:cxn>
                <a:cxn ang="f4299">
                  <a:pos x="f5807" y="f6328"/>
                </a:cxn>
                <a:cxn ang="f4299">
                  <a:pos x="f5808" y="f6328"/>
                </a:cxn>
                <a:cxn ang="f4299">
                  <a:pos x="f5809" y="f6329"/>
                </a:cxn>
                <a:cxn ang="f4299">
                  <a:pos x="f5809" y="f6330"/>
                </a:cxn>
                <a:cxn ang="f4299">
                  <a:pos x="f5808" y="f6331"/>
                </a:cxn>
                <a:cxn ang="f4299">
                  <a:pos x="f5807" y="f6331"/>
                </a:cxn>
                <a:cxn ang="f4299">
                  <a:pos x="f5810" y="f6330"/>
                </a:cxn>
                <a:cxn ang="f4299">
                  <a:pos x="f5810" y="f6329"/>
                </a:cxn>
                <a:cxn ang="f4299">
                  <a:pos x="f5811" y="f6328"/>
                </a:cxn>
                <a:cxn ang="f4299">
                  <a:pos x="f5812" y="f6328"/>
                </a:cxn>
                <a:cxn ang="f4299">
                  <a:pos x="f5813" y="f6329"/>
                </a:cxn>
                <a:cxn ang="f4299">
                  <a:pos x="f5813" y="f6330"/>
                </a:cxn>
                <a:cxn ang="f4299">
                  <a:pos x="f5812" y="f6331"/>
                </a:cxn>
                <a:cxn ang="f4299">
                  <a:pos x="f5811" y="f6331"/>
                </a:cxn>
                <a:cxn ang="f4299">
                  <a:pos x="f5814" y="f6330"/>
                </a:cxn>
                <a:cxn ang="f4299">
                  <a:pos x="f5814" y="f6329"/>
                </a:cxn>
                <a:cxn ang="f4299">
                  <a:pos x="f5815" y="f6328"/>
                </a:cxn>
                <a:cxn ang="f4299">
                  <a:pos x="f5816" y="f6328"/>
                </a:cxn>
                <a:cxn ang="f4299">
                  <a:pos x="f5817" y="f6329"/>
                </a:cxn>
                <a:cxn ang="f4299">
                  <a:pos x="f5817" y="f6330"/>
                </a:cxn>
                <a:cxn ang="f4299">
                  <a:pos x="f5816" y="f6331"/>
                </a:cxn>
                <a:cxn ang="f4299">
                  <a:pos x="f5815" y="f6331"/>
                </a:cxn>
                <a:cxn ang="f4299">
                  <a:pos x="f5818" y="f6330"/>
                </a:cxn>
                <a:cxn ang="f4299">
                  <a:pos x="f5818" y="f6329"/>
                </a:cxn>
                <a:cxn ang="f4299">
                  <a:pos x="f5819" y="f6328"/>
                </a:cxn>
                <a:cxn ang="f4299">
                  <a:pos x="f5820" y="f6328"/>
                </a:cxn>
                <a:cxn ang="f4299">
                  <a:pos x="f5821" y="f6329"/>
                </a:cxn>
                <a:cxn ang="f4299">
                  <a:pos x="f5821" y="f6330"/>
                </a:cxn>
                <a:cxn ang="f4299">
                  <a:pos x="f5820" y="f6331"/>
                </a:cxn>
                <a:cxn ang="f4299">
                  <a:pos x="f5819" y="f6331"/>
                </a:cxn>
                <a:cxn ang="f4299">
                  <a:pos x="f5822" y="f6330"/>
                </a:cxn>
                <a:cxn ang="f4299">
                  <a:pos x="f5822" y="f6329"/>
                </a:cxn>
                <a:cxn ang="f4299">
                  <a:pos x="f5823" y="f6328"/>
                </a:cxn>
                <a:cxn ang="f4299">
                  <a:pos x="f5824" y="f6328"/>
                </a:cxn>
                <a:cxn ang="f4299">
                  <a:pos x="f5825" y="f6329"/>
                </a:cxn>
                <a:cxn ang="f4299">
                  <a:pos x="f5825" y="f6330"/>
                </a:cxn>
                <a:cxn ang="f4299">
                  <a:pos x="f5824" y="f6331"/>
                </a:cxn>
                <a:cxn ang="f4299">
                  <a:pos x="f5823" y="f6331"/>
                </a:cxn>
                <a:cxn ang="f4299">
                  <a:pos x="f5826" y="f6330"/>
                </a:cxn>
                <a:cxn ang="f4299">
                  <a:pos x="f5826" y="f6329"/>
                </a:cxn>
                <a:cxn ang="f4299">
                  <a:pos x="f5827" y="f6328"/>
                </a:cxn>
                <a:cxn ang="f4299">
                  <a:pos x="f5828" y="f6328"/>
                </a:cxn>
                <a:cxn ang="f4299">
                  <a:pos x="f5829" y="f6329"/>
                </a:cxn>
                <a:cxn ang="f4299">
                  <a:pos x="f5829" y="f6330"/>
                </a:cxn>
                <a:cxn ang="f4299">
                  <a:pos x="f5828" y="f6331"/>
                </a:cxn>
                <a:cxn ang="f4299">
                  <a:pos x="f5827" y="f6331"/>
                </a:cxn>
                <a:cxn ang="f4299">
                  <a:pos x="f5830" y="f6330"/>
                </a:cxn>
                <a:cxn ang="f4299">
                  <a:pos x="f5830" y="f6329"/>
                </a:cxn>
                <a:cxn ang="f4299">
                  <a:pos x="f5831" y="f6328"/>
                </a:cxn>
                <a:cxn ang="f4299">
                  <a:pos x="f5832" y="f6328"/>
                </a:cxn>
                <a:cxn ang="f4299">
                  <a:pos x="f5833" y="f6329"/>
                </a:cxn>
                <a:cxn ang="f4299">
                  <a:pos x="f5833" y="f6330"/>
                </a:cxn>
                <a:cxn ang="f4299">
                  <a:pos x="f5832" y="f6331"/>
                </a:cxn>
                <a:cxn ang="f4299">
                  <a:pos x="f5831" y="f6331"/>
                </a:cxn>
                <a:cxn ang="f4299">
                  <a:pos x="f5834" y="f6330"/>
                </a:cxn>
                <a:cxn ang="f4299">
                  <a:pos x="f5834" y="f6329"/>
                </a:cxn>
                <a:cxn ang="f4299">
                  <a:pos x="f5835" y="f6328"/>
                </a:cxn>
                <a:cxn ang="f4299">
                  <a:pos x="f5836" y="f6328"/>
                </a:cxn>
                <a:cxn ang="f4299">
                  <a:pos x="f5837" y="f6329"/>
                </a:cxn>
                <a:cxn ang="f4299">
                  <a:pos x="f5837" y="f6330"/>
                </a:cxn>
                <a:cxn ang="f4299">
                  <a:pos x="f5836" y="f6331"/>
                </a:cxn>
                <a:cxn ang="f4299">
                  <a:pos x="f5835" y="f6331"/>
                </a:cxn>
                <a:cxn ang="f4299">
                  <a:pos x="f5838" y="f6330"/>
                </a:cxn>
                <a:cxn ang="f4299">
                  <a:pos x="f5838" y="f6329"/>
                </a:cxn>
                <a:cxn ang="f4299">
                  <a:pos x="f5839" y="f6328"/>
                </a:cxn>
                <a:cxn ang="f4299">
                  <a:pos x="f5840" y="f6328"/>
                </a:cxn>
                <a:cxn ang="f4299">
                  <a:pos x="f5841" y="f6329"/>
                </a:cxn>
                <a:cxn ang="f4299">
                  <a:pos x="f5841" y="f6330"/>
                </a:cxn>
                <a:cxn ang="f4299">
                  <a:pos x="f5840" y="f6331"/>
                </a:cxn>
                <a:cxn ang="f4299">
                  <a:pos x="f5839" y="f6331"/>
                </a:cxn>
                <a:cxn ang="f4299">
                  <a:pos x="f5842" y="f6330"/>
                </a:cxn>
                <a:cxn ang="f4299">
                  <a:pos x="f5842" y="f6329"/>
                </a:cxn>
                <a:cxn ang="f4299">
                  <a:pos x="f5843" y="f6328"/>
                </a:cxn>
                <a:cxn ang="f4299">
                  <a:pos x="f5844" y="f6328"/>
                </a:cxn>
                <a:cxn ang="f4299">
                  <a:pos x="f5845" y="f6329"/>
                </a:cxn>
                <a:cxn ang="f4299">
                  <a:pos x="f5845" y="f6330"/>
                </a:cxn>
                <a:cxn ang="f4299">
                  <a:pos x="f5844" y="f6331"/>
                </a:cxn>
                <a:cxn ang="f4299">
                  <a:pos x="f5843" y="f6331"/>
                </a:cxn>
                <a:cxn ang="f4299">
                  <a:pos x="f5846" y="f6330"/>
                </a:cxn>
                <a:cxn ang="f4299">
                  <a:pos x="f5846" y="f6329"/>
                </a:cxn>
                <a:cxn ang="f4299">
                  <a:pos x="f5847" y="f6328"/>
                </a:cxn>
                <a:cxn ang="f4299">
                  <a:pos x="f5848" y="f6328"/>
                </a:cxn>
                <a:cxn ang="f4299">
                  <a:pos x="f5849" y="f6329"/>
                </a:cxn>
                <a:cxn ang="f4299">
                  <a:pos x="f5849" y="f6330"/>
                </a:cxn>
                <a:cxn ang="f4299">
                  <a:pos x="f5848" y="f6331"/>
                </a:cxn>
                <a:cxn ang="f4299">
                  <a:pos x="f5847" y="f6331"/>
                </a:cxn>
                <a:cxn ang="f4299">
                  <a:pos x="f5850" y="f6330"/>
                </a:cxn>
                <a:cxn ang="f4299">
                  <a:pos x="f5850" y="f6329"/>
                </a:cxn>
                <a:cxn ang="f4299">
                  <a:pos x="f5851" y="f6328"/>
                </a:cxn>
                <a:cxn ang="f4299">
                  <a:pos x="f5852" y="f6328"/>
                </a:cxn>
                <a:cxn ang="f4299">
                  <a:pos x="f5853" y="f6329"/>
                </a:cxn>
                <a:cxn ang="f4299">
                  <a:pos x="f5853" y="f6330"/>
                </a:cxn>
                <a:cxn ang="f4299">
                  <a:pos x="f5852" y="f6331"/>
                </a:cxn>
                <a:cxn ang="f4299">
                  <a:pos x="f5851" y="f6331"/>
                </a:cxn>
                <a:cxn ang="f4299">
                  <a:pos x="f5854" y="f6330"/>
                </a:cxn>
                <a:cxn ang="f4299">
                  <a:pos x="f5854" y="f6329"/>
                </a:cxn>
                <a:cxn ang="f4299">
                  <a:pos x="f5855" y="f6328"/>
                </a:cxn>
                <a:cxn ang="f4299">
                  <a:pos x="f5856" y="f6328"/>
                </a:cxn>
                <a:cxn ang="f4299">
                  <a:pos x="f5857" y="f6329"/>
                </a:cxn>
                <a:cxn ang="f4299">
                  <a:pos x="f5857" y="f6330"/>
                </a:cxn>
                <a:cxn ang="f4299">
                  <a:pos x="f5856" y="f6331"/>
                </a:cxn>
                <a:cxn ang="f4299">
                  <a:pos x="f5855" y="f6331"/>
                </a:cxn>
                <a:cxn ang="f4299">
                  <a:pos x="f5858" y="f6330"/>
                </a:cxn>
                <a:cxn ang="f4299">
                  <a:pos x="f5858" y="f6329"/>
                </a:cxn>
                <a:cxn ang="f4299">
                  <a:pos x="f5859" y="f6328"/>
                </a:cxn>
                <a:cxn ang="f4299">
                  <a:pos x="f5860" y="f6328"/>
                </a:cxn>
                <a:cxn ang="f4299">
                  <a:pos x="f5861" y="f6329"/>
                </a:cxn>
                <a:cxn ang="f4299">
                  <a:pos x="f5861" y="f6330"/>
                </a:cxn>
                <a:cxn ang="f4299">
                  <a:pos x="f5860" y="f6331"/>
                </a:cxn>
                <a:cxn ang="f4299">
                  <a:pos x="f5859" y="f6331"/>
                </a:cxn>
                <a:cxn ang="f4299">
                  <a:pos x="f5862" y="f6330"/>
                </a:cxn>
                <a:cxn ang="f4299">
                  <a:pos x="f5862" y="f6329"/>
                </a:cxn>
                <a:cxn ang="f4299">
                  <a:pos x="f5863" y="f6328"/>
                </a:cxn>
                <a:cxn ang="f4299">
                  <a:pos x="f5864" y="f6328"/>
                </a:cxn>
                <a:cxn ang="f4299">
                  <a:pos x="f5865" y="f6329"/>
                </a:cxn>
                <a:cxn ang="f4299">
                  <a:pos x="f5865" y="f6330"/>
                </a:cxn>
                <a:cxn ang="f4299">
                  <a:pos x="f5864" y="f6331"/>
                </a:cxn>
                <a:cxn ang="f4299">
                  <a:pos x="f5863" y="f6331"/>
                </a:cxn>
                <a:cxn ang="f4299">
                  <a:pos x="f5866" y="f6330"/>
                </a:cxn>
                <a:cxn ang="f4299">
                  <a:pos x="f5866" y="f6329"/>
                </a:cxn>
                <a:cxn ang="f4299">
                  <a:pos x="f5867" y="f6328"/>
                </a:cxn>
                <a:cxn ang="f4299">
                  <a:pos x="f5868" y="f6328"/>
                </a:cxn>
                <a:cxn ang="f4299">
                  <a:pos x="f5869" y="f6329"/>
                </a:cxn>
                <a:cxn ang="f4299">
                  <a:pos x="f5869" y="f6330"/>
                </a:cxn>
                <a:cxn ang="f4299">
                  <a:pos x="f5868" y="f6331"/>
                </a:cxn>
                <a:cxn ang="f4299">
                  <a:pos x="f5867" y="f6331"/>
                </a:cxn>
                <a:cxn ang="f4299">
                  <a:pos x="f5870" y="f6330"/>
                </a:cxn>
                <a:cxn ang="f4299">
                  <a:pos x="f5870" y="f6329"/>
                </a:cxn>
                <a:cxn ang="f4299">
                  <a:pos x="f5871" y="f6328"/>
                </a:cxn>
                <a:cxn ang="f4299">
                  <a:pos x="f5872" y="f6328"/>
                </a:cxn>
                <a:cxn ang="f4299">
                  <a:pos x="f5873" y="f6329"/>
                </a:cxn>
                <a:cxn ang="f4299">
                  <a:pos x="f5873" y="f6330"/>
                </a:cxn>
                <a:cxn ang="f4299">
                  <a:pos x="f5872" y="f6331"/>
                </a:cxn>
                <a:cxn ang="f4299">
                  <a:pos x="f5871" y="f6331"/>
                </a:cxn>
                <a:cxn ang="f4299">
                  <a:pos x="f5874" y="f6330"/>
                </a:cxn>
                <a:cxn ang="f4299">
                  <a:pos x="f5874" y="f6329"/>
                </a:cxn>
                <a:cxn ang="f4299">
                  <a:pos x="f5875" y="f6328"/>
                </a:cxn>
                <a:cxn ang="f4299">
                  <a:pos x="f5876" y="f6328"/>
                </a:cxn>
                <a:cxn ang="f4299">
                  <a:pos x="f5877" y="f6329"/>
                </a:cxn>
                <a:cxn ang="f4299">
                  <a:pos x="f5877" y="f6330"/>
                </a:cxn>
                <a:cxn ang="f4299">
                  <a:pos x="f5876" y="f6331"/>
                </a:cxn>
                <a:cxn ang="f4299">
                  <a:pos x="f5875" y="f6331"/>
                </a:cxn>
                <a:cxn ang="f4299">
                  <a:pos x="f5878" y="f6330"/>
                </a:cxn>
                <a:cxn ang="f4299">
                  <a:pos x="f5878" y="f6329"/>
                </a:cxn>
                <a:cxn ang="f4299">
                  <a:pos x="f5879" y="f6328"/>
                </a:cxn>
                <a:cxn ang="f4299">
                  <a:pos x="f5880" y="f6328"/>
                </a:cxn>
                <a:cxn ang="f4299">
                  <a:pos x="f5881" y="f6329"/>
                </a:cxn>
                <a:cxn ang="f4299">
                  <a:pos x="f5881" y="f6330"/>
                </a:cxn>
                <a:cxn ang="f4299">
                  <a:pos x="f5880" y="f6331"/>
                </a:cxn>
                <a:cxn ang="f4299">
                  <a:pos x="f5879" y="f6331"/>
                </a:cxn>
                <a:cxn ang="f4299">
                  <a:pos x="f5882" y="f6330"/>
                </a:cxn>
                <a:cxn ang="f4299">
                  <a:pos x="f5882" y="f6329"/>
                </a:cxn>
                <a:cxn ang="f4299">
                  <a:pos x="f5883" y="f6328"/>
                </a:cxn>
                <a:cxn ang="f4299">
                  <a:pos x="f5884" y="f6328"/>
                </a:cxn>
                <a:cxn ang="f4299">
                  <a:pos x="f5885" y="f6329"/>
                </a:cxn>
                <a:cxn ang="f4299">
                  <a:pos x="f5885" y="f6330"/>
                </a:cxn>
                <a:cxn ang="f4299">
                  <a:pos x="f5884" y="f6331"/>
                </a:cxn>
                <a:cxn ang="f4299">
                  <a:pos x="f5883" y="f6331"/>
                </a:cxn>
                <a:cxn ang="f4299">
                  <a:pos x="f5886" y="f6330"/>
                </a:cxn>
                <a:cxn ang="f4299">
                  <a:pos x="f5886" y="f6329"/>
                </a:cxn>
                <a:cxn ang="f4299">
                  <a:pos x="f5887" y="f6328"/>
                </a:cxn>
                <a:cxn ang="f4299">
                  <a:pos x="f5888" y="f6328"/>
                </a:cxn>
                <a:cxn ang="f4299">
                  <a:pos x="f5889" y="f6329"/>
                </a:cxn>
                <a:cxn ang="f4299">
                  <a:pos x="f5889" y="f6330"/>
                </a:cxn>
                <a:cxn ang="f4299">
                  <a:pos x="f5888" y="f6331"/>
                </a:cxn>
                <a:cxn ang="f4299">
                  <a:pos x="f5887" y="f6331"/>
                </a:cxn>
                <a:cxn ang="f4299">
                  <a:pos x="f5890" y="f6330"/>
                </a:cxn>
                <a:cxn ang="f4299">
                  <a:pos x="f5890" y="f6329"/>
                </a:cxn>
                <a:cxn ang="f4299">
                  <a:pos x="f5891" y="f6328"/>
                </a:cxn>
                <a:cxn ang="f4299">
                  <a:pos x="f5892" y="f6328"/>
                </a:cxn>
                <a:cxn ang="f4299">
                  <a:pos x="f5893" y="f6329"/>
                </a:cxn>
                <a:cxn ang="f4299">
                  <a:pos x="f5893" y="f6330"/>
                </a:cxn>
                <a:cxn ang="f4299">
                  <a:pos x="f5892" y="f6331"/>
                </a:cxn>
                <a:cxn ang="f4299">
                  <a:pos x="f5891" y="f6331"/>
                </a:cxn>
                <a:cxn ang="f4299">
                  <a:pos x="f5894" y="f6330"/>
                </a:cxn>
                <a:cxn ang="f4299">
                  <a:pos x="f5894" y="f6329"/>
                </a:cxn>
                <a:cxn ang="f4299">
                  <a:pos x="f6332" y="f6328"/>
                </a:cxn>
                <a:cxn ang="f4299">
                  <a:pos x="f6333" y="f6328"/>
                </a:cxn>
                <a:cxn ang="f4299">
                  <a:pos x="f6334" y="f6329"/>
                </a:cxn>
                <a:cxn ang="f4299">
                  <a:pos x="f6334" y="f6330"/>
                </a:cxn>
                <a:cxn ang="f4299">
                  <a:pos x="f6333" y="f6331"/>
                </a:cxn>
                <a:cxn ang="f4299">
                  <a:pos x="f6332" y="f6331"/>
                </a:cxn>
                <a:cxn ang="f4299">
                  <a:pos x="f6335" y="f6330"/>
                </a:cxn>
                <a:cxn ang="f4299">
                  <a:pos x="f6335" y="f6329"/>
                </a:cxn>
                <a:cxn ang="f4299">
                  <a:pos x="f6306" y="f6328"/>
                </a:cxn>
                <a:cxn ang="f4299">
                  <a:pos x="f6336" y="f6328"/>
                </a:cxn>
                <a:cxn ang="f4299">
                  <a:pos x="f6337" y="f6329"/>
                </a:cxn>
                <a:cxn ang="f4299">
                  <a:pos x="f6337" y="f6330"/>
                </a:cxn>
                <a:cxn ang="f4299">
                  <a:pos x="f6336" y="f6331"/>
                </a:cxn>
                <a:cxn ang="f4299">
                  <a:pos x="f6306" y="f6331"/>
                </a:cxn>
                <a:cxn ang="f4299">
                  <a:pos x="f6309" y="f6330"/>
                </a:cxn>
                <a:cxn ang="f4299">
                  <a:pos x="f6309" y="f6329"/>
                </a:cxn>
                <a:cxn ang="f4299">
                  <a:pos x="f6338" y="f6328"/>
                </a:cxn>
                <a:cxn ang="f4299">
                  <a:pos x="f6339" y="f6328"/>
                </a:cxn>
                <a:cxn ang="f4299">
                  <a:pos x="f6340" y="f6329"/>
                </a:cxn>
                <a:cxn ang="f4299">
                  <a:pos x="f6340" y="f6330"/>
                </a:cxn>
                <a:cxn ang="f4299">
                  <a:pos x="f6339" y="f6331"/>
                </a:cxn>
                <a:cxn ang="f4299">
                  <a:pos x="f6338" y="f6331"/>
                </a:cxn>
                <a:cxn ang="f4299">
                  <a:pos x="f6341" y="f6330"/>
                </a:cxn>
                <a:cxn ang="f4299">
                  <a:pos x="f6341" y="f6329"/>
                </a:cxn>
                <a:cxn ang="f4299">
                  <a:pos x="f6342" y="f6328"/>
                </a:cxn>
                <a:cxn ang="f4299">
                  <a:pos x="f6343" y="f6328"/>
                </a:cxn>
                <a:cxn ang="f4299">
                  <a:pos x="f6313" y="f6329"/>
                </a:cxn>
                <a:cxn ang="f4299">
                  <a:pos x="f6313" y="f6330"/>
                </a:cxn>
                <a:cxn ang="f4299">
                  <a:pos x="f6343" y="f6331"/>
                </a:cxn>
                <a:cxn ang="f4299">
                  <a:pos x="f6342" y="f6331"/>
                </a:cxn>
                <a:cxn ang="f4299">
                  <a:pos x="f6344" y="f6330"/>
                </a:cxn>
                <a:cxn ang="f4299">
                  <a:pos x="f6344" y="f6329"/>
                </a:cxn>
                <a:cxn ang="f4299">
                  <a:pos x="f5767" y="f6345"/>
                </a:cxn>
                <a:cxn ang="f4299">
                  <a:pos x="f5769" y="f6345"/>
                </a:cxn>
                <a:cxn ang="f4299">
                  <a:pos x="f5770" y="f6346"/>
                </a:cxn>
                <a:cxn ang="f4299">
                  <a:pos x="f5770" y="f6347"/>
                </a:cxn>
                <a:cxn ang="f4299">
                  <a:pos x="f5769" y="f6348"/>
                </a:cxn>
                <a:cxn ang="f4299">
                  <a:pos x="f5767" y="f6348"/>
                </a:cxn>
                <a:cxn ang="f4299">
                  <a:pos x="f5774" y="f6347"/>
                </a:cxn>
                <a:cxn ang="f4299">
                  <a:pos x="f5774" y="f6346"/>
                </a:cxn>
                <a:cxn ang="f4299">
                  <a:pos x="f5775" y="f6345"/>
                </a:cxn>
                <a:cxn ang="f4299">
                  <a:pos x="f5776" y="f6345"/>
                </a:cxn>
                <a:cxn ang="f4299">
                  <a:pos x="f5777" y="f6346"/>
                </a:cxn>
                <a:cxn ang="f4299">
                  <a:pos x="f5777" y="f6347"/>
                </a:cxn>
                <a:cxn ang="f4299">
                  <a:pos x="f5776" y="f6348"/>
                </a:cxn>
                <a:cxn ang="f4299">
                  <a:pos x="f5775" y="f6348"/>
                </a:cxn>
                <a:cxn ang="f4299">
                  <a:pos x="f5778" y="f6347"/>
                </a:cxn>
                <a:cxn ang="f4299">
                  <a:pos x="f5778" y="f6346"/>
                </a:cxn>
                <a:cxn ang="f4299">
                  <a:pos x="f5779" y="f6345"/>
                </a:cxn>
                <a:cxn ang="f4299">
                  <a:pos x="f5780" y="f6345"/>
                </a:cxn>
                <a:cxn ang="f4299">
                  <a:pos x="f5781" y="f6346"/>
                </a:cxn>
                <a:cxn ang="f4299">
                  <a:pos x="f5781" y="f6347"/>
                </a:cxn>
                <a:cxn ang="f4299">
                  <a:pos x="f5780" y="f6348"/>
                </a:cxn>
                <a:cxn ang="f4299">
                  <a:pos x="f5779" y="f6348"/>
                </a:cxn>
                <a:cxn ang="f4299">
                  <a:pos x="f5782" y="f6347"/>
                </a:cxn>
                <a:cxn ang="f4299">
                  <a:pos x="f5782" y="f6346"/>
                </a:cxn>
                <a:cxn ang="f4299">
                  <a:pos x="f5783" y="f6345"/>
                </a:cxn>
                <a:cxn ang="f4299">
                  <a:pos x="f5784" y="f6345"/>
                </a:cxn>
                <a:cxn ang="f4299">
                  <a:pos x="f5785" y="f6346"/>
                </a:cxn>
                <a:cxn ang="f4299">
                  <a:pos x="f5785" y="f6347"/>
                </a:cxn>
                <a:cxn ang="f4299">
                  <a:pos x="f5784" y="f6348"/>
                </a:cxn>
                <a:cxn ang="f4299">
                  <a:pos x="f5783" y="f6348"/>
                </a:cxn>
                <a:cxn ang="f4299">
                  <a:pos x="f5786" y="f6347"/>
                </a:cxn>
                <a:cxn ang="f4299">
                  <a:pos x="f5786" y="f6346"/>
                </a:cxn>
                <a:cxn ang="f4299">
                  <a:pos x="f5787" y="f6345"/>
                </a:cxn>
                <a:cxn ang="f4299">
                  <a:pos x="f5788" y="f6345"/>
                </a:cxn>
                <a:cxn ang="f4299">
                  <a:pos x="f5789" y="f6346"/>
                </a:cxn>
                <a:cxn ang="f4299">
                  <a:pos x="f5789" y="f6347"/>
                </a:cxn>
                <a:cxn ang="f4299">
                  <a:pos x="f5788" y="f6348"/>
                </a:cxn>
                <a:cxn ang="f4299">
                  <a:pos x="f5787" y="f6348"/>
                </a:cxn>
                <a:cxn ang="f4299">
                  <a:pos x="f5790" y="f6347"/>
                </a:cxn>
                <a:cxn ang="f4299">
                  <a:pos x="f5790" y="f6346"/>
                </a:cxn>
                <a:cxn ang="f4299">
                  <a:pos x="f5791" y="f6345"/>
                </a:cxn>
                <a:cxn ang="f4299">
                  <a:pos x="f5792" y="f6345"/>
                </a:cxn>
                <a:cxn ang="f4299">
                  <a:pos x="f5793" y="f6346"/>
                </a:cxn>
                <a:cxn ang="f4299">
                  <a:pos x="f5793" y="f6347"/>
                </a:cxn>
                <a:cxn ang="f4299">
                  <a:pos x="f5792" y="f6348"/>
                </a:cxn>
                <a:cxn ang="f4299">
                  <a:pos x="f5791" y="f6348"/>
                </a:cxn>
                <a:cxn ang="f4299">
                  <a:pos x="f5794" y="f6347"/>
                </a:cxn>
                <a:cxn ang="f4299">
                  <a:pos x="f5794" y="f6346"/>
                </a:cxn>
                <a:cxn ang="f4299">
                  <a:pos x="f5795" y="f6345"/>
                </a:cxn>
                <a:cxn ang="f4299">
                  <a:pos x="f5796" y="f6345"/>
                </a:cxn>
                <a:cxn ang="f4299">
                  <a:pos x="f5797" y="f6346"/>
                </a:cxn>
                <a:cxn ang="f4299">
                  <a:pos x="f5797" y="f6347"/>
                </a:cxn>
                <a:cxn ang="f4299">
                  <a:pos x="f5796" y="f6348"/>
                </a:cxn>
                <a:cxn ang="f4299">
                  <a:pos x="f5795" y="f6348"/>
                </a:cxn>
                <a:cxn ang="f4299">
                  <a:pos x="f5798" y="f6347"/>
                </a:cxn>
                <a:cxn ang="f4299">
                  <a:pos x="f5798" y="f6346"/>
                </a:cxn>
                <a:cxn ang="f4299">
                  <a:pos x="f5799" y="f6345"/>
                </a:cxn>
                <a:cxn ang="f4299">
                  <a:pos x="f5800" y="f6345"/>
                </a:cxn>
                <a:cxn ang="f4299">
                  <a:pos x="f5801" y="f6346"/>
                </a:cxn>
                <a:cxn ang="f4299">
                  <a:pos x="f5801" y="f6347"/>
                </a:cxn>
                <a:cxn ang="f4299">
                  <a:pos x="f5800" y="f6348"/>
                </a:cxn>
                <a:cxn ang="f4299">
                  <a:pos x="f5799" y="f6348"/>
                </a:cxn>
                <a:cxn ang="f4299">
                  <a:pos x="f5802" y="f6347"/>
                </a:cxn>
                <a:cxn ang="f4299">
                  <a:pos x="f5802" y="f6346"/>
                </a:cxn>
                <a:cxn ang="f4299">
                  <a:pos x="f5803" y="f6345"/>
                </a:cxn>
                <a:cxn ang="f4299">
                  <a:pos x="f5804" y="f6345"/>
                </a:cxn>
                <a:cxn ang="f4299">
                  <a:pos x="f5805" y="f6346"/>
                </a:cxn>
                <a:cxn ang="f4299">
                  <a:pos x="f5805" y="f6347"/>
                </a:cxn>
                <a:cxn ang="f4299">
                  <a:pos x="f5804" y="f6348"/>
                </a:cxn>
                <a:cxn ang="f4299">
                  <a:pos x="f5803" y="f6348"/>
                </a:cxn>
                <a:cxn ang="f4299">
                  <a:pos x="f5806" y="f6347"/>
                </a:cxn>
                <a:cxn ang="f4299">
                  <a:pos x="f5806" y="f6346"/>
                </a:cxn>
                <a:cxn ang="f4299">
                  <a:pos x="f5807" y="f6345"/>
                </a:cxn>
                <a:cxn ang="f4299">
                  <a:pos x="f5808" y="f6345"/>
                </a:cxn>
                <a:cxn ang="f4299">
                  <a:pos x="f5809" y="f6346"/>
                </a:cxn>
                <a:cxn ang="f4299">
                  <a:pos x="f5809" y="f6347"/>
                </a:cxn>
                <a:cxn ang="f4299">
                  <a:pos x="f5808" y="f6348"/>
                </a:cxn>
                <a:cxn ang="f4299">
                  <a:pos x="f5807" y="f6348"/>
                </a:cxn>
                <a:cxn ang="f4299">
                  <a:pos x="f5810" y="f6347"/>
                </a:cxn>
                <a:cxn ang="f4299">
                  <a:pos x="f5810" y="f6346"/>
                </a:cxn>
                <a:cxn ang="f4299">
                  <a:pos x="f5811" y="f6345"/>
                </a:cxn>
                <a:cxn ang="f4299">
                  <a:pos x="f5812" y="f6345"/>
                </a:cxn>
                <a:cxn ang="f4299">
                  <a:pos x="f5813" y="f6346"/>
                </a:cxn>
                <a:cxn ang="f4299">
                  <a:pos x="f5813" y="f6347"/>
                </a:cxn>
                <a:cxn ang="f4299">
                  <a:pos x="f5812" y="f6348"/>
                </a:cxn>
                <a:cxn ang="f4299">
                  <a:pos x="f5811" y="f6348"/>
                </a:cxn>
                <a:cxn ang="f4299">
                  <a:pos x="f5814" y="f6347"/>
                </a:cxn>
                <a:cxn ang="f4299">
                  <a:pos x="f5814" y="f6346"/>
                </a:cxn>
                <a:cxn ang="f4299">
                  <a:pos x="f5815" y="f6345"/>
                </a:cxn>
                <a:cxn ang="f4299">
                  <a:pos x="f5816" y="f6345"/>
                </a:cxn>
                <a:cxn ang="f4299">
                  <a:pos x="f5817" y="f6346"/>
                </a:cxn>
                <a:cxn ang="f4299">
                  <a:pos x="f5817" y="f6347"/>
                </a:cxn>
                <a:cxn ang="f4299">
                  <a:pos x="f5816" y="f6348"/>
                </a:cxn>
                <a:cxn ang="f4299">
                  <a:pos x="f5815" y="f6348"/>
                </a:cxn>
                <a:cxn ang="f4299">
                  <a:pos x="f5818" y="f6347"/>
                </a:cxn>
                <a:cxn ang="f4299">
                  <a:pos x="f5818" y="f6346"/>
                </a:cxn>
                <a:cxn ang="f4299">
                  <a:pos x="f5819" y="f6345"/>
                </a:cxn>
                <a:cxn ang="f4299">
                  <a:pos x="f5820" y="f6345"/>
                </a:cxn>
                <a:cxn ang="f4299">
                  <a:pos x="f5821" y="f6346"/>
                </a:cxn>
                <a:cxn ang="f4299">
                  <a:pos x="f5821" y="f6347"/>
                </a:cxn>
                <a:cxn ang="f4299">
                  <a:pos x="f5820" y="f6348"/>
                </a:cxn>
                <a:cxn ang="f4299">
                  <a:pos x="f5819" y="f6348"/>
                </a:cxn>
                <a:cxn ang="f4299">
                  <a:pos x="f5822" y="f6347"/>
                </a:cxn>
                <a:cxn ang="f4299">
                  <a:pos x="f5822" y="f6346"/>
                </a:cxn>
                <a:cxn ang="f4299">
                  <a:pos x="f5823" y="f6345"/>
                </a:cxn>
                <a:cxn ang="f4299">
                  <a:pos x="f5824" y="f6345"/>
                </a:cxn>
                <a:cxn ang="f4299">
                  <a:pos x="f5825" y="f6346"/>
                </a:cxn>
                <a:cxn ang="f4299">
                  <a:pos x="f5825" y="f6347"/>
                </a:cxn>
                <a:cxn ang="f4299">
                  <a:pos x="f5824" y="f6348"/>
                </a:cxn>
                <a:cxn ang="f4299">
                  <a:pos x="f5823" y="f6348"/>
                </a:cxn>
                <a:cxn ang="f4299">
                  <a:pos x="f5826" y="f6347"/>
                </a:cxn>
                <a:cxn ang="f4299">
                  <a:pos x="f5826" y="f6346"/>
                </a:cxn>
                <a:cxn ang="f4299">
                  <a:pos x="f5827" y="f6345"/>
                </a:cxn>
                <a:cxn ang="f4299">
                  <a:pos x="f5828" y="f6345"/>
                </a:cxn>
                <a:cxn ang="f4299">
                  <a:pos x="f5829" y="f6346"/>
                </a:cxn>
                <a:cxn ang="f4299">
                  <a:pos x="f5829" y="f6347"/>
                </a:cxn>
                <a:cxn ang="f4299">
                  <a:pos x="f5828" y="f6348"/>
                </a:cxn>
                <a:cxn ang="f4299">
                  <a:pos x="f5827" y="f6348"/>
                </a:cxn>
                <a:cxn ang="f4299">
                  <a:pos x="f5830" y="f6347"/>
                </a:cxn>
                <a:cxn ang="f4299">
                  <a:pos x="f5830" y="f6346"/>
                </a:cxn>
                <a:cxn ang="f4299">
                  <a:pos x="f5831" y="f6345"/>
                </a:cxn>
                <a:cxn ang="f4299">
                  <a:pos x="f5832" y="f6345"/>
                </a:cxn>
                <a:cxn ang="f4299">
                  <a:pos x="f5833" y="f6346"/>
                </a:cxn>
                <a:cxn ang="f4299">
                  <a:pos x="f5833" y="f6347"/>
                </a:cxn>
                <a:cxn ang="f4299">
                  <a:pos x="f5832" y="f6348"/>
                </a:cxn>
                <a:cxn ang="f4299">
                  <a:pos x="f5831" y="f6348"/>
                </a:cxn>
                <a:cxn ang="f4299">
                  <a:pos x="f5834" y="f6347"/>
                </a:cxn>
                <a:cxn ang="f4299">
                  <a:pos x="f5834" y="f6346"/>
                </a:cxn>
                <a:cxn ang="f4299">
                  <a:pos x="f5835" y="f6345"/>
                </a:cxn>
                <a:cxn ang="f4299">
                  <a:pos x="f5836" y="f6345"/>
                </a:cxn>
                <a:cxn ang="f4299">
                  <a:pos x="f5837" y="f6346"/>
                </a:cxn>
                <a:cxn ang="f4299">
                  <a:pos x="f5837" y="f6347"/>
                </a:cxn>
                <a:cxn ang="f4299">
                  <a:pos x="f5836" y="f6348"/>
                </a:cxn>
                <a:cxn ang="f4299">
                  <a:pos x="f5835" y="f6348"/>
                </a:cxn>
                <a:cxn ang="f4299">
                  <a:pos x="f5838" y="f6347"/>
                </a:cxn>
                <a:cxn ang="f4299">
                  <a:pos x="f5838" y="f6346"/>
                </a:cxn>
                <a:cxn ang="f4299">
                  <a:pos x="f5839" y="f6345"/>
                </a:cxn>
                <a:cxn ang="f4299">
                  <a:pos x="f5840" y="f6345"/>
                </a:cxn>
                <a:cxn ang="f4299">
                  <a:pos x="f5841" y="f6346"/>
                </a:cxn>
                <a:cxn ang="f4299">
                  <a:pos x="f5841" y="f6347"/>
                </a:cxn>
                <a:cxn ang="f4299">
                  <a:pos x="f5840" y="f6348"/>
                </a:cxn>
                <a:cxn ang="f4299">
                  <a:pos x="f5839" y="f6348"/>
                </a:cxn>
                <a:cxn ang="f4299">
                  <a:pos x="f5842" y="f6347"/>
                </a:cxn>
                <a:cxn ang="f4299">
                  <a:pos x="f5842" y="f6346"/>
                </a:cxn>
                <a:cxn ang="f4299">
                  <a:pos x="f5843" y="f6345"/>
                </a:cxn>
                <a:cxn ang="f4299">
                  <a:pos x="f5844" y="f6345"/>
                </a:cxn>
                <a:cxn ang="f4299">
                  <a:pos x="f5845" y="f6346"/>
                </a:cxn>
                <a:cxn ang="f4299">
                  <a:pos x="f5845" y="f6347"/>
                </a:cxn>
                <a:cxn ang="f4299">
                  <a:pos x="f5844" y="f6348"/>
                </a:cxn>
                <a:cxn ang="f4299">
                  <a:pos x="f5843" y="f6348"/>
                </a:cxn>
                <a:cxn ang="f4299">
                  <a:pos x="f5846" y="f6347"/>
                </a:cxn>
                <a:cxn ang="f4299">
                  <a:pos x="f5846" y="f6346"/>
                </a:cxn>
                <a:cxn ang="f4299">
                  <a:pos x="f5847" y="f6345"/>
                </a:cxn>
                <a:cxn ang="f4299">
                  <a:pos x="f5848" y="f6345"/>
                </a:cxn>
                <a:cxn ang="f4299">
                  <a:pos x="f5849" y="f6346"/>
                </a:cxn>
                <a:cxn ang="f4299">
                  <a:pos x="f5849" y="f6347"/>
                </a:cxn>
                <a:cxn ang="f4299">
                  <a:pos x="f5848" y="f6348"/>
                </a:cxn>
                <a:cxn ang="f4299">
                  <a:pos x="f5847" y="f6348"/>
                </a:cxn>
                <a:cxn ang="f4299">
                  <a:pos x="f5850" y="f6347"/>
                </a:cxn>
                <a:cxn ang="f4299">
                  <a:pos x="f5850" y="f6346"/>
                </a:cxn>
                <a:cxn ang="f4299">
                  <a:pos x="f5851" y="f6345"/>
                </a:cxn>
                <a:cxn ang="f4299">
                  <a:pos x="f5852" y="f6345"/>
                </a:cxn>
                <a:cxn ang="f4299">
                  <a:pos x="f5853" y="f6346"/>
                </a:cxn>
                <a:cxn ang="f4299">
                  <a:pos x="f5853" y="f6347"/>
                </a:cxn>
                <a:cxn ang="f4299">
                  <a:pos x="f5852" y="f6348"/>
                </a:cxn>
                <a:cxn ang="f4299">
                  <a:pos x="f5851" y="f6348"/>
                </a:cxn>
                <a:cxn ang="f4299">
                  <a:pos x="f5854" y="f6347"/>
                </a:cxn>
                <a:cxn ang="f4299">
                  <a:pos x="f5854" y="f6346"/>
                </a:cxn>
                <a:cxn ang="f4299">
                  <a:pos x="f5855" y="f6345"/>
                </a:cxn>
                <a:cxn ang="f4299">
                  <a:pos x="f5856" y="f6345"/>
                </a:cxn>
                <a:cxn ang="f4299">
                  <a:pos x="f5857" y="f6346"/>
                </a:cxn>
                <a:cxn ang="f4299">
                  <a:pos x="f5857" y="f6347"/>
                </a:cxn>
                <a:cxn ang="f4299">
                  <a:pos x="f5856" y="f6348"/>
                </a:cxn>
                <a:cxn ang="f4299">
                  <a:pos x="f5855" y="f6348"/>
                </a:cxn>
                <a:cxn ang="f4299">
                  <a:pos x="f5858" y="f6347"/>
                </a:cxn>
                <a:cxn ang="f4299">
                  <a:pos x="f5858" y="f6346"/>
                </a:cxn>
                <a:cxn ang="f4299">
                  <a:pos x="f5859" y="f6345"/>
                </a:cxn>
                <a:cxn ang="f4299">
                  <a:pos x="f5860" y="f6345"/>
                </a:cxn>
                <a:cxn ang="f4299">
                  <a:pos x="f5861" y="f6346"/>
                </a:cxn>
                <a:cxn ang="f4299">
                  <a:pos x="f5861" y="f6347"/>
                </a:cxn>
                <a:cxn ang="f4299">
                  <a:pos x="f5860" y="f6348"/>
                </a:cxn>
                <a:cxn ang="f4299">
                  <a:pos x="f5859" y="f6348"/>
                </a:cxn>
                <a:cxn ang="f4299">
                  <a:pos x="f5862" y="f6347"/>
                </a:cxn>
                <a:cxn ang="f4299">
                  <a:pos x="f5862" y="f6346"/>
                </a:cxn>
                <a:cxn ang="f4299">
                  <a:pos x="f5863" y="f6345"/>
                </a:cxn>
                <a:cxn ang="f4299">
                  <a:pos x="f5864" y="f6345"/>
                </a:cxn>
                <a:cxn ang="f4299">
                  <a:pos x="f5865" y="f6346"/>
                </a:cxn>
                <a:cxn ang="f4299">
                  <a:pos x="f5865" y="f6347"/>
                </a:cxn>
                <a:cxn ang="f4299">
                  <a:pos x="f5864" y="f6348"/>
                </a:cxn>
                <a:cxn ang="f4299">
                  <a:pos x="f5863" y="f6348"/>
                </a:cxn>
                <a:cxn ang="f4299">
                  <a:pos x="f5866" y="f6347"/>
                </a:cxn>
                <a:cxn ang="f4299">
                  <a:pos x="f5866" y="f6346"/>
                </a:cxn>
                <a:cxn ang="f4299">
                  <a:pos x="f5867" y="f6345"/>
                </a:cxn>
                <a:cxn ang="f4299">
                  <a:pos x="f5868" y="f6345"/>
                </a:cxn>
                <a:cxn ang="f4299">
                  <a:pos x="f5869" y="f6346"/>
                </a:cxn>
                <a:cxn ang="f4299">
                  <a:pos x="f5869" y="f6347"/>
                </a:cxn>
                <a:cxn ang="f4299">
                  <a:pos x="f5868" y="f6348"/>
                </a:cxn>
                <a:cxn ang="f4299">
                  <a:pos x="f5867" y="f6348"/>
                </a:cxn>
                <a:cxn ang="f4299">
                  <a:pos x="f5870" y="f6347"/>
                </a:cxn>
                <a:cxn ang="f4299">
                  <a:pos x="f5870" y="f6346"/>
                </a:cxn>
                <a:cxn ang="f4299">
                  <a:pos x="f5871" y="f6345"/>
                </a:cxn>
                <a:cxn ang="f4299">
                  <a:pos x="f5872" y="f6345"/>
                </a:cxn>
                <a:cxn ang="f4299">
                  <a:pos x="f5873" y="f6346"/>
                </a:cxn>
                <a:cxn ang="f4299">
                  <a:pos x="f5873" y="f6347"/>
                </a:cxn>
                <a:cxn ang="f4299">
                  <a:pos x="f5872" y="f6348"/>
                </a:cxn>
                <a:cxn ang="f4299">
                  <a:pos x="f5871" y="f6348"/>
                </a:cxn>
                <a:cxn ang="f4299">
                  <a:pos x="f5874" y="f6347"/>
                </a:cxn>
                <a:cxn ang="f4299">
                  <a:pos x="f5874" y="f6346"/>
                </a:cxn>
                <a:cxn ang="f4299">
                  <a:pos x="f5875" y="f6345"/>
                </a:cxn>
                <a:cxn ang="f4299">
                  <a:pos x="f5876" y="f6345"/>
                </a:cxn>
                <a:cxn ang="f4299">
                  <a:pos x="f5877" y="f6346"/>
                </a:cxn>
                <a:cxn ang="f4299">
                  <a:pos x="f5877" y="f6347"/>
                </a:cxn>
                <a:cxn ang="f4299">
                  <a:pos x="f5876" y="f6348"/>
                </a:cxn>
                <a:cxn ang="f4299">
                  <a:pos x="f5875" y="f6348"/>
                </a:cxn>
                <a:cxn ang="f4299">
                  <a:pos x="f5878" y="f6347"/>
                </a:cxn>
                <a:cxn ang="f4299">
                  <a:pos x="f5878" y="f6346"/>
                </a:cxn>
                <a:cxn ang="f4299">
                  <a:pos x="f5879" y="f6345"/>
                </a:cxn>
                <a:cxn ang="f4299">
                  <a:pos x="f5880" y="f6345"/>
                </a:cxn>
                <a:cxn ang="f4299">
                  <a:pos x="f5881" y="f6346"/>
                </a:cxn>
                <a:cxn ang="f4299">
                  <a:pos x="f5881" y="f6347"/>
                </a:cxn>
                <a:cxn ang="f4299">
                  <a:pos x="f5880" y="f6348"/>
                </a:cxn>
                <a:cxn ang="f4299">
                  <a:pos x="f5879" y="f6348"/>
                </a:cxn>
                <a:cxn ang="f4299">
                  <a:pos x="f5882" y="f6347"/>
                </a:cxn>
                <a:cxn ang="f4299">
                  <a:pos x="f5882" y="f6346"/>
                </a:cxn>
                <a:cxn ang="f4299">
                  <a:pos x="f5883" y="f6345"/>
                </a:cxn>
                <a:cxn ang="f4299">
                  <a:pos x="f5884" y="f6345"/>
                </a:cxn>
                <a:cxn ang="f4299">
                  <a:pos x="f5885" y="f6346"/>
                </a:cxn>
                <a:cxn ang="f4299">
                  <a:pos x="f5885" y="f6347"/>
                </a:cxn>
                <a:cxn ang="f4299">
                  <a:pos x="f5884" y="f6348"/>
                </a:cxn>
                <a:cxn ang="f4299">
                  <a:pos x="f5883" y="f6348"/>
                </a:cxn>
                <a:cxn ang="f4299">
                  <a:pos x="f5886" y="f6347"/>
                </a:cxn>
                <a:cxn ang="f4299">
                  <a:pos x="f5886" y="f6346"/>
                </a:cxn>
                <a:cxn ang="f4299">
                  <a:pos x="f5887" y="f6345"/>
                </a:cxn>
                <a:cxn ang="f4299">
                  <a:pos x="f5888" y="f6345"/>
                </a:cxn>
                <a:cxn ang="f4299">
                  <a:pos x="f5889" y="f6346"/>
                </a:cxn>
                <a:cxn ang="f4299">
                  <a:pos x="f5889" y="f6347"/>
                </a:cxn>
                <a:cxn ang="f4299">
                  <a:pos x="f5888" y="f6348"/>
                </a:cxn>
                <a:cxn ang="f4299">
                  <a:pos x="f5887" y="f6348"/>
                </a:cxn>
                <a:cxn ang="f4299">
                  <a:pos x="f5890" y="f6347"/>
                </a:cxn>
                <a:cxn ang="f4299">
                  <a:pos x="f5890" y="f6346"/>
                </a:cxn>
                <a:cxn ang="f4299">
                  <a:pos x="f5891" y="f6345"/>
                </a:cxn>
                <a:cxn ang="f4299">
                  <a:pos x="f5892" y="f6345"/>
                </a:cxn>
                <a:cxn ang="f4299">
                  <a:pos x="f5893" y="f6346"/>
                </a:cxn>
                <a:cxn ang="f4299">
                  <a:pos x="f5893" y="f6347"/>
                </a:cxn>
                <a:cxn ang="f4299">
                  <a:pos x="f5892" y="f6348"/>
                </a:cxn>
                <a:cxn ang="f4299">
                  <a:pos x="f5891" y="f6348"/>
                </a:cxn>
                <a:cxn ang="f4299">
                  <a:pos x="f5894" y="f6347"/>
                </a:cxn>
                <a:cxn ang="f4299">
                  <a:pos x="f5894" y="f6346"/>
                </a:cxn>
                <a:cxn ang="f4299">
                  <a:pos x="f6349" y="f6345"/>
                </a:cxn>
                <a:cxn ang="f4299">
                  <a:pos x="f6316" y="f6345"/>
                </a:cxn>
                <a:cxn ang="f4299">
                  <a:pos x="f6284" y="f6346"/>
                </a:cxn>
                <a:cxn ang="f4299">
                  <a:pos x="f6284" y="f6347"/>
                </a:cxn>
                <a:cxn ang="f4299">
                  <a:pos x="f6316" y="f6348"/>
                </a:cxn>
                <a:cxn ang="f4299">
                  <a:pos x="f6349" y="f6348"/>
                </a:cxn>
                <a:cxn ang="f4299">
                  <a:pos x="f6262" y="f6347"/>
                </a:cxn>
                <a:cxn ang="f4299">
                  <a:pos x="f6262" y="f6346"/>
                </a:cxn>
                <a:cxn ang="f4299">
                  <a:pos x="f6288" y="f6345"/>
                </a:cxn>
                <a:cxn ang="f4299">
                  <a:pos x="f6263" y="f6345"/>
                </a:cxn>
                <a:cxn ang="f4299">
                  <a:pos x="f6234" y="f6346"/>
                </a:cxn>
                <a:cxn ang="f4299">
                  <a:pos x="f6234" y="f6347"/>
                </a:cxn>
                <a:cxn ang="f4299">
                  <a:pos x="f6263" y="f6348"/>
                </a:cxn>
                <a:cxn ang="f4299">
                  <a:pos x="f6288" y="f6348"/>
                </a:cxn>
                <a:cxn ang="f4299">
                  <a:pos x="f6350" y="f6347"/>
                </a:cxn>
                <a:cxn ang="f4299">
                  <a:pos x="f6350" y="f6346"/>
                </a:cxn>
                <a:cxn ang="f4299">
                  <a:pos x="f6351" y="f6345"/>
                </a:cxn>
                <a:cxn ang="f4299">
                  <a:pos x="f6352" y="f6345"/>
                </a:cxn>
                <a:cxn ang="f4299">
                  <a:pos x="f6320" y="f6346"/>
                </a:cxn>
                <a:cxn ang="f4299">
                  <a:pos x="f6320" y="f6347"/>
                </a:cxn>
                <a:cxn ang="f4299">
                  <a:pos x="f6352" y="f6348"/>
                </a:cxn>
                <a:cxn ang="f4299">
                  <a:pos x="f6351" y="f6348"/>
                </a:cxn>
                <a:cxn ang="f4299">
                  <a:pos x="f6321" y="f6347"/>
                </a:cxn>
                <a:cxn ang="f4299">
                  <a:pos x="f6321" y="f6346"/>
                </a:cxn>
                <a:cxn ang="f4299">
                  <a:pos x="f6353" y="f6345"/>
                </a:cxn>
                <a:cxn ang="f4299">
                  <a:pos x="f6354" y="f6345"/>
                </a:cxn>
                <a:cxn ang="f4299">
                  <a:pos x="f6322" y="f6346"/>
                </a:cxn>
                <a:cxn ang="f4299">
                  <a:pos x="f6322" y="f6347"/>
                </a:cxn>
                <a:cxn ang="f4299">
                  <a:pos x="f6354" y="f6348"/>
                </a:cxn>
                <a:cxn ang="f4299">
                  <a:pos x="f6353" y="f6348"/>
                </a:cxn>
                <a:cxn ang="f4299">
                  <a:pos x="f6323" y="f6347"/>
                </a:cxn>
                <a:cxn ang="f4299">
                  <a:pos x="f6323" y="f6346"/>
                </a:cxn>
                <a:cxn ang="f4299">
                  <a:pos x="f6355" y="f6345"/>
                </a:cxn>
                <a:cxn ang="f4299">
                  <a:pos x="f6356" y="f6345"/>
                </a:cxn>
                <a:cxn ang="f4299">
                  <a:pos x="f6325" y="f6346"/>
                </a:cxn>
                <a:cxn ang="f4299">
                  <a:pos x="f6325" y="f6347"/>
                </a:cxn>
                <a:cxn ang="f4299">
                  <a:pos x="f6356" y="f6348"/>
                </a:cxn>
                <a:cxn ang="f4299">
                  <a:pos x="f6355" y="f6348"/>
                </a:cxn>
                <a:cxn ang="f4299">
                  <a:pos x="f6357" y="f6347"/>
                </a:cxn>
                <a:cxn ang="f4299">
                  <a:pos x="f6357" y="f6346"/>
                </a:cxn>
                <a:cxn ang="f4299">
                  <a:pos x="f6326" y="f6345"/>
                </a:cxn>
                <a:cxn ang="f4299">
                  <a:pos x="f6358" y="f6345"/>
                </a:cxn>
                <a:cxn ang="f4299">
                  <a:pos x="f6359" y="f6346"/>
                </a:cxn>
                <a:cxn ang="f4299">
                  <a:pos x="f6359" y="f6347"/>
                </a:cxn>
                <a:cxn ang="f4299">
                  <a:pos x="f6358" y="f6348"/>
                </a:cxn>
                <a:cxn ang="f4299">
                  <a:pos x="f6326" y="f6348"/>
                </a:cxn>
                <a:cxn ang="f4299">
                  <a:pos x="f6360" y="f6347"/>
                </a:cxn>
                <a:cxn ang="f4299">
                  <a:pos x="f6360" y="f6346"/>
                </a:cxn>
                <a:cxn ang="f4299">
                  <a:pos x="f6361" y="f6345"/>
                </a:cxn>
                <a:cxn ang="f4299">
                  <a:pos x="f6333" y="f6345"/>
                </a:cxn>
                <a:cxn ang="f4299">
                  <a:pos x="f6334" y="f6346"/>
                </a:cxn>
                <a:cxn ang="f4299">
                  <a:pos x="f6334" y="f6347"/>
                </a:cxn>
                <a:cxn ang="f4299">
                  <a:pos x="f6333" y="f6348"/>
                </a:cxn>
                <a:cxn ang="f4299">
                  <a:pos x="f6361" y="f6348"/>
                </a:cxn>
                <a:cxn ang="f4299">
                  <a:pos x="f6362" y="f6347"/>
                </a:cxn>
                <a:cxn ang="f4299">
                  <a:pos x="f6362" y="f6346"/>
                </a:cxn>
                <a:cxn ang="f4299">
                  <a:pos x="f6363" y="f6345"/>
                </a:cxn>
                <a:cxn ang="f4299">
                  <a:pos x="f6336" y="f6345"/>
                </a:cxn>
                <a:cxn ang="f4299">
                  <a:pos x="f6337" y="f6346"/>
                </a:cxn>
                <a:cxn ang="f4299">
                  <a:pos x="f6337" y="f6347"/>
                </a:cxn>
                <a:cxn ang="f4299">
                  <a:pos x="f6336" y="f6348"/>
                </a:cxn>
                <a:cxn ang="f4299">
                  <a:pos x="f6363" y="f6348"/>
                </a:cxn>
                <a:cxn ang="f4299">
                  <a:pos x="f6364" y="f6347"/>
                </a:cxn>
                <a:cxn ang="f4299">
                  <a:pos x="f6364" y="f6346"/>
                </a:cxn>
                <a:cxn ang="f4299">
                  <a:pos x="f6365" y="f6345"/>
                </a:cxn>
                <a:cxn ang="f4299">
                  <a:pos x="f6366" y="f6345"/>
                </a:cxn>
                <a:cxn ang="f4299">
                  <a:pos x="f6367" y="f6346"/>
                </a:cxn>
                <a:cxn ang="f4299">
                  <a:pos x="f6367" y="f6347"/>
                </a:cxn>
                <a:cxn ang="f4299">
                  <a:pos x="f6366" y="f6348"/>
                </a:cxn>
                <a:cxn ang="f4299">
                  <a:pos x="f6365" y="f6348"/>
                </a:cxn>
                <a:cxn ang="f4299">
                  <a:pos x="f6368" y="f6347"/>
                </a:cxn>
                <a:cxn ang="f4299">
                  <a:pos x="f6368" y="f6346"/>
                </a:cxn>
                <a:cxn ang="f4299">
                  <a:pos x="f6342" y="f6345"/>
                </a:cxn>
                <a:cxn ang="f4299">
                  <a:pos x="f6369" y="f6345"/>
                </a:cxn>
                <a:cxn ang="f4299">
                  <a:pos x="f6370" y="f6346"/>
                </a:cxn>
                <a:cxn ang="f4299">
                  <a:pos x="f6370" y="f6347"/>
                </a:cxn>
                <a:cxn ang="f4299">
                  <a:pos x="f6369" y="f6348"/>
                </a:cxn>
                <a:cxn ang="f4299">
                  <a:pos x="f6342" y="f6348"/>
                </a:cxn>
                <a:cxn ang="f4299">
                  <a:pos x="f6344" y="f6347"/>
                </a:cxn>
                <a:cxn ang="f4299">
                  <a:pos x="f6344" y="f6346"/>
                </a:cxn>
                <a:cxn ang="f4299">
                  <a:pos x="f6349" y="f6371"/>
                </a:cxn>
                <a:cxn ang="f4299">
                  <a:pos x="f6316" y="f6371"/>
                </a:cxn>
                <a:cxn ang="f4299">
                  <a:pos x="f6284" y="f6372"/>
                </a:cxn>
                <a:cxn ang="f4299">
                  <a:pos x="f6284" y="f6373"/>
                </a:cxn>
                <a:cxn ang="f4299">
                  <a:pos x="f6316" y="f6374"/>
                </a:cxn>
                <a:cxn ang="f4299">
                  <a:pos x="f6349" y="f6374"/>
                </a:cxn>
                <a:cxn ang="f4299">
                  <a:pos x="f6262" y="f6373"/>
                </a:cxn>
                <a:cxn ang="f4299">
                  <a:pos x="f6262" y="f6372"/>
                </a:cxn>
                <a:cxn ang="f4299">
                  <a:pos x="f6288" y="f6371"/>
                </a:cxn>
                <a:cxn ang="f4299">
                  <a:pos x="f6263" y="f6371"/>
                </a:cxn>
                <a:cxn ang="f4299">
                  <a:pos x="f6375" y="f6372"/>
                </a:cxn>
                <a:cxn ang="f4299">
                  <a:pos x="f6375" y="f6373"/>
                </a:cxn>
                <a:cxn ang="f4299">
                  <a:pos x="f6263" y="f6374"/>
                </a:cxn>
                <a:cxn ang="f4299">
                  <a:pos x="f6288" y="f6374"/>
                </a:cxn>
                <a:cxn ang="f4299">
                  <a:pos x="f6350" y="f6373"/>
                </a:cxn>
                <a:cxn ang="f4299">
                  <a:pos x="f6350" y="f6372"/>
                </a:cxn>
                <a:cxn ang="f4299">
                  <a:pos x="f6351" y="f6371"/>
                </a:cxn>
                <a:cxn ang="f4299">
                  <a:pos x="f6376" y="f6371"/>
                </a:cxn>
                <a:cxn ang="f4299">
                  <a:pos x="f6377" y="f6372"/>
                </a:cxn>
                <a:cxn ang="f4299">
                  <a:pos x="f6377" y="f6373"/>
                </a:cxn>
                <a:cxn ang="f4299">
                  <a:pos x="f6376" y="f6374"/>
                </a:cxn>
                <a:cxn ang="f4299">
                  <a:pos x="f6351" y="f6374"/>
                </a:cxn>
                <a:cxn ang="f4299">
                  <a:pos x="f6378" y="f6373"/>
                </a:cxn>
                <a:cxn ang="f4299">
                  <a:pos x="f6378" y="f6372"/>
                </a:cxn>
                <a:cxn ang="f4299">
                  <a:pos x="f6353" y="f6371"/>
                </a:cxn>
                <a:cxn ang="f4299">
                  <a:pos x="f6354" y="f6371"/>
                </a:cxn>
                <a:cxn ang="f4299">
                  <a:pos x="f6379" y="f6372"/>
                </a:cxn>
                <a:cxn ang="f4299">
                  <a:pos x="f6379" y="f6373"/>
                </a:cxn>
                <a:cxn ang="f4299">
                  <a:pos x="f6354" y="f6374"/>
                </a:cxn>
                <a:cxn ang="f4299">
                  <a:pos x="f6353" y="f6374"/>
                </a:cxn>
                <a:cxn ang="f4299">
                  <a:pos x="f6380" y="f6373"/>
                </a:cxn>
                <a:cxn ang="f4299">
                  <a:pos x="f6380" y="f6372"/>
                </a:cxn>
                <a:cxn ang="f4299">
                  <a:pos x="f6355" y="f6371"/>
                </a:cxn>
                <a:cxn ang="f4299">
                  <a:pos x="f6381" y="f6371"/>
                </a:cxn>
                <a:cxn ang="f4299">
                  <a:pos x="f6382" y="f6372"/>
                </a:cxn>
                <a:cxn ang="f4299">
                  <a:pos x="f6382" y="f6373"/>
                </a:cxn>
                <a:cxn ang="f4299">
                  <a:pos x="f6381" y="f6374"/>
                </a:cxn>
                <a:cxn ang="f4299">
                  <a:pos x="f6355" y="f6374"/>
                </a:cxn>
                <a:cxn ang="f4299">
                  <a:pos x="f6383" y="f6373"/>
                </a:cxn>
                <a:cxn ang="f4299">
                  <a:pos x="f6383" y="f6372"/>
                </a:cxn>
                <a:cxn ang="f4299">
                  <a:pos x="f6384" y="f6371"/>
                </a:cxn>
                <a:cxn ang="f4299">
                  <a:pos x="f6358" y="f6371"/>
                </a:cxn>
                <a:cxn ang="f4299">
                  <a:pos x="f6359" y="f6372"/>
                </a:cxn>
                <a:cxn ang="f4299">
                  <a:pos x="f6359" y="f6373"/>
                </a:cxn>
                <a:cxn ang="f4299">
                  <a:pos x="f6358" y="f6374"/>
                </a:cxn>
                <a:cxn ang="f4299">
                  <a:pos x="f6384" y="f6374"/>
                </a:cxn>
                <a:cxn ang="f4299">
                  <a:pos x="f6360" y="f6373"/>
                </a:cxn>
                <a:cxn ang="f4299">
                  <a:pos x="f6360" y="f6372"/>
                </a:cxn>
                <a:cxn ang="f4299">
                  <a:pos x="f5767" y="f6385"/>
                </a:cxn>
                <a:cxn ang="f4299">
                  <a:pos x="f5769" y="f6385"/>
                </a:cxn>
                <a:cxn ang="f4299">
                  <a:pos x="f5770" y="f6386"/>
                </a:cxn>
                <a:cxn ang="f4299">
                  <a:pos x="f5770" y="f6387"/>
                </a:cxn>
                <a:cxn ang="f4299">
                  <a:pos x="f5769" y="f6388"/>
                </a:cxn>
                <a:cxn ang="f4299">
                  <a:pos x="f5767" y="f6388"/>
                </a:cxn>
                <a:cxn ang="f4299">
                  <a:pos x="f5774" y="f6387"/>
                </a:cxn>
                <a:cxn ang="f4299">
                  <a:pos x="f5774" y="f6386"/>
                </a:cxn>
                <a:cxn ang="f4299">
                  <a:pos x="f5775" y="f6385"/>
                </a:cxn>
                <a:cxn ang="f4299">
                  <a:pos x="f5776" y="f6385"/>
                </a:cxn>
                <a:cxn ang="f4299">
                  <a:pos x="f5777" y="f6386"/>
                </a:cxn>
                <a:cxn ang="f4299">
                  <a:pos x="f5777" y="f6387"/>
                </a:cxn>
                <a:cxn ang="f4299">
                  <a:pos x="f5776" y="f6388"/>
                </a:cxn>
                <a:cxn ang="f4299">
                  <a:pos x="f5775" y="f6388"/>
                </a:cxn>
                <a:cxn ang="f4299">
                  <a:pos x="f5778" y="f6387"/>
                </a:cxn>
                <a:cxn ang="f4299">
                  <a:pos x="f5778" y="f6386"/>
                </a:cxn>
                <a:cxn ang="f4299">
                  <a:pos x="f5779" y="f6385"/>
                </a:cxn>
                <a:cxn ang="f4299">
                  <a:pos x="f5780" y="f6385"/>
                </a:cxn>
                <a:cxn ang="f4299">
                  <a:pos x="f5781" y="f6386"/>
                </a:cxn>
                <a:cxn ang="f4299">
                  <a:pos x="f5781" y="f6387"/>
                </a:cxn>
                <a:cxn ang="f4299">
                  <a:pos x="f5780" y="f6388"/>
                </a:cxn>
                <a:cxn ang="f4299">
                  <a:pos x="f5779" y="f6388"/>
                </a:cxn>
                <a:cxn ang="f4299">
                  <a:pos x="f5782" y="f6387"/>
                </a:cxn>
                <a:cxn ang="f4299">
                  <a:pos x="f5782" y="f6386"/>
                </a:cxn>
                <a:cxn ang="f4299">
                  <a:pos x="f5783" y="f6385"/>
                </a:cxn>
                <a:cxn ang="f4299">
                  <a:pos x="f5784" y="f6385"/>
                </a:cxn>
                <a:cxn ang="f4299">
                  <a:pos x="f5785" y="f6386"/>
                </a:cxn>
                <a:cxn ang="f4299">
                  <a:pos x="f5785" y="f6387"/>
                </a:cxn>
                <a:cxn ang="f4299">
                  <a:pos x="f5784" y="f6388"/>
                </a:cxn>
                <a:cxn ang="f4299">
                  <a:pos x="f5783" y="f6388"/>
                </a:cxn>
                <a:cxn ang="f4299">
                  <a:pos x="f5786" y="f6387"/>
                </a:cxn>
                <a:cxn ang="f4299">
                  <a:pos x="f5786" y="f6386"/>
                </a:cxn>
                <a:cxn ang="f4299">
                  <a:pos x="f5787" y="f6385"/>
                </a:cxn>
                <a:cxn ang="f4299">
                  <a:pos x="f5788" y="f6385"/>
                </a:cxn>
                <a:cxn ang="f4299">
                  <a:pos x="f5789" y="f6386"/>
                </a:cxn>
                <a:cxn ang="f4299">
                  <a:pos x="f5789" y="f6387"/>
                </a:cxn>
                <a:cxn ang="f4299">
                  <a:pos x="f5788" y="f6388"/>
                </a:cxn>
                <a:cxn ang="f4299">
                  <a:pos x="f5787" y="f6388"/>
                </a:cxn>
                <a:cxn ang="f4299">
                  <a:pos x="f5790" y="f6387"/>
                </a:cxn>
                <a:cxn ang="f4299">
                  <a:pos x="f5790" y="f6386"/>
                </a:cxn>
                <a:cxn ang="f4299">
                  <a:pos x="f5791" y="f6385"/>
                </a:cxn>
                <a:cxn ang="f4299">
                  <a:pos x="f5792" y="f6385"/>
                </a:cxn>
                <a:cxn ang="f4299">
                  <a:pos x="f5793" y="f6386"/>
                </a:cxn>
                <a:cxn ang="f4299">
                  <a:pos x="f5793" y="f6387"/>
                </a:cxn>
                <a:cxn ang="f4299">
                  <a:pos x="f5792" y="f6388"/>
                </a:cxn>
                <a:cxn ang="f4299">
                  <a:pos x="f5791" y="f6388"/>
                </a:cxn>
                <a:cxn ang="f4299">
                  <a:pos x="f5794" y="f6387"/>
                </a:cxn>
                <a:cxn ang="f4299">
                  <a:pos x="f5794" y="f6386"/>
                </a:cxn>
                <a:cxn ang="f4299">
                  <a:pos x="f5795" y="f6385"/>
                </a:cxn>
                <a:cxn ang="f4299">
                  <a:pos x="f5796" y="f6385"/>
                </a:cxn>
                <a:cxn ang="f4299">
                  <a:pos x="f5797" y="f6386"/>
                </a:cxn>
                <a:cxn ang="f4299">
                  <a:pos x="f5797" y="f6387"/>
                </a:cxn>
                <a:cxn ang="f4299">
                  <a:pos x="f5796" y="f6388"/>
                </a:cxn>
                <a:cxn ang="f4299">
                  <a:pos x="f5795" y="f6388"/>
                </a:cxn>
                <a:cxn ang="f4299">
                  <a:pos x="f5798" y="f6387"/>
                </a:cxn>
                <a:cxn ang="f4299">
                  <a:pos x="f5798" y="f6386"/>
                </a:cxn>
                <a:cxn ang="f4299">
                  <a:pos x="f5799" y="f6385"/>
                </a:cxn>
                <a:cxn ang="f4299">
                  <a:pos x="f5800" y="f6385"/>
                </a:cxn>
                <a:cxn ang="f4299">
                  <a:pos x="f5801" y="f6386"/>
                </a:cxn>
                <a:cxn ang="f4299">
                  <a:pos x="f5801" y="f6387"/>
                </a:cxn>
                <a:cxn ang="f4299">
                  <a:pos x="f5800" y="f6388"/>
                </a:cxn>
                <a:cxn ang="f4299">
                  <a:pos x="f5799" y="f6388"/>
                </a:cxn>
                <a:cxn ang="f4299">
                  <a:pos x="f5802" y="f6387"/>
                </a:cxn>
                <a:cxn ang="f4299">
                  <a:pos x="f5802" y="f6386"/>
                </a:cxn>
                <a:cxn ang="f4299">
                  <a:pos x="f5803" y="f6385"/>
                </a:cxn>
                <a:cxn ang="f4299">
                  <a:pos x="f5804" y="f6385"/>
                </a:cxn>
                <a:cxn ang="f4299">
                  <a:pos x="f5805" y="f6386"/>
                </a:cxn>
                <a:cxn ang="f4299">
                  <a:pos x="f5805" y="f6387"/>
                </a:cxn>
                <a:cxn ang="f4299">
                  <a:pos x="f5804" y="f6388"/>
                </a:cxn>
                <a:cxn ang="f4299">
                  <a:pos x="f5803" y="f6388"/>
                </a:cxn>
                <a:cxn ang="f4299">
                  <a:pos x="f5806" y="f6387"/>
                </a:cxn>
                <a:cxn ang="f4299">
                  <a:pos x="f5806" y="f6386"/>
                </a:cxn>
                <a:cxn ang="f4299">
                  <a:pos x="f5807" y="f6385"/>
                </a:cxn>
                <a:cxn ang="f4299">
                  <a:pos x="f5808" y="f6385"/>
                </a:cxn>
                <a:cxn ang="f4299">
                  <a:pos x="f5809" y="f6386"/>
                </a:cxn>
                <a:cxn ang="f4299">
                  <a:pos x="f5809" y="f6387"/>
                </a:cxn>
                <a:cxn ang="f4299">
                  <a:pos x="f5808" y="f6388"/>
                </a:cxn>
                <a:cxn ang="f4299">
                  <a:pos x="f5807" y="f6388"/>
                </a:cxn>
                <a:cxn ang="f4299">
                  <a:pos x="f5810" y="f6387"/>
                </a:cxn>
                <a:cxn ang="f4299">
                  <a:pos x="f5810" y="f6386"/>
                </a:cxn>
                <a:cxn ang="f4299">
                  <a:pos x="f5811" y="f6385"/>
                </a:cxn>
                <a:cxn ang="f4299">
                  <a:pos x="f5812" y="f6385"/>
                </a:cxn>
                <a:cxn ang="f4299">
                  <a:pos x="f5813" y="f6386"/>
                </a:cxn>
                <a:cxn ang="f4299">
                  <a:pos x="f5813" y="f6387"/>
                </a:cxn>
                <a:cxn ang="f4299">
                  <a:pos x="f5812" y="f6388"/>
                </a:cxn>
                <a:cxn ang="f4299">
                  <a:pos x="f5811" y="f6388"/>
                </a:cxn>
                <a:cxn ang="f4299">
                  <a:pos x="f5814" y="f6387"/>
                </a:cxn>
                <a:cxn ang="f4299">
                  <a:pos x="f5814" y="f6386"/>
                </a:cxn>
                <a:cxn ang="f4299">
                  <a:pos x="f5815" y="f6385"/>
                </a:cxn>
                <a:cxn ang="f4299">
                  <a:pos x="f5816" y="f6385"/>
                </a:cxn>
                <a:cxn ang="f4299">
                  <a:pos x="f5817" y="f6386"/>
                </a:cxn>
                <a:cxn ang="f4299">
                  <a:pos x="f5817" y="f6387"/>
                </a:cxn>
                <a:cxn ang="f4299">
                  <a:pos x="f5816" y="f6388"/>
                </a:cxn>
                <a:cxn ang="f4299">
                  <a:pos x="f5815" y="f6388"/>
                </a:cxn>
                <a:cxn ang="f4299">
                  <a:pos x="f5818" y="f6387"/>
                </a:cxn>
                <a:cxn ang="f4299">
                  <a:pos x="f5818" y="f6386"/>
                </a:cxn>
                <a:cxn ang="f4299">
                  <a:pos x="f5819" y="f6385"/>
                </a:cxn>
                <a:cxn ang="f4299">
                  <a:pos x="f5820" y="f6385"/>
                </a:cxn>
                <a:cxn ang="f4299">
                  <a:pos x="f5821" y="f6386"/>
                </a:cxn>
                <a:cxn ang="f4299">
                  <a:pos x="f5821" y="f6387"/>
                </a:cxn>
                <a:cxn ang="f4299">
                  <a:pos x="f5820" y="f6388"/>
                </a:cxn>
                <a:cxn ang="f4299">
                  <a:pos x="f5819" y="f6388"/>
                </a:cxn>
                <a:cxn ang="f4299">
                  <a:pos x="f5822" y="f6387"/>
                </a:cxn>
                <a:cxn ang="f4299">
                  <a:pos x="f5822" y="f6386"/>
                </a:cxn>
                <a:cxn ang="f4299">
                  <a:pos x="f5823" y="f6385"/>
                </a:cxn>
                <a:cxn ang="f4299">
                  <a:pos x="f5824" y="f6385"/>
                </a:cxn>
                <a:cxn ang="f4299">
                  <a:pos x="f5825" y="f6386"/>
                </a:cxn>
                <a:cxn ang="f4299">
                  <a:pos x="f5825" y="f6387"/>
                </a:cxn>
                <a:cxn ang="f4299">
                  <a:pos x="f5824" y="f6388"/>
                </a:cxn>
                <a:cxn ang="f4299">
                  <a:pos x="f5823" y="f6388"/>
                </a:cxn>
                <a:cxn ang="f4299">
                  <a:pos x="f5826" y="f6387"/>
                </a:cxn>
                <a:cxn ang="f4299">
                  <a:pos x="f5826" y="f6386"/>
                </a:cxn>
                <a:cxn ang="f4299">
                  <a:pos x="f5827" y="f6385"/>
                </a:cxn>
                <a:cxn ang="f4299">
                  <a:pos x="f5828" y="f6385"/>
                </a:cxn>
                <a:cxn ang="f4299">
                  <a:pos x="f5829" y="f6386"/>
                </a:cxn>
                <a:cxn ang="f4299">
                  <a:pos x="f5829" y="f6387"/>
                </a:cxn>
                <a:cxn ang="f4299">
                  <a:pos x="f5828" y="f6388"/>
                </a:cxn>
                <a:cxn ang="f4299">
                  <a:pos x="f5827" y="f6388"/>
                </a:cxn>
                <a:cxn ang="f4299">
                  <a:pos x="f5830" y="f6387"/>
                </a:cxn>
                <a:cxn ang="f4299">
                  <a:pos x="f5830" y="f6386"/>
                </a:cxn>
                <a:cxn ang="f4299">
                  <a:pos x="f5831" y="f6385"/>
                </a:cxn>
                <a:cxn ang="f4299">
                  <a:pos x="f5832" y="f6385"/>
                </a:cxn>
                <a:cxn ang="f4299">
                  <a:pos x="f5833" y="f6386"/>
                </a:cxn>
                <a:cxn ang="f4299">
                  <a:pos x="f5833" y="f6387"/>
                </a:cxn>
                <a:cxn ang="f4299">
                  <a:pos x="f5832" y="f6388"/>
                </a:cxn>
                <a:cxn ang="f4299">
                  <a:pos x="f5831" y="f6388"/>
                </a:cxn>
                <a:cxn ang="f4299">
                  <a:pos x="f5834" y="f6387"/>
                </a:cxn>
                <a:cxn ang="f4299">
                  <a:pos x="f5834" y="f6386"/>
                </a:cxn>
                <a:cxn ang="f4299">
                  <a:pos x="f5835" y="f6385"/>
                </a:cxn>
                <a:cxn ang="f4299">
                  <a:pos x="f5836" y="f6385"/>
                </a:cxn>
                <a:cxn ang="f4299">
                  <a:pos x="f5837" y="f6386"/>
                </a:cxn>
                <a:cxn ang="f4299">
                  <a:pos x="f5837" y="f6387"/>
                </a:cxn>
                <a:cxn ang="f4299">
                  <a:pos x="f5836" y="f6388"/>
                </a:cxn>
                <a:cxn ang="f4299">
                  <a:pos x="f5835" y="f6388"/>
                </a:cxn>
                <a:cxn ang="f4299">
                  <a:pos x="f5838" y="f6387"/>
                </a:cxn>
                <a:cxn ang="f4299">
                  <a:pos x="f5838" y="f6386"/>
                </a:cxn>
                <a:cxn ang="f4299">
                  <a:pos x="f5839" y="f6385"/>
                </a:cxn>
                <a:cxn ang="f4299">
                  <a:pos x="f5840" y="f6385"/>
                </a:cxn>
                <a:cxn ang="f4299">
                  <a:pos x="f5841" y="f6386"/>
                </a:cxn>
                <a:cxn ang="f4299">
                  <a:pos x="f5841" y="f6387"/>
                </a:cxn>
                <a:cxn ang="f4299">
                  <a:pos x="f5840" y="f6388"/>
                </a:cxn>
                <a:cxn ang="f4299">
                  <a:pos x="f5839" y="f6388"/>
                </a:cxn>
                <a:cxn ang="f4299">
                  <a:pos x="f5842" y="f6387"/>
                </a:cxn>
                <a:cxn ang="f4299">
                  <a:pos x="f5842" y="f6386"/>
                </a:cxn>
                <a:cxn ang="f4299">
                  <a:pos x="f5843" y="f6385"/>
                </a:cxn>
                <a:cxn ang="f4299">
                  <a:pos x="f5844" y="f6385"/>
                </a:cxn>
                <a:cxn ang="f4299">
                  <a:pos x="f5845" y="f6386"/>
                </a:cxn>
                <a:cxn ang="f4299">
                  <a:pos x="f5845" y="f6387"/>
                </a:cxn>
                <a:cxn ang="f4299">
                  <a:pos x="f5844" y="f6388"/>
                </a:cxn>
                <a:cxn ang="f4299">
                  <a:pos x="f5843" y="f6388"/>
                </a:cxn>
                <a:cxn ang="f4299">
                  <a:pos x="f5846" y="f6387"/>
                </a:cxn>
                <a:cxn ang="f4299">
                  <a:pos x="f5846" y="f6386"/>
                </a:cxn>
                <a:cxn ang="f4299">
                  <a:pos x="f5847" y="f6385"/>
                </a:cxn>
                <a:cxn ang="f4299">
                  <a:pos x="f5848" y="f6385"/>
                </a:cxn>
                <a:cxn ang="f4299">
                  <a:pos x="f5849" y="f6386"/>
                </a:cxn>
                <a:cxn ang="f4299">
                  <a:pos x="f5849" y="f6387"/>
                </a:cxn>
                <a:cxn ang="f4299">
                  <a:pos x="f5848" y="f6388"/>
                </a:cxn>
                <a:cxn ang="f4299">
                  <a:pos x="f5847" y="f6388"/>
                </a:cxn>
                <a:cxn ang="f4299">
                  <a:pos x="f5850" y="f6387"/>
                </a:cxn>
                <a:cxn ang="f4299">
                  <a:pos x="f5850" y="f6386"/>
                </a:cxn>
                <a:cxn ang="f4299">
                  <a:pos x="f5851" y="f6385"/>
                </a:cxn>
                <a:cxn ang="f4299">
                  <a:pos x="f5852" y="f6385"/>
                </a:cxn>
                <a:cxn ang="f4299">
                  <a:pos x="f5853" y="f6386"/>
                </a:cxn>
                <a:cxn ang="f4299">
                  <a:pos x="f5853" y="f6387"/>
                </a:cxn>
                <a:cxn ang="f4299">
                  <a:pos x="f5852" y="f6388"/>
                </a:cxn>
                <a:cxn ang="f4299">
                  <a:pos x="f5851" y="f6388"/>
                </a:cxn>
                <a:cxn ang="f4299">
                  <a:pos x="f5854" y="f6387"/>
                </a:cxn>
                <a:cxn ang="f4299">
                  <a:pos x="f5854" y="f6386"/>
                </a:cxn>
                <a:cxn ang="f4299">
                  <a:pos x="f5855" y="f6385"/>
                </a:cxn>
                <a:cxn ang="f4299">
                  <a:pos x="f5856" y="f6385"/>
                </a:cxn>
                <a:cxn ang="f4299">
                  <a:pos x="f5857" y="f6386"/>
                </a:cxn>
                <a:cxn ang="f4299">
                  <a:pos x="f5857" y="f6387"/>
                </a:cxn>
                <a:cxn ang="f4299">
                  <a:pos x="f5856" y="f6388"/>
                </a:cxn>
                <a:cxn ang="f4299">
                  <a:pos x="f5855" y="f6388"/>
                </a:cxn>
                <a:cxn ang="f4299">
                  <a:pos x="f5858" y="f6387"/>
                </a:cxn>
                <a:cxn ang="f4299">
                  <a:pos x="f5858" y="f6386"/>
                </a:cxn>
                <a:cxn ang="f4299">
                  <a:pos x="f5859" y="f6385"/>
                </a:cxn>
                <a:cxn ang="f4299">
                  <a:pos x="f5860" y="f6385"/>
                </a:cxn>
                <a:cxn ang="f4299">
                  <a:pos x="f5861" y="f6386"/>
                </a:cxn>
                <a:cxn ang="f4299">
                  <a:pos x="f5861" y="f6387"/>
                </a:cxn>
                <a:cxn ang="f4299">
                  <a:pos x="f5860" y="f6388"/>
                </a:cxn>
                <a:cxn ang="f4299">
                  <a:pos x="f5859" y="f6388"/>
                </a:cxn>
                <a:cxn ang="f4299">
                  <a:pos x="f5862" y="f6387"/>
                </a:cxn>
                <a:cxn ang="f4299">
                  <a:pos x="f5862" y="f6386"/>
                </a:cxn>
                <a:cxn ang="f4299">
                  <a:pos x="f5863" y="f6385"/>
                </a:cxn>
                <a:cxn ang="f4299">
                  <a:pos x="f5864" y="f6385"/>
                </a:cxn>
                <a:cxn ang="f4299">
                  <a:pos x="f5865" y="f6386"/>
                </a:cxn>
                <a:cxn ang="f4299">
                  <a:pos x="f5865" y="f6387"/>
                </a:cxn>
                <a:cxn ang="f4299">
                  <a:pos x="f5864" y="f6388"/>
                </a:cxn>
                <a:cxn ang="f4299">
                  <a:pos x="f5863" y="f6388"/>
                </a:cxn>
                <a:cxn ang="f4299">
                  <a:pos x="f5866" y="f6387"/>
                </a:cxn>
                <a:cxn ang="f4299">
                  <a:pos x="f5866" y="f6386"/>
                </a:cxn>
                <a:cxn ang="f4299">
                  <a:pos x="f5867" y="f6385"/>
                </a:cxn>
                <a:cxn ang="f4299">
                  <a:pos x="f5868" y="f6385"/>
                </a:cxn>
                <a:cxn ang="f4299">
                  <a:pos x="f5869" y="f6386"/>
                </a:cxn>
                <a:cxn ang="f4299">
                  <a:pos x="f5869" y="f6387"/>
                </a:cxn>
                <a:cxn ang="f4299">
                  <a:pos x="f5868" y="f6388"/>
                </a:cxn>
                <a:cxn ang="f4299">
                  <a:pos x="f5867" y="f6388"/>
                </a:cxn>
                <a:cxn ang="f4299">
                  <a:pos x="f5870" y="f6387"/>
                </a:cxn>
                <a:cxn ang="f4299">
                  <a:pos x="f5870" y="f6386"/>
                </a:cxn>
                <a:cxn ang="f4299">
                  <a:pos x="f5871" y="f6385"/>
                </a:cxn>
                <a:cxn ang="f4299">
                  <a:pos x="f5872" y="f6385"/>
                </a:cxn>
                <a:cxn ang="f4299">
                  <a:pos x="f5873" y="f6386"/>
                </a:cxn>
                <a:cxn ang="f4299">
                  <a:pos x="f5873" y="f6387"/>
                </a:cxn>
                <a:cxn ang="f4299">
                  <a:pos x="f5872" y="f6388"/>
                </a:cxn>
                <a:cxn ang="f4299">
                  <a:pos x="f5871" y="f6388"/>
                </a:cxn>
                <a:cxn ang="f4299">
                  <a:pos x="f5874" y="f6387"/>
                </a:cxn>
                <a:cxn ang="f4299">
                  <a:pos x="f5874" y="f6386"/>
                </a:cxn>
                <a:cxn ang="f4299">
                  <a:pos x="f5875" y="f6385"/>
                </a:cxn>
                <a:cxn ang="f4299">
                  <a:pos x="f5876" y="f6385"/>
                </a:cxn>
                <a:cxn ang="f4299">
                  <a:pos x="f5877" y="f6386"/>
                </a:cxn>
                <a:cxn ang="f4299">
                  <a:pos x="f5877" y="f6387"/>
                </a:cxn>
                <a:cxn ang="f4299">
                  <a:pos x="f5876" y="f6388"/>
                </a:cxn>
                <a:cxn ang="f4299">
                  <a:pos x="f5875" y="f6388"/>
                </a:cxn>
                <a:cxn ang="f4299">
                  <a:pos x="f5878" y="f6387"/>
                </a:cxn>
                <a:cxn ang="f4299">
                  <a:pos x="f5878" y="f6386"/>
                </a:cxn>
                <a:cxn ang="f4299">
                  <a:pos x="f5879" y="f6385"/>
                </a:cxn>
                <a:cxn ang="f4299">
                  <a:pos x="f5880" y="f6385"/>
                </a:cxn>
                <a:cxn ang="f4299">
                  <a:pos x="f5881" y="f6386"/>
                </a:cxn>
                <a:cxn ang="f4299">
                  <a:pos x="f5881" y="f6387"/>
                </a:cxn>
                <a:cxn ang="f4299">
                  <a:pos x="f5880" y="f6388"/>
                </a:cxn>
                <a:cxn ang="f4299">
                  <a:pos x="f5879" y="f6388"/>
                </a:cxn>
                <a:cxn ang="f4299">
                  <a:pos x="f5882" y="f6387"/>
                </a:cxn>
                <a:cxn ang="f4299">
                  <a:pos x="f5882" y="f6386"/>
                </a:cxn>
                <a:cxn ang="f4299">
                  <a:pos x="f5883" y="f6385"/>
                </a:cxn>
                <a:cxn ang="f4299">
                  <a:pos x="f5884" y="f6385"/>
                </a:cxn>
                <a:cxn ang="f4299">
                  <a:pos x="f5885" y="f6386"/>
                </a:cxn>
                <a:cxn ang="f4299">
                  <a:pos x="f5885" y="f6387"/>
                </a:cxn>
                <a:cxn ang="f4299">
                  <a:pos x="f5884" y="f6388"/>
                </a:cxn>
                <a:cxn ang="f4299">
                  <a:pos x="f5883" y="f6388"/>
                </a:cxn>
                <a:cxn ang="f4299">
                  <a:pos x="f5886" y="f6387"/>
                </a:cxn>
                <a:cxn ang="f4299">
                  <a:pos x="f5886" y="f6386"/>
                </a:cxn>
                <a:cxn ang="f4299">
                  <a:pos x="f5887" y="f6385"/>
                </a:cxn>
                <a:cxn ang="f4299">
                  <a:pos x="f5888" y="f6385"/>
                </a:cxn>
                <a:cxn ang="f4299">
                  <a:pos x="f5889" y="f6386"/>
                </a:cxn>
                <a:cxn ang="f4299">
                  <a:pos x="f5889" y="f6387"/>
                </a:cxn>
                <a:cxn ang="f4299">
                  <a:pos x="f5888" y="f6388"/>
                </a:cxn>
                <a:cxn ang="f4299">
                  <a:pos x="f5887" y="f6388"/>
                </a:cxn>
                <a:cxn ang="f4299">
                  <a:pos x="f5890" y="f6387"/>
                </a:cxn>
                <a:cxn ang="f4299">
                  <a:pos x="f5890" y="f6386"/>
                </a:cxn>
                <a:cxn ang="f4299">
                  <a:pos x="f5891" y="f6385"/>
                </a:cxn>
                <a:cxn ang="f4299">
                  <a:pos x="f5892" y="f6385"/>
                </a:cxn>
                <a:cxn ang="f4299">
                  <a:pos x="f5893" y="f6386"/>
                </a:cxn>
                <a:cxn ang="f4299">
                  <a:pos x="f5893" y="f6387"/>
                </a:cxn>
                <a:cxn ang="f4299">
                  <a:pos x="f5892" y="f6388"/>
                </a:cxn>
                <a:cxn ang="f4299">
                  <a:pos x="f5891" y="f6388"/>
                </a:cxn>
                <a:cxn ang="f4299">
                  <a:pos x="f5894" y="f6387"/>
                </a:cxn>
                <a:cxn ang="f4299">
                  <a:pos x="f5894" y="f6386"/>
                </a:cxn>
                <a:cxn ang="f4299">
                  <a:pos x="f6361" y="f6385"/>
                </a:cxn>
                <a:cxn ang="f4299">
                  <a:pos x="f6389" y="f6385"/>
                </a:cxn>
                <a:cxn ang="f4299">
                  <a:pos x="f6390" y="f6386"/>
                </a:cxn>
                <a:cxn ang="f4299">
                  <a:pos x="f6390" y="f6387"/>
                </a:cxn>
                <a:cxn ang="f4299">
                  <a:pos x="f6389" y="f6388"/>
                </a:cxn>
                <a:cxn ang="f4299">
                  <a:pos x="f6361" y="f6388"/>
                </a:cxn>
                <a:cxn ang="f4299">
                  <a:pos x="f6362" y="f6387"/>
                </a:cxn>
                <a:cxn ang="f4299">
                  <a:pos x="f6362" y="f6386"/>
                </a:cxn>
                <a:cxn ang="f4299">
                  <a:pos x="f6391" y="f6385"/>
                </a:cxn>
                <a:cxn ang="f4299">
                  <a:pos x="f6392" y="f6385"/>
                </a:cxn>
                <a:cxn ang="f4299">
                  <a:pos x="f6393" y="f6386"/>
                </a:cxn>
                <a:cxn ang="f4299">
                  <a:pos x="f6393" y="f6387"/>
                </a:cxn>
                <a:cxn ang="f4299">
                  <a:pos x="f6392" y="f6388"/>
                </a:cxn>
                <a:cxn ang="f4299">
                  <a:pos x="f6391" y="f6388"/>
                </a:cxn>
                <a:cxn ang="f4299">
                  <a:pos x="f6394" y="f6387"/>
                </a:cxn>
                <a:cxn ang="f4299">
                  <a:pos x="f6394" y="f6386"/>
                </a:cxn>
                <a:cxn ang="f4299">
                  <a:pos x="f6365" y="f6385"/>
                </a:cxn>
                <a:cxn ang="f4299">
                  <a:pos x="f6395" y="f6385"/>
                </a:cxn>
                <a:cxn ang="f4299">
                  <a:pos x="f6396" y="f6386"/>
                </a:cxn>
                <a:cxn ang="f4299">
                  <a:pos x="f6396" y="f6387"/>
                </a:cxn>
                <a:cxn ang="f4299">
                  <a:pos x="f6395" y="f6388"/>
                </a:cxn>
                <a:cxn ang="f4299">
                  <a:pos x="f6365" y="f6388"/>
                </a:cxn>
                <a:cxn ang="f4299">
                  <a:pos x="f6368" y="f6387"/>
                </a:cxn>
                <a:cxn ang="f4299">
                  <a:pos x="f6368" y="f6386"/>
                </a:cxn>
                <a:cxn ang="f4299">
                  <a:pos x="f6397" y="f6385"/>
                </a:cxn>
                <a:cxn ang="f4299">
                  <a:pos x="f6369" y="f6385"/>
                </a:cxn>
                <a:cxn ang="f4299">
                  <a:pos x="f6398" y="f6386"/>
                </a:cxn>
                <a:cxn ang="f4299">
                  <a:pos x="f6398" y="f6387"/>
                </a:cxn>
                <a:cxn ang="f4299">
                  <a:pos x="f6369" y="f6388"/>
                </a:cxn>
                <a:cxn ang="f4299">
                  <a:pos x="f6397" y="f6388"/>
                </a:cxn>
                <a:cxn ang="f4299">
                  <a:pos x="f6399" y="f6387"/>
                </a:cxn>
                <a:cxn ang="f4299">
                  <a:pos x="f6399" y="f6386"/>
                </a:cxn>
                <a:cxn ang="f4299">
                  <a:pos x="f5879" y="f6400"/>
                </a:cxn>
                <a:cxn ang="f4299">
                  <a:pos x="f5880" y="f6400"/>
                </a:cxn>
                <a:cxn ang="f4299">
                  <a:pos x="f5881" y="f6401"/>
                </a:cxn>
                <a:cxn ang="f4299">
                  <a:pos x="f5881" y="f6402"/>
                </a:cxn>
                <a:cxn ang="f4299">
                  <a:pos x="f5880" y="f6403"/>
                </a:cxn>
                <a:cxn ang="f4299">
                  <a:pos x="f5879" y="f6403"/>
                </a:cxn>
                <a:cxn ang="f4299">
                  <a:pos x="f5882" y="f6402"/>
                </a:cxn>
                <a:cxn ang="f4299">
                  <a:pos x="f5882" y="f6401"/>
                </a:cxn>
                <a:cxn ang="f4299">
                  <a:pos x="f5883" y="f6400"/>
                </a:cxn>
                <a:cxn ang="f4299">
                  <a:pos x="f5884" y="f6400"/>
                </a:cxn>
                <a:cxn ang="f4299">
                  <a:pos x="f5885" y="f6401"/>
                </a:cxn>
                <a:cxn ang="f4299">
                  <a:pos x="f5885" y="f6402"/>
                </a:cxn>
                <a:cxn ang="f4299">
                  <a:pos x="f5884" y="f6403"/>
                </a:cxn>
                <a:cxn ang="f4299">
                  <a:pos x="f5883" y="f6403"/>
                </a:cxn>
                <a:cxn ang="f4299">
                  <a:pos x="f5886" y="f6402"/>
                </a:cxn>
                <a:cxn ang="f4299">
                  <a:pos x="f5886" y="f6401"/>
                </a:cxn>
                <a:cxn ang="f4299">
                  <a:pos x="f5887" y="f6400"/>
                </a:cxn>
                <a:cxn ang="f4299">
                  <a:pos x="f5888" y="f6400"/>
                </a:cxn>
                <a:cxn ang="f4299">
                  <a:pos x="f5889" y="f6401"/>
                </a:cxn>
                <a:cxn ang="f4299">
                  <a:pos x="f5889" y="f6402"/>
                </a:cxn>
                <a:cxn ang="f4299">
                  <a:pos x="f5888" y="f6404"/>
                </a:cxn>
                <a:cxn ang="f4299">
                  <a:pos x="f5887" y="f6404"/>
                </a:cxn>
                <a:cxn ang="f4299">
                  <a:pos x="f5890" y="f6402"/>
                </a:cxn>
                <a:cxn ang="f4299">
                  <a:pos x="f5890" y="f6401"/>
                </a:cxn>
                <a:cxn ang="f4299">
                  <a:pos x="f5891" y="f6400"/>
                </a:cxn>
                <a:cxn ang="f4299">
                  <a:pos x="f5892" y="f6400"/>
                </a:cxn>
                <a:cxn ang="f4299">
                  <a:pos x="f5893" y="f6401"/>
                </a:cxn>
                <a:cxn ang="f4299">
                  <a:pos x="f5893" y="f6402"/>
                </a:cxn>
                <a:cxn ang="f4299">
                  <a:pos x="f5892" y="f6404"/>
                </a:cxn>
                <a:cxn ang="f4299">
                  <a:pos x="f5891" y="f6404"/>
                </a:cxn>
                <a:cxn ang="f4299">
                  <a:pos x="f5894" y="f6402"/>
                </a:cxn>
                <a:cxn ang="f4299">
                  <a:pos x="f5894" y="f6401"/>
                </a:cxn>
                <a:cxn ang="f4299">
                  <a:pos x="f5875" y="f6405"/>
                </a:cxn>
                <a:cxn ang="f4299">
                  <a:pos x="f5876" y="f6405"/>
                </a:cxn>
                <a:cxn ang="f4299">
                  <a:pos x="f5877" y="f6401"/>
                </a:cxn>
                <a:cxn ang="f4299">
                  <a:pos x="f5877" y="f6402"/>
                </a:cxn>
                <a:cxn ang="f4299">
                  <a:pos x="f5876" y="f6403"/>
                </a:cxn>
                <a:cxn ang="f4299">
                  <a:pos x="f5875" y="f6403"/>
                </a:cxn>
                <a:cxn ang="f4299">
                  <a:pos x="f5878" y="f6402"/>
                </a:cxn>
                <a:cxn ang="f4299">
                  <a:pos x="f5878" y="f6401"/>
                </a:cxn>
                <a:cxn ang="f4299">
                  <a:pos x="f5855" y="f6406"/>
                </a:cxn>
                <a:cxn ang="f4299">
                  <a:pos x="f5856" y="f6406"/>
                </a:cxn>
                <a:cxn ang="f4299">
                  <a:pos x="f5857" y="f6407"/>
                </a:cxn>
                <a:cxn ang="f4299">
                  <a:pos x="f5857" y="f6408"/>
                </a:cxn>
                <a:cxn ang="f4299">
                  <a:pos x="f5856" y="f6409"/>
                </a:cxn>
                <a:cxn ang="f4299">
                  <a:pos x="f5855" y="f6409"/>
                </a:cxn>
                <a:cxn ang="f4299">
                  <a:pos x="f5858" y="f6408"/>
                </a:cxn>
                <a:cxn ang="f4299">
                  <a:pos x="f5858" y="f6407"/>
                </a:cxn>
                <a:cxn ang="f4299">
                  <a:pos x="f5859" y="f6406"/>
                </a:cxn>
                <a:cxn ang="f4299">
                  <a:pos x="f5860" y="f6406"/>
                </a:cxn>
                <a:cxn ang="f4299">
                  <a:pos x="f5861" y="f6407"/>
                </a:cxn>
                <a:cxn ang="f4299">
                  <a:pos x="f5861" y="f6410"/>
                </a:cxn>
                <a:cxn ang="f4299">
                  <a:pos x="f5860" y="f6409"/>
                </a:cxn>
                <a:cxn ang="f4299">
                  <a:pos x="f5859" y="f6409"/>
                </a:cxn>
                <a:cxn ang="f4299">
                  <a:pos x="f5862" y="f6410"/>
                </a:cxn>
                <a:cxn ang="f4299">
                  <a:pos x="f5862" y="f6407"/>
                </a:cxn>
                <a:cxn ang="f4299">
                  <a:pos x="f5863" y="f6406"/>
                </a:cxn>
                <a:cxn ang="f4299">
                  <a:pos x="f5864" y="f6406"/>
                </a:cxn>
                <a:cxn ang="f4299">
                  <a:pos x="f5865" y="f6407"/>
                </a:cxn>
                <a:cxn ang="f4299">
                  <a:pos x="f5865" y="f6410"/>
                </a:cxn>
                <a:cxn ang="f4299">
                  <a:pos x="f5864" y="f6409"/>
                </a:cxn>
                <a:cxn ang="f4299">
                  <a:pos x="f5863" y="f6409"/>
                </a:cxn>
                <a:cxn ang="f4299">
                  <a:pos x="f5866" y="f6410"/>
                </a:cxn>
                <a:cxn ang="f4299">
                  <a:pos x="f5866" y="f6407"/>
                </a:cxn>
                <a:cxn ang="f4299">
                  <a:pos x="f5867" y="f6406"/>
                </a:cxn>
                <a:cxn ang="f4299">
                  <a:pos x="f5868" y="f6406"/>
                </a:cxn>
                <a:cxn ang="f4299">
                  <a:pos x="f5869" y="f6407"/>
                </a:cxn>
                <a:cxn ang="f4299">
                  <a:pos x="f5869" y="f6410"/>
                </a:cxn>
                <a:cxn ang="f4299">
                  <a:pos x="f5868" y="f6409"/>
                </a:cxn>
                <a:cxn ang="f4299">
                  <a:pos x="f5867" y="f6409"/>
                </a:cxn>
                <a:cxn ang="f4299">
                  <a:pos x="f5870" y="f6410"/>
                </a:cxn>
                <a:cxn ang="f4299">
                  <a:pos x="f5870" y="f6407"/>
                </a:cxn>
                <a:cxn ang="f4299">
                  <a:pos x="f5871" y="f6406"/>
                </a:cxn>
                <a:cxn ang="f4299">
                  <a:pos x="f5872" y="f6406"/>
                </a:cxn>
                <a:cxn ang="f4299">
                  <a:pos x="f5873" y="f6407"/>
                </a:cxn>
                <a:cxn ang="f4299">
                  <a:pos x="f5873" y="f6410"/>
                </a:cxn>
                <a:cxn ang="f4299">
                  <a:pos x="f5872" y="f6409"/>
                </a:cxn>
                <a:cxn ang="f4299">
                  <a:pos x="f5871" y="f6409"/>
                </a:cxn>
                <a:cxn ang="f4299">
                  <a:pos x="f5874" y="f6410"/>
                </a:cxn>
                <a:cxn ang="f4299">
                  <a:pos x="f5874" y="f6407"/>
                </a:cxn>
                <a:cxn ang="f4299">
                  <a:pos x="f5839" y="f6411"/>
                </a:cxn>
                <a:cxn ang="f4299">
                  <a:pos x="f5840" y="f6411"/>
                </a:cxn>
                <a:cxn ang="f4299">
                  <a:pos x="f5841" y="f6412"/>
                </a:cxn>
                <a:cxn ang="f4299">
                  <a:pos x="f5841" y="f6413"/>
                </a:cxn>
                <a:cxn ang="f4299">
                  <a:pos x="f5840" y="f6414"/>
                </a:cxn>
                <a:cxn ang="f4299">
                  <a:pos x="f5839" y="f6414"/>
                </a:cxn>
                <a:cxn ang="f4299">
                  <a:pos x="f5842" y="f6413"/>
                </a:cxn>
                <a:cxn ang="f4299">
                  <a:pos x="f5842" y="f6412"/>
                </a:cxn>
                <a:cxn ang="f4299">
                  <a:pos x="f5843" y="f6411"/>
                </a:cxn>
                <a:cxn ang="f4299">
                  <a:pos x="f5844" y="f6411"/>
                </a:cxn>
                <a:cxn ang="f4299">
                  <a:pos x="f5845" y="f6412"/>
                </a:cxn>
                <a:cxn ang="f4299">
                  <a:pos x="f5845" y="f6413"/>
                </a:cxn>
                <a:cxn ang="f4299">
                  <a:pos x="f5844" y="f6414"/>
                </a:cxn>
                <a:cxn ang="f4299">
                  <a:pos x="f5843" y="f6414"/>
                </a:cxn>
                <a:cxn ang="f4299">
                  <a:pos x="f5846" y="f6413"/>
                </a:cxn>
                <a:cxn ang="f4299">
                  <a:pos x="f5846" y="f6412"/>
                </a:cxn>
                <a:cxn ang="f4299">
                  <a:pos x="f5847" y="f6411"/>
                </a:cxn>
                <a:cxn ang="f4299">
                  <a:pos x="f5848" y="f6411"/>
                </a:cxn>
                <a:cxn ang="f4299">
                  <a:pos x="f5849" y="f6412"/>
                </a:cxn>
                <a:cxn ang="f4299">
                  <a:pos x="f5849" y="f6413"/>
                </a:cxn>
                <a:cxn ang="f4299">
                  <a:pos x="f5848" y="f6415"/>
                </a:cxn>
                <a:cxn ang="f4299">
                  <a:pos x="f5847" y="f6415"/>
                </a:cxn>
                <a:cxn ang="f4299">
                  <a:pos x="f5850" y="f6413"/>
                </a:cxn>
                <a:cxn ang="f4299">
                  <a:pos x="f5850" y="f6412"/>
                </a:cxn>
                <a:cxn ang="f4299">
                  <a:pos x="f5851" y="f6411"/>
                </a:cxn>
                <a:cxn ang="f4299">
                  <a:pos x="f5852" y="f6411"/>
                </a:cxn>
                <a:cxn ang="f4299">
                  <a:pos x="f5853" y="f6412"/>
                </a:cxn>
                <a:cxn ang="f4299">
                  <a:pos x="f5853" y="f6413"/>
                </a:cxn>
                <a:cxn ang="f4299">
                  <a:pos x="f5852" y="f6415"/>
                </a:cxn>
                <a:cxn ang="f4299">
                  <a:pos x="f5851" y="f6415"/>
                </a:cxn>
                <a:cxn ang="f4299">
                  <a:pos x="f5854" y="f6413"/>
                </a:cxn>
                <a:cxn ang="f4299">
                  <a:pos x="f5854" y="f6412"/>
                </a:cxn>
                <a:cxn ang="f4299">
                  <a:pos x="f5835" y="f6416"/>
                </a:cxn>
                <a:cxn ang="f4299">
                  <a:pos x="f5836" y="f6416"/>
                </a:cxn>
                <a:cxn ang="f4299">
                  <a:pos x="f5837" y="f6412"/>
                </a:cxn>
                <a:cxn ang="f4299">
                  <a:pos x="f5837" y="f6417"/>
                </a:cxn>
                <a:cxn ang="f4299">
                  <a:pos x="f5836" y="f6414"/>
                </a:cxn>
                <a:cxn ang="f4299">
                  <a:pos x="f5835" y="f6414"/>
                </a:cxn>
                <a:cxn ang="f4299">
                  <a:pos x="f5838" y="f6417"/>
                </a:cxn>
                <a:cxn ang="f4299">
                  <a:pos x="f5838" y="f6412"/>
                </a:cxn>
                <a:cxn ang="f4299">
                  <a:pos x="f5827" y="f6418"/>
                </a:cxn>
                <a:cxn ang="f4299">
                  <a:pos x="f5828" y="f6418"/>
                </a:cxn>
                <a:cxn ang="f4299">
                  <a:pos x="f5829" y="f6419"/>
                </a:cxn>
                <a:cxn ang="f4299">
                  <a:pos x="f5829" y="f6420"/>
                </a:cxn>
                <a:cxn ang="f4299">
                  <a:pos x="f5828" y="f6421"/>
                </a:cxn>
                <a:cxn ang="f4299">
                  <a:pos x="f5827" y="f6421"/>
                </a:cxn>
                <a:cxn ang="f4299">
                  <a:pos x="f5830" y="f6420"/>
                </a:cxn>
                <a:cxn ang="f4299">
                  <a:pos x="f5830" y="f6419"/>
                </a:cxn>
                <a:cxn ang="f4299">
                  <a:pos x="f5831" y="f6418"/>
                </a:cxn>
                <a:cxn ang="f4299">
                  <a:pos x="f5832" y="f6418"/>
                </a:cxn>
                <a:cxn ang="f4299">
                  <a:pos x="f5833" y="f6419"/>
                </a:cxn>
                <a:cxn ang="f4299">
                  <a:pos x="f5833" y="f6420"/>
                </a:cxn>
                <a:cxn ang="f4299">
                  <a:pos x="f5832" y="f6421"/>
                </a:cxn>
                <a:cxn ang="f4299">
                  <a:pos x="f5831" y="f6421"/>
                </a:cxn>
                <a:cxn ang="f4299">
                  <a:pos x="f5834" y="f6420"/>
                </a:cxn>
                <a:cxn ang="f4299">
                  <a:pos x="f5834" y="f6419"/>
                </a:cxn>
                <a:cxn ang="f4299">
                  <a:pos x="f5815" y="f6422"/>
                </a:cxn>
                <a:cxn ang="f4299">
                  <a:pos x="f5816" y="f6422"/>
                </a:cxn>
                <a:cxn ang="f4299">
                  <a:pos x="f5817" y="f6419"/>
                </a:cxn>
                <a:cxn ang="f4299">
                  <a:pos x="f5817" y="f6423"/>
                </a:cxn>
                <a:cxn ang="f4299">
                  <a:pos x="f5816" y="f6421"/>
                </a:cxn>
                <a:cxn ang="f4299">
                  <a:pos x="f5815" y="f6421"/>
                </a:cxn>
                <a:cxn ang="f4299">
                  <a:pos x="f5818" y="f6423"/>
                </a:cxn>
                <a:cxn ang="f4299">
                  <a:pos x="f5818" y="f6419"/>
                </a:cxn>
                <a:cxn ang="f4299">
                  <a:pos x="f5819" y="f6422"/>
                </a:cxn>
                <a:cxn ang="f4299">
                  <a:pos x="f5820" y="f6422"/>
                </a:cxn>
                <a:cxn ang="f4299">
                  <a:pos x="f5821" y="f6419"/>
                </a:cxn>
                <a:cxn ang="f4299">
                  <a:pos x="f5821" y="f6420"/>
                </a:cxn>
                <a:cxn ang="f4299">
                  <a:pos x="f5820" y="f6421"/>
                </a:cxn>
                <a:cxn ang="f4299">
                  <a:pos x="f5819" y="f6421"/>
                </a:cxn>
                <a:cxn ang="f4299">
                  <a:pos x="f5822" y="f6420"/>
                </a:cxn>
                <a:cxn ang="f4299">
                  <a:pos x="f5822" y="f6419"/>
                </a:cxn>
                <a:cxn ang="f4299">
                  <a:pos x="f5823" y="f6422"/>
                </a:cxn>
                <a:cxn ang="f4299">
                  <a:pos x="f5824" y="f6422"/>
                </a:cxn>
                <a:cxn ang="f4299">
                  <a:pos x="f5825" y="f6419"/>
                </a:cxn>
                <a:cxn ang="f4299">
                  <a:pos x="f5825" y="f6420"/>
                </a:cxn>
                <a:cxn ang="f4299">
                  <a:pos x="f5824" y="f6421"/>
                </a:cxn>
                <a:cxn ang="f4299">
                  <a:pos x="f5823" y="f6421"/>
                </a:cxn>
                <a:cxn ang="f4299">
                  <a:pos x="f5826" y="f6420"/>
                </a:cxn>
                <a:cxn ang="f4299">
                  <a:pos x="f5826" y="f6419"/>
                </a:cxn>
                <a:cxn ang="f4299">
                  <a:pos x="f5807" y="f6424"/>
                </a:cxn>
                <a:cxn ang="f4299">
                  <a:pos x="f5808" y="f6424"/>
                </a:cxn>
                <a:cxn ang="f4299">
                  <a:pos x="f5809" y="f6425"/>
                </a:cxn>
                <a:cxn ang="f4299">
                  <a:pos x="f5809" y="f6426"/>
                </a:cxn>
                <a:cxn ang="f4299">
                  <a:pos x="f5808" y="f6427"/>
                </a:cxn>
                <a:cxn ang="f4299">
                  <a:pos x="f5807" y="f6427"/>
                </a:cxn>
                <a:cxn ang="f4299">
                  <a:pos x="f5810" y="f6426"/>
                </a:cxn>
                <a:cxn ang="f4299">
                  <a:pos x="f5810" y="f6425"/>
                </a:cxn>
                <a:cxn ang="f4299">
                  <a:pos x="f5811" y="f6424"/>
                </a:cxn>
                <a:cxn ang="f4299">
                  <a:pos x="f5812" y="f6424"/>
                </a:cxn>
                <a:cxn ang="f4299">
                  <a:pos x="f5813" y="f6425"/>
                </a:cxn>
                <a:cxn ang="f4299">
                  <a:pos x="f5813" y="f6426"/>
                </a:cxn>
                <a:cxn ang="f4299">
                  <a:pos x="f5812" y="f6427"/>
                </a:cxn>
                <a:cxn ang="f4299">
                  <a:pos x="f5811" y="f6427"/>
                </a:cxn>
                <a:cxn ang="f4299">
                  <a:pos x="f5814" y="f6426"/>
                </a:cxn>
                <a:cxn ang="f4299">
                  <a:pos x="f5814" y="f6425"/>
                </a:cxn>
                <a:cxn ang="f4299">
                  <a:pos x="f5795" y="f6428"/>
                </a:cxn>
                <a:cxn ang="f4299">
                  <a:pos x="f5796" y="f6428"/>
                </a:cxn>
                <a:cxn ang="f4299">
                  <a:pos x="f5797" y="f6425"/>
                </a:cxn>
                <a:cxn ang="f4299">
                  <a:pos x="f5797" y="f6429"/>
                </a:cxn>
                <a:cxn ang="f4299">
                  <a:pos x="f5796" y="f6430"/>
                </a:cxn>
                <a:cxn ang="f4299">
                  <a:pos x="f5795" y="f6430"/>
                </a:cxn>
                <a:cxn ang="f4299">
                  <a:pos x="f5798" y="f6429"/>
                </a:cxn>
                <a:cxn ang="f4299">
                  <a:pos x="f5798" y="f6425"/>
                </a:cxn>
                <a:cxn ang="f4299">
                  <a:pos x="f5799" y="f6428"/>
                </a:cxn>
                <a:cxn ang="f4299">
                  <a:pos x="f5800" y="f6428"/>
                </a:cxn>
                <a:cxn ang="f4299">
                  <a:pos x="f5801" y="f6425"/>
                </a:cxn>
                <a:cxn ang="f4299">
                  <a:pos x="f5801" y="f6426"/>
                </a:cxn>
                <a:cxn ang="f4299">
                  <a:pos x="f5800" y="f6430"/>
                </a:cxn>
                <a:cxn ang="f4299">
                  <a:pos x="f5799" y="f6430"/>
                </a:cxn>
                <a:cxn ang="f4299">
                  <a:pos x="f5802" y="f6426"/>
                </a:cxn>
                <a:cxn ang="f4299">
                  <a:pos x="f5802" y="f6425"/>
                </a:cxn>
                <a:cxn ang="f4299">
                  <a:pos x="f5803" y="f6428"/>
                </a:cxn>
                <a:cxn ang="f4299">
                  <a:pos x="f5804" y="f6428"/>
                </a:cxn>
                <a:cxn ang="f4299">
                  <a:pos x="f5805" y="f6425"/>
                </a:cxn>
                <a:cxn ang="f4299">
                  <a:pos x="f5805" y="f6426"/>
                </a:cxn>
                <a:cxn ang="f4299">
                  <a:pos x="f5804" y="f6430"/>
                </a:cxn>
                <a:cxn ang="f4299">
                  <a:pos x="f5803" y="f6430"/>
                </a:cxn>
                <a:cxn ang="f4299">
                  <a:pos x="f5806" y="f6426"/>
                </a:cxn>
                <a:cxn ang="f4299">
                  <a:pos x="f5806" y="f6425"/>
                </a:cxn>
                <a:cxn ang="f4299">
                  <a:pos x="f5787" y="f6431"/>
                </a:cxn>
                <a:cxn ang="f4299">
                  <a:pos x="f5788" y="f6431"/>
                </a:cxn>
                <a:cxn ang="f4299">
                  <a:pos x="f5789" y="f6432"/>
                </a:cxn>
                <a:cxn ang="f4299">
                  <a:pos x="f5789" y="f6433"/>
                </a:cxn>
                <a:cxn ang="f4299">
                  <a:pos x="f5788" y="f6434"/>
                </a:cxn>
                <a:cxn ang="f4299">
                  <a:pos x="f5787" y="f6434"/>
                </a:cxn>
                <a:cxn ang="f4299">
                  <a:pos x="f5790" y="f6433"/>
                </a:cxn>
                <a:cxn ang="f4299">
                  <a:pos x="f5790" y="f6432"/>
                </a:cxn>
                <a:cxn ang="f4299">
                  <a:pos x="f5791" y="f6431"/>
                </a:cxn>
                <a:cxn ang="f4299">
                  <a:pos x="f5792" y="f6431"/>
                </a:cxn>
                <a:cxn ang="f4299">
                  <a:pos x="f5793" y="f6432"/>
                </a:cxn>
                <a:cxn ang="f4299">
                  <a:pos x="f5793" y="f6433"/>
                </a:cxn>
                <a:cxn ang="f4299">
                  <a:pos x="f5792" y="f6434"/>
                </a:cxn>
                <a:cxn ang="f4299">
                  <a:pos x="f5791" y="f6434"/>
                </a:cxn>
                <a:cxn ang="f4299">
                  <a:pos x="f5794" y="f6433"/>
                </a:cxn>
                <a:cxn ang="f4299">
                  <a:pos x="f5794" y="f6432"/>
                </a:cxn>
                <a:cxn ang="f4299">
                  <a:pos x="f5775" y="f6435"/>
                </a:cxn>
                <a:cxn ang="f4299">
                  <a:pos x="f5776" y="f6435"/>
                </a:cxn>
                <a:cxn ang="f4299">
                  <a:pos x="f5777" y="f6436"/>
                </a:cxn>
                <a:cxn ang="f4299">
                  <a:pos x="f5777" y="f6433"/>
                </a:cxn>
                <a:cxn ang="f4299">
                  <a:pos x="f5776" y="f6434"/>
                </a:cxn>
                <a:cxn ang="f4299">
                  <a:pos x="f5775" y="f6434"/>
                </a:cxn>
                <a:cxn ang="f4299">
                  <a:pos x="f5778" y="f6433"/>
                </a:cxn>
                <a:cxn ang="f4299">
                  <a:pos x="f5778" y="f6436"/>
                </a:cxn>
                <a:cxn ang="f4299">
                  <a:pos x="f5779" y="f6435"/>
                </a:cxn>
                <a:cxn ang="f4299">
                  <a:pos x="f5780" y="f6435"/>
                </a:cxn>
                <a:cxn ang="f4299">
                  <a:pos x="f5781" y="f6432"/>
                </a:cxn>
                <a:cxn ang="f4299">
                  <a:pos x="f5781" y="f6433"/>
                </a:cxn>
                <a:cxn ang="f4299">
                  <a:pos x="f5780" y="f6434"/>
                </a:cxn>
                <a:cxn ang="f4299">
                  <a:pos x="f5779" y="f6434"/>
                </a:cxn>
                <a:cxn ang="f4299">
                  <a:pos x="f5782" y="f6433"/>
                </a:cxn>
                <a:cxn ang="f4299">
                  <a:pos x="f5782" y="f6432"/>
                </a:cxn>
                <a:cxn ang="f4299">
                  <a:pos x="f5783" y="f6435"/>
                </a:cxn>
                <a:cxn ang="f4299">
                  <a:pos x="f5784" y="f6435"/>
                </a:cxn>
                <a:cxn ang="f4299">
                  <a:pos x="f5785" y="f6432"/>
                </a:cxn>
                <a:cxn ang="f4299">
                  <a:pos x="f5785" y="f6433"/>
                </a:cxn>
                <a:cxn ang="f4299">
                  <a:pos x="f5784" y="f6434"/>
                </a:cxn>
                <a:cxn ang="f4299">
                  <a:pos x="f5783" y="f6434"/>
                </a:cxn>
                <a:cxn ang="f4299">
                  <a:pos x="f5786" y="f6433"/>
                </a:cxn>
                <a:cxn ang="f4299">
                  <a:pos x="f5786" y="f6432"/>
                </a:cxn>
                <a:cxn ang="f4299">
                  <a:pos x="f5767" y="f6437"/>
                </a:cxn>
                <a:cxn ang="f4299">
                  <a:pos x="f5769" y="f6437"/>
                </a:cxn>
                <a:cxn ang="f4299">
                  <a:pos x="f5770" y="f6438"/>
                </a:cxn>
                <a:cxn ang="f4299">
                  <a:pos x="f5770" y="f6439"/>
                </a:cxn>
                <a:cxn ang="f4299">
                  <a:pos x="f5769" y="f6440"/>
                </a:cxn>
                <a:cxn ang="f4299">
                  <a:pos x="f5767" y="f6440"/>
                </a:cxn>
                <a:cxn ang="f4299">
                  <a:pos x="f5774" y="f6439"/>
                </a:cxn>
                <a:cxn ang="f4299">
                  <a:pos x="f5774" y="f6438"/>
                </a:cxn>
                <a:cxn ang="f4299">
                  <a:pos x="f6441" y="f6442"/>
                </a:cxn>
                <a:cxn ang="f4299">
                  <a:pos x="f6381" y="f6442"/>
                </a:cxn>
                <a:cxn ang="f4299">
                  <a:pos x="f6382" y="f6443"/>
                </a:cxn>
                <a:cxn ang="f4299">
                  <a:pos x="f6382" y="f6444"/>
                </a:cxn>
                <a:cxn ang="f4299">
                  <a:pos x="f6381" y="f6445"/>
                </a:cxn>
                <a:cxn ang="f4299">
                  <a:pos x="f6441" y="f6445"/>
                </a:cxn>
                <a:cxn ang="f4299">
                  <a:pos x="f6383" y="f6444"/>
                </a:cxn>
                <a:cxn ang="f4299">
                  <a:pos x="f6383" y="f6443"/>
                </a:cxn>
                <a:cxn ang="f4299">
                  <a:pos x="f6384" y="f6442"/>
                </a:cxn>
                <a:cxn ang="f4299">
                  <a:pos x="f6446" y="f6442"/>
                </a:cxn>
                <a:cxn ang="f4299">
                  <a:pos x="f6447" y="f6443"/>
                </a:cxn>
                <a:cxn ang="f4299">
                  <a:pos x="f6447" y="f6444"/>
                </a:cxn>
                <a:cxn ang="f4299">
                  <a:pos x="f6446" y="f6445"/>
                </a:cxn>
                <a:cxn ang="f4299">
                  <a:pos x="f6384" y="f6445"/>
                </a:cxn>
                <a:cxn ang="f4299">
                  <a:pos x="f6448" y="f6444"/>
                </a:cxn>
                <a:cxn ang="f4299">
                  <a:pos x="f6448" y="f6443"/>
                </a:cxn>
                <a:cxn ang="f4299">
                  <a:pos x="f6449" y="f6442"/>
                </a:cxn>
                <a:cxn ang="f4299">
                  <a:pos x="f6376" y="f6442"/>
                </a:cxn>
                <a:cxn ang="f4299">
                  <a:pos x="f6450" y="f6451"/>
                </a:cxn>
                <a:cxn ang="f4299">
                  <a:pos x="f6450" y="f6452"/>
                </a:cxn>
                <a:cxn ang="f4299">
                  <a:pos x="f6376" y="f6453"/>
                </a:cxn>
                <a:cxn ang="f4299">
                  <a:pos x="f6449" y="f6453"/>
                </a:cxn>
                <a:cxn ang="f4299">
                  <a:pos x="f6454" y="f6452"/>
                </a:cxn>
                <a:cxn ang="f4299">
                  <a:pos x="f6454" y="f6451"/>
                </a:cxn>
                <a:cxn ang="f4299">
                  <a:pos x="f6455" y="f6442"/>
                </a:cxn>
                <a:cxn ang="f4299">
                  <a:pos x="f6456" y="f6442"/>
                </a:cxn>
                <a:cxn ang="f4299">
                  <a:pos x="f6379" y="f6451"/>
                </a:cxn>
                <a:cxn ang="f4299">
                  <a:pos x="f6379" y="f6444"/>
                </a:cxn>
                <a:cxn ang="f4299">
                  <a:pos x="f6456" y="f6453"/>
                </a:cxn>
                <a:cxn ang="f4299">
                  <a:pos x="f6455" y="f6453"/>
                </a:cxn>
                <a:cxn ang="f4299">
                  <a:pos x="f6380" y="f6444"/>
                </a:cxn>
                <a:cxn ang="f4299">
                  <a:pos x="f6380" y="f6451"/>
                </a:cxn>
                <a:cxn ang="f4299">
                  <a:pos x="f6288" y="f6457"/>
                </a:cxn>
                <a:cxn ang="f4299">
                  <a:pos x="f6263" y="f6457"/>
                </a:cxn>
                <a:cxn ang="f4299">
                  <a:pos x="f6375" y="f6458"/>
                </a:cxn>
                <a:cxn ang="f4299">
                  <a:pos x="f6375" y="f6459"/>
                </a:cxn>
                <a:cxn ang="f4299">
                  <a:pos x="f6263" y="f6460"/>
                </a:cxn>
                <a:cxn ang="f4299">
                  <a:pos x="f6288" y="f6460"/>
                </a:cxn>
                <a:cxn ang="f4299">
                  <a:pos x="f6350" y="f6459"/>
                </a:cxn>
                <a:cxn ang="f4299">
                  <a:pos x="f6350" y="f6458"/>
                </a:cxn>
                <a:cxn ang="f4299">
                  <a:pos x="f6349" y="f6461"/>
                </a:cxn>
                <a:cxn ang="f4299">
                  <a:pos x="f6316" y="f6461"/>
                </a:cxn>
                <a:cxn ang="f4299">
                  <a:pos x="f6284" y="f6462"/>
                </a:cxn>
                <a:cxn ang="f4299">
                  <a:pos x="f6284" y="f6463"/>
                </a:cxn>
                <a:cxn ang="f4299">
                  <a:pos x="f6316" y="f6464"/>
                </a:cxn>
                <a:cxn ang="f4299">
                  <a:pos x="f6349" y="f6464"/>
                </a:cxn>
                <a:cxn ang="f4299">
                  <a:pos x="f6465" y="f6463"/>
                </a:cxn>
                <a:cxn ang="f4299">
                  <a:pos x="f6465" y="f6462"/>
                </a:cxn>
                <a:cxn ang="f4299">
                  <a:pos x="f6466" y="f6467"/>
                </a:cxn>
                <a:cxn ang="f4299">
                  <a:pos x="f6468" y="f6467"/>
                </a:cxn>
                <a:cxn ang="f4299">
                  <a:pos x="f6398" y="f6469"/>
                </a:cxn>
                <a:cxn ang="f4299">
                  <a:pos x="f6398" y="f6470"/>
                </a:cxn>
                <a:cxn ang="f4299">
                  <a:pos x="f6468" y="f6471"/>
                </a:cxn>
                <a:cxn ang="f4299">
                  <a:pos x="f6466" y="f6471"/>
                </a:cxn>
                <a:cxn ang="f4299">
                  <a:pos x="f6472" y="f6470"/>
                </a:cxn>
                <a:cxn ang="f4299">
                  <a:pos x="f6472" y="f6469"/>
                </a:cxn>
                <a:cxn ang="f4299">
                  <a:pos x="f6473" y="f6467"/>
                </a:cxn>
                <a:cxn ang="f4299">
                  <a:pos x="f6389" y="f6467"/>
                </a:cxn>
                <a:cxn ang="f4299">
                  <a:pos x="f6474" y="f6469"/>
                </a:cxn>
                <a:cxn ang="f4299">
                  <a:pos x="f6474" y="f6475"/>
                </a:cxn>
                <a:cxn ang="f4299">
                  <a:pos x="f6389" y="f6471"/>
                </a:cxn>
                <a:cxn ang="f4299">
                  <a:pos x="f6473" y="f6471"/>
                </a:cxn>
                <a:cxn ang="f4299">
                  <a:pos x="f6476" y="f6475"/>
                </a:cxn>
                <a:cxn ang="f4299">
                  <a:pos x="f6476" y="f6469"/>
                </a:cxn>
                <a:cxn ang="f4299">
                  <a:pos x="f6477" y="f6467"/>
                </a:cxn>
                <a:cxn ang="f4299">
                  <a:pos x="f6478" y="f6467"/>
                </a:cxn>
                <a:cxn ang="f4299">
                  <a:pos x="f6393" y="f6469"/>
                </a:cxn>
                <a:cxn ang="f4299">
                  <a:pos x="f6393" y="f6470"/>
                </a:cxn>
                <a:cxn ang="f4299">
                  <a:pos x="f6478" y="f6471"/>
                </a:cxn>
                <a:cxn ang="f4299">
                  <a:pos x="f6477" y="f6471"/>
                </a:cxn>
                <a:cxn ang="f4299">
                  <a:pos x="f6479" y="f6470"/>
                </a:cxn>
                <a:cxn ang="f4299">
                  <a:pos x="f6479" y="f6469"/>
                </a:cxn>
                <a:cxn ang="f4299">
                  <a:pos x="f6480" y="f6467"/>
                </a:cxn>
                <a:cxn ang="f4299">
                  <a:pos x="f6395" y="f6467"/>
                </a:cxn>
                <a:cxn ang="f4299">
                  <a:pos x="f6396" y="f6469"/>
                </a:cxn>
                <a:cxn ang="f4299">
                  <a:pos x="f6396" y="f6470"/>
                </a:cxn>
                <a:cxn ang="f4299">
                  <a:pos x="f6395" y="f6471"/>
                </a:cxn>
                <a:cxn ang="f4299">
                  <a:pos x="f6480" y="f6471"/>
                </a:cxn>
                <a:cxn ang="f4299">
                  <a:pos x="f6481" y="f6470"/>
                </a:cxn>
                <a:cxn ang="f4299">
                  <a:pos x="f6481" y="f6469"/>
                </a:cxn>
                <a:cxn ang="f4299">
                  <a:pos x="f5891" y="f6482"/>
                </a:cxn>
                <a:cxn ang="f4299">
                  <a:pos x="f5892" y="f6482"/>
                </a:cxn>
                <a:cxn ang="f4299">
                  <a:pos x="f5893" y="f6483"/>
                </a:cxn>
                <a:cxn ang="f4299">
                  <a:pos x="f5893" y="f6484"/>
                </a:cxn>
                <a:cxn ang="f4299">
                  <a:pos x="f5892" y="f6485"/>
                </a:cxn>
                <a:cxn ang="f4299">
                  <a:pos x="f5891" y="f6485"/>
                </a:cxn>
                <a:cxn ang="f4299">
                  <a:pos x="f5894" y="f6484"/>
                </a:cxn>
                <a:cxn ang="f4299">
                  <a:pos x="f5894" y="f6483"/>
                </a:cxn>
                <a:cxn ang="f4299">
                  <a:pos x="f5875" y="f6486"/>
                </a:cxn>
                <a:cxn ang="f4299">
                  <a:pos x="f5876" y="f6486"/>
                </a:cxn>
                <a:cxn ang="f4299">
                  <a:pos x="f5877" y="f6487"/>
                </a:cxn>
                <a:cxn ang="f4299">
                  <a:pos x="f5877" y="f6484"/>
                </a:cxn>
                <a:cxn ang="f4299">
                  <a:pos x="f5876" y="f6485"/>
                </a:cxn>
                <a:cxn ang="f4299">
                  <a:pos x="f5875" y="f6485"/>
                </a:cxn>
                <a:cxn ang="f4299">
                  <a:pos x="f5878" y="f6484"/>
                </a:cxn>
                <a:cxn ang="f4299">
                  <a:pos x="f5878" y="f6487"/>
                </a:cxn>
                <a:cxn ang="f4299">
                  <a:pos x="f5879" y="f6486"/>
                </a:cxn>
                <a:cxn ang="f4299">
                  <a:pos x="f5880" y="f6486"/>
                </a:cxn>
                <a:cxn ang="f4299">
                  <a:pos x="f5881" y="f6483"/>
                </a:cxn>
                <a:cxn ang="f4299">
                  <a:pos x="f5881" y="f6484"/>
                </a:cxn>
                <a:cxn ang="f4299">
                  <a:pos x="f5880" y="f6485"/>
                </a:cxn>
                <a:cxn ang="f4299">
                  <a:pos x="f5879" y="f6485"/>
                </a:cxn>
                <a:cxn ang="f4299">
                  <a:pos x="f5882" y="f6484"/>
                </a:cxn>
                <a:cxn ang="f4299">
                  <a:pos x="f5882" y="f6483"/>
                </a:cxn>
                <a:cxn ang="f4299">
                  <a:pos x="f5883" y="f6486"/>
                </a:cxn>
                <a:cxn ang="f4299">
                  <a:pos x="f5884" y="f6486"/>
                </a:cxn>
                <a:cxn ang="f4299">
                  <a:pos x="f5885" y="f6483"/>
                </a:cxn>
                <a:cxn ang="f4299">
                  <a:pos x="f5885" y="f6484"/>
                </a:cxn>
                <a:cxn ang="f4299">
                  <a:pos x="f5884" y="f6485"/>
                </a:cxn>
                <a:cxn ang="f4299">
                  <a:pos x="f5883" y="f6485"/>
                </a:cxn>
                <a:cxn ang="f4299">
                  <a:pos x="f5886" y="f6484"/>
                </a:cxn>
                <a:cxn ang="f4299">
                  <a:pos x="f5886" y="f6483"/>
                </a:cxn>
                <a:cxn ang="f4299">
                  <a:pos x="f5887" y="f6486"/>
                </a:cxn>
                <a:cxn ang="f4299">
                  <a:pos x="f5888" y="f6486"/>
                </a:cxn>
                <a:cxn ang="f4299">
                  <a:pos x="f5889" y="f6483"/>
                </a:cxn>
                <a:cxn ang="f4299">
                  <a:pos x="f5889" y="f6484"/>
                </a:cxn>
                <a:cxn ang="f4299">
                  <a:pos x="f5888" y="f6485"/>
                </a:cxn>
                <a:cxn ang="f4299">
                  <a:pos x="f5887" y="f6485"/>
                </a:cxn>
                <a:cxn ang="f4299">
                  <a:pos x="f5890" y="f6484"/>
                </a:cxn>
                <a:cxn ang="f4299">
                  <a:pos x="f5890" y="f6483"/>
                </a:cxn>
                <a:cxn ang="f4299">
                  <a:pos x="f5871" y="f6488"/>
                </a:cxn>
                <a:cxn ang="f4299">
                  <a:pos x="f5872" y="f6488"/>
                </a:cxn>
                <a:cxn ang="f4299">
                  <a:pos x="f5873" y="f6489"/>
                </a:cxn>
                <a:cxn ang="f4299">
                  <a:pos x="f5873" y="f6490"/>
                </a:cxn>
                <a:cxn ang="f4299">
                  <a:pos x="f5872" y="f6491"/>
                </a:cxn>
                <a:cxn ang="f4299">
                  <a:pos x="f5871" y="f6491"/>
                </a:cxn>
                <a:cxn ang="f4299">
                  <a:pos x="f5874" y="f6490"/>
                </a:cxn>
                <a:cxn ang="f4299">
                  <a:pos x="f5874" y="f6489"/>
                </a:cxn>
                <a:cxn ang="f4299">
                  <a:pos x="f5855" y="f6492"/>
                </a:cxn>
                <a:cxn ang="f4299">
                  <a:pos x="f5856" y="f6492"/>
                </a:cxn>
                <a:cxn ang="f4299">
                  <a:pos x="f5857" y="f6493"/>
                </a:cxn>
                <a:cxn ang="f4299">
                  <a:pos x="f5857" y="f6490"/>
                </a:cxn>
                <a:cxn ang="f4299">
                  <a:pos x="f5856" y="f6491"/>
                </a:cxn>
                <a:cxn ang="f4299">
                  <a:pos x="f5855" y="f6491"/>
                </a:cxn>
                <a:cxn ang="f4299">
                  <a:pos x="f5858" y="f6490"/>
                </a:cxn>
                <a:cxn ang="f4299">
                  <a:pos x="f5858" y="f6493"/>
                </a:cxn>
                <a:cxn ang="f4299">
                  <a:pos x="f5859" y="f6492"/>
                </a:cxn>
                <a:cxn ang="f4299">
                  <a:pos x="f5860" y="f6492"/>
                </a:cxn>
                <a:cxn ang="f4299">
                  <a:pos x="f5861" y="f6494"/>
                </a:cxn>
                <a:cxn ang="f4299">
                  <a:pos x="f5861" y="f6490"/>
                </a:cxn>
                <a:cxn ang="f4299">
                  <a:pos x="f5860" y="f6491"/>
                </a:cxn>
                <a:cxn ang="f4299">
                  <a:pos x="f5859" y="f6491"/>
                </a:cxn>
                <a:cxn ang="f4299">
                  <a:pos x="f5862" y="f6490"/>
                </a:cxn>
                <a:cxn ang="f4299">
                  <a:pos x="f5862" y="f6494"/>
                </a:cxn>
                <a:cxn ang="f4299">
                  <a:pos x="f5863" y="f6492"/>
                </a:cxn>
                <a:cxn ang="f4299">
                  <a:pos x="f5864" y="f6492"/>
                </a:cxn>
                <a:cxn ang="f4299">
                  <a:pos x="f5865" y="f6494"/>
                </a:cxn>
                <a:cxn ang="f4299">
                  <a:pos x="f5865" y="f6490"/>
                </a:cxn>
                <a:cxn ang="f4299">
                  <a:pos x="f5864" y="f6491"/>
                </a:cxn>
                <a:cxn ang="f4299">
                  <a:pos x="f5863" y="f6491"/>
                </a:cxn>
                <a:cxn ang="f4299">
                  <a:pos x="f5866" y="f6490"/>
                </a:cxn>
                <a:cxn ang="f4299">
                  <a:pos x="f5866" y="f6494"/>
                </a:cxn>
                <a:cxn ang="f4299">
                  <a:pos x="f5867" y="f6492"/>
                </a:cxn>
                <a:cxn ang="f4299">
                  <a:pos x="f5868" y="f6492"/>
                </a:cxn>
                <a:cxn ang="f4299">
                  <a:pos x="f5869" y="f6494"/>
                </a:cxn>
                <a:cxn ang="f4299">
                  <a:pos x="f5869" y="f6490"/>
                </a:cxn>
                <a:cxn ang="f4299">
                  <a:pos x="f5868" y="f6491"/>
                </a:cxn>
                <a:cxn ang="f4299">
                  <a:pos x="f5867" y="f6491"/>
                </a:cxn>
                <a:cxn ang="f4299">
                  <a:pos x="f5870" y="f6490"/>
                </a:cxn>
                <a:cxn ang="f4299">
                  <a:pos x="f5870" y="f6494"/>
                </a:cxn>
                <a:cxn ang="f4299">
                  <a:pos x="f5851" y="f6495"/>
                </a:cxn>
                <a:cxn ang="f4299">
                  <a:pos x="f5852" y="f6495"/>
                </a:cxn>
                <a:cxn ang="f4299">
                  <a:pos x="f5853" y="f6496"/>
                </a:cxn>
                <a:cxn ang="f4299">
                  <a:pos x="f5853" y="f6497"/>
                </a:cxn>
                <a:cxn ang="f4299">
                  <a:pos x="f5852" y="f6498"/>
                </a:cxn>
                <a:cxn ang="f4299">
                  <a:pos x="f5851" y="f6498"/>
                </a:cxn>
                <a:cxn ang="f4299">
                  <a:pos x="f5854" y="f6497"/>
                </a:cxn>
                <a:cxn ang="f4299">
                  <a:pos x="f5854" y="f6496"/>
                </a:cxn>
                <a:cxn ang="f4299">
                  <a:pos x="f5839" y="f6499"/>
                </a:cxn>
                <a:cxn ang="f4299">
                  <a:pos x="f5840" y="f6499"/>
                </a:cxn>
                <a:cxn ang="f4299">
                  <a:pos x="f5841" y="f6496"/>
                </a:cxn>
                <a:cxn ang="f4299">
                  <a:pos x="f5841" y="f6500"/>
                </a:cxn>
                <a:cxn ang="f4299">
                  <a:pos x="f5840" y="f6498"/>
                </a:cxn>
                <a:cxn ang="f4299">
                  <a:pos x="f5839" y="f6498"/>
                </a:cxn>
                <a:cxn ang="f4299">
                  <a:pos x="f5842" y="f6500"/>
                </a:cxn>
                <a:cxn ang="f4299">
                  <a:pos x="f5842" y="f6496"/>
                </a:cxn>
                <a:cxn ang="f4299">
                  <a:pos x="f5843" y="f6499"/>
                </a:cxn>
                <a:cxn ang="f4299">
                  <a:pos x="f5844" y="f6499"/>
                </a:cxn>
                <a:cxn ang="f4299">
                  <a:pos x="f5845" y="f6496"/>
                </a:cxn>
                <a:cxn ang="f4299">
                  <a:pos x="f5845" y="f6497"/>
                </a:cxn>
                <a:cxn ang="f4299">
                  <a:pos x="f5844" y="f6498"/>
                </a:cxn>
                <a:cxn ang="f4299">
                  <a:pos x="f5843" y="f6498"/>
                </a:cxn>
                <a:cxn ang="f4299">
                  <a:pos x="f5846" y="f6497"/>
                </a:cxn>
                <a:cxn ang="f4299">
                  <a:pos x="f5846" y="f6496"/>
                </a:cxn>
                <a:cxn ang="f4299">
                  <a:pos x="f5847" y="f6499"/>
                </a:cxn>
                <a:cxn ang="f4299">
                  <a:pos x="f5848" y="f6499"/>
                </a:cxn>
                <a:cxn ang="f4299">
                  <a:pos x="f5849" y="f6496"/>
                </a:cxn>
                <a:cxn ang="f4299">
                  <a:pos x="f5849" y="f6497"/>
                </a:cxn>
                <a:cxn ang="f4299">
                  <a:pos x="f5848" y="f6498"/>
                </a:cxn>
                <a:cxn ang="f4299">
                  <a:pos x="f5847" y="f6498"/>
                </a:cxn>
                <a:cxn ang="f4299">
                  <a:pos x="f5850" y="f6497"/>
                </a:cxn>
                <a:cxn ang="f4299">
                  <a:pos x="f5850" y="f6496"/>
                </a:cxn>
                <a:cxn ang="f4299">
                  <a:pos x="f5835" y="f6501"/>
                </a:cxn>
                <a:cxn ang="f4299">
                  <a:pos x="f5836" y="f6501"/>
                </a:cxn>
                <a:cxn ang="f4299">
                  <a:pos x="f5837" y="f6502"/>
                </a:cxn>
                <a:cxn ang="f4299">
                  <a:pos x="f5837" y="f6500"/>
                </a:cxn>
                <a:cxn ang="f4299">
                  <a:pos x="f5836" y="f6498"/>
                </a:cxn>
                <a:cxn ang="f4299">
                  <a:pos x="f5835" y="f6498"/>
                </a:cxn>
                <a:cxn ang="f4299">
                  <a:pos x="f5838" y="f6500"/>
                </a:cxn>
                <a:cxn ang="f4299">
                  <a:pos x="f5838" y="f6502"/>
                </a:cxn>
                <a:cxn ang="f4299">
                  <a:pos x="f5831" y="f6503"/>
                </a:cxn>
                <a:cxn ang="f4299">
                  <a:pos x="f5832" y="f6503"/>
                </a:cxn>
                <a:cxn ang="f4299">
                  <a:pos x="f5833" y="f6504"/>
                </a:cxn>
                <a:cxn ang="f4299">
                  <a:pos x="f5833" y="f6505"/>
                </a:cxn>
                <a:cxn ang="f4299">
                  <a:pos x="f5832" y="f6506"/>
                </a:cxn>
                <a:cxn ang="f4299">
                  <a:pos x="f5831" y="f6506"/>
                </a:cxn>
                <a:cxn ang="f4299">
                  <a:pos x="f5834" y="f6505"/>
                </a:cxn>
                <a:cxn ang="f4299">
                  <a:pos x="f5834" y="f6504"/>
                </a:cxn>
                <a:cxn ang="f4299">
                  <a:pos x="f5815" y="f6503"/>
                </a:cxn>
                <a:cxn ang="f4299">
                  <a:pos x="f5816" y="f6503"/>
                </a:cxn>
                <a:cxn ang="f4299">
                  <a:pos x="f5817" y="f6507"/>
                </a:cxn>
                <a:cxn ang="f4299">
                  <a:pos x="f5817" y="f6508"/>
                </a:cxn>
                <a:cxn ang="f4299">
                  <a:pos x="f5816" y="f6506"/>
                </a:cxn>
                <a:cxn ang="f4299">
                  <a:pos x="f5815" y="f6506"/>
                </a:cxn>
                <a:cxn ang="f4299">
                  <a:pos x="f5818" y="f6508"/>
                </a:cxn>
                <a:cxn ang="f4299">
                  <a:pos x="f5818" y="f6507"/>
                </a:cxn>
                <a:cxn ang="f4299">
                  <a:pos x="f5819" y="f6503"/>
                </a:cxn>
                <a:cxn ang="f4299">
                  <a:pos x="f5820" y="f6503"/>
                </a:cxn>
                <a:cxn ang="f4299">
                  <a:pos x="f5821" y="f6509"/>
                </a:cxn>
                <a:cxn ang="f4299">
                  <a:pos x="f5821" y="f6508"/>
                </a:cxn>
                <a:cxn ang="f4299">
                  <a:pos x="f5820" y="f6506"/>
                </a:cxn>
                <a:cxn ang="f4299">
                  <a:pos x="f5819" y="f6506"/>
                </a:cxn>
                <a:cxn ang="f4299">
                  <a:pos x="f5822" y="f6508"/>
                </a:cxn>
                <a:cxn ang="f4299">
                  <a:pos x="f5822" y="f6509"/>
                </a:cxn>
                <a:cxn ang="f4299">
                  <a:pos x="f5823" y="f6503"/>
                </a:cxn>
                <a:cxn ang="f4299">
                  <a:pos x="f5824" y="f6503"/>
                </a:cxn>
                <a:cxn ang="f4299">
                  <a:pos x="f5825" y="f6509"/>
                </a:cxn>
                <a:cxn ang="f4299">
                  <a:pos x="f5825" y="f6505"/>
                </a:cxn>
                <a:cxn ang="f4299">
                  <a:pos x="f5824" y="f6506"/>
                </a:cxn>
                <a:cxn ang="f4299">
                  <a:pos x="f5823" y="f6506"/>
                </a:cxn>
                <a:cxn ang="f4299">
                  <a:pos x="f5826" y="f6505"/>
                </a:cxn>
                <a:cxn ang="f4299">
                  <a:pos x="f5826" y="f6509"/>
                </a:cxn>
                <a:cxn ang="f4299">
                  <a:pos x="f5827" y="f6503"/>
                </a:cxn>
                <a:cxn ang="f4299">
                  <a:pos x="f5828" y="f6503"/>
                </a:cxn>
                <a:cxn ang="f4299">
                  <a:pos x="f5829" y="f6509"/>
                </a:cxn>
                <a:cxn ang="f4299">
                  <a:pos x="f5829" y="f6505"/>
                </a:cxn>
                <a:cxn ang="f4299">
                  <a:pos x="f5828" y="f6506"/>
                </a:cxn>
                <a:cxn ang="f4299">
                  <a:pos x="f5827" y="f6506"/>
                </a:cxn>
                <a:cxn ang="f4299">
                  <a:pos x="f5830" y="f6505"/>
                </a:cxn>
                <a:cxn ang="f4299">
                  <a:pos x="f5830" y="f6509"/>
                </a:cxn>
                <a:cxn ang="f4299">
                  <a:pos x="f5811" y="f6510"/>
                </a:cxn>
                <a:cxn ang="f4299">
                  <a:pos x="f5812" y="f6510"/>
                </a:cxn>
                <a:cxn ang="f4299">
                  <a:pos x="f5813" y="f6511"/>
                </a:cxn>
                <a:cxn ang="f4299">
                  <a:pos x="f5813" y="f6512"/>
                </a:cxn>
                <a:cxn ang="f4299">
                  <a:pos x="f5812" y="f6513"/>
                </a:cxn>
                <a:cxn ang="f4299">
                  <a:pos x="f5811" y="f6513"/>
                </a:cxn>
                <a:cxn ang="f4299">
                  <a:pos x="f5814" y="f6512"/>
                </a:cxn>
                <a:cxn ang="f4299">
                  <a:pos x="f5814" y="f6511"/>
                </a:cxn>
                <a:cxn ang="f4299">
                  <a:pos x="f5799" y="f6510"/>
                </a:cxn>
                <a:cxn ang="f4299">
                  <a:pos x="f5800" y="f6510"/>
                </a:cxn>
                <a:cxn ang="f4299">
                  <a:pos x="f5801" y="f6514"/>
                </a:cxn>
                <a:cxn ang="f4299">
                  <a:pos x="f5801" y="f6515"/>
                </a:cxn>
                <a:cxn ang="f4299">
                  <a:pos x="f5800" y="f6513"/>
                </a:cxn>
                <a:cxn ang="f4299">
                  <a:pos x="f5799" y="f6513"/>
                </a:cxn>
                <a:cxn ang="f4299">
                  <a:pos x="f5802" y="f6515"/>
                </a:cxn>
                <a:cxn ang="f4299">
                  <a:pos x="f5802" y="f6514"/>
                </a:cxn>
                <a:cxn ang="f4299">
                  <a:pos x="f5803" y="f6510"/>
                </a:cxn>
                <a:cxn ang="f4299">
                  <a:pos x="f5804" y="f6510"/>
                </a:cxn>
                <a:cxn ang="f4299">
                  <a:pos x="f5805" y="f6514"/>
                </a:cxn>
                <a:cxn ang="f4299">
                  <a:pos x="f5805" y="f6512"/>
                </a:cxn>
                <a:cxn ang="f4299">
                  <a:pos x="f5804" y="f6513"/>
                </a:cxn>
                <a:cxn ang="f4299">
                  <a:pos x="f5803" y="f6513"/>
                </a:cxn>
                <a:cxn ang="f4299">
                  <a:pos x="f5806" y="f6512"/>
                </a:cxn>
                <a:cxn ang="f4299">
                  <a:pos x="f5806" y="f6514"/>
                </a:cxn>
                <a:cxn ang="f4299">
                  <a:pos x="f5807" y="f6510"/>
                </a:cxn>
                <a:cxn ang="f4299">
                  <a:pos x="f5808" y="f6510"/>
                </a:cxn>
                <a:cxn ang="f4299">
                  <a:pos x="f5809" y="f6514"/>
                </a:cxn>
                <a:cxn ang="f4299">
                  <a:pos x="f5809" y="f6512"/>
                </a:cxn>
                <a:cxn ang="f4299">
                  <a:pos x="f5808" y="f6513"/>
                </a:cxn>
                <a:cxn ang="f4299">
                  <a:pos x="f5807" y="f6513"/>
                </a:cxn>
                <a:cxn ang="f4299">
                  <a:pos x="f5810" y="f6512"/>
                </a:cxn>
                <a:cxn ang="f4299">
                  <a:pos x="f5810" y="f6514"/>
                </a:cxn>
                <a:cxn ang="f4299">
                  <a:pos x="f5795" y="f6516"/>
                </a:cxn>
                <a:cxn ang="f4299">
                  <a:pos x="f5796" y="f6516"/>
                </a:cxn>
                <a:cxn ang="f4299">
                  <a:pos x="f5797" y="f6514"/>
                </a:cxn>
                <a:cxn ang="f4299">
                  <a:pos x="f5797" y="f6515"/>
                </a:cxn>
                <a:cxn ang="f4299">
                  <a:pos x="f5796" y="f6513"/>
                </a:cxn>
                <a:cxn ang="f4299">
                  <a:pos x="f5795" y="f6513"/>
                </a:cxn>
                <a:cxn ang="f4299">
                  <a:pos x="f5798" y="f6515"/>
                </a:cxn>
                <a:cxn ang="f4299">
                  <a:pos x="f5798" y="f6514"/>
                </a:cxn>
                <a:cxn ang="f4299">
                  <a:pos x="f5791" y="f6517"/>
                </a:cxn>
                <a:cxn ang="f4299">
                  <a:pos x="f5792" y="f6517"/>
                </a:cxn>
                <a:cxn ang="f4299">
                  <a:pos x="f5793" y="f6518"/>
                </a:cxn>
                <a:cxn ang="f4299">
                  <a:pos x="f5793" y="f6519"/>
                </a:cxn>
                <a:cxn ang="f4299">
                  <a:pos x="f5792" y="f6520"/>
                </a:cxn>
                <a:cxn ang="f4299">
                  <a:pos x="f5791" y="f6520"/>
                </a:cxn>
                <a:cxn ang="f4299">
                  <a:pos x="f5794" y="f6519"/>
                </a:cxn>
                <a:cxn ang="f4299">
                  <a:pos x="f5794" y="f6518"/>
                </a:cxn>
                <a:cxn ang="f4299">
                  <a:pos x="f5775" y="f6517"/>
                </a:cxn>
                <a:cxn ang="f4299">
                  <a:pos x="f5776" y="f6517"/>
                </a:cxn>
                <a:cxn ang="f4299">
                  <a:pos x="f5777" y="f6521"/>
                </a:cxn>
                <a:cxn ang="f4299">
                  <a:pos x="f5777" y="f6522"/>
                </a:cxn>
                <a:cxn ang="f4299">
                  <a:pos x="f5776" y="f6520"/>
                </a:cxn>
                <a:cxn ang="f4299">
                  <a:pos x="f5775" y="f6520"/>
                </a:cxn>
                <a:cxn ang="f4299">
                  <a:pos x="f5778" y="f6522"/>
                </a:cxn>
                <a:cxn ang="f4299">
                  <a:pos x="f5778" y="f6521"/>
                </a:cxn>
                <a:cxn ang="f4299">
                  <a:pos x="f5779" y="f6517"/>
                </a:cxn>
                <a:cxn ang="f4299">
                  <a:pos x="f5780" y="f6517"/>
                </a:cxn>
                <a:cxn ang="f4299">
                  <a:pos x="f5781" y="f6521"/>
                </a:cxn>
                <a:cxn ang="f4299">
                  <a:pos x="f5781" y="f6522"/>
                </a:cxn>
                <a:cxn ang="f4299">
                  <a:pos x="f5780" y="f6520"/>
                </a:cxn>
                <a:cxn ang="f4299">
                  <a:pos x="f5779" y="f6520"/>
                </a:cxn>
                <a:cxn ang="f4299">
                  <a:pos x="f5782" y="f6522"/>
                </a:cxn>
                <a:cxn ang="f4299">
                  <a:pos x="f5782" y="f6521"/>
                </a:cxn>
                <a:cxn ang="f4299">
                  <a:pos x="f5783" y="f6517"/>
                </a:cxn>
                <a:cxn ang="f4299">
                  <a:pos x="f5784" y="f6517"/>
                </a:cxn>
                <a:cxn ang="f4299">
                  <a:pos x="f5785" y="f6521"/>
                </a:cxn>
                <a:cxn ang="f4299">
                  <a:pos x="f5785" y="f6519"/>
                </a:cxn>
                <a:cxn ang="f4299">
                  <a:pos x="f5784" y="f6520"/>
                </a:cxn>
                <a:cxn ang="f4299">
                  <a:pos x="f5783" y="f6520"/>
                </a:cxn>
                <a:cxn ang="f4299">
                  <a:pos x="f5786" y="f6519"/>
                </a:cxn>
                <a:cxn ang="f4299">
                  <a:pos x="f5786" y="f6521"/>
                </a:cxn>
                <a:cxn ang="f4299">
                  <a:pos x="f5787" y="f6517"/>
                </a:cxn>
                <a:cxn ang="f4299">
                  <a:pos x="f5788" y="f6517"/>
                </a:cxn>
                <a:cxn ang="f4299">
                  <a:pos x="f5789" y="f6521"/>
                </a:cxn>
                <a:cxn ang="f4299">
                  <a:pos x="f5789" y="f6519"/>
                </a:cxn>
                <a:cxn ang="f4299">
                  <a:pos x="f5788" y="f6520"/>
                </a:cxn>
                <a:cxn ang="f4299">
                  <a:pos x="f5787" y="f6520"/>
                </a:cxn>
                <a:cxn ang="f4299">
                  <a:pos x="f5790" y="f6519"/>
                </a:cxn>
                <a:cxn ang="f4299">
                  <a:pos x="f5790" y="f6521"/>
                </a:cxn>
                <a:cxn ang="f4299">
                  <a:pos x="f5767" y="f6523"/>
                </a:cxn>
                <a:cxn ang="f4299">
                  <a:pos x="f5769" y="f6523"/>
                </a:cxn>
                <a:cxn ang="f4299">
                  <a:pos x="f5770" y="f6524"/>
                </a:cxn>
                <a:cxn ang="f4299">
                  <a:pos x="f5770" y="f6525"/>
                </a:cxn>
                <a:cxn ang="f4299">
                  <a:pos x="f5769" y="f6526"/>
                </a:cxn>
                <a:cxn ang="f4299">
                  <a:pos x="f5767" y="f6526"/>
                </a:cxn>
                <a:cxn ang="f4299">
                  <a:pos x="f5774" y="f6525"/>
                </a:cxn>
                <a:cxn ang="f4299">
                  <a:pos x="f5774" y="f6524"/>
                </a:cxn>
                <a:cxn ang="f4299">
                  <a:pos x="f6527" y="f6528"/>
                </a:cxn>
                <a:cxn ang="f4299">
                  <a:pos x="f6529" y="f6528"/>
                </a:cxn>
                <a:cxn ang="f4299">
                  <a:pos x="f6530" y="f6531"/>
                </a:cxn>
                <a:cxn ang="f4299">
                  <a:pos x="f6530" y="f6532"/>
                </a:cxn>
                <a:cxn ang="f4299">
                  <a:pos x="f6529" y="f6533"/>
                </a:cxn>
                <a:cxn ang="f4299">
                  <a:pos x="f6527" y="f6533"/>
                </a:cxn>
                <a:cxn ang="f4299">
                  <a:pos x="f6534" y="f6532"/>
                </a:cxn>
                <a:cxn ang="f4299">
                  <a:pos x="f6534" y="f6531"/>
                </a:cxn>
                <a:cxn ang="f4299">
                  <a:pos x="f6466" y="f6528"/>
                </a:cxn>
                <a:cxn ang="f4299">
                  <a:pos x="f6535" y="f6528"/>
                </a:cxn>
                <a:cxn ang="f4299">
                  <a:pos x="f6536" y="f6531"/>
                </a:cxn>
                <a:cxn ang="f4299">
                  <a:pos x="f6536" y="f6532"/>
                </a:cxn>
                <a:cxn ang="f4299">
                  <a:pos x="f6535" y="f6533"/>
                </a:cxn>
                <a:cxn ang="f4299">
                  <a:pos x="f6466" y="f6533"/>
                </a:cxn>
                <a:cxn ang="f4299">
                  <a:pos x="f6472" y="f6532"/>
                </a:cxn>
                <a:cxn ang="f4299">
                  <a:pos x="f6472" y="f6531"/>
                </a:cxn>
                <a:cxn ang="f4299">
                  <a:pos x="f6473" y="f6528"/>
                </a:cxn>
                <a:cxn ang="f4299">
                  <a:pos x="f6537" y="f6528"/>
                </a:cxn>
                <a:cxn ang="f4299">
                  <a:pos x="f6538" y="f6539"/>
                </a:cxn>
                <a:cxn ang="f4299">
                  <a:pos x="f6538" y="f6532"/>
                </a:cxn>
                <a:cxn ang="f4299">
                  <a:pos x="f6537" y="f6540"/>
                </a:cxn>
                <a:cxn ang="f4299">
                  <a:pos x="f6473" y="f6540"/>
                </a:cxn>
                <a:cxn ang="f4299">
                  <a:pos x="f6541" y="f6532"/>
                </a:cxn>
                <a:cxn ang="f4299">
                  <a:pos x="f6541" y="f6539"/>
                </a:cxn>
                <a:cxn ang="f4299">
                  <a:pos x="f6542" y="f6528"/>
                </a:cxn>
                <a:cxn ang="f4299">
                  <a:pos x="f6543" y="f6528"/>
                </a:cxn>
                <a:cxn ang="f4299">
                  <a:pos x="f6544" y="f6539"/>
                </a:cxn>
                <a:cxn ang="f4299">
                  <a:pos x="f6544" y="f6532"/>
                </a:cxn>
                <a:cxn ang="f4299">
                  <a:pos x="f6543" y="f6540"/>
                </a:cxn>
                <a:cxn ang="f4299">
                  <a:pos x="f6542" y="f6540"/>
                </a:cxn>
                <a:cxn ang="f4299">
                  <a:pos x="f6479" y="f6532"/>
                </a:cxn>
                <a:cxn ang="f4299">
                  <a:pos x="f6479" y="f6539"/>
                </a:cxn>
                <a:cxn ang="f4299">
                  <a:pos x="f6545" y="f6546"/>
                </a:cxn>
                <a:cxn ang="f4299">
                  <a:pos x="f6547" y="f6546"/>
                </a:cxn>
                <a:cxn ang="f4299">
                  <a:pos x="f6450" y="f6548"/>
                </a:cxn>
                <a:cxn ang="f4299">
                  <a:pos x="f6450" y="f6549"/>
                </a:cxn>
                <a:cxn ang="f4299">
                  <a:pos x="f6547" y="f6550"/>
                </a:cxn>
                <a:cxn ang="f4299">
                  <a:pos x="f6545" y="f6550"/>
                </a:cxn>
                <a:cxn ang="f4299">
                  <a:pos x="f6454" y="f6549"/>
                </a:cxn>
                <a:cxn ang="f4299">
                  <a:pos x="f6454" y="f6548"/>
                </a:cxn>
                <a:cxn ang="f4299">
                  <a:pos x="f6455" y="f6546"/>
                </a:cxn>
                <a:cxn ang="f4299">
                  <a:pos x="f6551" y="f6546"/>
                </a:cxn>
                <a:cxn ang="f4299">
                  <a:pos x="f6552" y="f6548"/>
                </a:cxn>
                <a:cxn ang="f4299">
                  <a:pos x="f6552" y="f6549"/>
                </a:cxn>
                <a:cxn ang="f4299">
                  <a:pos x="f6551" y="f6553"/>
                </a:cxn>
                <a:cxn ang="f4299">
                  <a:pos x="f6455" y="f6553"/>
                </a:cxn>
                <a:cxn ang="f4299">
                  <a:pos x="f6554" y="f6549"/>
                </a:cxn>
                <a:cxn ang="f4299">
                  <a:pos x="f6554" y="f6548"/>
                </a:cxn>
                <a:cxn ang="f4299">
                  <a:pos x="f6441" y="f6546"/>
                </a:cxn>
                <a:cxn ang="f4299">
                  <a:pos x="f6555" y="f6546"/>
                </a:cxn>
                <a:cxn ang="f4299">
                  <a:pos x="f6556" y="f6548"/>
                </a:cxn>
                <a:cxn ang="f4299">
                  <a:pos x="f6556" y="f6549"/>
                </a:cxn>
                <a:cxn ang="f4299">
                  <a:pos x="f6555" y="f6553"/>
                </a:cxn>
                <a:cxn ang="f4299">
                  <a:pos x="f6441" y="f6553"/>
                </a:cxn>
                <a:cxn ang="f4299">
                  <a:pos x="f6557" y="f6549"/>
                </a:cxn>
                <a:cxn ang="f4299">
                  <a:pos x="f6557" y="f6548"/>
                </a:cxn>
                <a:cxn ang="f4299">
                  <a:pos x="f6558" y="f6546"/>
                </a:cxn>
                <a:cxn ang="f4299">
                  <a:pos x="f6446" y="f6546"/>
                </a:cxn>
                <a:cxn ang="f4299">
                  <a:pos x="f6447" y="f6548"/>
                </a:cxn>
                <a:cxn ang="f4299">
                  <a:pos x="f6447" y="f6549"/>
                </a:cxn>
                <a:cxn ang="f4299">
                  <a:pos x="f6446" y="f6553"/>
                </a:cxn>
                <a:cxn ang="f4299">
                  <a:pos x="f6558" y="f6553"/>
                </a:cxn>
                <a:cxn ang="f4299">
                  <a:pos x="f6448" y="f6549"/>
                </a:cxn>
                <a:cxn ang="f4299">
                  <a:pos x="f6448" y="f6548"/>
                </a:cxn>
                <a:cxn ang="f4299">
                  <a:pos x="f6288" y="f6559"/>
                </a:cxn>
                <a:cxn ang="f4299">
                  <a:pos x="f6560" y="f6559"/>
                </a:cxn>
                <a:cxn ang="f4299">
                  <a:pos x="f6375" y="f6561"/>
                </a:cxn>
                <a:cxn ang="f4299">
                  <a:pos x="f6375" y="f6562"/>
                </a:cxn>
                <a:cxn ang="f4299">
                  <a:pos x="f6560" y="f6563"/>
                </a:cxn>
                <a:cxn ang="f4299">
                  <a:pos x="f6288" y="f6563"/>
                </a:cxn>
                <a:cxn ang="f4299">
                  <a:pos x="f6350" y="f6562"/>
                </a:cxn>
                <a:cxn ang="f4299">
                  <a:pos x="f6350" y="f6561"/>
                </a:cxn>
                <a:cxn ang="f4299">
                  <a:pos x="f6349" y="f6564"/>
                </a:cxn>
                <a:cxn ang="f4299">
                  <a:pos x="f6316" y="f6564"/>
                </a:cxn>
                <a:cxn ang="f4299">
                  <a:pos x="f6565" y="f6566"/>
                </a:cxn>
                <a:cxn ang="f4299">
                  <a:pos x="f6565" y="f6567"/>
                </a:cxn>
                <a:cxn ang="f4299">
                  <a:pos x="f6316" y="f6568"/>
                </a:cxn>
                <a:cxn ang="f4299">
                  <a:pos x="f6349" y="f6568"/>
                </a:cxn>
                <a:cxn ang="f4299">
                  <a:pos x="f6465" y="f6567"/>
                </a:cxn>
                <a:cxn ang="f4299">
                  <a:pos x="f6465" y="f6566"/>
                </a:cxn>
                <a:cxn ang="f4299">
                  <a:pos x="f5883" y="f6569"/>
                </a:cxn>
                <a:cxn ang="f4299">
                  <a:pos x="f5884" y="f6569"/>
                </a:cxn>
                <a:cxn ang="f4299">
                  <a:pos x="f5885" y="f6570"/>
                </a:cxn>
                <a:cxn ang="f4299">
                  <a:pos x="f5885" y="f6571"/>
                </a:cxn>
                <a:cxn ang="f4299">
                  <a:pos x="f5884" y="f6572"/>
                </a:cxn>
                <a:cxn ang="f4299">
                  <a:pos x="f5883" y="f6572"/>
                </a:cxn>
                <a:cxn ang="f4299">
                  <a:pos x="f5886" y="f6571"/>
                </a:cxn>
                <a:cxn ang="f4299">
                  <a:pos x="f5886" y="f6570"/>
                </a:cxn>
                <a:cxn ang="f4299">
                  <a:pos x="f5887" y="f6569"/>
                </a:cxn>
                <a:cxn ang="f4299">
                  <a:pos x="f5888" y="f6569"/>
                </a:cxn>
                <a:cxn ang="f4299">
                  <a:pos x="f5889" y="f6570"/>
                </a:cxn>
                <a:cxn ang="f4299">
                  <a:pos x="f5889" y="f6571"/>
                </a:cxn>
                <a:cxn ang="f4299">
                  <a:pos x="f5888" y="f6572"/>
                </a:cxn>
                <a:cxn ang="f4299">
                  <a:pos x="f5887" y="f6572"/>
                </a:cxn>
                <a:cxn ang="f4299">
                  <a:pos x="f5890" y="f6571"/>
                </a:cxn>
                <a:cxn ang="f4299">
                  <a:pos x="f5890" y="f6570"/>
                </a:cxn>
                <a:cxn ang="f4299">
                  <a:pos x="f5891" y="f6569"/>
                </a:cxn>
                <a:cxn ang="f4299">
                  <a:pos x="f5892" y="f6569"/>
                </a:cxn>
                <a:cxn ang="f4299">
                  <a:pos x="f5893" y="f6570"/>
                </a:cxn>
                <a:cxn ang="f4299">
                  <a:pos x="f5893" y="f6571"/>
                </a:cxn>
                <a:cxn ang="f4299">
                  <a:pos x="f5892" y="f6572"/>
                </a:cxn>
                <a:cxn ang="f4299">
                  <a:pos x="f5891" y="f6572"/>
                </a:cxn>
                <a:cxn ang="f4299">
                  <a:pos x="f5894" y="f6571"/>
                </a:cxn>
                <a:cxn ang="f4299">
                  <a:pos x="f5894" y="f6570"/>
                </a:cxn>
                <a:cxn ang="f4299">
                  <a:pos x="f5875" y="f6573"/>
                </a:cxn>
                <a:cxn ang="f4299">
                  <a:pos x="f5876" y="f6573"/>
                </a:cxn>
                <a:cxn ang="f4299">
                  <a:pos x="f5877" y="f6574"/>
                </a:cxn>
                <a:cxn ang="f4299">
                  <a:pos x="f5877" y="f6571"/>
                </a:cxn>
                <a:cxn ang="f4299">
                  <a:pos x="f5876" y="f6575"/>
                </a:cxn>
                <a:cxn ang="f4299">
                  <a:pos x="f5875" y="f6575"/>
                </a:cxn>
                <a:cxn ang="f4299">
                  <a:pos x="f5878" y="f6571"/>
                </a:cxn>
                <a:cxn ang="f4299">
                  <a:pos x="f5878" y="f6574"/>
                </a:cxn>
                <a:cxn ang="f4299">
                  <a:pos x="f5879" y="f6573"/>
                </a:cxn>
                <a:cxn ang="f4299">
                  <a:pos x="f5880" y="f6573"/>
                </a:cxn>
                <a:cxn ang="f4299">
                  <a:pos x="f5881" y="f6574"/>
                </a:cxn>
                <a:cxn ang="f4299">
                  <a:pos x="f5881" y="f6571"/>
                </a:cxn>
                <a:cxn ang="f4299">
                  <a:pos x="f5880" y="f6572"/>
                </a:cxn>
                <a:cxn ang="f4299">
                  <a:pos x="f5879" y="f6572"/>
                </a:cxn>
                <a:cxn ang="f4299">
                  <a:pos x="f5882" y="f6571"/>
                </a:cxn>
                <a:cxn ang="f4299">
                  <a:pos x="f5882" y="f6574"/>
                </a:cxn>
                <a:cxn ang="f4299">
                  <a:pos x="f5863" y="f6576"/>
                </a:cxn>
                <a:cxn ang="f4299">
                  <a:pos x="f5864" y="f6576"/>
                </a:cxn>
                <a:cxn ang="f4299">
                  <a:pos x="f5865" y="f6577"/>
                </a:cxn>
                <a:cxn ang="f4299">
                  <a:pos x="f5865" y="f6578"/>
                </a:cxn>
                <a:cxn ang="f4299">
                  <a:pos x="f5864" y="f6579"/>
                </a:cxn>
                <a:cxn ang="f4299">
                  <a:pos x="f5863" y="f6579"/>
                </a:cxn>
                <a:cxn ang="f4299">
                  <a:pos x="f5866" y="f6578"/>
                </a:cxn>
                <a:cxn ang="f4299">
                  <a:pos x="f5866" y="f6577"/>
                </a:cxn>
                <a:cxn ang="f4299">
                  <a:pos x="f5867" y="f6576"/>
                </a:cxn>
                <a:cxn ang="f4299">
                  <a:pos x="f5868" y="f6576"/>
                </a:cxn>
                <a:cxn ang="f4299">
                  <a:pos x="f5869" y="f6577"/>
                </a:cxn>
                <a:cxn ang="f4299">
                  <a:pos x="f5869" y="f6578"/>
                </a:cxn>
                <a:cxn ang="f4299">
                  <a:pos x="f5868" y="f6579"/>
                </a:cxn>
                <a:cxn ang="f4299">
                  <a:pos x="f5867" y="f6579"/>
                </a:cxn>
                <a:cxn ang="f4299">
                  <a:pos x="f5870" y="f6578"/>
                </a:cxn>
                <a:cxn ang="f4299">
                  <a:pos x="f5870" y="f6577"/>
                </a:cxn>
                <a:cxn ang="f4299">
                  <a:pos x="f5871" y="f6576"/>
                </a:cxn>
                <a:cxn ang="f4299">
                  <a:pos x="f5872" y="f6576"/>
                </a:cxn>
                <a:cxn ang="f4299">
                  <a:pos x="f5873" y="f6577"/>
                </a:cxn>
                <a:cxn ang="f4299">
                  <a:pos x="f5873" y="f6578"/>
                </a:cxn>
                <a:cxn ang="f4299">
                  <a:pos x="f5872" y="f6579"/>
                </a:cxn>
                <a:cxn ang="f4299">
                  <a:pos x="f5871" y="f6579"/>
                </a:cxn>
                <a:cxn ang="f4299">
                  <a:pos x="f5874" y="f6578"/>
                </a:cxn>
                <a:cxn ang="f4299">
                  <a:pos x="f5874" y="f6577"/>
                </a:cxn>
                <a:cxn ang="f4299">
                  <a:pos x="f5855" y="f6580"/>
                </a:cxn>
                <a:cxn ang="f4299">
                  <a:pos x="f5856" y="f6580"/>
                </a:cxn>
                <a:cxn ang="f4299">
                  <a:pos x="f5857" y="f6581"/>
                </a:cxn>
                <a:cxn ang="f4299">
                  <a:pos x="f5857" y="f6578"/>
                </a:cxn>
                <a:cxn ang="f4299">
                  <a:pos x="f5856" y="f6582"/>
                </a:cxn>
                <a:cxn ang="f4299">
                  <a:pos x="f5855" y="f6582"/>
                </a:cxn>
                <a:cxn ang="f4299">
                  <a:pos x="f5858" y="f6578"/>
                </a:cxn>
                <a:cxn ang="f4299">
                  <a:pos x="f5858" y="f6581"/>
                </a:cxn>
                <a:cxn ang="f4299">
                  <a:pos x="f5859" y="f6580"/>
                </a:cxn>
                <a:cxn ang="f4299">
                  <a:pos x="f5860" y="f6580"/>
                </a:cxn>
                <a:cxn ang="f4299">
                  <a:pos x="f5861" y="f6581"/>
                </a:cxn>
                <a:cxn ang="f4299">
                  <a:pos x="f5861" y="f6578"/>
                </a:cxn>
                <a:cxn ang="f4299">
                  <a:pos x="f5860" y="f6579"/>
                </a:cxn>
                <a:cxn ang="f4299">
                  <a:pos x="f5859" y="f6579"/>
                </a:cxn>
                <a:cxn ang="f4299">
                  <a:pos x="f5862" y="f6578"/>
                </a:cxn>
                <a:cxn ang="f4299">
                  <a:pos x="f5862" y="f6581"/>
                </a:cxn>
                <a:cxn ang="f4299">
                  <a:pos x="f5843" y="f6583"/>
                </a:cxn>
                <a:cxn ang="f4299">
                  <a:pos x="f5844" y="f6583"/>
                </a:cxn>
                <a:cxn ang="f4299">
                  <a:pos x="f5845" y="f6584"/>
                </a:cxn>
                <a:cxn ang="f4299">
                  <a:pos x="f5845" y="f6585"/>
                </a:cxn>
                <a:cxn ang="f4299">
                  <a:pos x="f5844" y="f6586"/>
                </a:cxn>
                <a:cxn ang="f4299">
                  <a:pos x="f5843" y="f6586"/>
                </a:cxn>
                <a:cxn ang="f4299">
                  <a:pos x="f5846" y="f6585"/>
                </a:cxn>
                <a:cxn ang="f4299">
                  <a:pos x="f5846" y="f6584"/>
                </a:cxn>
                <a:cxn ang="f4299">
                  <a:pos x="f5847" y="f6583"/>
                </a:cxn>
                <a:cxn ang="f4299">
                  <a:pos x="f5848" y="f6583"/>
                </a:cxn>
                <a:cxn ang="f4299">
                  <a:pos x="f5849" y="f6584"/>
                </a:cxn>
                <a:cxn ang="f4299">
                  <a:pos x="f5849" y="f6585"/>
                </a:cxn>
                <a:cxn ang="f4299">
                  <a:pos x="f5848" y="f6586"/>
                </a:cxn>
                <a:cxn ang="f4299">
                  <a:pos x="f5847" y="f6586"/>
                </a:cxn>
                <a:cxn ang="f4299">
                  <a:pos x="f5850" y="f6585"/>
                </a:cxn>
                <a:cxn ang="f4299">
                  <a:pos x="f5850" y="f6584"/>
                </a:cxn>
                <a:cxn ang="f4299">
                  <a:pos x="f5851" y="f6583"/>
                </a:cxn>
                <a:cxn ang="f4299">
                  <a:pos x="f5852" y="f6583"/>
                </a:cxn>
                <a:cxn ang="f4299">
                  <a:pos x="f5853" y="f6584"/>
                </a:cxn>
                <a:cxn ang="f4299">
                  <a:pos x="f5853" y="f6585"/>
                </a:cxn>
                <a:cxn ang="f4299">
                  <a:pos x="f5852" y="f6586"/>
                </a:cxn>
                <a:cxn ang="f4299">
                  <a:pos x="f5851" y="f6586"/>
                </a:cxn>
                <a:cxn ang="f4299">
                  <a:pos x="f5854" y="f6585"/>
                </a:cxn>
                <a:cxn ang="f4299">
                  <a:pos x="f5854" y="f6584"/>
                </a:cxn>
                <a:cxn ang="f4299">
                  <a:pos x="f5835" y="f6587"/>
                </a:cxn>
                <a:cxn ang="f4299">
                  <a:pos x="f5836" y="f6587"/>
                </a:cxn>
                <a:cxn ang="f4299">
                  <a:pos x="f5837" y="f6588"/>
                </a:cxn>
                <a:cxn ang="f4299">
                  <a:pos x="f5837" y="f6585"/>
                </a:cxn>
                <a:cxn ang="f4299">
                  <a:pos x="f5836" y="f6586"/>
                </a:cxn>
                <a:cxn ang="f4299">
                  <a:pos x="f5835" y="f6586"/>
                </a:cxn>
                <a:cxn ang="f4299">
                  <a:pos x="f5838" y="f6585"/>
                </a:cxn>
                <a:cxn ang="f4299">
                  <a:pos x="f5838" y="f6588"/>
                </a:cxn>
                <a:cxn ang="f4299">
                  <a:pos x="f5839" y="f6587"/>
                </a:cxn>
                <a:cxn ang="f4299">
                  <a:pos x="f5840" y="f6587"/>
                </a:cxn>
                <a:cxn ang="f4299">
                  <a:pos x="f5841" y="f6588"/>
                </a:cxn>
                <a:cxn ang="f4299">
                  <a:pos x="f5841" y="f6585"/>
                </a:cxn>
                <a:cxn ang="f4299">
                  <a:pos x="f5840" y="f6586"/>
                </a:cxn>
                <a:cxn ang="f4299">
                  <a:pos x="f5839" y="f6586"/>
                </a:cxn>
                <a:cxn ang="f4299">
                  <a:pos x="f5842" y="f6585"/>
                </a:cxn>
                <a:cxn ang="f4299">
                  <a:pos x="f5842" y="f6588"/>
                </a:cxn>
                <a:cxn ang="f4299">
                  <a:pos x="f5823" y="f6589"/>
                </a:cxn>
                <a:cxn ang="f4299">
                  <a:pos x="f5824" y="f6589"/>
                </a:cxn>
                <a:cxn ang="f4299">
                  <a:pos x="f5825" y="f6590"/>
                </a:cxn>
                <a:cxn ang="f4299">
                  <a:pos x="f5825" y="f6591"/>
                </a:cxn>
                <a:cxn ang="f4299">
                  <a:pos x="f5824" y="f6592"/>
                </a:cxn>
                <a:cxn ang="f4299">
                  <a:pos x="f5823" y="f6592"/>
                </a:cxn>
                <a:cxn ang="f4299">
                  <a:pos x="f5826" y="f6591"/>
                </a:cxn>
                <a:cxn ang="f4299">
                  <a:pos x="f5826" y="f6590"/>
                </a:cxn>
                <a:cxn ang="f4299">
                  <a:pos x="f5827" y="f6589"/>
                </a:cxn>
                <a:cxn ang="f4299">
                  <a:pos x="f5828" y="f6589"/>
                </a:cxn>
                <a:cxn ang="f4299">
                  <a:pos x="f5829" y="f6590"/>
                </a:cxn>
                <a:cxn ang="f4299">
                  <a:pos x="f5829" y="f6593"/>
                </a:cxn>
                <a:cxn ang="f4299">
                  <a:pos x="f5828" y="f6592"/>
                </a:cxn>
                <a:cxn ang="f4299">
                  <a:pos x="f5827" y="f6592"/>
                </a:cxn>
                <a:cxn ang="f4299">
                  <a:pos x="f5830" y="f6593"/>
                </a:cxn>
                <a:cxn ang="f4299">
                  <a:pos x="f5830" y="f6590"/>
                </a:cxn>
                <a:cxn ang="f4299">
                  <a:pos x="f5831" y="f6589"/>
                </a:cxn>
                <a:cxn ang="f4299">
                  <a:pos x="f5832" y="f6589"/>
                </a:cxn>
                <a:cxn ang="f4299">
                  <a:pos x="f5833" y="f6590"/>
                </a:cxn>
                <a:cxn ang="f4299">
                  <a:pos x="f5833" y="f6593"/>
                </a:cxn>
                <a:cxn ang="f4299">
                  <a:pos x="f5832" y="f6594"/>
                </a:cxn>
                <a:cxn ang="f4299">
                  <a:pos x="f5831" y="f6594"/>
                </a:cxn>
                <a:cxn ang="f4299">
                  <a:pos x="f5834" y="f6593"/>
                </a:cxn>
                <a:cxn ang="f4299">
                  <a:pos x="f5834" y="f6590"/>
                </a:cxn>
                <a:cxn ang="f4299">
                  <a:pos x="f5815" y="f6595"/>
                </a:cxn>
                <a:cxn ang="f4299">
                  <a:pos x="f5816" y="f6595"/>
                </a:cxn>
                <a:cxn ang="f4299">
                  <a:pos x="f5817" y="f6590"/>
                </a:cxn>
                <a:cxn ang="f4299">
                  <a:pos x="f5817" y="f6591"/>
                </a:cxn>
                <a:cxn ang="f4299">
                  <a:pos x="f5816" y="f6592"/>
                </a:cxn>
                <a:cxn ang="f4299">
                  <a:pos x="f5815" y="f6592"/>
                </a:cxn>
                <a:cxn ang="f4299">
                  <a:pos x="f5818" y="f6591"/>
                </a:cxn>
                <a:cxn ang="f4299">
                  <a:pos x="f5818" y="f6590"/>
                </a:cxn>
                <a:cxn ang="f4299">
                  <a:pos x="f5819" y="f6595"/>
                </a:cxn>
                <a:cxn ang="f4299">
                  <a:pos x="f5820" y="f6595"/>
                </a:cxn>
                <a:cxn ang="f4299">
                  <a:pos x="f5821" y="f6590"/>
                </a:cxn>
                <a:cxn ang="f4299">
                  <a:pos x="f5821" y="f6591"/>
                </a:cxn>
                <a:cxn ang="f4299">
                  <a:pos x="f5820" y="f6592"/>
                </a:cxn>
                <a:cxn ang="f4299">
                  <a:pos x="f5819" y="f6592"/>
                </a:cxn>
                <a:cxn ang="f4299">
                  <a:pos x="f5822" y="f6591"/>
                </a:cxn>
                <a:cxn ang="f4299">
                  <a:pos x="f5822" y="f6590"/>
                </a:cxn>
                <a:cxn ang="f4299">
                  <a:pos x="f5795" y="f6596"/>
                </a:cxn>
                <a:cxn ang="f4299">
                  <a:pos x="f5796" y="f6596"/>
                </a:cxn>
                <a:cxn ang="f4299">
                  <a:pos x="f5797" y="f6597"/>
                </a:cxn>
                <a:cxn ang="f4299">
                  <a:pos x="f5797" y="f6598"/>
                </a:cxn>
                <a:cxn ang="f4299">
                  <a:pos x="f5796" y="f6599"/>
                </a:cxn>
                <a:cxn ang="f4299">
                  <a:pos x="f5795" y="f6599"/>
                </a:cxn>
                <a:cxn ang="f4299">
                  <a:pos x="f5798" y="f6598"/>
                </a:cxn>
                <a:cxn ang="f4299">
                  <a:pos x="f5798" y="f6597"/>
                </a:cxn>
                <a:cxn ang="f4299">
                  <a:pos x="f5799" y="f6596"/>
                </a:cxn>
                <a:cxn ang="f4299">
                  <a:pos x="f5800" y="f6596"/>
                </a:cxn>
                <a:cxn ang="f4299">
                  <a:pos x="f5801" y="f6597"/>
                </a:cxn>
                <a:cxn ang="f4299">
                  <a:pos x="f5801" y="f6598"/>
                </a:cxn>
                <a:cxn ang="f4299">
                  <a:pos x="f5800" y="f6599"/>
                </a:cxn>
                <a:cxn ang="f4299">
                  <a:pos x="f5799" y="f6599"/>
                </a:cxn>
                <a:cxn ang="f4299">
                  <a:pos x="f5802" y="f6598"/>
                </a:cxn>
                <a:cxn ang="f4299">
                  <a:pos x="f5802" y="f6597"/>
                </a:cxn>
                <a:cxn ang="f4299">
                  <a:pos x="f5803" y="f6596"/>
                </a:cxn>
                <a:cxn ang="f4299">
                  <a:pos x="f5804" y="f6596"/>
                </a:cxn>
                <a:cxn ang="f4299">
                  <a:pos x="f5805" y="f6597"/>
                </a:cxn>
                <a:cxn ang="f4299">
                  <a:pos x="f5805" y="f6598"/>
                </a:cxn>
                <a:cxn ang="f4299">
                  <a:pos x="f5804" y="f6599"/>
                </a:cxn>
                <a:cxn ang="f4299">
                  <a:pos x="f5803" y="f6599"/>
                </a:cxn>
                <a:cxn ang="f4299">
                  <a:pos x="f5806" y="f6598"/>
                </a:cxn>
                <a:cxn ang="f4299">
                  <a:pos x="f5806" y="f6597"/>
                </a:cxn>
                <a:cxn ang="f4299">
                  <a:pos x="f5807" y="f6596"/>
                </a:cxn>
                <a:cxn ang="f4299">
                  <a:pos x="f5808" y="f6596"/>
                </a:cxn>
                <a:cxn ang="f4299">
                  <a:pos x="f5809" y="f6597"/>
                </a:cxn>
                <a:cxn ang="f4299">
                  <a:pos x="f5809" y="f6600"/>
                </a:cxn>
                <a:cxn ang="f4299">
                  <a:pos x="f5808" y="f6599"/>
                </a:cxn>
                <a:cxn ang="f4299">
                  <a:pos x="f5807" y="f6599"/>
                </a:cxn>
                <a:cxn ang="f4299">
                  <a:pos x="f5810" y="f6600"/>
                </a:cxn>
                <a:cxn ang="f4299">
                  <a:pos x="f5810" y="f6597"/>
                </a:cxn>
                <a:cxn ang="f4299">
                  <a:pos x="f5811" y="f6596"/>
                </a:cxn>
                <a:cxn ang="f4299">
                  <a:pos x="f5812" y="f6596"/>
                </a:cxn>
                <a:cxn ang="f4299">
                  <a:pos x="f5813" y="f6597"/>
                </a:cxn>
                <a:cxn ang="f4299">
                  <a:pos x="f5813" y="f6600"/>
                </a:cxn>
                <a:cxn ang="f4299">
                  <a:pos x="f5812" y="f6601"/>
                </a:cxn>
                <a:cxn ang="f4299">
                  <a:pos x="f5811" y="f6601"/>
                </a:cxn>
                <a:cxn ang="f4299">
                  <a:pos x="f5814" y="f6600"/>
                </a:cxn>
                <a:cxn ang="f4299">
                  <a:pos x="f5814" y="f6597"/>
                </a:cxn>
                <a:cxn ang="f4299">
                  <a:pos x="f5775" y="f6602"/>
                </a:cxn>
                <a:cxn ang="f4299">
                  <a:pos x="f5776" y="f6602"/>
                </a:cxn>
                <a:cxn ang="f4299">
                  <a:pos x="f5777" y="f6603"/>
                </a:cxn>
                <a:cxn ang="f4299">
                  <a:pos x="f5777" y="f6604"/>
                </a:cxn>
                <a:cxn ang="f4299">
                  <a:pos x="f5776" y="f6605"/>
                </a:cxn>
                <a:cxn ang="f4299">
                  <a:pos x="f5775" y="f6605"/>
                </a:cxn>
                <a:cxn ang="f4299">
                  <a:pos x="f5778" y="f6604"/>
                </a:cxn>
                <a:cxn ang="f4299">
                  <a:pos x="f5778" y="f6603"/>
                </a:cxn>
                <a:cxn ang="f4299">
                  <a:pos x="f5779" y="f6602"/>
                </a:cxn>
                <a:cxn ang="f4299">
                  <a:pos x="f5780" y="f6602"/>
                </a:cxn>
                <a:cxn ang="f4299">
                  <a:pos x="f5781" y="f6603"/>
                </a:cxn>
                <a:cxn ang="f4299">
                  <a:pos x="f5781" y="f6604"/>
                </a:cxn>
                <a:cxn ang="f4299">
                  <a:pos x="f5780" y="f6606"/>
                </a:cxn>
                <a:cxn ang="f4299">
                  <a:pos x="f5779" y="f6606"/>
                </a:cxn>
                <a:cxn ang="f4299">
                  <a:pos x="f5782" y="f6604"/>
                </a:cxn>
                <a:cxn ang="f4299">
                  <a:pos x="f5782" y="f6603"/>
                </a:cxn>
                <a:cxn ang="f4299">
                  <a:pos x="f5783" y="f6602"/>
                </a:cxn>
                <a:cxn ang="f4299">
                  <a:pos x="f5784" y="f6602"/>
                </a:cxn>
                <a:cxn ang="f4299">
                  <a:pos x="f5785" y="f6607"/>
                </a:cxn>
                <a:cxn ang="f4299">
                  <a:pos x="f5785" y="f6604"/>
                </a:cxn>
                <a:cxn ang="f4299">
                  <a:pos x="f5784" y="f6606"/>
                </a:cxn>
                <a:cxn ang="f4299">
                  <a:pos x="f5783" y="f6606"/>
                </a:cxn>
                <a:cxn ang="f4299">
                  <a:pos x="f5786" y="f6604"/>
                </a:cxn>
                <a:cxn ang="f4299">
                  <a:pos x="f5786" y="f6607"/>
                </a:cxn>
                <a:cxn ang="f4299">
                  <a:pos x="f5787" y="f6602"/>
                </a:cxn>
                <a:cxn ang="f4299">
                  <a:pos x="f5788" y="f6602"/>
                </a:cxn>
                <a:cxn ang="f4299">
                  <a:pos x="f5789" y="f6607"/>
                </a:cxn>
                <a:cxn ang="f4299">
                  <a:pos x="f5789" y="f6608"/>
                </a:cxn>
                <a:cxn ang="f4299">
                  <a:pos x="f5788" y="f6606"/>
                </a:cxn>
                <a:cxn ang="f4299">
                  <a:pos x="f5787" y="f6606"/>
                </a:cxn>
                <a:cxn ang="f4299">
                  <a:pos x="f5790" y="f6608"/>
                </a:cxn>
                <a:cxn ang="f4299">
                  <a:pos x="f5790" y="f6607"/>
                </a:cxn>
                <a:cxn ang="f4299">
                  <a:pos x="f5791" y="f6602"/>
                </a:cxn>
                <a:cxn ang="f4299">
                  <a:pos x="f5792" y="f6602"/>
                </a:cxn>
                <a:cxn ang="f4299">
                  <a:pos x="f5793" y="f6607"/>
                </a:cxn>
                <a:cxn ang="f4299">
                  <a:pos x="f5793" y="f6608"/>
                </a:cxn>
                <a:cxn ang="f4299">
                  <a:pos x="f5792" y="f6606"/>
                </a:cxn>
                <a:cxn ang="f4299">
                  <a:pos x="f5791" y="f6606"/>
                </a:cxn>
                <a:cxn ang="f4299">
                  <a:pos x="f5794" y="f6608"/>
                </a:cxn>
                <a:cxn ang="f4299">
                  <a:pos x="f5794" y="f6607"/>
                </a:cxn>
                <a:cxn ang="f4299">
                  <a:pos x="f6609" y="f6610"/>
                </a:cxn>
                <a:cxn ang="f4299">
                  <a:pos x="f6611" y="f6610"/>
                </a:cxn>
                <a:cxn ang="f4299">
                  <a:pos x="f6612" y="f6613"/>
                </a:cxn>
                <a:cxn ang="f4299">
                  <a:pos x="f6612" y="f6614"/>
                </a:cxn>
                <a:cxn ang="f4299">
                  <a:pos x="f6611" y="f6615"/>
                </a:cxn>
                <a:cxn ang="f4299">
                  <a:pos x="f6609" y="f6615"/>
                </a:cxn>
                <a:cxn ang="f4299">
                  <a:pos x="f6616" y="f6614"/>
                </a:cxn>
                <a:cxn ang="f4299">
                  <a:pos x="f6616" y="f6613"/>
                </a:cxn>
                <a:cxn ang="f4299">
                  <a:pos x="f6545" y="f6617"/>
                </a:cxn>
                <a:cxn ang="f4299">
                  <a:pos x="f6618" y="f6617"/>
                </a:cxn>
                <a:cxn ang="f4299">
                  <a:pos x="f6619" y="f6613"/>
                </a:cxn>
                <a:cxn ang="f4299">
                  <a:pos x="f6619" y="f6614"/>
                </a:cxn>
                <a:cxn ang="f4299">
                  <a:pos x="f6618" y="f6615"/>
                </a:cxn>
                <a:cxn ang="f4299">
                  <a:pos x="f6545" y="f6615"/>
                </a:cxn>
                <a:cxn ang="f4299">
                  <a:pos x="f6620" y="f6614"/>
                </a:cxn>
                <a:cxn ang="f4299">
                  <a:pos x="f6620" y="f6613"/>
                </a:cxn>
                <a:cxn ang="f4299">
                  <a:pos x="f6621" y="f6617"/>
                </a:cxn>
                <a:cxn ang="f4299">
                  <a:pos x="f6551" y="f6617"/>
                </a:cxn>
                <a:cxn ang="f4299">
                  <a:pos x="f6622" y="f6613"/>
                </a:cxn>
                <a:cxn ang="f4299">
                  <a:pos x="f6622" y="f6614"/>
                </a:cxn>
                <a:cxn ang="f4299">
                  <a:pos x="f6551" y="f6615"/>
                </a:cxn>
                <a:cxn ang="f4299">
                  <a:pos x="f6621" y="f6615"/>
                </a:cxn>
                <a:cxn ang="f4299">
                  <a:pos x="f6623" y="f6614"/>
                </a:cxn>
                <a:cxn ang="f4299">
                  <a:pos x="f6623" y="f6613"/>
                </a:cxn>
                <a:cxn ang="f4299">
                  <a:pos x="f6624" y="f6617"/>
                </a:cxn>
                <a:cxn ang="f4299">
                  <a:pos x="f6625" y="f6617"/>
                </a:cxn>
                <a:cxn ang="f4299">
                  <a:pos x="f6556" y="f6613"/>
                </a:cxn>
                <a:cxn ang="f4299">
                  <a:pos x="f6556" y="f6614"/>
                </a:cxn>
                <a:cxn ang="f4299">
                  <a:pos x="f6625" y="f6615"/>
                </a:cxn>
                <a:cxn ang="f4299">
                  <a:pos x="f6624" y="f6615"/>
                </a:cxn>
                <a:cxn ang="f4299">
                  <a:pos x="f6626" y="f6614"/>
                </a:cxn>
                <a:cxn ang="f4299">
                  <a:pos x="f6626" y="f6613"/>
                </a:cxn>
                <a:cxn ang="f4299">
                  <a:pos x="f5767" y="f6627"/>
                </a:cxn>
                <a:cxn ang="f4299">
                  <a:pos x="f5769" y="f6627"/>
                </a:cxn>
                <a:cxn ang="f4299">
                  <a:pos x="f5770" y="f6628"/>
                </a:cxn>
                <a:cxn ang="f4299">
                  <a:pos x="f5770" y="f6629"/>
                </a:cxn>
                <a:cxn ang="f4299">
                  <a:pos x="f5769" y="f6630"/>
                </a:cxn>
                <a:cxn ang="f4299">
                  <a:pos x="f5767" y="f6630"/>
                </a:cxn>
                <a:cxn ang="f4299">
                  <a:pos x="f5774" y="f6629"/>
                </a:cxn>
                <a:cxn ang="f4299">
                  <a:pos x="f5774" y="f6628"/>
                </a:cxn>
                <a:cxn ang="f4299">
                  <a:pos x="f6631" y="f6632"/>
                </a:cxn>
                <a:cxn ang="f4299">
                  <a:pos x="f6560" y="f6632"/>
                </a:cxn>
                <a:cxn ang="f4299">
                  <a:pos x="f6375" y="f6633"/>
                </a:cxn>
                <a:cxn ang="f4299">
                  <a:pos x="f6375" y="f6634"/>
                </a:cxn>
                <a:cxn ang="f4299">
                  <a:pos x="f6560" y="f6635"/>
                </a:cxn>
                <a:cxn ang="f4299">
                  <a:pos x="f6631" y="f6635"/>
                </a:cxn>
                <a:cxn ang="f4299">
                  <a:pos x="f6350" y="f6634"/>
                </a:cxn>
                <a:cxn ang="f4299">
                  <a:pos x="f6350" y="f6633"/>
                </a:cxn>
                <a:cxn ang="f4299">
                  <a:pos x="f6349" y="f6636"/>
                </a:cxn>
                <a:cxn ang="f4299">
                  <a:pos x="f6316" y="f6636"/>
                </a:cxn>
                <a:cxn ang="f4299">
                  <a:pos x="f6565" y="f6637"/>
                </a:cxn>
                <a:cxn ang="f4299">
                  <a:pos x="f6565" y="f6638"/>
                </a:cxn>
                <a:cxn ang="f4299">
                  <a:pos x="f6316" y="f6639"/>
                </a:cxn>
                <a:cxn ang="f4299">
                  <a:pos x="f6349" y="f6639"/>
                </a:cxn>
                <a:cxn ang="f4299">
                  <a:pos x="f6465" y="f6638"/>
                </a:cxn>
                <a:cxn ang="f4299">
                  <a:pos x="f6465" y="f6637"/>
                </a:cxn>
                <a:cxn ang="f4299">
                  <a:pos x="f6527" y="f6640"/>
                </a:cxn>
                <a:cxn ang="f4299">
                  <a:pos x="f6641" y="f6640"/>
                </a:cxn>
                <a:cxn ang="f4299">
                  <a:pos x="f6642" y="f6643"/>
                </a:cxn>
                <a:cxn ang="f4299">
                  <a:pos x="f6642" y="f6644"/>
                </a:cxn>
                <a:cxn ang="f4299">
                  <a:pos x="f6641" y="f6645"/>
                </a:cxn>
                <a:cxn ang="f4299">
                  <a:pos x="f6527" y="f6645"/>
                </a:cxn>
                <a:cxn ang="f4299">
                  <a:pos x="f6534" y="f6644"/>
                </a:cxn>
                <a:cxn ang="f4299">
                  <a:pos x="f6534" y="f6643"/>
                </a:cxn>
                <a:cxn ang="f4299">
                  <a:pos x="f6646" y="f6640"/>
                </a:cxn>
                <a:cxn ang="f4299">
                  <a:pos x="f6535" y="f6640"/>
                </a:cxn>
                <a:cxn ang="f4299">
                  <a:pos x="f6536" y="f6643"/>
                </a:cxn>
                <a:cxn ang="f4299">
                  <a:pos x="f6536" y="f6644"/>
                </a:cxn>
                <a:cxn ang="f4299">
                  <a:pos x="f6535" y="f6645"/>
                </a:cxn>
                <a:cxn ang="f4299">
                  <a:pos x="f6646" y="f6645"/>
                </a:cxn>
                <a:cxn ang="f4299">
                  <a:pos x="f6647" y="f6644"/>
                </a:cxn>
                <a:cxn ang="f4299">
                  <a:pos x="f6647" y="f6643"/>
                </a:cxn>
                <a:cxn ang="f4299">
                  <a:pos x="f6648" y="f6640"/>
                </a:cxn>
                <a:cxn ang="f4299">
                  <a:pos x="f6537" y="f6640"/>
                </a:cxn>
                <a:cxn ang="f4299">
                  <a:pos x="f6649" y="f6643"/>
                </a:cxn>
                <a:cxn ang="f4299">
                  <a:pos x="f6649" y="f6644"/>
                </a:cxn>
                <a:cxn ang="f4299">
                  <a:pos x="f6537" y="f6645"/>
                </a:cxn>
                <a:cxn ang="f4299">
                  <a:pos x="f6648" y="f6645"/>
                </a:cxn>
                <a:cxn ang="f4299">
                  <a:pos x="f6650" y="f6644"/>
                </a:cxn>
                <a:cxn ang="f4299">
                  <a:pos x="f6650" y="f6643"/>
                </a:cxn>
                <a:cxn ang="f4299">
                  <a:pos x="f6542" y="f6640"/>
                </a:cxn>
                <a:cxn ang="f4299">
                  <a:pos x="f6651" y="f6640"/>
                </a:cxn>
                <a:cxn ang="f4299">
                  <a:pos x="f6544" y="f6643"/>
                </a:cxn>
                <a:cxn ang="f4299">
                  <a:pos x="f6544" y="f6644"/>
                </a:cxn>
                <a:cxn ang="f4299">
                  <a:pos x="f6651" y="f6645"/>
                </a:cxn>
                <a:cxn ang="f4299">
                  <a:pos x="f6542" y="f6645"/>
                </a:cxn>
                <a:cxn ang="f4299">
                  <a:pos x="f6652" y="f6644"/>
                </a:cxn>
                <a:cxn ang="f4299">
                  <a:pos x="f6652" y="f6643"/>
                </a:cxn>
                <a:cxn ang="f4299">
                  <a:pos x="f5891" y="f6653"/>
                </a:cxn>
                <a:cxn ang="f4299">
                  <a:pos x="f5892" y="f6653"/>
                </a:cxn>
                <a:cxn ang="f4299">
                  <a:pos x="f5893" y="f6654"/>
                </a:cxn>
                <a:cxn ang="f4299">
                  <a:pos x="f5893" y="f6655"/>
                </a:cxn>
                <a:cxn ang="f4299">
                  <a:pos x="f5892" y="f6656"/>
                </a:cxn>
                <a:cxn ang="f4299">
                  <a:pos x="f5891" y="f6656"/>
                </a:cxn>
                <a:cxn ang="f4299">
                  <a:pos x="f5894" y="f6655"/>
                </a:cxn>
                <a:cxn ang="f4299">
                  <a:pos x="f5894" y="f6654"/>
                </a:cxn>
                <a:cxn ang="f4299">
                  <a:pos x="f5875" y="f6657"/>
                </a:cxn>
                <a:cxn ang="f4299">
                  <a:pos x="f5876" y="f6657"/>
                </a:cxn>
                <a:cxn ang="f4299">
                  <a:pos x="f5877" y="f6654"/>
                </a:cxn>
                <a:cxn ang="f4299">
                  <a:pos x="f5877" y="f6658"/>
                </a:cxn>
                <a:cxn ang="f4299">
                  <a:pos x="f5876" y="f6656"/>
                </a:cxn>
                <a:cxn ang="f4299">
                  <a:pos x="f5875" y="f6656"/>
                </a:cxn>
                <a:cxn ang="f4299">
                  <a:pos x="f5878" y="f6658"/>
                </a:cxn>
                <a:cxn ang="f4299">
                  <a:pos x="f5878" y="f6654"/>
                </a:cxn>
                <a:cxn ang="f4299">
                  <a:pos x="f5879" y="f6657"/>
                </a:cxn>
                <a:cxn ang="f4299">
                  <a:pos x="f5880" y="f6657"/>
                </a:cxn>
                <a:cxn ang="f4299">
                  <a:pos x="f5881" y="f6654"/>
                </a:cxn>
                <a:cxn ang="f4299">
                  <a:pos x="f5881" y="f6655"/>
                </a:cxn>
                <a:cxn ang="f4299">
                  <a:pos x="f5880" y="f6656"/>
                </a:cxn>
                <a:cxn ang="f4299">
                  <a:pos x="f5879" y="f6656"/>
                </a:cxn>
                <a:cxn ang="f4299">
                  <a:pos x="f5882" y="f6655"/>
                </a:cxn>
                <a:cxn ang="f4299">
                  <a:pos x="f5882" y="f6654"/>
                </a:cxn>
                <a:cxn ang="f4299">
                  <a:pos x="f5883" y="f6657"/>
                </a:cxn>
                <a:cxn ang="f4299">
                  <a:pos x="f5884" y="f6657"/>
                </a:cxn>
                <a:cxn ang="f4299">
                  <a:pos x="f5885" y="f6654"/>
                </a:cxn>
                <a:cxn ang="f4299">
                  <a:pos x="f5885" y="f6655"/>
                </a:cxn>
                <a:cxn ang="f4299">
                  <a:pos x="f5884" y="f6656"/>
                </a:cxn>
                <a:cxn ang="f4299">
                  <a:pos x="f5883" y="f6656"/>
                </a:cxn>
                <a:cxn ang="f4299">
                  <a:pos x="f5886" y="f6655"/>
                </a:cxn>
                <a:cxn ang="f4299">
                  <a:pos x="f5886" y="f6654"/>
                </a:cxn>
                <a:cxn ang="f4299">
                  <a:pos x="f5887" y="f6657"/>
                </a:cxn>
                <a:cxn ang="f4299">
                  <a:pos x="f5888" y="f6657"/>
                </a:cxn>
                <a:cxn ang="f4299">
                  <a:pos x="f5889" y="f6654"/>
                </a:cxn>
                <a:cxn ang="f4299">
                  <a:pos x="f5889" y="f6655"/>
                </a:cxn>
                <a:cxn ang="f4299">
                  <a:pos x="f5888" y="f6656"/>
                </a:cxn>
                <a:cxn ang="f4299">
                  <a:pos x="f5887" y="f6656"/>
                </a:cxn>
                <a:cxn ang="f4299">
                  <a:pos x="f5890" y="f6655"/>
                </a:cxn>
                <a:cxn ang="f4299">
                  <a:pos x="f5890" y="f6654"/>
                </a:cxn>
                <a:cxn ang="f4299">
                  <a:pos x="f5871" y="f6659"/>
                </a:cxn>
                <a:cxn ang="f4299">
                  <a:pos x="f5872" y="f6659"/>
                </a:cxn>
                <a:cxn ang="f4299">
                  <a:pos x="f5873" y="f6660"/>
                </a:cxn>
                <a:cxn ang="f4299">
                  <a:pos x="f5873" y="f6661"/>
                </a:cxn>
                <a:cxn ang="f4299">
                  <a:pos x="f5872" y="f6662"/>
                </a:cxn>
                <a:cxn ang="f4299">
                  <a:pos x="f5871" y="f6662"/>
                </a:cxn>
                <a:cxn ang="f4299">
                  <a:pos x="f5874" y="f6661"/>
                </a:cxn>
                <a:cxn ang="f4299">
                  <a:pos x="f5874" y="f6660"/>
                </a:cxn>
                <a:cxn ang="f4299">
                  <a:pos x="f5855" y="f6659"/>
                </a:cxn>
                <a:cxn ang="f4299">
                  <a:pos x="f5856" y="f6659"/>
                </a:cxn>
                <a:cxn ang="f4299">
                  <a:pos x="f5857" y="f6660"/>
                </a:cxn>
                <a:cxn ang="f4299">
                  <a:pos x="f5857" y="f6661"/>
                </a:cxn>
                <a:cxn ang="f4299">
                  <a:pos x="f5856" y="f6662"/>
                </a:cxn>
                <a:cxn ang="f4299">
                  <a:pos x="f5855" y="f6662"/>
                </a:cxn>
                <a:cxn ang="f4299">
                  <a:pos x="f5858" y="f6661"/>
                </a:cxn>
                <a:cxn ang="f4299">
                  <a:pos x="f5858" y="f6660"/>
                </a:cxn>
                <a:cxn ang="f4299">
                  <a:pos x="f5859" y="f6659"/>
                </a:cxn>
                <a:cxn ang="f4299">
                  <a:pos x="f5860" y="f6659"/>
                </a:cxn>
                <a:cxn ang="f4299">
                  <a:pos x="f5861" y="f6660"/>
                </a:cxn>
                <a:cxn ang="f4299">
                  <a:pos x="f5861" y="f6661"/>
                </a:cxn>
                <a:cxn ang="f4299">
                  <a:pos x="f5860" y="f6662"/>
                </a:cxn>
                <a:cxn ang="f4299">
                  <a:pos x="f5859" y="f6662"/>
                </a:cxn>
                <a:cxn ang="f4299">
                  <a:pos x="f5862" y="f6661"/>
                </a:cxn>
                <a:cxn ang="f4299">
                  <a:pos x="f5862" y="f6660"/>
                </a:cxn>
                <a:cxn ang="f4299">
                  <a:pos x="f5863" y="f6659"/>
                </a:cxn>
                <a:cxn ang="f4299">
                  <a:pos x="f5864" y="f6659"/>
                </a:cxn>
                <a:cxn ang="f4299">
                  <a:pos x="f5865" y="f6660"/>
                </a:cxn>
                <a:cxn ang="f4299">
                  <a:pos x="f5865" y="f6661"/>
                </a:cxn>
                <a:cxn ang="f4299">
                  <a:pos x="f5864" y="f6662"/>
                </a:cxn>
                <a:cxn ang="f4299">
                  <a:pos x="f5863" y="f6662"/>
                </a:cxn>
                <a:cxn ang="f4299">
                  <a:pos x="f5866" y="f6661"/>
                </a:cxn>
                <a:cxn ang="f4299">
                  <a:pos x="f5866" y="f6660"/>
                </a:cxn>
                <a:cxn ang="f4299">
                  <a:pos x="f5867" y="f6659"/>
                </a:cxn>
                <a:cxn ang="f4299">
                  <a:pos x="f5868" y="f6659"/>
                </a:cxn>
                <a:cxn ang="f4299">
                  <a:pos x="f5869" y="f6660"/>
                </a:cxn>
                <a:cxn ang="f4299">
                  <a:pos x="f5869" y="f6661"/>
                </a:cxn>
                <a:cxn ang="f4299">
                  <a:pos x="f5868" y="f6662"/>
                </a:cxn>
                <a:cxn ang="f4299">
                  <a:pos x="f5867" y="f6662"/>
                </a:cxn>
                <a:cxn ang="f4299">
                  <a:pos x="f5870" y="f6661"/>
                </a:cxn>
                <a:cxn ang="f4299">
                  <a:pos x="f5870" y="f6660"/>
                </a:cxn>
                <a:cxn ang="f4299">
                  <a:pos x="f5851" y="f6663"/>
                </a:cxn>
                <a:cxn ang="f4299">
                  <a:pos x="f5852" y="f6663"/>
                </a:cxn>
                <a:cxn ang="f4299">
                  <a:pos x="f5853" y="f6664"/>
                </a:cxn>
                <a:cxn ang="f4299">
                  <a:pos x="f5853" y="f6665"/>
                </a:cxn>
                <a:cxn ang="f4299">
                  <a:pos x="f5852" y="f6666"/>
                </a:cxn>
                <a:cxn ang="f4299">
                  <a:pos x="f5851" y="f6666"/>
                </a:cxn>
                <a:cxn ang="f4299">
                  <a:pos x="f5854" y="f6665"/>
                </a:cxn>
                <a:cxn ang="f4299">
                  <a:pos x="f5854" y="f6664"/>
                </a:cxn>
                <a:cxn ang="f4299">
                  <a:pos x="f5835" y="f6667"/>
                </a:cxn>
                <a:cxn ang="f4299">
                  <a:pos x="f5836" y="f6667"/>
                </a:cxn>
                <a:cxn ang="f4299">
                  <a:pos x="f5837" y="f6664"/>
                </a:cxn>
                <a:cxn ang="f4299">
                  <a:pos x="f5837" y="f6668"/>
                </a:cxn>
                <a:cxn ang="f4299">
                  <a:pos x="f5836" y="f6669"/>
                </a:cxn>
                <a:cxn ang="f4299">
                  <a:pos x="f5835" y="f6669"/>
                </a:cxn>
                <a:cxn ang="f4299">
                  <a:pos x="f5838" y="f6668"/>
                </a:cxn>
                <a:cxn ang="f4299">
                  <a:pos x="f5838" y="f6664"/>
                </a:cxn>
                <a:cxn ang="f4299">
                  <a:pos x="f5839" y="f6667"/>
                </a:cxn>
                <a:cxn ang="f4299">
                  <a:pos x="f5840" y="f6667"/>
                </a:cxn>
                <a:cxn ang="f4299">
                  <a:pos x="f5841" y="f6664"/>
                </a:cxn>
                <a:cxn ang="f4299">
                  <a:pos x="f5841" y="f6665"/>
                </a:cxn>
                <a:cxn ang="f4299">
                  <a:pos x="f5840" y="f6669"/>
                </a:cxn>
                <a:cxn ang="f4299">
                  <a:pos x="f5839" y="f6669"/>
                </a:cxn>
                <a:cxn ang="f4299">
                  <a:pos x="f5842" y="f6665"/>
                </a:cxn>
                <a:cxn ang="f4299">
                  <a:pos x="f5842" y="f6664"/>
                </a:cxn>
                <a:cxn ang="f4299">
                  <a:pos x="f5843" y="f6667"/>
                </a:cxn>
                <a:cxn ang="f4299">
                  <a:pos x="f5844" y="f6667"/>
                </a:cxn>
                <a:cxn ang="f4299">
                  <a:pos x="f5845" y="f6664"/>
                </a:cxn>
                <a:cxn ang="f4299">
                  <a:pos x="f5845" y="f6665"/>
                </a:cxn>
                <a:cxn ang="f4299">
                  <a:pos x="f5844" y="f6666"/>
                </a:cxn>
                <a:cxn ang="f4299">
                  <a:pos x="f5843" y="f6666"/>
                </a:cxn>
                <a:cxn ang="f4299">
                  <a:pos x="f5846" y="f6665"/>
                </a:cxn>
                <a:cxn ang="f4299">
                  <a:pos x="f5846" y="f6664"/>
                </a:cxn>
                <a:cxn ang="f4299">
                  <a:pos x="f5847" y="f6667"/>
                </a:cxn>
                <a:cxn ang="f4299">
                  <a:pos x="f5848" y="f6667"/>
                </a:cxn>
                <a:cxn ang="f4299">
                  <a:pos x="f5849" y="f6664"/>
                </a:cxn>
                <a:cxn ang="f4299">
                  <a:pos x="f5849" y="f6665"/>
                </a:cxn>
                <a:cxn ang="f4299">
                  <a:pos x="f5848" y="f6666"/>
                </a:cxn>
                <a:cxn ang="f4299">
                  <a:pos x="f5847" y="f6666"/>
                </a:cxn>
                <a:cxn ang="f4299">
                  <a:pos x="f5850" y="f6665"/>
                </a:cxn>
                <a:cxn ang="f4299">
                  <a:pos x="f5850" y="f6664"/>
                </a:cxn>
                <a:cxn ang="f4299">
                  <a:pos x="f5831" y="f6670"/>
                </a:cxn>
                <a:cxn ang="f4299">
                  <a:pos x="f5832" y="f6670"/>
                </a:cxn>
                <a:cxn ang="f4299">
                  <a:pos x="f5833" y="f6671"/>
                </a:cxn>
                <a:cxn ang="f4299">
                  <a:pos x="f5833" y="f6672"/>
                </a:cxn>
                <a:cxn ang="f4299">
                  <a:pos x="f5832" y="f6673"/>
                </a:cxn>
                <a:cxn ang="f4299">
                  <a:pos x="f5831" y="f6673"/>
                </a:cxn>
                <a:cxn ang="f4299">
                  <a:pos x="f5834" y="f6672"/>
                </a:cxn>
                <a:cxn ang="f4299">
                  <a:pos x="f5834" y="f6671"/>
                </a:cxn>
                <a:cxn ang="f4299">
                  <a:pos x="f5815" y="f6674"/>
                </a:cxn>
                <a:cxn ang="f4299">
                  <a:pos x="f5816" y="f6674"/>
                </a:cxn>
                <a:cxn ang="f4299">
                  <a:pos x="f5817" y="f6671"/>
                </a:cxn>
                <a:cxn ang="f4299">
                  <a:pos x="f5817" y="f6675"/>
                </a:cxn>
                <a:cxn ang="f4299">
                  <a:pos x="f5816" y="f6673"/>
                </a:cxn>
                <a:cxn ang="f4299">
                  <a:pos x="f5815" y="f6673"/>
                </a:cxn>
                <a:cxn ang="f4299">
                  <a:pos x="f5818" y="f6675"/>
                </a:cxn>
                <a:cxn ang="f4299">
                  <a:pos x="f5818" y="f6671"/>
                </a:cxn>
                <a:cxn ang="f4299">
                  <a:pos x="f5819" y="f6674"/>
                </a:cxn>
                <a:cxn ang="f4299">
                  <a:pos x="f5820" y="f6674"/>
                </a:cxn>
                <a:cxn ang="f4299">
                  <a:pos x="f5821" y="f6671"/>
                </a:cxn>
                <a:cxn ang="f4299">
                  <a:pos x="f5821" y="f6672"/>
                </a:cxn>
                <a:cxn ang="f4299">
                  <a:pos x="f5820" y="f6673"/>
                </a:cxn>
                <a:cxn ang="f4299">
                  <a:pos x="f5819" y="f6673"/>
                </a:cxn>
                <a:cxn ang="f4299">
                  <a:pos x="f5822" y="f6672"/>
                </a:cxn>
                <a:cxn ang="f4299">
                  <a:pos x="f5822" y="f6671"/>
                </a:cxn>
                <a:cxn ang="f4299">
                  <a:pos x="f5823" y="f6674"/>
                </a:cxn>
                <a:cxn ang="f4299">
                  <a:pos x="f5824" y="f6674"/>
                </a:cxn>
                <a:cxn ang="f4299">
                  <a:pos x="f5825" y="f6671"/>
                </a:cxn>
                <a:cxn ang="f4299">
                  <a:pos x="f5825" y="f6672"/>
                </a:cxn>
                <a:cxn ang="f4299">
                  <a:pos x="f5824" y="f6673"/>
                </a:cxn>
                <a:cxn ang="f4299">
                  <a:pos x="f5823" y="f6673"/>
                </a:cxn>
                <a:cxn ang="f4299">
                  <a:pos x="f5826" y="f6672"/>
                </a:cxn>
                <a:cxn ang="f4299">
                  <a:pos x="f5826" y="f6671"/>
                </a:cxn>
                <a:cxn ang="f4299">
                  <a:pos x="f5827" y="f6674"/>
                </a:cxn>
                <a:cxn ang="f4299">
                  <a:pos x="f5828" y="f6674"/>
                </a:cxn>
                <a:cxn ang="f4299">
                  <a:pos x="f5829" y="f6671"/>
                </a:cxn>
                <a:cxn ang="f4299">
                  <a:pos x="f5829" y="f6672"/>
                </a:cxn>
                <a:cxn ang="f4299">
                  <a:pos x="f5828" y="f6673"/>
                </a:cxn>
                <a:cxn ang="f4299">
                  <a:pos x="f5827" y="f6673"/>
                </a:cxn>
                <a:cxn ang="f4299">
                  <a:pos x="f5830" y="f6672"/>
                </a:cxn>
                <a:cxn ang="f4299">
                  <a:pos x="f5830" y="f6671"/>
                </a:cxn>
                <a:cxn ang="f4299">
                  <a:pos x="f5811" y="f6676"/>
                </a:cxn>
                <a:cxn ang="f4299">
                  <a:pos x="f5812" y="f6676"/>
                </a:cxn>
                <a:cxn ang="f4299">
                  <a:pos x="f5813" y="f6677"/>
                </a:cxn>
                <a:cxn ang="f4299">
                  <a:pos x="f5813" y="f6678"/>
                </a:cxn>
                <a:cxn ang="f4299">
                  <a:pos x="f5812" y="f6679"/>
                </a:cxn>
                <a:cxn ang="f4299">
                  <a:pos x="f5811" y="f6679"/>
                </a:cxn>
                <a:cxn ang="f4299">
                  <a:pos x="f5814" y="f6678"/>
                </a:cxn>
                <a:cxn ang="f4299">
                  <a:pos x="f5814" y="f6677"/>
                </a:cxn>
                <a:cxn ang="f4299">
                  <a:pos x="f5795" y="f6676"/>
                </a:cxn>
                <a:cxn ang="f4299">
                  <a:pos x="f5796" y="f6676"/>
                </a:cxn>
                <a:cxn ang="f4299">
                  <a:pos x="f5797" y="f6680"/>
                </a:cxn>
                <a:cxn ang="f4299">
                  <a:pos x="f5797" y="f6681"/>
                </a:cxn>
                <a:cxn ang="f4299">
                  <a:pos x="f5796" y="f6682"/>
                </a:cxn>
                <a:cxn ang="f4299">
                  <a:pos x="f5795" y="f6682"/>
                </a:cxn>
                <a:cxn ang="f4299">
                  <a:pos x="f5798" y="f6681"/>
                </a:cxn>
                <a:cxn ang="f4299">
                  <a:pos x="f5798" y="f6680"/>
                </a:cxn>
                <a:cxn ang="f4299">
                  <a:pos x="f5799" y="f6676"/>
                </a:cxn>
                <a:cxn ang="f4299">
                  <a:pos x="f5800" y="f6676"/>
                </a:cxn>
                <a:cxn ang="f4299">
                  <a:pos x="f5801" y="f6680"/>
                </a:cxn>
                <a:cxn ang="f4299">
                  <a:pos x="f5801" y="f6678"/>
                </a:cxn>
                <a:cxn ang="f4299">
                  <a:pos x="f5800" y="f6682"/>
                </a:cxn>
                <a:cxn ang="f4299">
                  <a:pos x="f5799" y="f6682"/>
                </a:cxn>
                <a:cxn ang="f4299">
                  <a:pos x="f5802" y="f6678"/>
                </a:cxn>
                <a:cxn ang="f4299">
                  <a:pos x="f5802" y="f6680"/>
                </a:cxn>
                <a:cxn ang="f4299">
                  <a:pos x="f5803" y="f6676"/>
                </a:cxn>
                <a:cxn ang="f4299">
                  <a:pos x="f5804" y="f6676"/>
                </a:cxn>
                <a:cxn ang="f4299">
                  <a:pos x="f5805" y="f6680"/>
                </a:cxn>
                <a:cxn ang="f4299">
                  <a:pos x="f5805" y="f6678"/>
                </a:cxn>
                <a:cxn ang="f4299">
                  <a:pos x="f5804" y="f6679"/>
                </a:cxn>
                <a:cxn ang="f4299">
                  <a:pos x="f5803" y="f6679"/>
                </a:cxn>
                <a:cxn ang="f4299">
                  <a:pos x="f5806" y="f6678"/>
                </a:cxn>
                <a:cxn ang="f4299">
                  <a:pos x="f5806" y="f6680"/>
                </a:cxn>
                <a:cxn ang="f4299">
                  <a:pos x="f5807" y="f6676"/>
                </a:cxn>
                <a:cxn ang="f4299">
                  <a:pos x="f5808" y="f6676"/>
                </a:cxn>
                <a:cxn ang="f4299">
                  <a:pos x="f5809" y="f6680"/>
                </a:cxn>
                <a:cxn ang="f4299">
                  <a:pos x="f5809" y="f6678"/>
                </a:cxn>
                <a:cxn ang="f4299">
                  <a:pos x="f5808" y="f6679"/>
                </a:cxn>
                <a:cxn ang="f4299">
                  <a:pos x="f5807" y="f6679"/>
                </a:cxn>
                <a:cxn ang="f4299">
                  <a:pos x="f5810" y="f6678"/>
                </a:cxn>
                <a:cxn ang="f4299">
                  <a:pos x="f5810" y="f6680"/>
                </a:cxn>
                <a:cxn ang="f4299">
                  <a:pos x="f5791" y="f6683"/>
                </a:cxn>
                <a:cxn ang="f4299">
                  <a:pos x="f5792" y="f6683"/>
                </a:cxn>
                <a:cxn ang="f4299">
                  <a:pos x="f5793" y="f6684"/>
                </a:cxn>
                <a:cxn ang="f4299">
                  <a:pos x="f5793" y="f6685"/>
                </a:cxn>
                <a:cxn ang="f4299">
                  <a:pos x="f5792" y="f6686"/>
                </a:cxn>
                <a:cxn ang="f4299">
                  <a:pos x="f5791" y="f6686"/>
                </a:cxn>
                <a:cxn ang="f4299">
                  <a:pos x="f5794" y="f6685"/>
                </a:cxn>
                <a:cxn ang="f4299">
                  <a:pos x="f5794" y="f6684"/>
                </a:cxn>
                <a:cxn ang="f4299">
                  <a:pos x="f5775" y="f6683"/>
                </a:cxn>
                <a:cxn ang="f4299">
                  <a:pos x="f5776" y="f6683"/>
                </a:cxn>
                <a:cxn ang="f4299">
                  <a:pos x="f5777" y="f6684"/>
                </a:cxn>
                <a:cxn ang="f4299">
                  <a:pos x="f5777" y="f6687"/>
                </a:cxn>
                <a:cxn ang="f4299">
                  <a:pos x="f5776" y="f6688"/>
                </a:cxn>
                <a:cxn ang="f4299">
                  <a:pos x="f5775" y="f6688"/>
                </a:cxn>
                <a:cxn ang="f4299">
                  <a:pos x="f5778" y="f6687"/>
                </a:cxn>
                <a:cxn ang="f4299">
                  <a:pos x="f5778" y="f6684"/>
                </a:cxn>
                <a:cxn ang="f4299">
                  <a:pos x="f5779" y="f6683"/>
                </a:cxn>
                <a:cxn ang="f4299">
                  <a:pos x="f5780" y="f6683"/>
                </a:cxn>
                <a:cxn ang="f4299">
                  <a:pos x="f5781" y="f6684"/>
                </a:cxn>
                <a:cxn ang="f4299">
                  <a:pos x="f5781" y="f6685"/>
                </a:cxn>
                <a:cxn ang="f4299">
                  <a:pos x="f5780" y="f6688"/>
                </a:cxn>
                <a:cxn ang="f4299">
                  <a:pos x="f5779" y="f6688"/>
                </a:cxn>
                <a:cxn ang="f4299">
                  <a:pos x="f5782" y="f6685"/>
                </a:cxn>
                <a:cxn ang="f4299">
                  <a:pos x="f5782" y="f6684"/>
                </a:cxn>
                <a:cxn ang="f4299">
                  <a:pos x="f5783" y="f6683"/>
                </a:cxn>
                <a:cxn ang="f4299">
                  <a:pos x="f5784" y="f6683"/>
                </a:cxn>
                <a:cxn ang="f4299">
                  <a:pos x="f5785" y="f6684"/>
                </a:cxn>
                <a:cxn ang="f4299">
                  <a:pos x="f5785" y="f6685"/>
                </a:cxn>
                <a:cxn ang="f4299">
                  <a:pos x="f5784" y="f6686"/>
                </a:cxn>
                <a:cxn ang="f4299">
                  <a:pos x="f5783" y="f6686"/>
                </a:cxn>
                <a:cxn ang="f4299">
                  <a:pos x="f5786" y="f6685"/>
                </a:cxn>
                <a:cxn ang="f4299">
                  <a:pos x="f5786" y="f6684"/>
                </a:cxn>
                <a:cxn ang="f4299">
                  <a:pos x="f5787" y="f6683"/>
                </a:cxn>
                <a:cxn ang="f4299">
                  <a:pos x="f5788" y="f6683"/>
                </a:cxn>
                <a:cxn ang="f4299">
                  <a:pos x="f5789" y="f6684"/>
                </a:cxn>
                <a:cxn ang="f4299">
                  <a:pos x="f5789" y="f6685"/>
                </a:cxn>
                <a:cxn ang="f4299">
                  <a:pos x="f5788" y="f6686"/>
                </a:cxn>
                <a:cxn ang="f4299">
                  <a:pos x="f5787" y="f6686"/>
                </a:cxn>
                <a:cxn ang="f4299">
                  <a:pos x="f5790" y="f6685"/>
                </a:cxn>
                <a:cxn ang="f4299">
                  <a:pos x="f5790" y="f6684"/>
                </a:cxn>
                <a:cxn ang="f4299">
                  <a:pos x="f6689" y="f6690"/>
                </a:cxn>
                <a:cxn ang="f4299">
                  <a:pos x="f6618" y="f6690"/>
                </a:cxn>
                <a:cxn ang="f4299">
                  <a:pos x="f6691" y="f6692"/>
                </a:cxn>
                <a:cxn ang="f4299">
                  <a:pos x="f6691" y="f6693"/>
                </a:cxn>
                <a:cxn ang="f4299">
                  <a:pos x="f6618" y="f6694"/>
                </a:cxn>
                <a:cxn ang="f4299">
                  <a:pos x="f6689" y="f6694"/>
                </a:cxn>
                <a:cxn ang="f4299">
                  <a:pos x="f6695" y="f6693"/>
                </a:cxn>
                <a:cxn ang="f4299">
                  <a:pos x="f6695" y="f6692"/>
                </a:cxn>
                <a:cxn ang="f4299">
                  <a:pos x="f6696" y="f6690"/>
                </a:cxn>
                <a:cxn ang="f4299">
                  <a:pos x="f6697" y="f6690"/>
                </a:cxn>
                <a:cxn ang="f4299">
                  <a:pos x="f6622" y="f6692"/>
                </a:cxn>
                <a:cxn ang="f4299">
                  <a:pos x="f6622" y="f6693"/>
                </a:cxn>
                <a:cxn ang="f4299">
                  <a:pos x="f6697" y="f6694"/>
                </a:cxn>
                <a:cxn ang="f4299">
                  <a:pos x="f6696" y="f6694"/>
                </a:cxn>
                <a:cxn ang="f4299">
                  <a:pos x="f6623" y="f6693"/>
                </a:cxn>
                <a:cxn ang="f4299">
                  <a:pos x="f6623" y="f6692"/>
                </a:cxn>
                <a:cxn ang="f4299">
                  <a:pos x="f6624" y="f6690"/>
                </a:cxn>
                <a:cxn ang="f4299">
                  <a:pos x="f6625" y="f6690"/>
                </a:cxn>
                <a:cxn ang="f4299">
                  <a:pos x="f6698" y="f6692"/>
                </a:cxn>
                <a:cxn ang="f4299">
                  <a:pos x="f6698" y="f6693"/>
                </a:cxn>
                <a:cxn ang="f4299">
                  <a:pos x="f6625" y="f6694"/>
                </a:cxn>
                <a:cxn ang="f4299">
                  <a:pos x="f6624" y="f6694"/>
                </a:cxn>
                <a:cxn ang="f4299">
                  <a:pos x="f6626" y="f6693"/>
                </a:cxn>
                <a:cxn ang="f4299">
                  <a:pos x="f6626" y="f6692"/>
                </a:cxn>
                <a:cxn ang="f4299">
                  <a:pos x="f6609" y="f6690"/>
                </a:cxn>
                <a:cxn ang="f4299">
                  <a:pos x="f6699" y="f6690"/>
                </a:cxn>
                <a:cxn ang="f4299">
                  <a:pos x="f6700" y="f6692"/>
                </a:cxn>
                <a:cxn ang="f4299">
                  <a:pos x="f6700" y="f6693"/>
                </a:cxn>
                <a:cxn ang="f4299">
                  <a:pos x="f6699" y="f6694"/>
                </a:cxn>
                <a:cxn ang="f4299">
                  <a:pos x="f6609" y="f6694"/>
                </a:cxn>
                <a:cxn ang="f4299">
                  <a:pos x="f6701" y="f6693"/>
                </a:cxn>
                <a:cxn ang="f4299">
                  <a:pos x="f6701" y="f6692"/>
                </a:cxn>
                <a:cxn ang="f4299">
                  <a:pos x="f5767" y="f6702"/>
                </a:cxn>
                <a:cxn ang="f4299">
                  <a:pos x="f5769" y="f6702"/>
                </a:cxn>
                <a:cxn ang="f4299">
                  <a:pos x="f5770" y="f6703"/>
                </a:cxn>
                <a:cxn ang="f4299">
                  <a:pos x="f5770" y="f6704"/>
                </a:cxn>
                <a:cxn ang="f4299">
                  <a:pos x="f5769" y="f6705"/>
                </a:cxn>
                <a:cxn ang="f4299">
                  <a:pos x="f5767" y="f6705"/>
                </a:cxn>
                <a:cxn ang="f4299">
                  <a:pos x="f5774" y="f6704"/>
                </a:cxn>
                <a:cxn ang="f4299">
                  <a:pos x="f5774" y="f6703"/>
                </a:cxn>
                <a:cxn ang="f4299">
                  <a:pos x="f6631" y="f6706"/>
                </a:cxn>
                <a:cxn ang="f4299">
                  <a:pos x="f6560" y="f6706"/>
                </a:cxn>
                <a:cxn ang="f4299">
                  <a:pos x="f6375" y="f6707"/>
                </a:cxn>
                <a:cxn ang="f4299">
                  <a:pos x="f6375" y="f6708"/>
                </a:cxn>
                <a:cxn ang="f4299">
                  <a:pos x="f6560" y="f6709"/>
                </a:cxn>
                <a:cxn ang="f4299">
                  <a:pos x="f6631" y="f6709"/>
                </a:cxn>
                <a:cxn ang="f4299">
                  <a:pos x="f6350" y="f6708"/>
                </a:cxn>
                <a:cxn ang="f4299">
                  <a:pos x="f6350" y="f6707"/>
                </a:cxn>
                <a:cxn ang="f4299">
                  <a:pos x="f6710" y="f6711"/>
                </a:cxn>
                <a:cxn ang="f4299">
                  <a:pos x="f6712" y="f6711"/>
                </a:cxn>
                <a:cxn ang="f4299">
                  <a:pos x="f6565" y="f6713"/>
                </a:cxn>
                <a:cxn ang="f4299">
                  <a:pos x="f6565" y="f6714"/>
                </a:cxn>
                <a:cxn ang="f4299">
                  <a:pos x="f6712" y="f6715"/>
                </a:cxn>
                <a:cxn ang="f4299">
                  <a:pos x="f6710" y="f6715"/>
                </a:cxn>
                <a:cxn ang="f4299">
                  <a:pos x="f6465" y="f6714"/>
                </a:cxn>
                <a:cxn ang="f4299">
                  <a:pos x="f6465" y="f6713"/>
                </a:cxn>
                <a:cxn ang="f4299">
                  <a:pos x="f6716" y="f6717"/>
                </a:cxn>
                <a:cxn ang="f4299">
                  <a:pos x="f6641" y="f6717"/>
                </a:cxn>
                <a:cxn ang="f4299">
                  <a:pos x="f6642" y="f6718"/>
                </a:cxn>
                <a:cxn ang="f4299">
                  <a:pos x="f6642" y="f6719"/>
                </a:cxn>
                <a:cxn ang="f4299">
                  <a:pos x="f6641" y="f6720"/>
                </a:cxn>
                <a:cxn ang="f4299">
                  <a:pos x="f6716" y="f6720"/>
                </a:cxn>
                <a:cxn ang="f4299">
                  <a:pos x="f6721" y="f6719"/>
                </a:cxn>
                <a:cxn ang="f4299">
                  <a:pos x="f6721" y="f6718"/>
                </a:cxn>
                <a:cxn ang="f4299">
                  <a:pos x="f6646" y="f6717"/>
                </a:cxn>
                <a:cxn ang="f4299">
                  <a:pos x="f6722" y="f6717"/>
                </a:cxn>
                <a:cxn ang="f4299">
                  <a:pos x="f6723" y="f6718"/>
                </a:cxn>
                <a:cxn ang="f4299">
                  <a:pos x="f6723" y="f6719"/>
                </a:cxn>
                <a:cxn ang="f4299">
                  <a:pos x="f6722" y="f6720"/>
                </a:cxn>
                <a:cxn ang="f4299">
                  <a:pos x="f6646" y="f6720"/>
                </a:cxn>
                <a:cxn ang="f4299">
                  <a:pos x="f6724" y="f6719"/>
                </a:cxn>
                <a:cxn ang="f4299">
                  <a:pos x="f6724" y="f6718"/>
                </a:cxn>
                <a:cxn ang="f4299">
                  <a:pos x="f6725" y="f6726"/>
                </a:cxn>
                <a:cxn ang="f4299">
                  <a:pos x="f6727" y="f6726"/>
                </a:cxn>
                <a:cxn ang="f4299">
                  <a:pos x="f6649" y="f6718"/>
                </a:cxn>
                <a:cxn ang="f4299">
                  <a:pos x="f6649" y="f6719"/>
                </a:cxn>
                <a:cxn ang="f4299">
                  <a:pos x="f6727" y="f6720"/>
                </a:cxn>
                <a:cxn ang="f4299">
                  <a:pos x="f6725" y="f6720"/>
                </a:cxn>
                <a:cxn ang="f4299">
                  <a:pos x="f6650" y="f6719"/>
                </a:cxn>
                <a:cxn ang="f4299">
                  <a:pos x="f6650" y="f6718"/>
                </a:cxn>
                <a:cxn ang="f4299">
                  <a:pos x="f6728" y="f6726"/>
                </a:cxn>
                <a:cxn ang="f4299">
                  <a:pos x="f6651" y="f6726"/>
                </a:cxn>
                <a:cxn ang="f4299">
                  <a:pos x="f6729" y="f6718"/>
                </a:cxn>
                <a:cxn ang="f4299">
                  <a:pos x="f6729" y="f6719"/>
                </a:cxn>
                <a:cxn ang="f4299">
                  <a:pos x="f6651" y="f6720"/>
                </a:cxn>
                <a:cxn ang="f4299">
                  <a:pos x="f6728" y="f6720"/>
                </a:cxn>
                <a:cxn ang="f4299">
                  <a:pos x="f6730" y="f6719"/>
                </a:cxn>
                <a:cxn ang="f4299">
                  <a:pos x="f6730" y="f6718"/>
                </a:cxn>
                <a:cxn ang="f4299">
                  <a:pos x="f5875" y="f6731"/>
                </a:cxn>
                <a:cxn ang="f4299">
                  <a:pos x="f5876" y="f6731"/>
                </a:cxn>
                <a:cxn ang="f4299">
                  <a:pos x="f5877" y="f6732"/>
                </a:cxn>
                <a:cxn ang="f4299">
                  <a:pos x="f5877" y="f6733"/>
                </a:cxn>
                <a:cxn ang="f4299">
                  <a:pos x="f5876" y="f6734"/>
                </a:cxn>
                <a:cxn ang="f4299">
                  <a:pos x="f5875" y="f6734"/>
                </a:cxn>
                <a:cxn ang="f4299">
                  <a:pos x="f5878" y="f6733"/>
                </a:cxn>
                <a:cxn ang="f4299">
                  <a:pos x="f5878" y="f6732"/>
                </a:cxn>
                <a:cxn ang="f4299">
                  <a:pos x="f5879" y="f6731"/>
                </a:cxn>
                <a:cxn ang="f4299">
                  <a:pos x="f5880" y="f6731"/>
                </a:cxn>
                <a:cxn ang="f4299">
                  <a:pos x="f5881" y="f6732"/>
                </a:cxn>
                <a:cxn ang="f4299">
                  <a:pos x="f5881" y="f6733"/>
                </a:cxn>
                <a:cxn ang="f4299">
                  <a:pos x="f5880" y="f6734"/>
                </a:cxn>
                <a:cxn ang="f4299">
                  <a:pos x="f5879" y="f6734"/>
                </a:cxn>
                <a:cxn ang="f4299">
                  <a:pos x="f5882" y="f6733"/>
                </a:cxn>
                <a:cxn ang="f4299">
                  <a:pos x="f5882" y="f6732"/>
                </a:cxn>
                <a:cxn ang="f4299">
                  <a:pos x="f5883" y="f6731"/>
                </a:cxn>
                <a:cxn ang="f4299">
                  <a:pos x="f5884" y="f6731"/>
                </a:cxn>
                <a:cxn ang="f4299">
                  <a:pos x="f5885" y="f6732"/>
                </a:cxn>
                <a:cxn ang="f4299">
                  <a:pos x="f5885" y="f6733"/>
                </a:cxn>
                <a:cxn ang="f4299">
                  <a:pos x="f5884" y="f6734"/>
                </a:cxn>
                <a:cxn ang="f4299">
                  <a:pos x="f5883" y="f6734"/>
                </a:cxn>
                <a:cxn ang="f4299">
                  <a:pos x="f5886" y="f6733"/>
                </a:cxn>
                <a:cxn ang="f4299">
                  <a:pos x="f5886" y="f6732"/>
                </a:cxn>
                <a:cxn ang="f4299">
                  <a:pos x="f5887" y="f6731"/>
                </a:cxn>
                <a:cxn ang="f4299">
                  <a:pos x="f5888" y="f6731"/>
                </a:cxn>
                <a:cxn ang="f4299">
                  <a:pos x="f5889" y="f6735"/>
                </a:cxn>
                <a:cxn ang="f4299">
                  <a:pos x="f5889" y="f6733"/>
                </a:cxn>
                <a:cxn ang="f4299">
                  <a:pos x="f5888" y="f6734"/>
                </a:cxn>
                <a:cxn ang="f4299">
                  <a:pos x="f5887" y="f6734"/>
                </a:cxn>
                <a:cxn ang="f4299">
                  <a:pos x="f5890" y="f6733"/>
                </a:cxn>
                <a:cxn ang="f4299">
                  <a:pos x="f5890" y="f6735"/>
                </a:cxn>
                <a:cxn ang="f4299">
                  <a:pos x="f5891" y="f6731"/>
                </a:cxn>
                <a:cxn ang="f4299">
                  <a:pos x="f5892" y="f6731"/>
                </a:cxn>
                <a:cxn ang="f4299">
                  <a:pos x="f5893" y="f6735"/>
                </a:cxn>
                <a:cxn ang="f4299">
                  <a:pos x="f5893" y="f6733"/>
                </a:cxn>
                <a:cxn ang="f4299">
                  <a:pos x="f5892" y="f6734"/>
                </a:cxn>
                <a:cxn ang="f4299">
                  <a:pos x="f5891" y="f6734"/>
                </a:cxn>
                <a:cxn ang="f4299">
                  <a:pos x="f5894" y="f6733"/>
                </a:cxn>
                <a:cxn ang="f4299">
                  <a:pos x="f5894" y="f6735"/>
                </a:cxn>
                <a:cxn ang="f4299">
                  <a:pos x="f5855" y="f6736"/>
                </a:cxn>
                <a:cxn ang="f4299">
                  <a:pos x="f5856" y="f6736"/>
                </a:cxn>
                <a:cxn ang="f4299">
                  <a:pos x="f5857" y="f6737"/>
                </a:cxn>
                <a:cxn ang="f4299">
                  <a:pos x="f5857" y="f6738"/>
                </a:cxn>
                <a:cxn ang="f4299">
                  <a:pos x="f5856" y="f6739"/>
                </a:cxn>
                <a:cxn ang="f4299">
                  <a:pos x="f5855" y="f6739"/>
                </a:cxn>
                <a:cxn ang="f4299">
                  <a:pos x="f5858" y="f6738"/>
                </a:cxn>
                <a:cxn ang="f4299">
                  <a:pos x="f5858" y="f6737"/>
                </a:cxn>
                <a:cxn ang="f4299">
                  <a:pos x="f5859" y="f6736"/>
                </a:cxn>
                <a:cxn ang="f4299">
                  <a:pos x="f5860" y="f6736"/>
                </a:cxn>
                <a:cxn ang="f4299">
                  <a:pos x="f5861" y="f6737"/>
                </a:cxn>
                <a:cxn ang="f4299">
                  <a:pos x="f5861" y="f6738"/>
                </a:cxn>
                <a:cxn ang="f4299">
                  <a:pos x="f5860" y="f6739"/>
                </a:cxn>
                <a:cxn ang="f4299">
                  <a:pos x="f5859" y="f6739"/>
                </a:cxn>
                <a:cxn ang="f4299">
                  <a:pos x="f5862" y="f6738"/>
                </a:cxn>
                <a:cxn ang="f4299">
                  <a:pos x="f5862" y="f6737"/>
                </a:cxn>
                <a:cxn ang="f4299">
                  <a:pos x="f5863" y="f6736"/>
                </a:cxn>
                <a:cxn ang="f4299">
                  <a:pos x="f5864" y="f6736"/>
                </a:cxn>
                <a:cxn ang="f4299">
                  <a:pos x="f5865" y="f6737"/>
                </a:cxn>
                <a:cxn ang="f4299">
                  <a:pos x="f5865" y="f6738"/>
                </a:cxn>
                <a:cxn ang="f4299">
                  <a:pos x="f5864" y="f6739"/>
                </a:cxn>
                <a:cxn ang="f4299">
                  <a:pos x="f5863" y="f6739"/>
                </a:cxn>
                <a:cxn ang="f4299">
                  <a:pos x="f5866" y="f6738"/>
                </a:cxn>
                <a:cxn ang="f4299">
                  <a:pos x="f5866" y="f6737"/>
                </a:cxn>
                <a:cxn ang="f4299">
                  <a:pos x="f5867" y="f6736"/>
                </a:cxn>
                <a:cxn ang="f4299">
                  <a:pos x="f5868" y="f6736"/>
                </a:cxn>
                <a:cxn ang="f4299">
                  <a:pos x="f5869" y="f6740"/>
                </a:cxn>
                <a:cxn ang="f4299">
                  <a:pos x="f5869" y="f6738"/>
                </a:cxn>
                <a:cxn ang="f4299">
                  <a:pos x="f5868" y="f6739"/>
                </a:cxn>
                <a:cxn ang="f4299">
                  <a:pos x="f5867" y="f6739"/>
                </a:cxn>
                <a:cxn ang="f4299">
                  <a:pos x="f5870" y="f6738"/>
                </a:cxn>
                <a:cxn ang="f4299">
                  <a:pos x="f5870" y="f6740"/>
                </a:cxn>
                <a:cxn ang="f4299">
                  <a:pos x="f5871" y="f6736"/>
                </a:cxn>
                <a:cxn ang="f4299">
                  <a:pos x="f5872" y="f6736"/>
                </a:cxn>
                <a:cxn ang="f4299">
                  <a:pos x="f5873" y="f6740"/>
                </a:cxn>
                <a:cxn ang="f4299">
                  <a:pos x="f5873" y="f6738"/>
                </a:cxn>
                <a:cxn ang="f4299">
                  <a:pos x="f5872" y="f6739"/>
                </a:cxn>
                <a:cxn ang="f4299">
                  <a:pos x="f5871" y="f6739"/>
                </a:cxn>
                <a:cxn ang="f4299">
                  <a:pos x="f5874" y="f6738"/>
                </a:cxn>
                <a:cxn ang="f4299">
                  <a:pos x="f5874" y="f6740"/>
                </a:cxn>
                <a:cxn ang="f4299">
                  <a:pos x="f5835" y="f6741"/>
                </a:cxn>
                <a:cxn ang="f4299">
                  <a:pos x="f5836" y="f6741"/>
                </a:cxn>
                <a:cxn ang="f4299">
                  <a:pos x="f5837" y="f6742"/>
                </a:cxn>
                <a:cxn ang="f4299">
                  <a:pos x="f5837" y="f6743"/>
                </a:cxn>
                <a:cxn ang="f4299">
                  <a:pos x="f5836" y="f6744"/>
                </a:cxn>
                <a:cxn ang="f4299">
                  <a:pos x="f5835" y="f6744"/>
                </a:cxn>
                <a:cxn ang="f4299">
                  <a:pos x="f5838" y="f6743"/>
                </a:cxn>
                <a:cxn ang="f4299">
                  <a:pos x="f5838" y="f6742"/>
                </a:cxn>
                <a:cxn ang="f4299">
                  <a:pos x="f5839" y="f6741"/>
                </a:cxn>
                <a:cxn ang="f4299">
                  <a:pos x="f5840" y="f6741"/>
                </a:cxn>
                <a:cxn ang="f4299">
                  <a:pos x="f5841" y="f6742"/>
                </a:cxn>
                <a:cxn ang="f4299">
                  <a:pos x="f5841" y="f6743"/>
                </a:cxn>
                <a:cxn ang="f4299">
                  <a:pos x="f5840" y="f6744"/>
                </a:cxn>
                <a:cxn ang="f4299">
                  <a:pos x="f5839" y="f6744"/>
                </a:cxn>
                <a:cxn ang="f4299">
                  <a:pos x="f5842" y="f6743"/>
                </a:cxn>
                <a:cxn ang="f4299">
                  <a:pos x="f5842" y="f6742"/>
                </a:cxn>
                <a:cxn ang="f4299">
                  <a:pos x="f5843" y="f6741"/>
                </a:cxn>
                <a:cxn ang="f4299">
                  <a:pos x="f5844" y="f6741"/>
                </a:cxn>
                <a:cxn ang="f4299">
                  <a:pos x="f5845" y="f6742"/>
                </a:cxn>
                <a:cxn ang="f4299">
                  <a:pos x="f5845" y="f6743"/>
                </a:cxn>
                <a:cxn ang="f4299">
                  <a:pos x="f5844" y="f6744"/>
                </a:cxn>
                <a:cxn ang="f4299">
                  <a:pos x="f5843" y="f6744"/>
                </a:cxn>
                <a:cxn ang="f4299">
                  <a:pos x="f5846" y="f6743"/>
                </a:cxn>
                <a:cxn ang="f4299">
                  <a:pos x="f5846" y="f6742"/>
                </a:cxn>
                <a:cxn ang="f4299">
                  <a:pos x="f5847" y="f6741"/>
                </a:cxn>
                <a:cxn ang="f4299">
                  <a:pos x="f5848" y="f6741"/>
                </a:cxn>
                <a:cxn ang="f4299">
                  <a:pos x="f5849" y="f6745"/>
                </a:cxn>
                <a:cxn ang="f4299">
                  <a:pos x="f5849" y="f6743"/>
                </a:cxn>
                <a:cxn ang="f4299">
                  <a:pos x="f5848" y="f6744"/>
                </a:cxn>
                <a:cxn ang="f4299">
                  <a:pos x="f5847" y="f6744"/>
                </a:cxn>
                <a:cxn ang="f4299">
                  <a:pos x="f5850" y="f6743"/>
                </a:cxn>
                <a:cxn ang="f4299">
                  <a:pos x="f5850" y="f6745"/>
                </a:cxn>
                <a:cxn ang="f4299">
                  <a:pos x="f5851" y="f6741"/>
                </a:cxn>
                <a:cxn ang="f4299">
                  <a:pos x="f5852" y="f6741"/>
                </a:cxn>
                <a:cxn ang="f4299">
                  <a:pos x="f5853" y="f6745"/>
                </a:cxn>
                <a:cxn ang="f4299">
                  <a:pos x="f5853" y="f6743"/>
                </a:cxn>
                <a:cxn ang="f4299">
                  <a:pos x="f5852" y="f6744"/>
                </a:cxn>
                <a:cxn ang="f4299">
                  <a:pos x="f5851" y="f6744"/>
                </a:cxn>
                <a:cxn ang="f4299">
                  <a:pos x="f5854" y="f6743"/>
                </a:cxn>
                <a:cxn ang="f4299">
                  <a:pos x="f5854" y="f6745"/>
                </a:cxn>
                <a:cxn ang="f4299">
                  <a:pos x="f5827" y="f6746"/>
                </a:cxn>
                <a:cxn ang="f4299">
                  <a:pos x="f5828" y="f6746"/>
                </a:cxn>
                <a:cxn ang="f4299">
                  <a:pos x="f5829" y="f6747"/>
                </a:cxn>
                <a:cxn ang="f4299">
                  <a:pos x="f5829" y="f6748"/>
                </a:cxn>
                <a:cxn ang="f4299">
                  <a:pos x="f5828" y="f6749"/>
                </a:cxn>
                <a:cxn ang="f4299">
                  <a:pos x="f5827" y="f6749"/>
                </a:cxn>
                <a:cxn ang="f4299">
                  <a:pos x="f5830" y="f6748"/>
                </a:cxn>
                <a:cxn ang="f4299">
                  <a:pos x="f5830" y="f6747"/>
                </a:cxn>
                <a:cxn ang="f4299">
                  <a:pos x="f5831" y="f6746"/>
                </a:cxn>
                <a:cxn ang="f4299">
                  <a:pos x="f5832" y="f6746"/>
                </a:cxn>
                <a:cxn ang="f4299">
                  <a:pos x="f5833" y="f6747"/>
                </a:cxn>
                <a:cxn ang="f4299">
                  <a:pos x="f5833" y="f6748"/>
                </a:cxn>
                <a:cxn ang="f4299">
                  <a:pos x="f5832" y="f6749"/>
                </a:cxn>
                <a:cxn ang="f4299">
                  <a:pos x="f5831" y="f6749"/>
                </a:cxn>
                <a:cxn ang="f4299">
                  <a:pos x="f5834" y="f6748"/>
                </a:cxn>
                <a:cxn ang="f4299">
                  <a:pos x="f5834" y="f6747"/>
                </a:cxn>
                <a:cxn ang="f4299">
                  <a:pos x="f5815" y="f6746"/>
                </a:cxn>
                <a:cxn ang="f4299">
                  <a:pos x="f5816" y="f6746"/>
                </a:cxn>
                <a:cxn ang="f4299">
                  <a:pos x="f5817" y="f6750"/>
                </a:cxn>
                <a:cxn ang="f4299">
                  <a:pos x="f5817" y="f6748"/>
                </a:cxn>
                <a:cxn ang="f4299">
                  <a:pos x="f5816" y="f6749"/>
                </a:cxn>
                <a:cxn ang="f4299">
                  <a:pos x="f5815" y="f6749"/>
                </a:cxn>
                <a:cxn ang="f4299">
                  <a:pos x="f5818" y="f6748"/>
                </a:cxn>
                <a:cxn ang="f4299">
                  <a:pos x="f5818" y="f6750"/>
                </a:cxn>
                <a:cxn ang="f4299">
                  <a:pos x="f5819" y="f6746"/>
                </a:cxn>
                <a:cxn ang="f4299">
                  <a:pos x="f5820" y="f6746"/>
                </a:cxn>
                <a:cxn ang="f4299">
                  <a:pos x="f5821" y="f6750"/>
                </a:cxn>
                <a:cxn ang="f4299">
                  <a:pos x="f5821" y="f6748"/>
                </a:cxn>
                <a:cxn ang="f4299">
                  <a:pos x="f5820" y="f6749"/>
                </a:cxn>
                <a:cxn ang="f4299">
                  <a:pos x="f5819" y="f6749"/>
                </a:cxn>
                <a:cxn ang="f4299">
                  <a:pos x="f5822" y="f6748"/>
                </a:cxn>
                <a:cxn ang="f4299">
                  <a:pos x="f5822" y="f6750"/>
                </a:cxn>
                <a:cxn ang="f4299">
                  <a:pos x="f5823" y="f6746"/>
                </a:cxn>
                <a:cxn ang="f4299">
                  <a:pos x="f5824" y="f6746"/>
                </a:cxn>
                <a:cxn ang="f4299">
                  <a:pos x="f5825" y="f6750"/>
                </a:cxn>
                <a:cxn ang="f4299">
                  <a:pos x="f5825" y="f6748"/>
                </a:cxn>
                <a:cxn ang="f4299">
                  <a:pos x="f5824" y="f6749"/>
                </a:cxn>
                <a:cxn ang="f4299">
                  <a:pos x="f5823" y="f6749"/>
                </a:cxn>
                <a:cxn ang="f4299">
                  <a:pos x="f5826" y="f6748"/>
                </a:cxn>
                <a:cxn ang="f4299">
                  <a:pos x="f5826" y="f6750"/>
                </a:cxn>
                <a:cxn ang="f4299">
                  <a:pos x="f5807" y="f6751"/>
                </a:cxn>
                <a:cxn ang="f4299">
                  <a:pos x="f5808" y="f6751"/>
                </a:cxn>
                <a:cxn ang="f4299">
                  <a:pos x="f5809" y="f6752"/>
                </a:cxn>
                <a:cxn ang="f4299">
                  <a:pos x="f5809" y="f6753"/>
                </a:cxn>
                <a:cxn ang="f4299">
                  <a:pos x="f5808" y="f6754"/>
                </a:cxn>
                <a:cxn ang="f4299">
                  <a:pos x="f5807" y="f6754"/>
                </a:cxn>
                <a:cxn ang="f4299">
                  <a:pos x="f5810" y="f6753"/>
                </a:cxn>
                <a:cxn ang="f4299">
                  <a:pos x="f5810" y="f6752"/>
                </a:cxn>
                <a:cxn ang="f4299">
                  <a:pos x="f5811" y="f6751"/>
                </a:cxn>
                <a:cxn ang="f4299">
                  <a:pos x="f5812" y="f6751"/>
                </a:cxn>
                <a:cxn ang="f4299">
                  <a:pos x="f5813" y="f6752"/>
                </a:cxn>
                <a:cxn ang="f4299">
                  <a:pos x="f5813" y="f6753"/>
                </a:cxn>
                <a:cxn ang="f4299">
                  <a:pos x="f5812" y="f6754"/>
                </a:cxn>
                <a:cxn ang="f4299">
                  <a:pos x="f5811" y="f6754"/>
                </a:cxn>
                <a:cxn ang="f4299">
                  <a:pos x="f5814" y="f6753"/>
                </a:cxn>
                <a:cxn ang="f4299">
                  <a:pos x="f5814" y="f6752"/>
                </a:cxn>
                <a:cxn ang="f4299">
                  <a:pos x="f5795" y="f6755"/>
                </a:cxn>
                <a:cxn ang="f4299">
                  <a:pos x="f5796" y="f6755"/>
                </a:cxn>
                <a:cxn ang="f4299">
                  <a:pos x="f5797" y="f6756"/>
                </a:cxn>
                <a:cxn ang="f4299">
                  <a:pos x="f5797" y="f6753"/>
                </a:cxn>
                <a:cxn ang="f4299">
                  <a:pos x="f5796" y="f6754"/>
                </a:cxn>
                <a:cxn ang="f4299">
                  <a:pos x="f5795" y="f6754"/>
                </a:cxn>
                <a:cxn ang="f4299">
                  <a:pos x="f5798" y="f6753"/>
                </a:cxn>
                <a:cxn ang="f4299">
                  <a:pos x="f5798" y="f6756"/>
                </a:cxn>
                <a:cxn ang="f4299">
                  <a:pos x="f5799" y="f6755"/>
                </a:cxn>
                <a:cxn ang="f4299">
                  <a:pos x="f5800" y="f6755"/>
                </a:cxn>
                <a:cxn ang="f4299">
                  <a:pos x="f5801" y="f6756"/>
                </a:cxn>
                <a:cxn ang="f4299">
                  <a:pos x="f5801" y="f6753"/>
                </a:cxn>
                <a:cxn ang="f4299">
                  <a:pos x="f5800" y="f6754"/>
                </a:cxn>
                <a:cxn ang="f4299">
                  <a:pos x="f5799" y="f6754"/>
                </a:cxn>
                <a:cxn ang="f4299">
                  <a:pos x="f5802" y="f6753"/>
                </a:cxn>
                <a:cxn ang="f4299">
                  <a:pos x="f5802" y="f6756"/>
                </a:cxn>
                <a:cxn ang="f4299">
                  <a:pos x="f5803" y="f6755"/>
                </a:cxn>
                <a:cxn ang="f4299">
                  <a:pos x="f5804" y="f6755"/>
                </a:cxn>
                <a:cxn ang="f4299">
                  <a:pos x="f5805" y="f6756"/>
                </a:cxn>
                <a:cxn ang="f4299">
                  <a:pos x="f5805" y="f6753"/>
                </a:cxn>
                <a:cxn ang="f4299">
                  <a:pos x="f5804" y="f6754"/>
                </a:cxn>
                <a:cxn ang="f4299">
                  <a:pos x="f5803" y="f6754"/>
                </a:cxn>
                <a:cxn ang="f4299">
                  <a:pos x="f5806" y="f6753"/>
                </a:cxn>
                <a:cxn ang="f4299">
                  <a:pos x="f5806" y="f6756"/>
                </a:cxn>
                <a:cxn ang="f4299">
                  <a:pos x="f5787" y="f6757"/>
                </a:cxn>
                <a:cxn ang="f4299">
                  <a:pos x="f5788" y="f6757"/>
                </a:cxn>
                <a:cxn ang="f4299">
                  <a:pos x="f5789" y="f6758"/>
                </a:cxn>
                <a:cxn ang="f4299">
                  <a:pos x="f5789" y="f6759"/>
                </a:cxn>
                <a:cxn ang="f4299">
                  <a:pos x="f5788" y="f6760"/>
                </a:cxn>
                <a:cxn ang="f4299">
                  <a:pos x="f5787" y="f6760"/>
                </a:cxn>
                <a:cxn ang="f4299">
                  <a:pos x="f5790" y="f6759"/>
                </a:cxn>
                <a:cxn ang="f4299">
                  <a:pos x="f5790" y="f6758"/>
                </a:cxn>
                <a:cxn ang="f4299">
                  <a:pos x="f5791" y="f6757"/>
                </a:cxn>
                <a:cxn ang="f4299">
                  <a:pos x="f5792" y="f6757"/>
                </a:cxn>
                <a:cxn ang="f4299">
                  <a:pos x="f5793" y="f6758"/>
                </a:cxn>
                <a:cxn ang="f4299">
                  <a:pos x="f5793" y="f6761"/>
                </a:cxn>
                <a:cxn ang="f4299">
                  <a:pos x="f5792" y="f6760"/>
                </a:cxn>
                <a:cxn ang="f4299">
                  <a:pos x="f5791" y="f6760"/>
                </a:cxn>
                <a:cxn ang="f4299">
                  <a:pos x="f5794" y="f6761"/>
                </a:cxn>
                <a:cxn ang="f4299">
                  <a:pos x="f5794" y="f6758"/>
                </a:cxn>
                <a:cxn ang="f4299">
                  <a:pos x="f5775" y="f6757"/>
                </a:cxn>
                <a:cxn ang="f4299">
                  <a:pos x="f5776" y="f6757"/>
                </a:cxn>
                <a:cxn ang="f4299">
                  <a:pos x="f5777" y="f6762"/>
                </a:cxn>
                <a:cxn ang="f4299">
                  <a:pos x="f5777" y="f6759"/>
                </a:cxn>
                <a:cxn ang="f4299">
                  <a:pos x="f5776" y="f6760"/>
                </a:cxn>
                <a:cxn ang="f4299">
                  <a:pos x="f5775" y="f6760"/>
                </a:cxn>
                <a:cxn ang="f4299">
                  <a:pos x="f5778" y="f6759"/>
                </a:cxn>
                <a:cxn ang="f4299">
                  <a:pos x="f5778" y="f6762"/>
                </a:cxn>
                <a:cxn ang="f4299">
                  <a:pos x="f5779" y="f6757"/>
                </a:cxn>
                <a:cxn ang="f4299">
                  <a:pos x="f5780" y="f6757"/>
                </a:cxn>
                <a:cxn ang="f4299">
                  <a:pos x="f5781" y="f6762"/>
                </a:cxn>
                <a:cxn ang="f4299">
                  <a:pos x="f5781" y="f6759"/>
                </a:cxn>
                <a:cxn ang="f4299">
                  <a:pos x="f5780" y="f6760"/>
                </a:cxn>
                <a:cxn ang="f4299">
                  <a:pos x="f5779" y="f6760"/>
                </a:cxn>
                <a:cxn ang="f4299">
                  <a:pos x="f5782" y="f6759"/>
                </a:cxn>
                <a:cxn ang="f4299">
                  <a:pos x="f5782" y="f6762"/>
                </a:cxn>
                <a:cxn ang="f4299">
                  <a:pos x="f5783" y="f6757"/>
                </a:cxn>
                <a:cxn ang="f4299">
                  <a:pos x="f5784" y="f6757"/>
                </a:cxn>
                <a:cxn ang="f4299">
                  <a:pos x="f5785" y="f6762"/>
                </a:cxn>
                <a:cxn ang="f4299">
                  <a:pos x="f5785" y="f6759"/>
                </a:cxn>
                <a:cxn ang="f4299">
                  <a:pos x="f5784" y="f6760"/>
                </a:cxn>
                <a:cxn ang="f4299">
                  <a:pos x="f5783" y="f6760"/>
                </a:cxn>
                <a:cxn ang="f4299">
                  <a:pos x="f5786" y="f6759"/>
                </a:cxn>
                <a:cxn ang="f4299">
                  <a:pos x="f5786" y="f6762"/>
                </a:cxn>
                <a:cxn ang="f4299">
                  <a:pos x="f5767" y="f6763"/>
                </a:cxn>
                <a:cxn ang="f4299">
                  <a:pos x="f5769" y="f6763"/>
                </a:cxn>
                <a:cxn ang="f4299">
                  <a:pos x="f5770" y="f6764"/>
                </a:cxn>
                <a:cxn ang="f4299">
                  <a:pos x="f5770" y="f6765"/>
                </a:cxn>
                <a:cxn ang="f4299">
                  <a:pos x="f5769" y="f6766"/>
                </a:cxn>
                <a:cxn ang="f4299">
                  <a:pos x="f5767" y="f6766"/>
                </a:cxn>
                <a:cxn ang="f4299">
                  <a:pos x="f5774" y="f6765"/>
                </a:cxn>
                <a:cxn ang="f4299">
                  <a:pos x="f5774" y="f6764"/>
                </a:cxn>
                <a:cxn ang="f4299">
                  <a:pos x="f6767" y="f6768"/>
                </a:cxn>
                <a:cxn ang="f4299">
                  <a:pos x="f6769" y="f6768"/>
                </a:cxn>
                <a:cxn ang="f4299">
                  <a:pos x="f6723" y="f6770"/>
                </a:cxn>
                <a:cxn ang="f4299">
                  <a:pos x="f6723" y="f6771"/>
                </a:cxn>
                <a:cxn ang="f4299">
                  <a:pos x="f6769" y="f6772"/>
                </a:cxn>
                <a:cxn ang="f4299">
                  <a:pos x="f6767" y="f6772"/>
                </a:cxn>
                <a:cxn ang="f4299">
                  <a:pos x="f6773" y="f6771"/>
                </a:cxn>
                <a:cxn ang="f4299">
                  <a:pos x="f6773" y="f6770"/>
                </a:cxn>
                <a:cxn ang="f4299">
                  <a:pos x="f6774" y="f6775"/>
                </a:cxn>
                <a:cxn ang="f4299">
                  <a:pos x="f6776" y="f6775"/>
                </a:cxn>
                <a:cxn ang="f4299">
                  <a:pos x="f6777" y="f6770"/>
                </a:cxn>
                <a:cxn ang="f4299">
                  <a:pos x="f6777" y="f6771"/>
                </a:cxn>
                <a:cxn ang="f4299">
                  <a:pos x="f6776" y="f6778"/>
                </a:cxn>
                <a:cxn ang="f4299">
                  <a:pos x="f6774" y="f6778"/>
                </a:cxn>
                <a:cxn ang="f4299">
                  <a:pos x="f6779" y="f6771"/>
                </a:cxn>
                <a:cxn ang="f4299">
                  <a:pos x="f6779" y="f6770"/>
                </a:cxn>
                <a:cxn ang="f4299">
                  <a:pos x="f6728" y="f6775"/>
                </a:cxn>
                <a:cxn ang="f4299">
                  <a:pos x="f6780" y="f6775"/>
                </a:cxn>
                <a:cxn ang="f4299">
                  <a:pos x="f6781" y="f6770"/>
                </a:cxn>
                <a:cxn ang="f4299">
                  <a:pos x="f6781" y="f6771"/>
                </a:cxn>
                <a:cxn ang="f4299">
                  <a:pos x="f6780" y="f6772"/>
                </a:cxn>
                <a:cxn ang="f4299">
                  <a:pos x="f6728" y="f6772"/>
                </a:cxn>
                <a:cxn ang="f4299">
                  <a:pos x="f6730" y="f6771"/>
                </a:cxn>
                <a:cxn ang="f4299">
                  <a:pos x="f6730" y="f6770"/>
                </a:cxn>
                <a:cxn ang="f4299">
                  <a:pos x="f6782" y="f6775"/>
                </a:cxn>
                <a:cxn ang="f4299">
                  <a:pos x="f6783" y="f6775"/>
                </a:cxn>
                <a:cxn ang="f4299">
                  <a:pos x="f6784" y="f6770"/>
                </a:cxn>
                <a:cxn ang="f4299">
                  <a:pos x="f6784" y="f6771"/>
                </a:cxn>
                <a:cxn ang="f4299">
                  <a:pos x="f6783" y="f6772"/>
                </a:cxn>
                <a:cxn ang="f4299">
                  <a:pos x="f6782" y="f6772"/>
                </a:cxn>
                <a:cxn ang="f4299">
                  <a:pos x="f6785" y="f6771"/>
                </a:cxn>
                <a:cxn ang="f4299">
                  <a:pos x="f6785" y="f6770"/>
                </a:cxn>
                <a:cxn ang="f4299">
                  <a:pos x="f6696" y="f6786"/>
                </a:cxn>
                <a:cxn ang="f4299">
                  <a:pos x="f6697" y="f6786"/>
                </a:cxn>
                <a:cxn ang="f4299">
                  <a:pos x="f6787" y="f6788"/>
                </a:cxn>
                <a:cxn ang="f4299">
                  <a:pos x="f6787" y="f6789"/>
                </a:cxn>
                <a:cxn ang="f4299">
                  <a:pos x="f6697" y="f6790"/>
                </a:cxn>
                <a:cxn ang="f4299">
                  <a:pos x="f6696" y="f6790"/>
                </a:cxn>
                <a:cxn ang="f4299">
                  <a:pos x="f6791" y="f6789"/>
                </a:cxn>
                <a:cxn ang="f4299">
                  <a:pos x="f6791" y="f6788"/>
                </a:cxn>
                <a:cxn ang="f4299">
                  <a:pos x="f6792" y="f6786"/>
                </a:cxn>
                <a:cxn ang="f4299">
                  <a:pos x="f6793" y="f6786"/>
                </a:cxn>
                <a:cxn ang="f4299">
                  <a:pos x="f6698" y="f6788"/>
                </a:cxn>
                <a:cxn ang="f4299">
                  <a:pos x="f6698" y="f6789"/>
                </a:cxn>
                <a:cxn ang="f4299">
                  <a:pos x="f6793" y="f6790"/>
                </a:cxn>
                <a:cxn ang="f4299">
                  <a:pos x="f6792" y="f6790"/>
                </a:cxn>
                <a:cxn ang="f4299">
                  <a:pos x="f6794" y="f6789"/>
                </a:cxn>
                <a:cxn ang="f4299">
                  <a:pos x="f6794" y="f6788"/>
                </a:cxn>
                <a:cxn ang="f4299">
                  <a:pos x="f6795" y="f6786"/>
                </a:cxn>
                <a:cxn ang="f4299">
                  <a:pos x="f6699" y="f6786"/>
                </a:cxn>
                <a:cxn ang="f4299">
                  <a:pos x="f6700" y="f6788"/>
                </a:cxn>
                <a:cxn ang="f4299">
                  <a:pos x="f6700" y="f6796"/>
                </a:cxn>
                <a:cxn ang="f4299">
                  <a:pos x="f6699" y="f6790"/>
                </a:cxn>
                <a:cxn ang="f4299">
                  <a:pos x="f6795" y="f6790"/>
                </a:cxn>
                <a:cxn ang="f4299">
                  <a:pos x="f6797" y="f6796"/>
                </a:cxn>
                <a:cxn ang="f4299">
                  <a:pos x="f6797" y="f6788"/>
                </a:cxn>
                <a:cxn ang="f4299">
                  <a:pos x="f6798" y="f6786"/>
                </a:cxn>
                <a:cxn ang="f4299">
                  <a:pos x="f6799" y="f6786"/>
                </a:cxn>
                <a:cxn ang="f4299">
                  <a:pos x="f6691" y="f6800"/>
                </a:cxn>
                <a:cxn ang="f4299">
                  <a:pos x="f6691" y="f6789"/>
                </a:cxn>
                <a:cxn ang="f4299">
                  <a:pos x="f6799" y="f6790"/>
                </a:cxn>
                <a:cxn ang="f4299">
                  <a:pos x="f6798" y="f6790"/>
                </a:cxn>
                <a:cxn ang="f4299">
                  <a:pos x="f6695" y="f6789"/>
                </a:cxn>
                <a:cxn ang="f4299">
                  <a:pos x="f6695" y="f6800"/>
                </a:cxn>
                <a:cxn ang="f4299">
                  <a:pos x="f6631" y="f6801"/>
                </a:cxn>
                <a:cxn ang="f4299">
                  <a:pos x="f6560" y="f6801"/>
                </a:cxn>
                <a:cxn ang="f4299">
                  <a:pos x="f6375" y="f6802"/>
                </a:cxn>
                <a:cxn ang="f4299">
                  <a:pos x="f6375" y="f6803"/>
                </a:cxn>
                <a:cxn ang="f4299">
                  <a:pos x="f6560" y="f6804"/>
                </a:cxn>
                <a:cxn ang="f4299">
                  <a:pos x="f6631" y="f6804"/>
                </a:cxn>
                <a:cxn ang="f4299">
                  <a:pos x="f6805" y="f6803"/>
                </a:cxn>
                <a:cxn ang="f4299">
                  <a:pos x="f6805" y="f6802"/>
                </a:cxn>
                <a:cxn ang="f4299">
                  <a:pos x="f6710" y="f6806"/>
                </a:cxn>
                <a:cxn ang="f4299">
                  <a:pos x="f6712" y="f6806"/>
                </a:cxn>
                <a:cxn ang="f4299">
                  <a:pos x="f6565" y="f6807"/>
                </a:cxn>
                <a:cxn ang="f4299">
                  <a:pos x="f6565" y="f6808"/>
                </a:cxn>
                <a:cxn ang="f4299">
                  <a:pos x="f6712" y="f6809"/>
                </a:cxn>
                <a:cxn ang="f4299">
                  <a:pos x="f6710" y="f6809"/>
                </a:cxn>
                <a:cxn ang="f4299">
                  <a:pos x="f6465" y="f6808"/>
                </a:cxn>
                <a:cxn ang="f4299">
                  <a:pos x="f6465" y="f6807"/>
                </a:cxn>
                <a:cxn ang="f4299">
                  <a:pos x="f5875" y="f6810"/>
                </a:cxn>
                <a:cxn ang="f4299">
                  <a:pos x="f5876" y="f6810"/>
                </a:cxn>
                <a:cxn ang="f4299">
                  <a:pos x="f5877" y="f6811"/>
                </a:cxn>
                <a:cxn ang="f4299">
                  <a:pos x="f5877" y="f6812"/>
                </a:cxn>
                <a:cxn ang="f4299">
                  <a:pos x="f5876" y="f6813"/>
                </a:cxn>
                <a:cxn ang="f4299">
                  <a:pos x="f5875" y="f6813"/>
                </a:cxn>
                <a:cxn ang="f4299">
                  <a:pos x="f5878" y="f6812"/>
                </a:cxn>
                <a:cxn ang="f4299">
                  <a:pos x="f5878" y="f6811"/>
                </a:cxn>
                <a:cxn ang="f4299">
                  <a:pos x="f5879" y="f6810"/>
                </a:cxn>
                <a:cxn ang="f4299">
                  <a:pos x="f5880" y="f6810"/>
                </a:cxn>
                <a:cxn ang="f4299">
                  <a:pos x="f5881" y="f6811"/>
                </a:cxn>
                <a:cxn ang="f4299">
                  <a:pos x="f5881" y="f6812"/>
                </a:cxn>
                <a:cxn ang="f4299">
                  <a:pos x="f5880" y="f6813"/>
                </a:cxn>
                <a:cxn ang="f4299">
                  <a:pos x="f5879" y="f6813"/>
                </a:cxn>
                <a:cxn ang="f4299">
                  <a:pos x="f5882" y="f6812"/>
                </a:cxn>
                <a:cxn ang="f4299">
                  <a:pos x="f5882" y="f6811"/>
                </a:cxn>
                <a:cxn ang="f4299">
                  <a:pos x="f5883" y="f6810"/>
                </a:cxn>
                <a:cxn ang="f4299">
                  <a:pos x="f5884" y="f6810"/>
                </a:cxn>
                <a:cxn ang="f4299">
                  <a:pos x="f5885" y="f6811"/>
                </a:cxn>
                <a:cxn ang="f4299">
                  <a:pos x="f5885" y="f6812"/>
                </a:cxn>
                <a:cxn ang="f4299">
                  <a:pos x="f5884" y="f6813"/>
                </a:cxn>
                <a:cxn ang="f4299">
                  <a:pos x="f5883" y="f6813"/>
                </a:cxn>
                <a:cxn ang="f4299">
                  <a:pos x="f5886" y="f6812"/>
                </a:cxn>
                <a:cxn ang="f4299">
                  <a:pos x="f5886" y="f6811"/>
                </a:cxn>
                <a:cxn ang="f4299">
                  <a:pos x="f5887" y="f6810"/>
                </a:cxn>
                <a:cxn ang="f4299">
                  <a:pos x="f5888" y="f6810"/>
                </a:cxn>
                <a:cxn ang="f4299">
                  <a:pos x="f5889" y="f6811"/>
                </a:cxn>
                <a:cxn ang="f4299">
                  <a:pos x="f5889" y="f6812"/>
                </a:cxn>
                <a:cxn ang="f4299">
                  <a:pos x="f5888" y="f6814"/>
                </a:cxn>
                <a:cxn ang="f4299">
                  <a:pos x="f5887" y="f6814"/>
                </a:cxn>
                <a:cxn ang="f4299">
                  <a:pos x="f5890" y="f6812"/>
                </a:cxn>
                <a:cxn ang="f4299">
                  <a:pos x="f5890" y="f6811"/>
                </a:cxn>
                <a:cxn ang="f4299">
                  <a:pos x="f5891" y="f6810"/>
                </a:cxn>
                <a:cxn ang="f4299">
                  <a:pos x="f5892" y="f6810"/>
                </a:cxn>
                <a:cxn ang="f4299">
                  <a:pos x="f5893" y="f6811"/>
                </a:cxn>
                <a:cxn ang="f4299">
                  <a:pos x="f5893" y="f6812"/>
                </a:cxn>
                <a:cxn ang="f4299">
                  <a:pos x="f5892" y="f6814"/>
                </a:cxn>
                <a:cxn ang="f4299">
                  <a:pos x="f5891" y="f6814"/>
                </a:cxn>
                <a:cxn ang="f4299">
                  <a:pos x="f5894" y="f6812"/>
                </a:cxn>
                <a:cxn ang="f4299">
                  <a:pos x="f5894" y="f6811"/>
                </a:cxn>
                <a:cxn ang="f4299">
                  <a:pos x="f5855" y="f6815"/>
                </a:cxn>
                <a:cxn ang="f4299">
                  <a:pos x="f5856" y="f6815"/>
                </a:cxn>
                <a:cxn ang="f4299">
                  <a:pos x="f5857" y="f6816"/>
                </a:cxn>
                <a:cxn ang="f4299">
                  <a:pos x="f5857" y="f6817"/>
                </a:cxn>
                <a:cxn ang="f4299">
                  <a:pos x="f5856" y="f6818"/>
                </a:cxn>
                <a:cxn ang="f4299">
                  <a:pos x="f5855" y="f6818"/>
                </a:cxn>
                <a:cxn ang="f4299">
                  <a:pos x="f5858" y="f6817"/>
                </a:cxn>
                <a:cxn ang="f4299">
                  <a:pos x="f5858" y="f6816"/>
                </a:cxn>
                <a:cxn ang="f4299">
                  <a:pos x="f5859" y="f6815"/>
                </a:cxn>
                <a:cxn ang="f4299">
                  <a:pos x="f5860" y="f6815"/>
                </a:cxn>
                <a:cxn ang="f4299">
                  <a:pos x="f5861" y="f6816"/>
                </a:cxn>
                <a:cxn ang="f4299">
                  <a:pos x="f5861" y="f6817"/>
                </a:cxn>
                <a:cxn ang="f4299">
                  <a:pos x="f5860" y="f6818"/>
                </a:cxn>
                <a:cxn ang="f4299">
                  <a:pos x="f5859" y="f6818"/>
                </a:cxn>
                <a:cxn ang="f4299">
                  <a:pos x="f5862" y="f6817"/>
                </a:cxn>
                <a:cxn ang="f4299">
                  <a:pos x="f5862" y="f6816"/>
                </a:cxn>
                <a:cxn ang="f4299">
                  <a:pos x="f5863" y="f6815"/>
                </a:cxn>
                <a:cxn ang="f4299">
                  <a:pos x="f5864" y="f6815"/>
                </a:cxn>
                <a:cxn ang="f4299">
                  <a:pos x="f5865" y="f6816"/>
                </a:cxn>
                <a:cxn ang="f4299">
                  <a:pos x="f5865" y="f6817"/>
                </a:cxn>
                <a:cxn ang="f4299">
                  <a:pos x="f5864" y="f6818"/>
                </a:cxn>
                <a:cxn ang="f4299">
                  <a:pos x="f5863" y="f6818"/>
                </a:cxn>
                <a:cxn ang="f4299">
                  <a:pos x="f5866" y="f6817"/>
                </a:cxn>
                <a:cxn ang="f4299">
                  <a:pos x="f5866" y="f6816"/>
                </a:cxn>
                <a:cxn ang="f4299">
                  <a:pos x="f5867" y="f6815"/>
                </a:cxn>
                <a:cxn ang="f4299">
                  <a:pos x="f5868" y="f6815"/>
                </a:cxn>
                <a:cxn ang="f4299">
                  <a:pos x="f5869" y="f6816"/>
                </a:cxn>
                <a:cxn ang="f4299">
                  <a:pos x="f5869" y="f6817"/>
                </a:cxn>
                <a:cxn ang="f4299">
                  <a:pos x="f5868" y="f6818"/>
                </a:cxn>
                <a:cxn ang="f4299">
                  <a:pos x="f5867" y="f6818"/>
                </a:cxn>
                <a:cxn ang="f4299">
                  <a:pos x="f5870" y="f6817"/>
                </a:cxn>
                <a:cxn ang="f4299">
                  <a:pos x="f5870" y="f6816"/>
                </a:cxn>
                <a:cxn ang="f4299">
                  <a:pos x="f5871" y="f6815"/>
                </a:cxn>
                <a:cxn ang="f4299">
                  <a:pos x="f5872" y="f6815"/>
                </a:cxn>
                <a:cxn ang="f4299">
                  <a:pos x="f5873" y="f6816"/>
                </a:cxn>
                <a:cxn ang="f4299">
                  <a:pos x="f5873" y="f6817"/>
                </a:cxn>
                <a:cxn ang="f4299">
                  <a:pos x="f5872" y="f6818"/>
                </a:cxn>
                <a:cxn ang="f4299">
                  <a:pos x="f5871" y="f6818"/>
                </a:cxn>
                <a:cxn ang="f4299">
                  <a:pos x="f5874" y="f6817"/>
                </a:cxn>
                <a:cxn ang="f4299">
                  <a:pos x="f5874" y="f6816"/>
                </a:cxn>
                <a:cxn ang="f4299">
                  <a:pos x="f5835" y="f6819"/>
                </a:cxn>
                <a:cxn ang="f4299">
                  <a:pos x="f5836" y="f6819"/>
                </a:cxn>
                <a:cxn ang="f4299">
                  <a:pos x="f5837" y="f6820"/>
                </a:cxn>
                <a:cxn ang="f4299">
                  <a:pos x="f5837" y="f6821"/>
                </a:cxn>
                <a:cxn ang="f4299">
                  <a:pos x="f5836" y="f6822"/>
                </a:cxn>
                <a:cxn ang="f4299">
                  <a:pos x="f5835" y="f6822"/>
                </a:cxn>
                <a:cxn ang="f4299">
                  <a:pos x="f5838" y="f6821"/>
                </a:cxn>
                <a:cxn ang="f4299">
                  <a:pos x="f5838" y="f6820"/>
                </a:cxn>
                <a:cxn ang="f4299">
                  <a:pos x="f5839" y="f6819"/>
                </a:cxn>
                <a:cxn ang="f4299">
                  <a:pos x="f5840" y="f6819"/>
                </a:cxn>
                <a:cxn ang="f4299">
                  <a:pos x="f5841" y="f6820"/>
                </a:cxn>
                <a:cxn ang="f4299">
                  <a:pos x="f5841" y="f6821"/>
                </a:cxn>
                <a:cxn ang="f4299">
                  <a:pos x="f5840" y="f6822"/>
                </a:cxn>
                <a:cxn ang="f4299">
                  <a:pos x="f5839" y="f6822"/>
                </a:cxn>
                <a:cxn ang="f4299">
                  <a:pos x="f5842" y="f6821"/>
                </a:cxn>
                <a:cxn ang="f4299">
                  <a:pos x="f5842" y="f6820"/>
                </a:cxn>
                <a:cxn ang="f4299">
                  <a:pos x="f5843" y="f6819"/>
                </a:cxn>
                <a:cxn ang="f4299">
                  <a:pos x="f5844" y="f6819"/>
                </a:cxn>
                <a:cxn ang="f4299">
                  <a:pos x="f5845" y="f6820"/>
                </a:cxn>
                <a:cxn ang="f4299">
                  <a:pos x="f5845" y="f6821"/>
                </a:cxn>
                <a:cxn ang="f4299">
                  <a:pos x="f5844" y="f6822"/>
                </a:cxn>
                <a:cxn ang="f4299">
                  <a:pos x="f5843" y="f6822"/>
                </a:cxn>
                <a:cxn ang="f4299">
                  <a:pos x="f5846" y="f6821"/>
                </a:cxn>
                <a:cxn ang="f4299">
                  <a:pos x="f5846" y="f6820"/>
                </a:cxn>
                <a:cxn ang="f4299">
                  <a:pos x="f5847" y="f6819"/>
                </a:cxn>
                <a:cxn ang="f4299">
                  <a:pos x="f5848" y="f6819"/>
                </a:cxn>
                <a:cxn ang="f4299">
                  <a:pos x="f5849" y="f6820"/>
                </a:cxn>
                <a:cxn ang="f4299">
                  <a:pos x="f5849" y="f6821"/>
                </a:cxn>
                <a:cxn ang="f4299">
                  <a:pos x="f5848" y="f6823"/>
                </a:cxn>
                <a:cxn ang="f4299">
                  <a:pos x="f5847" y="f6823"/>
                </a:cxn>
                <a:cxn ang="f4299">
                  <a:pos x="f5850" y="f6821"/>
                </a:cxn>
                <a:cxn ang="f4299">
                  <a:pos x="f5850" y="f6820"/>
                </a:cxn>
                <a:cxn ang="f4299">
                  <a:pos x="f5851" y="f6819"/>
                </a:cxn>
                <a:cxn ang="f4299">
                  <a:pos x="f5852" y="f6819"/>
                </a:cxn>
                <a:cxn ang="f4299">
                  <a:pos x="f5853" y="f6824"/>
                </a:cxn>
                <a:cxn ang="f4299">
                  <a:pos x="f5853" y="f6821"/>
                </a:cxn>
                <a:cxn ang="f4299">
                  <a:pos x="f5852" y="f6823"/>
                </a:cxn>
                <a:cxn ang="f4299">
                  <a:pos x="f5851" y="f6823"/>
                </a:cxn>
                <a:cxn ang="f4299">
                  <a:pos x="f5854" y="f6821"/>
                </a:cxn>
                <a:cxn ang="f4299">
                  <a:pos x="f5854" y="f6824"/>
                </a:cxn>
                <a:cxn ang="f4299">
                  <a:pos x="f5815" y="f6825"/>
                </a:cxn>
                <a:cxn ang="f4299">
                  <a:pos x="f5816" y="f6825"/>
                </a:cxn>
                <a:cxn ang="f4299">
                  <a:pos x="f5817" y="f6826"/>
                </a:cxn>
                <a:cxn ang="f4299">
                  <a:pos x="f5817" y="f6827"/>
                </a:cxn>
                <a:cxn ang="f4299">
                  <a:pos x="f5816" y="f6828"/>
                </a:cxn>
                <a:cxn ang="f4299">
                  <a:pos x="f5815" y="f6828"/>
                </a:cxn>
                <a:cxn ang="f4299">
                  <a:pos x="f5818" y="f6827"/>
                </a:cxn>
                <a:cxn ang="f4299">
                  <a:pos x="f5818" y="f6826"/>
                </a:cxn>
                <a:cxn ang="f4299">
                  <a:pos x="f5819" y="f6825"/>
                </a:cxn>
                <a:cxn ang="f4299">
                  <a:pos x="f5820" y="f6825"/>
                </a:cxn>
                <a:cxn ang="f4299">
                  <a:pos x="f5821" y="f6826"/>
                </a:cxn>
                <a:cxn ang="f4299">
                  <a:pos x="f5821" y="f6827"/>
                </a:cxn>
                <a:cxn ang="f4299">
                  <a:pos x="f5820" y="f6828"/>
                </a:cxn>
                <a:cxn ang="f4299">
                  <a:pos x="f5819" y="f6828"/>
                </a:cxn>
                <a:cxn ang="f4299">
                  <a:pos x="f5822" y="f6827"/>
                </a:cxn>
                <a:cxn ang="f4299">
                  <a:pos x="f5822" y="f6826"/>
                </a:cxn>
                <a:cxn ang="f4299">
                  <a:pos x="f5823" y="f6825"/>
                </a:cxn>
                <a:cxn ang="f4299">
                  <a:pos x="f5824" y="f6825"/>
                </a:cxn>
                <a:cxn ang="f4299">
                  <a:pos x="f5825" y="f6826"/>
                </a:cxn>
                <a:cxn ang="f4299">
                  <a:pos x="f5825" y="f6827"/>
                </a:cxn>
                <a:cxn ang="f4299">
                  <a:pos x="f5824" y="f6828"/>
                </a:cxn>
                <a:cxn ang="f4299">
                  <a:pos x="f5823" y="f6828"/>
                </a:cxn>
                <a:cxn ang="f4299">
                  <a:pos x="f5826" y="f6827"/>
                </a:cxn>
                <a:cxn ang="f4299">
                  <a:pos x="f5826" y="f6826"/>
                </a:cxn>
                <a:cxn ang="f4299">
                  <a:pos x="f5827" y="f6825"/>
                </a:cxn>
                <a:cxn ang="f4299">
                  <a:pos x="f5828" y="f6825"/>
                </a:cxn>
                <a:cxn ang="f4299">
                  <a:pos x="f5829" y="f6826"/>
                </a:cxn>
                <a:cxn ang="f4299">
                  <a:pos x="f5829" y="f6827"/>
                </a:cxn>
                <a:cxn ang="f4299">
                  <a:pos x="f5828" y="f6828"/>
                </a:cxn>
                <a:cxn ang="f4299">
                  <a:pos x="f5827" y="f6828"/>
                </a:cxn>
                <a:cxn ang="f4299">
                  <a:pos x="f5830" y="f6827"/>
                </a:cxn>
                <a:cxn ang="f4299">
                  <a:pos x="f5830" y="f6826"/>
                </a:cxn>
                <a:cxn ang="f4299">
                  <a:pos x="f5831" y="f6825"/>
                </a:cxn>
                <a:cxn ang="f4299">
                  <a:pos x="f5832" y="f6825"/>
                </a:cxn>
                <a:cxn ang="f4299">
                  <a:pos x="f5833" y="f6826"/>
                </a:cxn>
                <a:cxn ang="f4299">
                  <a:pos x="f5833" y="f6827"/>
                </a:cxn>
                <a:cxn ang="f4299">
                  <a:pos x="f5832" y="f6828"/>
                </a:cxn>
                <a:cxn ang="f4299">
                  <a:pos x="f5831" y="f6828"/>
                </a:cxn>
                <a:cxn ang="f4299">
                  <a:pos x="f5834" y="f6827"/>
                </a:cxn>
                <a:cxn ang="f4299">
                  <a:pos x="f5834" y="f6826"/>
                </a:cxn>
                <a:cxn ang="f4299">
                  <a:pos x="f5795" y="f6829"/>
                </a:cxn>
                <a:cxn ang="f4299">
                  <a:pos x="f5796" y="f6829"/>
                </a:cxn>
                <a:cxn ang="f4299">
                  <a:pos x="f5797" y="f6830"/>
                </a:cxn>
                <a:cxn ang="f4299">
                  <a:pos x="f5797" y="f6831"/>
                </a:cxn>
                <a:cxn ang="f4299">
                  <a:pos x="f5796" y="f6832"/>
                </a:cxn>
                <a:cxn ang="f4299">
                  <a:pos x="f5795" y="f6832"/>
                </a:cxn>
                <a:cxn ang="f4299">
                  <a:pos x="f5798" y="f6831"/>
                </a:cxn>
                <a:cxn ang="f4299">
                  <a:pos x="f5798" y="f6830"/>
                </a:cxn>
                <a:cxn ang="f4299">
                  <a:pos x="f5799" y="f6829"/>
                </a:cxn>
                <a:cxn ang="f4299">
                  <a:pos x="f5800" y="f6829"/>
                </a:cxn>
                <a:cxn ang="f4299">
                  <a:pos x="f5801" y="f6830"/>
                </a:cxn>
                <a:cxn ang="f4299">
                  <a:pos x="f5801" y="f6831"/>
                </a:cxn>
                <a:cxn ang="f4299">
                  <a:pos x="f5800" y="f6832"/>
                </a:cxn>
                <a:cxn ang="f4299">
                  <a:pos x="f5799" y="f6832"/>
                </a:cxn>
                <a:cxn ang="f4299">
                  <a:pos x="f5802" y="f6831"/>
                </a:cxn>
                <a:cxn ang="f4299">
                  <a:pos x="f5802" y="f6830"/>
                </a:cxn>
                <a:cxn ang="f4299">
                  <a:pos x="f5803" y="f6829"/>
                </a:cxn>
                <a:cxn ang="f4299">
                  <a:pos x="f5804" y="f6829"/>
                </a:cxn>
                <a:cxn ang="f4299">
                  <a:pos x="f5805" y="f6830"/>
                </a:cxn>
                <a:cxn ang="f4299">
                  <a:pos x="f5805" y="f6831"/>
                </a:cxn>
                <a:cxn ang="f4299">
                  <a:pos x="f5804" y="f6832"/>
                </a:cxn>
                <a:cxn ang="f4299">
                  <a:pos x="f5803" y="f6832"/>
                </a:cxn>
                <a:cxn ang="f4299">
                  <a:pos x="f5806" y="f6831"/>
                </a:cxn>
                <a:cxn ang="f4299">
                  <a:pos x="f5806" y="f6830"/>
                </a:cxn>
                <a:cxn ang="f4299">
                  <a:pos x="f5807" y="f6829"/>
                </a:cxn>
                <a:cxn ang="f4299">
                  <a:pos x="f5808" y="f6829"/>
                </a:cxn>
                <a:cxn ang="f4299">
                  <a:pos x="f5809" y="f6830"/>
                </a:cxn>
                <a:cxn ang="f4299">
                  <a:pos x="f5809" y="f6831"/>
                </a:cxn>
                <a:cxn ang="f4299">
                  <a:pos x="f5808" y="f6832"/>
                </a:cxn>
                <a:cxn ang="f4299">
                  <a:pos x="f5807" y="f6832"/>
                </a:cxn>
                <a:cxn ang="f4299">
                  <a:pos x="f5810" y="f6831"/>
                </a:cxn>
                <a:cxn ang="f4299">
                  <a:pos x="f5810" y="f6830"/>
                </a:cxn>
                <a:cxn ang="f4299">
                  <a:pos x="f5811" y="f6829"/>
                </a:cxn>
                <a:cxn ang="f4299">
                  <a:pos x="f5812" y="f6829"/>
                </a:cxn>
                <a:cxn ang="f4299">
                  <a:pos x="f5813" y="f6830"/>
                </a:cxn>
                <a:cxn ang="f4299">
                  <a:pos x="f5813" y="f6831"/>
                </a:cxn>
                <a:cxn ang="f4299">
                  <a:pos x="f5812" y="f6832"/>
                </a:cxn>
                <a:cxn ang="f4299">
                  <a:pos x="f5811" y="f6832"/>
                </a:cxn>
                <a:cxn ang="f4299">
                  <a:pos x="f5814" y="f6831"/>
                </a:cxn>
                <a:cxn ang="f4299">
                  <a:pos x="f5814" y="f6830"/>
                </a:cxn>
                <a:cxn ang="f4299">
                  <a:pos x="f6798" y="f6833"/>
                </a:cxn>
                <a:cxn ang="f4299">
                  <a:pos x="f6834" y="f6833"/>
                </a:cxn>
                <a:cxn ang="f4299">
                  <a:pos x="f6835" y="f6836"/>
                </a:cxn>
                <a:cxn ang="f4299">
                  <a:pos x="f6835" y="f6837"/>
                </a:cxn>
                <a:cxn ang="f4299">
                  <a:pos x="f6834" y="f6838"/>
                </a:cxn>
                <a:cxn ang="f4299">
                  <a:pos x="f6798" y="f6838"/>
                </a:cxn>
                <a:cxn ang="f4299">
                  <a:pos x="f6839" y="f6837"/>
                </a:cxn>
                <a:cxn ang="f4299">
                  <a:pos x="f6839" y="f6836"/>
                </a:cxn>
                <a:cxn ang="f4299">
                  <a:pos x="f6840" y="f6833"/>
                </a:cxn>
                <a:cxn ang="f4299">
                  <a:pos x="f6841" y="f6833"/>
                </a:cxn>
                <a:cxn ang="f4299">
                  <a:pos x="f6787" y="f6836"/>
                </a:cxn>
                <a:cxn ang="f4299">
                  <a:pos x="f6787" y="f6837"/>
                </a:cxn>
                <a:cxn ang="f4299">
                  <a:pos x="f6841" y="f6838"/>
                </a:cxn>
                <a:cxn ang="f4299">
                  <a:pos x="f6840" y="f6838"/>
                </a:cxn>
                <a:cxn ang="f4299">
                  <a:pos x="f6791" y="f6837"/>
                </a:cxn>
                <a:cxn ang="f4299">
                  <a:pos x="f6791" y="f6836"/>
                </a:cxn>
                <a:cxn ang="f4299">
                  <a:pos x="f6792" y="f6833"/>
                </a:cxn>
                <a:cxn ang="f4299">
                  <a:pos x="f6842" y="f6833"/>
                </a:cxn>
                <a:cxn ang="f4299">
                  <a:pos x="f6843" y="f6836"/>
                </a:cxn>
                <a:cxn ang="f4299">
                  <a:pos x="f6843" y="f6837"/>
                </a:cxn>
                <a:cxn ang="f4299">
                  <a:pos x="f6842" y="f6838"/>
                </a:cxn>
                <a:cxn ang="f4299">
                  <a:pos x="f6792" y="f6838"/>
                </a:cxn>
                <a:cxn ang="f4299">
                  <a:pos x="f6844" y="f6837"/>
                </a:cxn>
                <a:cxn ang="f4299">
                  <a:pos x="f6844" y="f6836"/>
                </a:cxn>
                <a:cxn ang="f4299">
                  <a:pos x="f6795" y="f6833"/>
                </a:cxn>
                <a:cxn ang="f4299">
                  <a:pos x="f6845" y="f6833"/>
                </a:cxn>
                <a:cxn ang="f4299">
                  <a:pos x="f6846" y="f6836"/>
                </a:cxn>
                <a:cxn ang="f4299">
                  <a:pos x="f6846" y="f6847"/>
                </a:cxn>
                <a:cxn ang="f4299">
                  <a:pos x="f6845" y="f6838"/>
                </a:cxn>
                <a:cxn ang="f4299">
                  <a:pos x="f6795" y="f6838"/>
                </a:cxn>
                <a:cxn ang="f4299">
                  <a:pos x="f6797" y="f6847"/>
                </a:cxn>
                <a:cxn ang="f4299">
                  <a:pos x="f6797" y="f6836"/>
                </a:cxn>
                <a:cxn ang="f4299">
                  <a:pos x="f5775" y="f6848"/>
                </a:cxn>
                <a:cxn ang="f4299">
                  <a:pos x="f5776" y="f6848"/>
                </a:cxn>
                <a:cxn ang="f4299">
                  <a:pos x="f5777" y="f6849"/>
                </a:cxn>
                <a:cxn ang="f4299">
                  <a:pos x="f5777" y="f6850"/>
                </a:cxn>
                <a:cxn ang="f4299">
                  <a:pos x="f5776" y="f6851"/>
                </a:cxn>
                <a:cxn ang="f4299">
                  <a:pos x="f5775" y="f6851"/>
                </a:cxn>
                <a:cxn ang="f4299">
                  <a:pos x="f5778" y="f6850"/>
                </a:cxn>
                <a:cxn ang="f4299">
                  <a:pos x="f5778" y="f6849"/>
                </a:cxn>
                <a:cxn ang="f4299">
                  <a:pos x="f5779" y="f6848"/>
                </a:cxn>
                <a:cxn ang="f4299">
                  <a:pos x="f5780" y="f6848"/>
                </a:cxn>
                <a:cxn ang="f4299">
                  <a:pos x="f5781" y="f6849"/>
                </a:cxn>
                <a:cxn ang="f4299">
                  <a:pos x="f5781" y="f6850"/>
                </a:cxn>
                <a:cxn ang="f4299">
                  <a:pos x="f5780" y="f6851"/>
                </a:cxn>
                <a:cxn ang="f4299">
                  <a:pos x="f5779" y="f6851"/>
                </a:cxn>
                <a:cxn ang="f4299">
                  <a:pos x="f5782" y="f6850"/>
                </a:cxn>
                <a:cxn ang="f4299">
                  <a:pos x="f5782" y="f6849"/>
                </a:cxn>
                <a:cxn ang="f4299">
                  <a:pos x="f5783" y="f6848"/>
                </a:cxn>
                <a:cxn ang="f4299">
                  <a:pos x="f5784" y="f6848"/>
                </a:cxn>
                <a:cxn ang="f4299">
                  <a:pos x="f5785" y="f6849"/>
                </a:cxn>
                <a:cxn ang="f4299">
                  <a:pos x="f5785" y="f6850"/>
                </a:cxn>
                <a:cxn ang="f4299">
                  <a:pos x="f5784" y="f6851"/>
                </a:cxn>
                <a:cxn ang="f4299">
                  <a:pos x="f5783" y="f6851"/>
                </a:cxn>
                <a:cxn ang="f4299">
                  <a:pos x="f5786" y="f6850"/>
                </a:cxn>
                <a:cxn ang="f4299">
                  <a:pos x="f5786" y="f6849"/>
                </a:cxn>
                <a:cxn ang="f4299">
                  <a:pos x="f5787" y="f6848"/>
                </a:cxn>
                <a:cxn ang="f4299">
                  <a:pos x="f5788" y="f6848"/>
                </a:cxn>
                <a:cxn ang="f4299">
                  <a:pos x="f5789" y="f6849"/>
                </a:cxn>
                <a:cxn ang="f4299">
                  <a:pos x="f5789" y="f6850"/>
                </a:cxn>
                <a:cxn ang="f4299">
                  <a:pos x="f5788" y="f6851"/>
                </a:cxn>
                <a:cxn ang="f4299">
                  <a:pos x="f5787" y="f6851"/>
                </a:cxn>
                <a:cxn ang="f4299">
                  <a:pos x="f5790" y="f6850"/>
                </a:cxn>
                <a:cxn ang="f4299">
                  <a:pos x="f5790" y="f6849"/>
                </a:cxn>
                <a:cxn ang="f4299">
                  <a:pos x="f5791" y="f6848"/>
                </a:cxn>
                <a:cxn ang="f4299">
                  <a:pos x="f5792" y="f6848"/>
                </a:cxn>
                <a:cxn ang="f4299">
                  <a:pos x="f5793" y="f6849"/>
                </a:cxn>
                <a:cxn ang="f4299">
                  <a:pos x="f5793" y="f6850"/>
                </a:cxn>
                <a:cxn ang="f4299">
                  <a:pos x="f5792" y="f6851"/>
                </a:cxn>
                <a:cxn ang="f4299">
                  <a:pos x="f5791" y="f6851"/>
                </a:cxn>
                <a:cxn ang="f4299">
                  <a:pos x="f5794" y="f6850"/>
                </a:cxn>
                <a:cxn ang="f4299">
                  <a:pos x="f5794" y="f6849"/>
                </a:cxn>
                <a:cxn ang="f4299">
                  <a:pos x="f6631" y="f6852"/>
                </a:cxn>
                <a:cxn ang="f4299">
                  <a:pos x="f6560" y="f6852"/>
                </a:cxn>
                <a:cxn ang="f4299">
                  <a:pos x="f6853" y="f6854"/>
                </a:cxn>
                <a:cxn ang="f4299">
                  <a:pos x="f6853" y="f6850"/>
                </a:cxn>
                <a:cxn ang="f4299">
                  <a:pos x="f6560" y="f6851"/>
                </a:cxn>
                <a:cxn ang="f4299">
                  <a:pos x="f6631" y="f6851"/>
                </a:cxn>
                <a:cxn ang="f4299">
                  <a:pos x="f6805" y="f6850"/>
                </a:cxn>
                <a:cxn ang="f4299">
                  <a:pos x="f6805" y="f6854"/>
                </a:cxn>
                <a:cxn ang="f4299">
                  <a:pos x="f6710" y="f6855"/>
                </a:cxn>
                <a:cxn ang="f4299">
                  <a:pos x="f6712" y="f6855"/>
                </a:cxn>
                <a:cxn ang="f4299">
                  <a:pos x="f6565" y="f6856"/>
                </a:cxn>
                <a:cxn ang="f4299">
                  <a:pos x="f6565" y="f6857"/>
                </a:cxn>
                <a:cxn ang="f4299">
                  <a:pos x="f6712" y="f6858"/>
                </a:cxn>
                <a:cxn ang="f4299">
                  <a:pos x="f6710" y="f6858"/>
                </a:cxn>
                <a:cxn ang="f4299">
                  <a:pos x="f6859" y="f6857"/>
                </a:cxn>
                <a:cxn ang="f4299">
                  <a:pos x="f6859" y="f6856"/>
                </a:cxn>
                <a:cxn ang="f4299">
                  <a:pos x="f5767" y="f6860"/>
                </a:cxn>
                <a:cxn ang="f4299">
                  <a:pos x="f5769" y="f6860"/>
                </a:cxn>
                <a:cxn ang="f4299">
                  <a:pos x="f5770" y="f6861"/>
                </a:cxn>
                <a:cxn ang="f4299">
                  <a:pos x="f5770" y="f6862"/>
                </a:cxn>
                <a:cxn ang="f4299">
                  <a:pos x="f5769" y="f6863"/>
                </a:cxn>
                <a:cxn ang="f4299">
                  <a:pos x="f5767" y="f6863"/>
                </a:cxn>
                <a:cxn ang="f4299">
                  <a:pos x="f5774" y="f6862"/>
                </a:cxn>
                <a:cxn ang="f4299">
                  <a:pos x="f5774" y="f6861"/>
                </a:cxn>
                <a:cxn ang="f4299">
                  <a:pos x="f6774" y="f6864"/>
                </a:cxn>
                <a:cxn ang="f4299">
                  <a:pos x="f6776" y="f6864"/>
                </a:cxn>
                <a:cxn ang="f4299">
                  <a:pos x="f6777" y="f6865"/>
                </a:cxn>
                <a:cxn ang="f4299">
                  <a:pos x="f6777" y="f6866"/>
                </a:cxn>
                <a:cxn ang="f4299">
                  <a:pos x="f6776" y="f6867"/>
                </a:cxn>
                <a:cxn ang="f4299">
                  <a:pos x="f6774" y="f6867"/>
                </a:cxn>
                <a:cxn ang="f4299">
                  <a:pos x="f6868" y="f6866"/>
                </a:cxn>
                <a:cxn ang="f4299">
                  <a:pos x="f6868" y="f6865"/>
                </a:cxn>
                <a:cxn ang="f4299">
                  <a:pos x="f6869" y="f6864"/>
                </a:cxn>
                <a:cxn ang="f4299">
                  <a:pos x="f6780" y="f6864"/>
                </a:cxn>
                <a:cxn ang="f4299">
                  <a:pos x="f6781" y="f6865"/>
                </a:cxn>
                <a:cxn ang="f4299">
                  <a:pos x="f6781" y="f6866"/>
                </a:cxn>
                <a:cxn ang="f4299">
                  <a:pos x="f6780" y="f6867"/>
                </a:cxn>
                <a:cxn ang="f4299">
                  <a:pos x="f6869" y="f6867"/>
                </a:cxn>
                <a:cxn ang="f4299">
                  <a:pos x="f6870" y="f6866"/>
                </a:cxn>
                <a:cxn ang="f4299">
                  <a:pos x="f6870" y="f6865"/>
                </a:cxn>
                <a:cxn ang="f4299">
                  <a:pos x="f6871" y="f6864"/>
                </a:cxn>
                <a:cxn ang="f4299">
                  <a:pos x="f6872" y="f6864"/>
                </a:cxn>
                <a:cxn ang="f4299">
                  <a:pos x="f6784" y="f6865"/>
                </a:cxn>
                <a:cxn ang="f4299">
                  <a:pos x="f6784" y="f6866"/>
                </a:cxn>
                <a:cxn ang="f4299">
                  <a:pos x="f6872" y="f6867"/>
                </a:cxn>
                <a:cxn ang="f4299">
                  <a:pos x="f6871" y="f6867"/>
                </a:cxn>
                <a:cxn ang="f4299">
                  <a:pos x="f6873" y="f6866"/>
                </a:cxn>
                <a:cxn ang="f4299">
                  <a:pos x="f6873" y="f6865"/>
                </a:cxn>
                <a:cxn ang="f4299">
                  <a:pos x="f6874" y="f6864"/>
                </a:cxn>
                <a:cxn ang="f4299">
                  <a:pos x="f6875" y="f6864"/>
                </a:cxn>
                <a:cxn ang="f4299">
                  <a:pos x="f6876" y="f6865"/>
                </a:cxn>
                <a:cxn ang="f4299">
                  <a:pos x="f6876" y="f6877"/>
                </a:cxn>
                <a:cxn ang="f4299">
                  <a:pos x="f6875" y="f6867"/>
                </a:cxn>
                <a:cxn ang="f4299">
                  <a:pos x="f6874" y="f6867"/>
                </a:cxn>
                <a:cxn ang="f4299">
                  <a:pos x="f6773" y="f6877"/>
                </a:cxn>
                <a:cxn ang="f4299">
                  <a:pos x="f6773" y="f6865"/>
                </a:cxn>
                <a:cxn ang="f4299">
                  <a:pos x="f5875" y="f6878"/>
                </a:cxn>
                <a:cxn ang="f4299">
                  <a:pos x="f5876" y="f6878"/>
                </a:cxn>
                <a:cxn ang="f4299">
                  <a:pos x="f5877" y="f6879"/>
                </a:cxn>
                <a:cxn ang="f4299">
                  <a:pos x="f5877" y="f6880"/>
                </a:cxn>
                <a:cxn ang="f4299">
                  <a:pos x="f5876" y="f6881"/>
                </a:cxn>
                <a:cxn ang="f4299">
                  <a:pos x="f5875" y="f6881"/>
                </a:cxn>
                <a:cxn ang="f4299">
                  <a:pos x="f5878" y="f6880"/>
                </a:cxn>
                <a:cxn ang="f4299">
                  <a:pos x="f5878" y="f6879"/>
                </a:cxn>
                <a:cxn ang="f4299">
                  <a:pos x="f5879" y="f6878"/>
                </a:cxn>
                <a:cxn ang="f4299">
                  <a:pos x="f5880" y="f6878"/>
                </a:cxn>
                <a:cxn ang="f4299">
                  <a:pos x="f5881" y="f6879"/>
                </a:cxn>
                <a:cxn ang="f4299">
                  <a:pos x="f5881" y="f6882"/>
                </a:cxn>
                <a:cxn ang="f4299">
                  <a:pos x="f5880" y="f6881"/>
                </a:cxn>
                <a:cxn ang="f4299">
                  <a:pos x="f5879" y="f6881"/>
                </a:cxn>
                <a:cxn ang="f4299">
                  <a:pos x="f5882" y="f6882"/>
                </a:cxn>
                <a:cxn ang="f4299">
                  <a:pos x="f5882" y="f6879"/>
                </a:cxn>
                <a:cxn ang="f4299">
                  <a:pos x="f5883" y="f6878"/>
                </a:cxn>
                <a:cxn ang="f4299">
                  <a:pos x="f5884" y="f6878"/>
                </a:cxn>
                <a:cxn ang="f4299">
                  <a:pos x="f5885" y="f6879"/>
                </a:cxn>
                <a:cxn ang="f4299">
                  <a:pos x="f5885" y="f6882"/>
                </a:cxn>
                <a:cxn ang="f4299">
                  <a:pos x="f5884" y="f6881"/>
                </a:cxn>
                <a:cxn ang="f4299">
                  <a:pos x="f5883" y="f6881"/>
                </a:cxn>
                <a:cxn ang="f4299">
                  <a:pos x="f5886" y="f6882"/>
                </a:cxn>
                <a:cxn ang="f4299">
                  <a:pos x="f5886" y="f6879"/>
                </a:cxn>
                <a:cxn ang="f4299">
                  <a:pos x="f5887" y="f6878"/>
                </a:cxn>
                <a:cxn ang="f4299">
                  <a:pos x="f5888" y="f6878"/>
                </a:cxn>
                <a:cxn ang="f4299">
                  <a:pos x="f5889" y="f6879"/>
                </a:cxn>
                <a:cxn ang="f4299">
                  <a:pos x="f5889" y="f6882"/>
                </a:cxn>
                <a:cxn ang="f4299">
                  <a:pos x="f5888" y="f6883"/>
                </a:cxn>
                <a:cxn ang="f4299">
                  <a:pos x="f5887" y="f6883"/>
                </a:cxn>
                <a:cxn ang="f4299">
                  <a:pos x="f5890" y="f6882"/>
                </a:cxn>
                <a:cxn ang="f4299">
                  <a:pos x="f5890" y="f6879"/>
                </a:cxn>
                <a:cxn ang="f4299">
                  <a:pos x="f5891" y="f6878"/>
                </a:cxn>
                <a:cxn ang="f4299">
                  <a:pos x="f5892" y="f6878"/>
                </a:cxn>
                <a:cxn ang="f4299">
                  <a:pos x="f5893" y="f6879"/>
                </a:cxn>
                <a:cxn ang="f4299">
                  <a:pos x="f5893" y="f6882"/>
                </a:cxn>
                <a:cxn ang="f4299">
                  <a:pos x="f5892" y="f6883"/>
                </a:cxn>
                <a:cxn ang="f4299">
                  <a:pos x="f5891" y="f6883"/>
                </a:cxn>
                <a:cxn ang="f4299">
                  <a:pos x="f5894" y="f6882"/>
                </a:cxn>
                <a:cxn ang="f4299">
                  <a:pos x="f5894" y="f6879"/>
                </a:cxn>
                <a:cxn ang="f4299">
                  <a:pos x="f5855" y="f6884"/>
                </a:cxn>
                <a:cxn ang="f4299">
                  <a:pos x="f5856" y="f6884"/>
                </a:cxn>
                <a:cxn ang="f4299">
                  <a:pos x="f5857" y="f6885"/>
                </a:cxn>
                <a:cxn ang="f4299">
                  <a:pos x="f5857" y="f6886"/>
                </a:cxn>
                <a:cxn ang="f4299">
                  <a:pos x="f5856" y="f6887"/>
                </a:cxn>
                <a:cxn ang="f4299">
                  <a:pos x="f5855" y="f6887"/>
                </a:cxn>
                <a:cxn ang="f4299">
                  <a:pos x="f5858" y="f6886"/>
                </a:cxn>
                <a:cxn ang="f4299">
                  <a:pos x="f5858" y="f6885"/>
                </a:cxn>
                <a:cxn ang="f4299">
                  <a:pos x="f5859" y="f6884"/>
                </a:cxn>
                <a:cxn ang="f4299">
                  <a:pos x="f5860" y="f6884"/>
                </a:cxn>
                <a:cxn ang="f4299">
                  <a:pos x="f5861" y="f6885"/>
                </a:cxn>
                <a:cxn ang="f4299">
                  <a:pos x="f5861" y="f6888"/>
                </a:cxn>
                <a:cxn ang="f4299">
                  <a:pos x="f5860" y="f6887"/>
                </a:cxn>
                <a:cxn ang="f4299">
                  <a:pos x="f5859" y="f6887"/>
                </a:cxn>
                <a:cxn ang="f4299">
                  <a:pos x="f5862" y="f6888"/>
                </a:cxn>
                <a:cxn ang="f4299">
                  <a:pos x="f5862" y="f6885"/>
                </a:cxn>
                <a:cxn ang="f4299">
                  <a:pos x="f5863" y="f6884"/>
                </a:cxn>
                <a:cxn ang="f4299">
                  <a:pos x="f5864" y="f6884"/>
                </a:cxn>
                <a:cxn ang="f4299">
                  <a:pos x="f5865" y="f6885"/>
                </a:cxn>
                <a:cxn ang="f4299">
                  <a:pos x="f5865" y="f6888"/>
                </a:cxn>
                <a:cxn ang="f4299">
                  <a:pos x="f5864" y="f6887"/>
                </a:cxn>
                <a:cxn ang="f4299">
                  <a:pos x="f5863" y="f6887"/>
                </a:cxn>
                <a:cxn ang="f4299">
                  <a:pos x="f5866" y="f6888"/>
                </a:cxn>
                <a:cxn ang="f4299">
                  <a:pos x="f5866" y="f6885"/>
                </a:cxn>
                <a:cxn ang="f4299">
                  <a:pos x="f5867" y="f6884"/>
                </a:cxn>
                <a:cxn ang="f4299">
                  <a:pos x="f5868" y="f6884"/>
                </a:cxn>
                <a:cxn ang="f4299">
                  <a:pos x="f5869" y="f6885"/>
                </a:cxn>
                <a:cxn ang="f4299">
                  <a:pos x="f5869" y="f6888"/>
                </a:cxn>
                <a:cxn ang="f4299">
                  <a:pos x="f5868" y="f6887"/>
                </a:cxn>
                <a:cxn ang="f4299">
                  <a:pos x="f5867" y="f6887"/>
                </a:cxn>
                <a:cxn ang="f4299">
                  <a:pos x="f5870" y="f6888"/>
                </a:cxn>
                <a:cxn ang="f4299">
                  <a:pos x="f5870" y="f6885"/>
                </a:cxn>
                <a:cxn ang="f4299">
                  <a:pos x="f5871" y="f6884"/>
                </a:cxn>
                <a:cxn ang="f4299">
                  <a:pos x="f5872" y="f6884"/>
                </a:cxn>
                <a:cxn ang="f4299">
                  <a:pos x="f5873" y="f6885"/>
                </a:cxn>
                <a:cxn ang="f4299">
                  <a:pos x="f5873" y="f6888"/>
                </a:cxn>
                <a:cxn ang="f4299">
                  <a:pos x="f5872" y="f6887"/>
                </a:cxn>
                <a:cxn ang="f4299">
                  <a:pos x="f5871" y="f6887"/>
                </a:cxn>
                <a:cxn ang="f4299">
                  <a:pos x="f5874" y="f6888"/>
                </a:cxn>
                <a:cxn ang="f4299">
                  <a:pos x="f5874" y="f6885"/>
                </a:cxn>
                <a:cxn ang="f4299">
                  <a:pos x="f5835" y="f6889"/>
                </a:cxn>
                <a:cxn ang="f4299">
                  <a:pos x="f5836" y="f6889"/>
                </a:cxn>
                <a:cxn ang="f4299">
                  <a:pos x="f5837" y="f6890"/>
                </a:cxn>
                <a:cxn ang="f4299">
                  <a:pos x="f5837" y="f6891"/>
                </a:cxn>
                <a:cxn ang="f4299">
                  <a:pos x="f5836" y="f6892"/>
                </a:cxn>
                <a:cxn ang="f4299">
                  <a:pos x="f5835" y="f6892"/>
                </a:cxn>
                <a:cxn ang="f4299">
                  <a:pos x="f5838" y="f6891"/>
                </a:cxn>
                <a:cxn ang="f4299">
                  <a:pos x="f5838" y="f6890"/>
                </a:cxn>
                <a:cxn ang="f4299">
                  <a:pos x="f5839" y="f6889"/>
                </a:cxn>
                <a:cxn ang="f4299">
                  <a:pos x="f5840" y="f6889"/>
                </a:cxn>
                <a:cxn ang="f4299">
                  <a:pos x="f5841" y="f6890"/>
                </a:cxn>
                <a:cxn ang="f4299">
                  <a:pos x="f5841" y="f6891"/>
                </a:cxn>
                <a:cxn ang="f4299">
                  <a:pos x="f5840" y="f6892"/>
                </a:cxn>
                <a:cxn ang="f4299">
                  <a:pos x="f5839" y="f6892"/>
                </a:cxn>
                <a:cxn ang="f4299">
                  <a:pos x="f5842" y="f6891"/>
                </a:cxn>
                <a:cxn ang="f4299">
                  <a:pos x="f5842" y="f6890"/>
                </a:cxn>
                <a:cxn ang="f4299">
                  <a:pos x="f5843" y="f6889"/>
                </a:cxn>
                <a:cxn ang="f4299">
                  <a:pos x="f5844" y="f6889"/>
                </a:cxn>
                <a:cxn ang="f4299">
                  <a:pos x="f5845" y="f6890"/>
                </a:cxn>
                <a:cxn ang="f4299">
                  <a:pos x="f5845" y="f6891"/>
                </a:cxn>
                <a:cxn ang="f4299">
                  <a:pos x="f5844" y="f6892"/>
                </a:cxn>
                <a:cxn ang="f4299">
                  <a:pos x="f5843" y="f6892"/>
                </a:cxn>
                <a:cxn ang="f4299">
                  <a:pos x="f5846" y="f6891"/>
                </a:cxn>
                <a:cxn ang="f4299">
                  <a:pos x="f5846" y="f6890"/>
                </a:cxn>
                <a:cxn ang="f4299">
                  <a:pos x="f5847" y="f6889"/>
                </a:cxn>
                <a:cxn ang="f4299">
                  <a:pos x="f5848" y="f6889"/>
                </a:cxn>
                <a:cxn ang="f4299">
                  <a:pos x="f5849" y="f6890"/>
                </a:cxn>
                <a:cxn ang="f4299">
                  <a:pos x="f5849" y="f6891"/>
                </a:cxn>
                <a:cxn ang="f4299">
                  <a:pos x="f5848" y="f6892"/>
                </a:cxn>
                <a:cxn ang="f4299">
                  <a:pos x="f5847" y="f6892"/>
                </a:cxn>
                <a:cxn ang="f4299">
                  <a:pos x="f5850" y="f6891"/>
                </a:cxn>
                <a:cxn ang="f4299">
                  <a:pos x="f5850" y="f6890"/>
                </a:cxn>
                <a:cxn ang="f4299">
                  <a:pos x="f5851" y="f6889"/>
                </a:cxn>
                <a:cxn ang="f4299">
                  <a:pos x="f5852" y="f6889"/>
                </a:cxn>
                <a:cxn ang="f4299">
                  <a:pos x="f5853" y="f6890"/>
                </a:cxn>
                <a:cxn ang="f4299">
                  <a:pos x="f5853" y="f6891"/>
                </a:cxn>
                <a:cxn ang="f4299">
                  <a:pos x="f5852" y="f6892"/>
                </a:cxn>
                <a:cxn ang="f4299">
                  <a:pos x="f5851" y="f6892"/>
                </a:cxn>
                <a:cxn ang="f4299">
                  <a:pos x="f5854" y="f6891"/>
                </a:cxn>
                <a:cxn ang="f4299">
                  <a:pos x="f5854" y="f6890"/>
                </a:cxn>
                <a:cxn ang="f4299">
                  <a:pos x="f5815" y="f6893"/>
                </a:cxn>
                <a:cxn ang="f4299">
                  <a:pos x="f5816" y="f6893"/>
                </a:cxn>
                <a:cxn ang="f4299">
                  <a:pos x="f5817" y="f6894"/>
                </a:cxn>
                <a:cxn ang="f4299">
                  <a:pos x="f5817" y="f6895"/>
                </a:cxn>
                <a:cxn ang="f4299">
                  <a:pos x="f5816" y="f6896"/>
                </a:cxn>
                <a:cxn ang="f4299">
                  <a:pos x="f5815" y="f6896"/>
                </a:cxn>
                <a:cxn ang="f4299">
                  <a:pos x="f5818" y="f6895"/>
                </a:cxn>
                <a:cxn ang="f4299">
                  <a:pos x="f5818" y="f6894"/>
                </a:cxn>
                <a:cxn ang="f4299">
                  <a:pos x="f5819" y="f6893"/>
                </a:cxn>
                <a:cxn ang="f4299">
                  <a:pos x="f5820" y="f6893"/>
                </a:cxn>
                <a:cxn ang="f4299">
                  <a:pos x="f5821" y="f6894"/>
                </a:cxn>
                <a:cxn ang="f4299">
                  <a:pos x="f5821" y="f6897"/>
                </a:cxn>
                <a:cxn ang="f4299">
                  <a:pos x="f5820" y="f6896"/>
                </a:cxn>
                <a:cxn ang="f4299">
                  <a:pos x="f5819" y="f6896"/>
                </a:cxn>
                <a:cxn ang="f4299">
                  <a:pos x="f5822" y="f6897"/>
                </a:cxn>
                <a:cxn ang="f4299">
                  <a:pos x="f5822" y="f6894"/>
                </a:cxn>
                <a:cxn ang="f4299">
                  <a:pos x="f5823" y="f6893"/>
                </a:cxn>
                <a:cxn ang="f4299">
                  <a:pos x="f5824" y="f6893"/>
                </a:cxn>
                <a:cxn ang="f4299">
                  <a:pos x="f5825" y="f6894"/>
                </a:cxn>
                <a:cxn ang="f4299">
                  <a:pos x="f5825" y="f6897"/>
                </a:cxn>
                <a:cxn ang="f4299">
                  <a:pos x="f5824" y="f6896"/>
                </a:cxn>
                <a:cxn ang="f4299">
                  <a:pos x="f5823" y="f6896"/>
                </a:cxn>
                <a:cxn ang="f4299">
                  <a:pos x="f5826" y="f6897"/>
                </a:cxn>
                <a:cxn ang="f4299">
                  <a:pos x="f5826" y="f6894"/>
                </a:cxn>
                <a:cxn ang="f4299">
                  <a:pos x="f5827" y="f6893"/>
                </a:cxn>
                <a:cxn ang="f4299">
                  <a:pos x="f5828" y="f6893"/>
                </a:cxn>
                <a:cxn ang="f4299">
                  <a:pos x="f5829" y="f6894"/>
                </a:cxn>
                <a:cxn ang="f4299">
                  <a:pos x="f5829" y="f6897"/>
                </a:cxn>
                <a:cxn ang="f4299">
                  <a:pos x="f5828" y="f6898"/>
                </a:cxn>
                <a:cxn ang="f4299">
                  <a:pos x="f5827" y="f6898"/>
                </a:cxn>
                <a:cxn ang="f4299">
                  <a:pos x="f5830" y="f6897"/>
                </a:cxn>
                <a:cxn ang="f4299">
                  <a:pos x="f5830" y="f6894"/>
                </a:cxn>
                <a:cxn ang="f4299">
                  <a:pos x="f5831" y="f6893"/>
                </a:cxn>
                <a:cxn ang="f4299">
                  <a:pos x="f5832" y="f6893"/>
                </a:cxn>
                <a:cxn ang="f4299">
                  <a:pos x="f5833" y="f6894"/>
                </a:cxn>
                <a:cxn ang="f4299">
                  <a:pos x="f5833" y="f6897"/>
                </a:cxn>
                <a:cxn ang="f4299">
                  <a:pos x="f5832" y="f6898"/>
                </a:cxn>
                <a:cxn ang="f4299">
                  <a:pos x="f5831" y="f6898"/>
                </a:cxn>
                <a:cxn ang="f4299">
                  <a:pos x="f5834" y="f6897"/>
                </a:cxn>
                <a:cxn ang="f4299">
                  <a:pos x="f5834" y="f6894"/>
                </a:cxn>
                <a:cxn ang="f4299">
                  <a:pos x="f5795" y="f6899"/>
                </a:cxn>
                <a:cxn ang="f4299">
                  <a:pos x="f5796" y="f6899"/>
                </a:cxn>
                <a:cxn ang="f4299">
                  <a:pos x="f5797" y="f6900"/>
                </a:cxn>
                <a:cxn ang="f4299">
                  <a:pos x="f5797" y="f6901"/>
                </a:cxn>
                <a:cxn ang="f4299">
                  <a:pos x="f5796" y="f6902"/>
                </a:cxn>
                <a:cxn ang="f4299">
                  <a:pos x="f5795" y="f6902"/>
                </a:cxn>
                <a:cxn ang="f4299">
                  <a:pos x="f5798" y="f6901"/>
                </a:cxn>
                <a:cxn ang="f4299">
                  <a:pos x="f5798" y="f6900"/>
                </a:cxn>
                <a:cxn ang="f4299">
                  <a:pos x="f5799" y="f6899"/>
                </a:cxn>
                <a:cxn ang="f4299">
                  <a:pos x="f5800" y="f6899"/>
                </a:cxn>
                <a:cxn ang="f4299">
                  <a:pos x="f5801" y="f6903"/>
                </a:cxn>
                <a:cxn ang="f4299">
                  <a:pos x="f5801" y="f6901"/>
                </a:cxn>
                <a:cxn ang="f4299">
                  <a:pos x="f5800" y="f6902"/>
                </a:cxn>
                <a:cxn ang="f4299">
                  <a:pos x="f5799" y="f6902"/>
                </a:cxn>
                <a:cxn ang="f4299">
                  <a:pos x="f5802" y="f6901"/>
                </a:cxn>
                <a:cxn ang="f4299">
                  <a:pos x="f5802" y="f6903"/>
                </a:cxn>
                <a:cxn ang="f4299">
                  <a:pos x="f5803" y="f6899"/>
                </a:cxn>
                <a:cxn ang="f4299">
                  <a:pos x="f5804" y="f6899"/>
                </a:cxn>
                <a:cxn ang="f4299">
                  <a:pos x="f5805" y="f6903"/>
                </a:cxn>
                <a:cxn ang="f4299">
                  <a:pos x="f5805" y="f6901"/>
                </a:cxn>
                <a:cxn ang="f4299">
                  <a:pos x="f5804" y="f6902"/>
                </a:cxn>
                <a:cxn ang="f4299">
                  <a:pos x="f5803" y="f6902"/>
                </a:cxn>
                <a:cxn ang="f4299">
                  <a:pos x="f5806" y="f6901"/>
                </a:cxn>
                <a:cxn ang="f4299">
                  <a:pos x="f5806" y="f6903"/>
                </a:cxn>
                <a:cxn ang="f4299">
                  <a:pos x="f5807" y="f6899"/>
                </a:cxn>
                <a:cxn ang="f4299">
                  <a:pos x="f5808" y="f6899"/>
                </a:cxn>
                <a:cxn ang="f4299">
                  <a:pos x="f5809" y="f6903"/>
                </a:cxn>
                <a:cxn ang="f4299">
                  <a:pos x="f5809" y="f6901"/>
                </a:cxn>
                <a:cxn ang="f4299">
                  <a:pos x="f5808" y="f6902"/>
                </a:cxn>
                <a:cxn ang="f4299">
                  <a:pos x="f5807" y="f6902"/>
                </a:cxn>
                <a:cxn ang="f4299">
                  <a:pos x="f5810" y="f6901"/>
                </a:cxn>
                <a:cxn ang="f4299">
                  <a:pos x="f5810" y="f6903"/>
                </a:cxn>
                <a:cxn ang="f4299">
                  <a:pos x="f5811" y="f6899"/>
                </a:cxn>
                <a:cxn ang="f4299">
                  <a:pos x="f5812" y="f6899"/>
                </a:cxn>
                <a:cxn ang="f4299">
                  <a:pos x="f5813" y="f6903"/>
                </a:cxn>
                <a:cxn ang="f4299">
                  <a:pos x="f5813" y="f6901"/>
                </a:cxn>
                <a:cxn ang="f4299">
                  <a:pos x="f5812" y="f6902"/>
                </a:cxn>
                <a:cxn ang="f4299">
                  <a:pos x="f5811" y="f6902"/>
                </a:cxn>
                <a:cxn ang="f4299">
                  <a:pos x="f5814" y="f6901"/>
                </a:cxn>
                <a:cxn ang="f4299">
                  <a:pos x="f5814" y="f6903"/>
                </a:cxn>
                <a:cxn ang="f4299">
                  <a:pos x="f6904" y="f6905"/>
                </a:cxn>
                <a:cxn ang="f4299">
                  <a:pos x="f6845" y="f6905"/>
                </a:cxn>
                <a:cxn ang="f4299">
                  <a:pos x="f6906" y="f6907"/>
                </a:cxn>
                <a:cxn ang="f4299">
                  <a:pos x="f6906" y="f6908"/>
                </a:cxn>
                <a:cxn ang="f4299">
                  <a:pos x="f6845" y="f6909"/>
                </a:cxn>
                <a:cxn ang="f4299">
                  <a:pos x="f6904" y="f6909"/>
                </a:cxn>
                <a:cxn ang="f4299">
                  <a:pos x="f6910" y="f6908"/>
                </a:cxn>
                <a:cxn ang="f4299">
                  <a:pos x="f6910" y="f6907"/>
                </a:cxn>
                <a:cxn ang="f4299">
                  <a:pos x="f6911" y="f6912"/>
                </a:cxn>
                <a:cxn ang="f4299">
                  <a:pos x="f6834" y="f6912"/>
                </a:cxn>
                <a:cxn ang="f4299">
                  <a:pos x="f6913" y="f6907"/>
                </a:cxn>
                <a:cxn ang="f4299">
                  <a:pos x="f6913" y="f6908"/>
                </a:cxn>
                <a:cxn ang="f4299">
                  <a:pos x="f6834" y="f6914"/>
                </a:cxn>
                <a:cxn ang="f4299">
                  <a:pos x="f6911" y="f6914"/>
                </a:cxn>
                <a:cxn ang="f4299">
                  <a:pos x="f6915" y="f6908"/>
                </a:cxn>
                <a:cxn ang="f4299">
                  <a:pos x="f6915" y="f6907"/>
                </a:cxn>
                <a:cxn ang="f4299">
                  <a:pos x="f6840" y="f6912"/>
                </a:cxn>
                <a:cxn ang="f4299">
                  <a:pos x="f6841" y="f6912"/>
                </a:cxn>
                <a:cxn ang="f4299">
                  <a:pos x="f6916" y="f6907"/>
                </a:cxn>
                <a:cxn ang="f4299">
                  <a:pos x="f6916" y="f6908"/>
                </a:cxn>
                <a:cxn ang="f4299">
                  <a:pos x="f6841" y="f6914"/>
                </a:cxn>
                <a:cxn ang="f4299">
                  <a:pos x="f6840" y="f6914"/>
                </a:cxn>
                <a:cxn ang="f4299">
                  <a:pos x="f6917" y="f6908"/>
                </a:cxn>
                <a:cxn ang="f4299">
                  <a:pos x="f6917" y="f6907"/>
                </a:cxn>
                <a:cxn ang="f4299">
                  <a:pos x="f6918" y="f6912"/>
                </a:cxn>
                <a:cxn ang="f4299">
                  <a:pos x="f6842" y="f6912"/>
                </a:cxn>
                <a:cxn ang="f4299">
                  <a:pos x="f6843" y="f6907"/>
                </a:cxn>
                <a:cxn ang="f4299">
                  <a:pos x="f6843" y="f6908"/>
                </a:cxn>
                <a:cxn ang="f4299">
                  <a:pos x="f6842" y="f6914"/>
                </a:cxn>
                <a:cxn ang="f4299">
                  <a:pos x="f6918" y="f6914"/>
                </a:cxn>
                <a:cxn ang="f4299">
                  <a:pos x="f6844" y="f6908"/>
                </a:cxn>
                <a:cxn ang="f4299">
                  <a:pos x="f6844" y="f6907"/>
                </a:cxn>
                <a:cxn ang="f4299">
                  <a:pos x="f5775" y="f6919"/>
                </a:cxn>
                <a:cxn ang="f4299">
                  <a:pos x="f5776" y="f6919"/>
                </a:cxn>
                <a:cxn ang="f4299">
                  <a:pos x="f5777" y="f6920"/>
                </a:cxn>
                <a:cxn ang="f4299">
                  <a:pos x="f5777" y="f6921"/>
                </a:cxn>
                <a:cxn ang="f4299">
                  <a:pos x="f5776" y="f6922"/>
                </a:cxn>
                <a:cxn ang="f4299">
                  <a:pos x="f5775" y="f6922"/>
                </a:cxn>
                <a:cxn ang="f4299">
                  <a:pos x="f5778" y="f6921"/>
                </a:cxn>
                <a:cxn ang="f4299">
                  <a:pos x="f5778" y="f6920"/>
                </a:cxn>
                <a:cxn ang="f4299">
                  <a:pos x="f5779" y="f6919"/>
                </a:cxn>
                <a:cxn ang="f4299">
                  <a:pos x="f5780" y="f6919"/>
                </a:cxn>
                <a:cxn ang="f4299">
                  <a:pos x="f5781" y="f6920"/>
                </a:cxn>
                <a:cxn ang="f4299">
                  <a:pos x="f5781" y="f6921"/>
                </a:cxn>
                <a:cxn ang="f4299">
                  <a:pos x="f5780" y="f6922"/>
                </a:cxn>
                <a:cxn ang="f4299">
                  <a:pos x="f5779" y="f6922"/>
                </a:cxn>
                <a:cxn ang="f4299">
                  <a:pos x="f5782" y="f6921"/>
                </a:cxn>
                <a:cxn ang="f4299">
                  <a:pos x="f5782" y="f6920"/>
                </a:cxn>
                <a:cxn ang="f4299">
                  <a:pos x="f5783" y="f6919"/>
                </a:cxn>
                <a:cxn ang="f4299">
                  <a:pos x="f5784" y="f6919"/>
                </a:cxn>
                <a:cxn ang="f4299">
                  <a:pos x="f5785" y="f6920"/>
                </a:cxn>
                <a:cxn ang="f4299">
                  <a:pos x="f5785" y="f6921"/>
                </a:cxn>
                <a:cxn ang="f4299">
                  <a:pos x="f5784" y="f6922"/>
                </a:cxn>
                <a:cxn ang="f4299">
                  <a:pos x="f5783" y="f6922"/>
                </a:cxn>
                <a:cxn ang="f4299">
                  <a:pos x="f5786" y="f6921"/>
                </a:cxn>
                <a:cxn ang="f4299">
                  <a:pos x="f5786" y="f6920"/>
                </a:cxn>
                <a:cxn ang="f4299">
                  <a:pos x="f5787" y="f6919"/>
                </a:cxn>
                <a:cxn ang="f4299">
                  <a:pos x="f5788" y="f6919"/>
                </a:cxn>
                <a:cxn ang="f4299">
                  <a:pos x="f5789" y="f6920"/>
                </a:cxn>
                <a:cxn ang="f4299">
                  <a:pos x="f5789" y="f6921"/>
                </a:cxn>
                <a:cxn ang="f4299">
                  <a:pos x="f5788" y="f6922"/>
                </a:cxn>
                <a:cxn ang="f4299">
                  <a:pos x="f5787" y="f6922"/>
                </a:cxn>
                <a:cxn ang="f4299">
                  <a:pos x="f5790" y="f6921"/>
                </a:cxn>
                <a:cxn ang="f4299">
                  <a:pos x="f5790" y="f6920"/>
                </a:cxn>
                <a:cxn ang="f4299">
                  <a:pos x="f5791" y="f6919"/>
                </a:cxn>
                <a:cxn ang="f4299">
                  <a:pos x="f5792" y="f6919"/>
                </a:cxn>
                <a:cxn ang="f4299">
                  <a:pos x="f5793" y="f6920"/>
                </a:cxn>
                <a:cxn ang="f4299">
                  <a:pos x="f5793" y="f6921"/>
                </a:cxn>
                <a:cxn ang="f4299">
                  <a:pos x="f5792" y="f6922"/>
                </a:cxn>
                <a:cxn ang="f4299">
                  <a:pos x="f5791" y="f6922"/>
                </a:cxn>
                <a:cxn ang="f4299">
                  <a:pos x="f5794" y="f6921"/>
                </a:cxn>
                <a:cxn ang="f4299">
                  <a:pos x="f5794" y="f6920"/>
                </a:cxn>
                <a:cxn ang="f4299">
                  <a:pos x="f6631" y="f6923"/>
                </a:cxn>
                <a:cxn ang="f4299">
                  <a:pos x="f6560" y="f6923"/>
                </a:cxn>
                <a:cxn ang="f4299">
                  <a:pos x="f6853" y="f6924"/>
                </a:cxn>
                <a:cxn ang="f4299">
                  <a:pos x="f6853" y="f6925"/>
                </a:cxn>
                <a:cxn ang="f4299">
                  <a:pos x="f6560" y="f6926"/>
                </a:cxn>
                <a:cxn ang="f4299">
                  <a:pos x="f6631" y="f6926"/>
                </a:cxn>
                <a:cxn ang="f4299">
                  <a:pos x="f6805" y="f6925"/>
                </a:cxn>
                <a:cxn ang="f4299">
                  <a:pos x="f6805" y="f6924"/>
                </a:cxn>
                <a:cxn ang="f4299">
                  <a:pos x="f6710" y="f6927"/>
                </a:cxn>
                <a:cxn ang="f4299">
                  <a:pos x="f6712" y="f6927"/>
                </a:cxn>
                <a:cxn ang="f4299">
                  <a:pos x="f6928" y="f6929"/>
                </a:cxn>
                <a:cxn ang="f4299">
                  <a:pos x="f6928" y="f6930"/>
                </a:cxn>
                <a:cxn ang="f4299">
                  <a:pos x="f6712" y="f6931"/>
                </a:cxn>
                <a:cxn ang="f4299">
                  <a:pos x="f6710" y="f6931"/>
                </a:cxn>
                <a:cxn ang="f4299">
                  <a:pos x="f6859" y="f6930"/>
                </a:cxn>
                <a:cxn ang="f4299">
                  <a:pos x="f6859" y="f6929"/>
                </a:cxn>
                <a:cxn ang="f4299">
                  <a:pos x="f5767" y="f6932"/>
                </a:cxn>
                <a:cxn ang="f4299">
                  <a:pos x="f5769" y="f6932"/>
                </a:cxn>
                <a:cxn ang="f4299">
                  <a:pos x="f5770" y="f6933"/>
                </a:cxn>
                <a:cxn ang="f4299">
                  <a:pos x="f5770" y="f6934"/>
                </a:cxn>
                <a:cxn ang="f4299">
                  <a:pos x="f5769" y="f6935"/>
                </a:cxn>
                <a:cxn ang="f4299">
                  <a:pos x="f5767" y="f6935"/>
                </a:cxn>
                <a:cxn ang="f4299">
                  <a:pos x="f5774" y="f6934"/>
                </a:cxn>
                <a:cxn ang="f4299">
                  <a:pos x="f5774" y="f6933"/>
                </a:cxn>
                <a:cxn ang="f4299">
                  <a:pos x="f6871" y="f6936"/>
                </a:cxn>
                <a:cxn ang="f4299">
                  <a:pos x="f6937" y="f6936"/>
                </a:cxn>
                <a:cxn ang="f4299">
                  <a:pos x="f6938" y="f6939"/>
                </a:cxn>
                <a:cxn ang="f4299">
                  <a:pos x="f6938" y="f6940"/>
                </a:cxn>
                <a:cxn ang="f4299">
                  <a:pos x="f6937" y="f6941"/>
                </a:cxn>
                <a:cxn ang="f4299">
                  <a:pos x="f6871" y="f6941"/>
                </a:cxn>
                <a:cxn ang="f4299">
                  <a:pos x="f6873" y="f6940"/>
                </a:cxn>
                <a:cxn ang="f4299">
                  <a:pos x="f6873" y="f6939"/>
                </a:cxn>
                <a:cxn ang="f4299">
                  <a:pos x="f6874" y="f6936"/>
                </a:cxn>
                <a:cxn ang="f4299">
                  <a:pos x="f6942" y="f6936"/>
                </a:cxn>
                <a:cxn ang="f4299">
                  <a:pos x="f6876" y="f6943"/>
                </a:cxn>
                <a:cxn ang="f4299">
                  <a:pos x="f6876" y="f6944"/>
                </a:cxn>
                <a:cxn ang="f4299">
                  <a:pos x="f6942" y="f6941"/>
                </a:cxn>
                <a:cxn ang="f4299">
                  <a:pos x="f6874" y="f6941"/>
                </a:cxn>
                <a:cxn ang="f4299">
                  <a:pos x="f6945" y="f6944"/>
                </a:cxn>
                <a:cxn ang="f4299">
                  <a:pos x="f6945" y="f6943"/>
                </a:cxn>
                <a:cxn ang="f4299">
                  <a:pos x="f6946" y="f6936"/>
                </a:cxn>
                <a:cxn ang="f4299">
                  <a:pos x="f6947" y="f6936"/>
                </a:cxn>
                <a:cxn ang="f4299">
                  <a:pos x="f6948" y="f6939"/>
                </a:cxn>
                <a:cxn ang="f4299">
                  <a:pos x="f6948" y="f6940"/>
                </a:cxn>
                <a:cxn ang="f4299">
                  <a:pos x="f6947" y="f6941"/>
                </a:cxn>
                <a:cxn ang="f4299">
                  <a:pos x="f6946" y="f6941"/>
                </a:cxn>
                <a:cxn ang="f4299">
                  <a:pos x="f6868" y="f6940"/>
                </a:cxn>
                <a:cxn ang="f4299">
                  <a:pos x="f6868" y="f6939"/>
                </a:cxn>
                <a:cxn ang="f4299">
                  <a:pos x="f6949" y="f6936"/>
                </a:cxn>
                <a:cxn ang="f4299">
                  <a:pos x="f6950" y="f6936"/>
                </a:cxn>
                <a:cxn ang="f4299">
                  <a:pos x="f6951" y="f6939"/>
                </a:cxn>
                <a:cxn ang="f4299">
                  <a:pos x="f6951" y="f6940"/>
                </a:cxn>
                <a:cxn ang="f4299">
                  <a:pos x="f6950" y="f6941"/>
                </a:cxn>
                <a:cxn ang="f4299">
                  <a:pos x="f6949" y="f6941"/>
                </a:cxn>
                <a:cxn ang="f4299">
                  <a:pos x="f6870" y="f6940"/>
                </a:cxn>
                <a:cxn ang="f4299">
                  <a:pos x="f6870" y="f6939"/>
                </a:cxn>
                <a:cxn ang="f4299">
                  <a:pos x="f5875" y="f6952"/>
                </a:cxn>
                <a:cxn ang="f4299">
                  <a:pos x="f5876" y="f6952"/>
                </a:cxn>
                <a:cxn ang="f4299">
                  <a:pos x="f5877" y="f6953"/>
                </a:cxn>
                <a:cxn ang="f4299">
                  <a:pos x="f5877" y="f6954"/>
                </a:cxn>
                <a:cxn ang="f4299">
                  <a:pos x="f5876" y="f6955"/>
                </a:cxn>
                <a:cxn ang="f4299">
                  <a:pos x="f5875" y="f6955"/>
                </a:cxn>
                <a:cxn ang="f4299">
                  <a:pos x="f5878" y="f6954"/>
                </a:cxn>
                <a:cxn ang="f4299">
                  <a:pos x="f5878" y="f6953"/>
                </a:cxn>
                <a:cxn ang="f4299">
                  <a:pos x="f5879" y="f6952"/>
                </a:cxn>
                <a:cxn ang="f4299">
                  <a:pos x="f5880" y="f6952"/>
                </a:cxn>
                <a:cxn ang="f4299">
                  <a:pos x="f5881" y="f6953"/>
                </a:cxn>
                <a:cxn ang="f4299">
                  <a:pos x="f5881" y="f6954"/>
                </a:cxn>
                <a:cxn ang="f4299">
                  <a:pos x="f5880" y="f6955"/>
                </a:cxn>
                <a:cxn ang="f4299">
                  <a:pos x="f5879" y="f6955"/>
                </a:cxn>
                <a:cxn ang="f4299">
                  <a:pos x="f5882" y="f6954"/>
                </a:cxn>
                <a:cxn ang="f4299">
                  <a:pos x="f5882" y="f6953"/>
                </a:cxn>
                <a:cxn ang="f4299">
                  <a:pos x="f5883" y="f6952"/>
                </a:cxn>
                <a:cxn ang="f4299">
                  <a:pos x="f5884" y="f6952"/>
                </a:cxn>
                <a:cxn ang="f4299">
                  <a:pos x="f5885" y="f6953"/>
                </a:cxn>
                <a:cxn ang="f4299">
                  <a:pos x="f5885" y="f6954"/>
                </a:cxn>
                <a:cxn ang="f4299">
                  <a:pos x="f5884" y="f6955"/>
                </a:cxn>
                <a:cxn ang="f4299">
                  <a:pos x="f5883" y="f6955"/>
                </a:cxn>
                <a:cxn ang="f4299">
                  <a:pos x="f5886" y="f6954"/>
                </a:cxn>
                <a:cxn ang="f4299">
                  <a:pos x="f5886" y="f6953"/>
                </a:cxn>
                <a:cxn ang="f4299">
                  <a:pos x="f5887" y="f6952"/>
                </a:cxn>
                <a:cxn ang="f4299">
                  <a:pos x="f5888" y="f6952"/>
                </a:cxn>
                <a:cxn ang="f4299">
                  <a:pos x="f5889" y="f6953"/>
                </a:cxn>
                <a:cxn ang="f4299">
                  <a:pos x="f5889" y="f6954"/>
                </a:cxn>
                <a:cxn ang="f4299">
                  <a:pos x="f5888" y="f6955"/>
                </a:cxn>
                <a:cxn ang="f4299">
                  <a:pos x="f5887" y="f6955"/>
                </a:cxn>
                <a:cxn ang="f4299">
                  <a:pos x="f5890" y="f6954"/>
                </a:cxn>
                <a:cxn ang="f4299">
                  <a:pos x="f5890" y="f6953"/>
                </a:cxn>
                <a:cxn ang="f4299">
                  <a:pos x="f5891" y="f6952"/>
                </a:cxn>
                <a:cxn ang="f4299">
                  <a:pos x="f5892" y="f6952"/>
                </a:cxn>
                <a:cxn ang="f4299">
                  <a:pos x="f5893" y="f6953"/>
                </a:cxn>
                <a:cxn ang="f4299">
                  <a:pos x="f5893" y="f6954"/>
                </a:cxn>
                <a:cxn ang="f4299">
                  <a:pos x="f5892" y="f6955"/>
                </a:cxn>
                <a:cxn ang="f4299">
                  <a:pos x="f5891" y="f6955"/>
                </a:cxn>
                <a:cxn ang="f4299">
                  <a:pos x="f5894" y="f6954"/>
                </a:cxn>
                <a:cxn ang="f4299">
                  <a:pos x="f5894" y="f6953"/>
                </a:cxn>
                <a:cxn ang="f4299">
                  <a:pos x="f5855" y="f6956"/>
                </a:cxn>
                <a:cxn ang="f4299">
                  <a:pos x="f5856" y="f6956"/>
                </a:cxn>
                <a:cxn ang="f4299">
                  <a:pos x="f5857" y="f6957"/>
                </a:cxn>
                <a:cxn ang="f4299">
                  <a:pos x="f5857" y="f6958"/>
                </a:cxn>
                <a:cxn ang="f4299">
                  <a:pos x="f5856" y="f6959"/>
                </a:cxn>
                <a:cxn ang="f4299">
                  <a:pos x="f5855" y="f6959"/>
                </a:cxn>
                <a:cxn ang="f4299">
                  <a:pos x="f5858" y="f6958"/>
                </a:cxn>
                <a:cxn ang="f4299">
                  <a:pos x="f5858" y="f6957"/>
                </a:cxn>
                <a:cxn ang="f4299">
                  <a:pos x="f5859" y="f6956"/>
                </a:cxn>
                <a:cxn ang="f4299">
                  <a:pos x="f5860" y="f6956"/>
                </a:cxn>
                <a:cxn ang="f4299">
                  <a:pos x="f5861" y="f6957"/>
                </a:cxn>
                <a:cxn ang="f4299">
                  <a:pos x="f5861" y="f6958"/>
                </a:cxn>
                <a:cxn ang="f4299">
                  <a:pos x="f5860" y="f6959"/>
                </a:cxn>
                <a:cxn ang="f4299">
                  <a:pos x="f5859" y="f6959"/>
                </a:cxn>
                <a:cxn ang="f4299">
                  <a:pos x="f5862" y="f6958"/>
                </a:cxn>
                <a:cxn ang="f4299">
                  <a:pos x="f5862" y="f6957"/>
                </a:cxn>
                <a:cxn ang="f4299">
                  <a:pos x="f5863" y="f6956"/>
                </a:cxn>
                <a:cxn ang="f4299">
                  <a:pos x="f5864" y="f6956"/>
                </a:cxn>
                <a:cxn ang="f4299">
                  <a:pos x="f5865" y="f6957"/>
                </a:cxn>
                <a:cxn ang="f4299">
                  <a:pos x="f5865" y="f6958"/>
                </a:cxn>
                <a:cxn ang="f4299">
                  <a:pos x="f5864" y="f6959"/>
                </a:cxn>
                <a:cxn ang="f4299">
                  <a:pos x="f5863" y="f6959"/>
                </a:cxn>
                <a:cxn ang="f4299">
                  <a:pos x="f5866" y="f6958"/>
                </a:cxn>
                <a:cxn ang="f4299">
                  <a:pos x="f5866" y="f6957"/>
                </a:cxn>
                <a:cxn ang="f4299">
                  <a:pos x="f5867" y="f6956"/>
                </a:cxn>
                <a:cxn ang="f4299">
                  <a:pos x="f5868" y="f6956"/>
                </a:cxn>
                <a:cxn ang="f4299">
                  <a:pos x="f5869" y="f6957"/>
                </a:cxn>
                <a:cxn ang="f4299">
                  <a:pos x="f5869" y="f6958"/>
                </a:cxn>
                <a:cxn ang="f4299">
                  <a:pos x="f5868" y="f6959"/>
                </a:cxn>
                <a:cxn ang="f4299">
                  <a:pos x="f5867" y="f6959"/>
                </a:cxn>
                <a:cxn ang="f4299">
                  <a:pos x="f5870" y="f6958"/>
                </a:cxn>
                <a:cxn ang="f4299">
                  <a:pos x="f5870" y="f6957"/>
                </a:cxn>
                <a:cxn ang="f4299">
                  <a:pos x="f5871" y="f6956"/>
                </a:cxn>
                <a:cxn ang="f4299">
                  <a:pos x="f5872" y="f6956"/>
                </a:cxn>
                <a:cxn ang="f4299">
                  <a:pos x="f5873" y="f6957"/>
                </a:cxn>
                <a:cxn ang="f4299">
                  <a:pos x="f5873" y="f6958"/>
                </a:cxn>
                <a:cxn ang="f4299">
                  <a:pos x="f5872" y="f6959"/>
                </a:cxn>
                <a:cxn ang="f4299">
                  <a:pos x="f5871" y="f6959"/>
                </a:cxn>
                <a:cxn ang="f4299">
                  <a:pos x="f5874" y="f6958"/>
                </a:cxn>
                <a:cxn ang="f4299">
                  <a:pos x="f5874" y="f6957"/>
                </a:cxn>
                <a:cxn ang="f4299">
                  <a:pos x="f5835" y="f6960"/>
                </a:cxn>
                <a:cxn ang="f4299">
                  <a:pos x="f5836" y="f6960"/>
                </a:cxn>
                <a:cxn ang="f4299">
                  <a:pos x="f5837" y="f6961"/>
                </a:cxn>
                <a:cxn ang="f4299">
                  <a:pos x="f5837" y="f6962"/>
                </a:cxn>
                <a:cxn ang="f4299">
                  <a:pos x="f5836" y="f6963"/>
                </a:cxn>
                <a:cxn ang="f4299">
                  <a:pos x="f5835" y="f6963"/>
                </a:cxn>
                <a:cxn ang="f4299">
                  <a:pos x="f5838" y="f6962"/>
                </a:cxn>
                <a:cxn ang="f4299">
                  <a:pos x="f5838" y="f6961"/>
                </a:cxn>
                <a:cxn ang="f4299">
                  <a:pos x="f5839" y="f6960"/>
                </a:cxn>
                <a:cxn ang="f4299">
                  <a:pos x="f5840" y="f6960"/>
                </a:cxn>
                <a:cxn ang="f4299">
                  <a:pos x="f5841" y="f6961"/>
                </a:cxn>
                <a:cxn ang="f4299">
                  <a:pos x="f5841" y="f6962"/>
                </a:cxn>
                <a:cxn ang="f4299">
                  <a:pos x="f5840" y="f6963"/>
                </a:cxn>
                <a:cxn ang="f4299">
                  <a:pos x="f5839" y="f6963"/>
                </a:cxn>
                <a:cxn ang="f4299">
                  <a:pos x="f5842" y="f6962"/>
                </a:cxn>
                <a:cxn ang="f4299">
                  <a:pos x="f5842" y="f6961"/>
                </a:cxn>
                <a:cxn ang="f4299">
                  <a:pos x="f5843" y="f6960"/>
                </a:cxn>
                <a:cxn ang="f4299">
                  <a:pos x="f5844" y="f6960"/>
                </a:cxn>
                <a:cxn ang="f4299">
                  <a:pos x="f5845" y="f6961"/>
                </a:cxn>
                <a:cxn ang="f4299">
                  <a:pos x="f5845" y="f6962"/>
                </a:cxn>
                <a:cxn ang="f4299">
                  <a:pos x="f5844" y="f6963"/>
                </a:cxn>
                <a:cxn ang="f4299">
                  <a:pos x="f5843" y="f6963"/>
                </a:cxn>
                <a:cxn ang="f4299">
                  <a:pos x="f5846" y="f6962"/>
                </a:cxn>
                <a:cxn ang="f4299">
                  <a:pos x="f5846" y="f6961"/>
                </a:cxn>
                <a:cxn ang="f4299">
                  <a:pos x="f5847" y="f6960"/>
                </a:cxn>
                <a:cxn ang="f4299">
                  <a:pos x="f5848" y="f6960"/>
                </a:cxn>
                <a:cxn ang="f4299">
                  <a:pos x="f5849" y="f6961"/>
                </a:cxn>
                <a:cxn ang="f4299">
                  <a:pos x="f5849" y="f6962"/>
                </a:cxn>
                <a:cxn ang="f4299">
                  <a:pos x="f5848" y="f6963"/>
                </a:cxn>
                <a:cxn ang="f4299">
                  <a:pos x="f5847" y="f6963"/>
                </a:cxn>
                <a:cxn ang="f4299">
                  <a:pos x="f5850" y="f6962"/>
                </a:cxn>
                <a:cxn ang="f4299">
                  <a:pos x="f5850" y="f6961"/>
                </a:cxn>
                <a:cxn ang="f4299">
                  <a:pos x="f5851" y="f6960"/>
                </a:cxn>
                <a:cxn ang="f4299">
                  <a:pos x="f5852" y="f6960"/>
                </a:cxn>
                <a:cxn ang="f4299">
                  <a:pos x="f5853" y="f6961"/>
                </a:cxn>
                <a:cxn ang="f4299">
                  <a:pos x="f5853" y="f6962"/>
                </a:cxn>
                <a:cxn ang="f4299">
                  <a:pos x="f5852" y="f6963"/>
                </a:cxn>
                <a:cxn ang="f4299">
                  <a:pos x="f5851" y="f6963"/>
                </a:cxn>
                <a:cxn ang="f4299">
                  <a:pos x="f5854" y="f6962"/>
                </a:cxn>
                <a:cxn ang="f4299">
                  <a:pos x="f5854" y="f6961"/>
                </a:cxn>
                <a:cxn ang="f4299">
                  <a:pos x="f5815" y="f6964"/>
                </a:cxn>
                <a:cxn ang="f4299">
                  <a:pos x="f5816" y="f6964"/>
                </a:cxn>
                <a:cxn ang="f4299">
                  <a:pos x="f5817" y="f6965"/>
                </a:cxn>
                <a:cxn ang="f4299">
                  <a:pos x="f5817" y="f6966"/>
                </a:cxn>
                <a:cxn ang="f4299">
                  <a:pos x="f5816" y="f6967"/>
                </a:cxn>
                <a:cxn ang="f4299">
                  <a:pos x="f5815" y="f6967"/>
                </a:cxn>
                <a:cxn ang="f4299">
                  <a:pos x="f5818" y="f6966"/>
                </a:cxn>
                <a:cxn ang="f4299">
                  <a:pos x="f5818" y="f6965"/>
                </a:cxn>
                <a:cxn ang="f4299">
                  <a:pos x="f5819" y="f6964"/>
                </a:cxn>
                <a:cxn ang="f4299">
                  <a:pos x="f5820" y="f6964"/>
                </a:cxn>
                <a:cxn ang="f4299">
                  <a:pos x="f5821" y="f6965"/>
                </a:cxn>
                <a:cxn ang="f4299">
                  <a:pos x="f5821" y="f6966"/>
                </a:cxn>
                <a:cxn ang="f4299">
                  <a:pos x="f5820" y="f6967"/>
                </a:cxn>
                <a:cxn ang="f4299">
                  <a:pos x="f5819" y="f6967"/>
                </a:cxn>
                <a:cxn ang="f4299">
                  <a:pos x="f5822" y="f6966"/>
                </a:cxn>
                <a:cxn ang="f4299">
                  <a:pos x="f5822" y="f6965"/>
                </a:cxn>
                <a:cxn ang="f4299">
                  <a:pos x="f5823" y="f6964"/>
                </a:cxn>
                <a:cxn ang="f4299">
                  <a:pos x="f5824" y="f6964"/>
                </a:cxn>
                <a:cxn ang="f4299">
                  <a:pos x="f5825" y="f6965"/>
                </a:cxn>
                <a:cxn ang="f4299">
                  <a:pos x="f5825" y="f6966"/>
                </a:cxn>
                <a:cxn ang="f4299">
                  <a:pos x="f5824" y="f6967"/>
                </a:cxn>
                <a:cxn ang="f4299">
                  <a:pos x="f5823" y="f6967"/>
                </a:cxn>
                <a:cxn ang="f4299">
                  <a:pos x="f5826" y="f6966"/>
                </a:cxn>
                <a:cxn ang="f4299">
                  <a:pos x="f5826" y="f6965"/>
                </a:cxn>
                <a:cxn ang="f4299">
                  <a:pos x="f5827" y="f6964"/>
                </a:cxn>
                <a:cxn ang="f4299">
                  <a:pos x="f5828" y="f6964"/>
                </a:cxn>
                <a:cxn ang="f4299">
                  <a:pos x="f5829" y="f6965"/>
                </a:cxn>
                <a:cxn ang="f4299">
                  <a:pos x="f5829" y="f6966"/>
                </a:cxn>
                <a:cxn ang="f4299">
                  <a:pos x="f5828" y="f6967"/>
                </a:cxn>
                <a:cxn ang="f4299">
                  <a:pos x="f5827" y="f6967"/>
                </a:cxn>
                <a:cxn ang="f4299">
                  <a:pos x="f5830" y="f6966"/>
                </a:cxn>
                <a:cxn ang="f4299">
                  <a:pos x="f5830" y="f6965"/>
                </a:cxn>
                <a:cxn ang="f4299">
                  <a:pos x="f5831" y="f6964"/>
                </a:cxn>
                <a:cxn ang="f4299">
                  <a:pos x="f5832" y="f6964"/>
                </a:cxn>
                <a:cxn ang="f4299">
                  <a:pos x="f5833" y="f6965"/>
                </a:cxn>
                <a:cxn ang="f4299">
                  <a:pos x="f5833" y="f6966"/>
                </a:cxn>
                <a:cxn ang="f4299">
                  <a:pos x="f5832" y="f6967"/>
                </a:cxn>
                <a:cxn ang="f4299">
                  <a:pos x="f5831" y="f6967"/>
                </a:cxn>
                <a:cxn ang="f4299">
                  <a:pos x="f5834" y="f6966"/>
                </a:cxn>
                <a:cxn ang="f4299">
                  <a:pos x="f5834" y="f6965"/>
                </a:cxn>
                <a:cxn ang="f4299">
                  <a:pos x="f5799" y="f6968"/>
                </a:cxn>
                <a:cxn ang="f4299">
                  <a:pos x="f5800" y="f6968"/>
                </a:cxn>
                <a:cxn ang="f4299">
                  <a:pos x="f5801" y="f6969"/>
                </a:cxn>
                <a:cxn ang="f4299">
                  <a:pos x="f5801" y="f6970"/>
                </a:cxn>
                <a:cxn ang="f4299">
                  <a:pos x="f5800" y="f6971"/>
                </a:cxn>
                <a:cxn ang="f4299">
                  <a:pos x="f5799" y="f6971"/>
                </a:cxn>
                <a:cxn ang="f4299">
                  <a:pos x="f5802" y="f6970"/>
                </a:cxn>
                <a:cxn ang="f4299">
                  <a:pos x="f5802" y="f6969"/>
                </a:cxn>
                <a:cxn ang="f4299">
                  <a:pos x="f5803" y="f6968"/>
                </a:cxn>
                <a:cxn ang="f4299">
                  <a:pos x="f5804" y="f6968"/>
                </a:cxn>
                <a:cxn ang="f4299">
                  <a:pos x="f5805" y="f6969"/>
                </a:cxn>
                <a:cxn ang="f4299">
                  <a:pos x="f5805" y="f6970"/>
                </a:cxn>
                <a:cxn ang="f4299">
                  <a:pos x="f5804" y="f6972"/>
                </a:cxn>
                <a:cxn ang="f4299">
                  <a:pos x="f5803" y="f6972"/>
                </a:cxn>
                <a:cxn ang="f4299">
                  <a:pos x="f5806" y="f6970"/>
                </a:cxn>
                <a:cxn ang="f4299">
                  <a:pos x="f5806" y="f6969"/>
                </a:cxn>
                <a:cxn ang="f4299">
                  <a:pos x="f5807" y="f6968"/>
                </a:cxn>
                <a:cxn ang="f4299">
                  <a:pos x="f5808" y="f6968"/>
                </a:cxn>
                <a:cxn ang="f4299">
                  <a:pos x="f5809" y="f6969"/>
                </a:cxn>
                <a:cxn ang="f4299">
                  <a:pos x="f5809" y="f6970"/>
                </a:cxn>
                <a:cxn ang="f4299">
                  <a:pos x="f5808" y="f6972"/>
                </a:cxn>
                <a:cxn ang="f4299">
                  <a:pos x="f5807" y="f6972"/>
                </a:cxn>
                <a:cxn ang="f4299">
                  <a:pos x="f5810" y="f6970"/>
                </a:cxn>
                <a:cxn ang="f4299">
                  <a:pos x="f5810" y="f6969"/>
                </a:cxn>
                <a:cxn ang="f4299">
                  <a:pos x="f5811" y="f6968"/>
                </a:cxn>
                <a:cxn ang="f4299">
                  <a:pos x="f5812" y="f6968"/>
                </a:cxn>
                <a:cxn ang="f4299">
                  <a:pos x="f5813" y="f6969"/>
                </a:cxn>
                <a:cxn ang="f4299">
                  <a:pos x="f5813" y="f6970"/>
                </a:cxn>
                <a:cxn ang="f4299">
                  <a:pos x="f5812" y="f6972"/>
                </a:cxn>
                <a:cxn ang="f4299">
                  <a:pos x="f5811" y="f6972"/>
                </a:cxn>
                <a:cxn ang="f4299">
                  <a:pos x="f5814" y="f6970"/>
                </a:cxn>
                <a:cxn ang="f4299">
                  <a:pos x="f5814" y="f6969"/>
                </a:cxn>
                <a:cxn ang="f4299">
                  <a:pos x="f5795" y="f6973"/>
                </a:cxn>
                <a:cxn ang="f4299">
                  <a:pos x="f5796" y="f6973"/>
                </a:cxn>
                <a:cxn ang="f4299">
                  <a:pos x="f5797" y="f6969"/>
                </a:cxn>
                <a:cxn ang="f4299">
                  <a:pos x="f5797" y="f6970"/>
                </a:cxn>
                <a:cxn ang="f4299">
                  <a:pos x="f5796" y="f6971"/>
                </a:cxn>
                <a:cxn ang="f4299">
                  <a:pos x="f5795" y="f6971"/>
                </a:cxn>
                <a:cxn ang="f4299">
                  <a:pos x="f5798" y="f6970"/>
                </a:cxn>
                <a:cxn ang="f4299">
                  <a:pos x="f5798" y="f6969"/>
                </a:cxn>
                <a:cxn ang="f4299">
                  <a:pos x="f5779" y="f6974"/>
                </a:cxn>
                <a:cxn ang="f4299">
                  <a:pos x="f5780" y="f6974"/>
                </a:cxn>
                <a:cxn ang="f4299">
                  <a:pos x="f5781" y="f6975"/>
                </a:cxn>
                <a:cxn ang="f4299">
                  <a:pos x="f5781" y="f6976"/>
                </a:cxn>
                <a:cxn ang="f4299">
                  <a:pos x="f5780" y="f6977"/>
                </a:cxn>
                <a:cxn ang="f4299">
                  <a:pos x="f5779" y="f6977"/>
                </a:cxn>
                <a:cxn ang="f4299">
                  <a:pos x="f5782" y="f6976"/>
                </a:cxn>
                <a:cxn ang="f4299">
                  <a:pos x="f5782" y="f6975"/>
                </a:cxn>
                <a:cxn ang="f4299">
                  <a:pos x="f5783" y="f6974"/>
                </a:cxn>
                <a:cxn ang="f4299">
                  <a:pos x="f5784" y="f6974"/>
                </a:cxn>
                <a:cxn ang="f4299">
                  <a:pos x="f5785" y="f6975"/>
                </a:cxn>
                <a:cxn ang="f4299">
                  <a:pos x="f5785" y="f6976"/>
                </a:cxn>
                <a:cxn ang="f4299">
                  <a:pos x="f5784" y="f6978"/>
                </a:cxn>
                <a:cxn ang="f4299">
                  <a:pos x="f5783" y="f6978"/>
                </a:cxn>
                <a:cxn ang="f4299">
                  <a:pos x="f5786" y="f6976"/>
                </a:cxn>
                <a:cxn ang="f4299">
                  <a:pos x="f5786" y="f6975"/>
                </a:cxn>
                <a:cxn ang="f4299">
                  <a:pos x="f5787" y="f6974"/>
                </a:cxn>
                <a:cxn ang="f4299">
                  <a:pos x="f5788" y="f6974"/>
                </a:cxn>
                <a:cxn ang="f4299">
                  <a:pos x="f5789" y="f6979"/>
                </a:cxn>
                <a:cxn ang="f4299">
                  <a:pos x="f5789" y="f6976"/>
                </a:cxn>
                <a:cxn ang="f4299">
                  <a:pos x="f5788" y="f6978"/>
                </a:cxn>
                <a:cxn ang="f4299">
                  <a:pos x="f5787" y="f6978"/>
                </a:cxn>
                <a:cxn ang="f4299">
                  <a:pos x="f5790" y="f6976"/>
                </a:cxn>
                <a:cxn ang="f4299">
                  <a:pos x="f5790" y="f6979"/>
                </a:cxn>
                <a:cxn ang="f4299">
                  <a:pos x="f5791" y="f6974"/>
                </a:cxn>
                <a:cxn ang="f4299">
                  <a:pos x="f5792" y="f6974"/>
                </a:cxn>
                <a:cxn ang="f4299">
                  <a:pos x="f5793" y="f6979"/>
                </a:cxn>
                <a:cxn ang="f4299">
                  <a:pos x="f5793" y="f6976"/>
                </a:cxn>
                <a:cxn ang="f4299">
                  <a:pos x="f5792" y="f6978"/>
                </a:cxn>
                <a:cxn ang="f4299">
                  <a:pos x="f5791" y="f6978"/>
                </a:cxn>
                <a:cxn ang="f4299">
                  <a:pos x="f5794" y="f6976"/>
                </a:cxn>
                <a:cxn ang="f4299">
                  <a:pos x="f5794" y="f6979"/>
                </a:cxn>
                <a:cxn ang="f4299">
                  <a:pos x="f5775" y="f6980"/>
                </a:cxn>
                <a:cxn ang="f4299">
                  <a:pos x="f5776" y="f6980"/>
                </a:cxn>
                <a:cxn ang="f4299">
                  <a:pos x="f5777" y="f6975"/>
                </a:cxn>
                <a:cxn ang="f4299">
                  <a:pos x="f5777" y="f6976"/>
                </a:cxn>
                <a:cxn ang="f4299">
                  <a:pos x="f5776" y="f6977"/>
                </a:cxn>
                <a:cxn ang="f4299">
                  <a:pos x="f5775" y="f6977"/>
                </a:cxn>
                <a:cxn ang="f4299">
                  <a:pos x="f5778" y="f6976"/>
                </a:cxn>
                <a:cxn ang="f4299">
                  <a:pos x="f5778" y="f6975"/>
                </a:cxn>
                <a:cxn ang="f4299">
                  <a:pos x="f5767" y="f6981"/>
                </a:cxn>
                <a:cxn ang="f4299">
                  <a:pos x="f5769" y="f6981"/>
                </a:cxn>
                <a:cxn ang="f4299">
                  <a:pos x="f5770" y="f6982"/>
                </a:cxn>
                <a:cxn ang="f4299">
                  <a:pos x="f5770" y="f6983"/>
                </a:cxn>
                <a:cxn ang="f4299">
                  <a:pos x="f5769" y="f6984"/>
                </a:cxn>
                <a:cxn ang="f4299">
                  <a:pos x="f5767" y="f6984"/>
                </a:cxn>
                <a:cxn ang="f4299">
                  <a:pos x="f5774" y="f6983"/>
                </a:cxn>
                <a:cxn ang="f4299">
                  <a:pos x="f5774" y="f6982"/>
                </a:cxn>
                <a:cxn ang="f4299">
                  <a:pos x="f6985" y="f6986"/>
                </a:cxn>
                <a:cxn ang="f4299">
                  <a:pos x="f6987" y="f6986"/>
                </a:cxn>
                <a:cxn ang="f4299">
                  <a:pos x="f6988" y="f6989"/>
                </a:cxn>
                <a:cxn ang="f4299">
                  <a:pos x="f6988" y="f6990"/>
                </a:cxn>
                <a:cxn ang="f4299">
                  <a:pos x="f6987" y="f6991"/>
                </a:cxn>
                <a:cxn ang="f4299">
                  <a:pos x="f6985" y="f6991"/>
                </a:cxn>
                <a:cxn ang="f4299">
                  <a:pos x="f6992" y="f6990"/>
                </a:cxn>
                <a:cxn ang="f4299">
                  <a:pos x="f6992" y="f6989"/>
                </a:cxn>
                <a:cxn ang="f4299">
                  <a:pos x="f6993" y="f6986"/>
                </a:cxn>
                <a:cxn ang="f4299">
                  <a:pos x="f6994" y="f6986"/>
                </a:cxn>
                <a:cxn ang="f4299">
                  <a:pos x="f6951" y="f6989"/>
                </a:cxn>
                <a:cxn ang="f4299">
                  <a:pos x="f6951" y="f6990"/>
                </a:cxn>
                <a:cxn ang="f4299">
                  <a:pos x="f6994" y="f6991"/>
                </a:cxn>
                <a:cxn ang="f4299">
                  <a:pos x="f6993" y="f6991"/>
                </a:cxn>
                <a:cxn ang="f4299">
                  <a:pos x="f6995" y="f6990"/>
                </a:cxn>
                <a:cxn ang="f4299">
                  <a:pos x="f6995" y="f6989"/>
                </a:cxn>
                <a:cxn ang="f4299">
                  <a:pos x="f6996" y="f6986"/>
                </a:cxn>
                <a:cxn ang="f4299">
                  <a:pos x="f6937" y="f6986"/>
                </a:cxn>
                <a:cxn ang="f4299">
                  <a:pos x="f6938" y="f6989"/>
                </a:cxn>
                <a:cxn ang="f4299">
                  <a:pos x="f6938" y="f6990"/>
                </a:cxn>
                <a:cxn ang="f4299">
                  <a:pos x="f6937" y="f6991"/>
                </a:cxn>
                <a:cxn ang="f4299">
                  <a:pos x="f6996" y="f6991"/>
                </a:cxn>
                <a:cxn ang="f4299">
                  <a:pos x="f6997" y="f6990"/>
                </a:cxn>
                <a:cxn ang="f4299">
                  <a:pos x="f6997" y="f6989"/>
                </a:cxn>
                <a:cxn ang="f4299">
                  <a:pos x="f6998" y="f6986"/>
                </a:cxn>
                <a:cxn ang="f4299">
                  <a:pos x="f6942" y="f6986"/>
                </a:cxn>
                <a:cxn ang="f4299">
                  <a:pos x="f6999" y="f6989"/>
                </a:cxn>
                <a:cxn ang="f4299">
                  <a:pos x="f6999" y="f6990"/>
                </a:cxn>
                <a:cxn ang="f4299">
                  <a:pos x="f6942" y="f6991"/>
                </a:cxn>
                <a:cxn ang="f4299">
                  <a:pos x="f6998" y="f6991"/>
                </a:cxn>
                <a:cxn ang="f4299">
                  <a:pos x="f7000" y="f6990"/>
                </a:cxn>
                <a:cxn ang="f4299">
                  <a:pos x="f7000" y="f6989"/>
                </a:cxn>
                <a:cxn ang="f4299">
                  <a:pos x="f7001" y="f7002"/>
                </a:cxn>
                <a:cxn ang="f4299">
                  <a:pos x="f7003" y="f7002"/>
                </a:cxn>
                <a:cxn ang="f4299">
                  <a:pos x="f6913" y="f7004"/>
                </a:cxn>
                <a:cxn ang="f4299">
                  <a:pos x="f6913" y="f7005"/>
                </a:cxn>
                <a:cxn ang="f4299">
                  <a:pos x="f7003" y="f7006"/>
                </a:cxn>
                <a:cxn ang="f4299">
                  <a:pos x="f7001" y="f7006"/>
                </a:cxn>
                <a:cxn ang="f4299">
                  <a:pos x="f6915" y="f7005"/>
                </a:cxn>
                <a:cxn ang="f4299">
                  <a:pos x="f6915" y="f7004"/>
                </a:cxn>
                <a:cxn ang="f4299">
                  <a:pos x="f7007" y="f7002"/>
                </a:cxn>
                <a:cxn ang="f4299">
                  <a:pos x="f7008" y="f7002"/>
                </a:cxn>
                <a:cxn ang="f4299">
                  <a:pos x="f6916" y="f7004"/>
                </a:cxn>
                <a:cxn ang="f4299">
                  <a:pos x="f6916" y="f7005"/>
                </a:cxn>
                <a:cxn ang="f4299">
                  <a:pos x="f7008" y="f7006"/>
                </a:cxn>
                <a:cxn ang="f4299">
                  <a:pos x="f7007" y="f7006"/>
                </a:cxn>
                <a:cxn ang="f4299">
                  <a:pos x="f6917" y="f7005"/>
                </a:cxn>
                <a:cxn ang="f4299">
                  <a:pos x="f6917" y="f7004"/>
                </a:cxn>
                <a:cxn ang="f4299">
                  <a:pos x="f6918" y="f7002"/>
                </a:cxn>
                <a:cxn ang="f4299">
                  <a:pos x="f7009" y="f7002"/>
                </a:cxn>
                <a:cxn ang="f4299">
                  <a:pos x="f7010" y="f7011"/>
                </a:cxn>
                <a:cxn ang="f4299">
                  <a:pos x="f7010" y="f7005"/>
                </a:cxn>
                <a:cxn ang="f4299">
                  <a:pos x="f7009" y="f7006"/>
                </a:cxn>
                <a:cxn ang="f4299">
                  <a:pos x="f6918" y="f7006"/>
                </a:cxn>
                <a:cxn ang="f4299">
                  <a:pos x="f7012" y="f7005"/>
                </a:cxn>
                <a:cxn ang="f4299">
                  <a:pos x="f7012" y="f7011"/>
                </a:cxn>
                <a:cxn ang="f4299">
                  <a:pos x="f7013" y="f7002"/>
                </a:cxn>
                <a:cxn ang="f4299">
                  <a:pos x="f7014" y="f7002"/>
                </a:cxn>
                <a:cxn ang="f4299">
                  <a:pos x="f6906" y="f7011"/>
                </a:cxn>
                <a:cxn ang="f4299">
                  <a:pos x="f6906" y="f7005"/>
                </a:cxn>
                <a:cxn ang="f4299">
                  <a:pos x="f7014" y="f7006"/>
                </a:cxn>
                <a:cxn ang="f4299">
                  <a:pos x="f7013" y="f7006"/>
                </a:cxn>
                <a:cxn ang="f4299">
                  <a:pos x="f6910" y="f7005"/>
                </a:cxn>
                <a:cxn ang="f4299">
                  <a:pos x="f6910" y="f7011"/>
                </a:cxn>
                <a:cxn ang="f4299">
                  <a:pos x="f7015" y="f7016"/>
                </a:cxn>
                <a:cxn ang="f4299">
                  <a:pos x="f7017" y="f7016"/>
                </a:cxn>
                <a:cxn ang="f4299">
                  <a:pos x="f6853" y="f7018"/>
                </a:cxn>
                <a:cxn ang="f4299">
                  <a:pos x="f6853" y="f7019"/>
                </a:cxn>
                <a:cxn ang="f4299">
                  <a:pos x="f7017" y="f7020"/>
                </a:cxn>
                <a:cxn ang="f4299">
                  <a:pos x="f7015" y="f7020"/>
                </a:cxn>
                <a:cxn ang="f4299">
                  <a:pos x="f6805" y="f7019"/>
                </a:cxn>
                <a:cxn ang="f4299">
                  <a:pos x="f6805" y="f7018"/>
                </a:cxn>
                <a:cxn ang="f4299">
                  <a:pos x="f6710" y="f7021"/>
                </a:cxn>
                <a:cxn ang="f4299">
                  <a:pos x="f7022" y="f7021"/>
                </a:cxn>
                <a:cxn ang="f4299">
                  <a:pos x="f6928" y="f7023"/>
                </a:cxn>
                <a:cxn ang="f4299">
                  <a:pos x="f6928" y="f7024"/>
                </a:cxn>
                <a:cxn ang="f4299">
                  <a:pos x="f7022" y="f7025"/>
                </a:cxn>
                <a:cxn ang="f4299">
                  <a:pos x="f6710" y="f7025"/>
                </a:cxn>
                <a:cxn ang="f4299">
                  <a:pos x="f6859" y="f7024"/>
                </a:cxn>
                <a:cxn ang="f4299">
                  <a:pos x="f6859" y="f7023"/>
                </a:cxn>
                <a:cxn ang="f4299">
                  <a:pos x="f5887" y="f7026"/>
                </a:cxn>
                <a:cxn ang="f4299">
                  <a:pos x="f5888" y="f7026"/>
                </a:cxn>
                <a:cxn ang="f4299">
                  <a:pos x="f5889" y="f7027"/>
                </a:cxn>
                <a:cxn ang="f4299">
                  <a:pos x="f5889" y="f7028"/>
                </a:cxn>
                <a:cxn ang="f4299">
                  <a:pos x="f5888" y="f7029"/>
                </a:cxn>
                <a:cxn ang="f4299">
                  <a:pos x="f5887" y="f7029"/>
                </a:cxn>
                <a:cxn ang="f4299">
                  <a:pos x="f5890" y="f7028"/>
                </a:cxn>
                <a:cxn ang="f4299">
                  <a:pos x="f5890" y="f7027"/>
                </a:cxn>
                <a:cxn ang="f4299">
                  <a:pos x="f5891" y="f7026"/>
                </a:cxn>
                <a:cxn ang="f4299">
                  <a:pos x="f5892" y="f7026"/>
                </a:cxn>
                <a:cxn ang="f4299">
                  <a:pos x="f5893" y="f7027"/>
                </a:cxn>
                <a:cxn ang="f4299">
                  <a:pos x="f5893" y="f7028"/>
                </a:cxn>
                <a:cxn ang="f4299">
                  <a:pos x="f5892" y="f7029"/>
                </a:cxn>
                <a:cxn ang="f4299">
                  <a:pos x="f5891" y="f7029"/>
                </a:cxn>
                <a:cxn ang="f4299">
                  <a:pos x="f5894" y="f7028"/>
                </a:cxn>
                <a:cxn ang="f4299">
                  <a:pos x="f5894" y="f7027"/>
                </a:cxn>
                <a:cxn ang="f4299">
                  <a:pos x="f5875" y="f7026"/>
                </a:cxn>
                <a:cxn ang="f4299">
                  <a:pos x="f5876" y="f7026"/>
                </a:cxn>
                <a:cxn ang="f4299">
                  <a:pos x="f5877" y="f7027"/>
                </a:cxn>
                <a:cxn ang="f4299">
                  <a:pos x="f5877" y="f7028"/>
                </a:cxn>
                <a:cxn ang="f4299">
                  <a:pos x="f5876" y="f7029"/>
                </a:cxn>
                <a:cxn ang="f4299">
                  <a:pos x="f5875" y="f7029"/>
                </a:cxn>
                <a:cxn ang="f4299">
                  <a:pos x="f5878" y="f7028"/>
                </a:cxn>
                <a:cxn ang="f4299">
                  <a:pos x="f5878" y="f7027"/>
                </a:cxn>
                <a:cxn ang="f4299">
                  <a:pos x="f5879" y="f7026"/>
                </a:cxn>
                <a:cxn ang="f4299">
                  <a:pos x="f5880" y="f7026"/>
                </a:cxn>
                <a:cxn ang="f4299">
                  <a:pos x="f5881" y="f7027"/>
                </a:cxn>
                <a:cxn ang="f4299">
                  <a:pos x="f5881" y="f7028"/>
                </a:cxn>
                <a:cxn ang="f4299">
                  <a:pos x="f5880" y="f7029"/>
                </a:cxn>
                <a:cxn ang="f4299">
                  <a:pos x="f5879" y="f7029"/>
                </a:cxn>
                <a:cxn ang="f4299">
                  <a:pos x="f5882" y="f7028"/>
                </a:cxn>
                <a:cxn ang="f4299">
                  <a:pos x="f5882" y="f7027"/>
                </a:cxn>
                <a:cxn ang="f4299">
                  <a:pos x="f5883" y="f7026"/>
                </a:cxn>
                <a:cxn ang="f4299">
                  <a:pos x="f5884" y="f7026"/>
                </a:cxn>
                <a:cxn ang="f4299">
                  <a:pos x="f5885" y="f7027"/>
                </a:cxn>
                <a:cxn ang="f4299">
                  <a:pos x="f5885" y="f7028"/>
                </a:cxn>
                <a:cxn ang="f4299">
                  <a:pos x="f5884" y="f7029"/>
                </a:cxn>
                <a:cxn ang="f4299">
                  <a:pos x="f5883" y="f7029"/>
                </a:cxn>
                <a:cxn ang="f4299">
                  <a:pos x="f5886" y="f7028"/>
                </a:cxn>
                <a:cxn ang="f4299">
                  <a:pos x="f5886" y="f7027"/>
                </a:cxn>
                <a:cxn ang="f4299">
                  <a:pos x="f5867" y="f7030"/>
                </a:cxn>
                <a:cxn ang="f4299">
                  <a:pos x="f5868" y="f7030"/>
                </a:cxn>
                <a:cxn ang="f4299">
                  <a:pos x="f5869" y="f7031"/>
                </a:cxn>
                <a:cxn ang="f4299">
                  <a:pos x="f5869" y="f7032"/>
                </a:cxn>
                <a:cxn ang="f4299">
                  <a:pos x="f5868" y="f7033"/>
                </a:cxn>
                <a:cxn ang="f4299">
                  <a:pos x="f5867" y="f7033"/>
                </a:cxn>
                <a:cxn ang="f4299">
                  <a:pos x="f5870" y="f7032"/>
                </a:cxn>
                <a:cxn ang="f4299">
                  <a:pos x="f5870" y="f7031"/>
                </a:cxn>
                <a:cxn ang="f4299">
                  <a:pos x="f5871" y="f7030"/>
                </a:cxn>
                <a:cxn ang="f4299">
                  <a:pos x="f5872" y="f7030"/>
                </a:cxn>
                <a:cxn ang="f4299">
                  <a:pos x="f5873" y="f7031"/>
                </a:cxn>
                <a:cxn ang="f4299">
                  <a:pos x="f5873" y="f7032"/>
                </a:cxn>
                <a:cxn ang="f4299">
                  <a:pos x="f5872" y="f7033"/>
                </a:cxn>
                <a:cxn ang="f4299">
                  <a:pos x="f5871" y="f7033"/>
                </a:cxn>
                <a:cxn ang="f4299">
                  <a:pos x="f5874" y="f7032"/>
                </a:cxn>
                <a:cxn ang="f4299">
                  <a:pos x="f5874" y="f7031"/>
                </a:cxn>
                <a:cxn ang="f4299">
                  <a:pos x="f5855" y="f7034"/>
                </a:cxn>
                <a:cxn ang="f4299">
                  <a:pos x="f5856" y="f7034"/>
                </a:cxn>
                <a:cxn ang="f4299">
                  <a:pos x="f5857" y="f7031"/>
                </a:cxn>
                <a:cxn ang="f4299">
                  <a:pos x="f5857" y="f7032"/>
                </a:cxn>
                <a:cxn ang="f4299">
                  <a:pos x="f5856" y="f7033"/>
                </a:cxn>
                <a:cxn ang="f4299">
                  <a:pos x="f5855" y="f7033"/>
                </a:cxn>
                <a:cxn ang="f4299">
                  <a:pos x="f5858" y="f7032"/>
                </a:cxn>
                <a:cxn ang="f4299">
                  <a:pos x="f5858" y="f7031"/>
                </a:cxn>
                <a:cxn ang="f4299">
                  <a:pos x="f5859" y="f7034"/>
                </a:cxn>
                <a:cxn ang="f4299">
                  <a:pos x="f5860" y="f7034"/>
                </a:cxn>
                <a:cxn ang="f4299">
                  <a:pos x="f5861" y="f7031"/>
                </a:cxn>
                <a:cxn ang="f4299">
                  <a:pos x="f5861" y="f7032"/>
                </a:cxn>
                <a:cxn ang="f4299">
                  <a:pos x="f5860" y="f7033"/>
                </a:cxn>
                <a:cxn ang="f4299">
                  <a:pos x="f5859" y="f7033"/>
                </a:cxn>
                <a:cxn ang="f4299">
                  <a:pos x="f5862" y="f7032"/>
                </a:cxn>
                <a:cxn ang="f4299">
                  <a:pos x="f5862" y="f7031"/>
                </a:cxn>
                <a:cxn ang="f4299">
                  <a:pos x="f5863" y="f7034"/>
                </a:cxn>
                <a:cxn ang="f4299">
                  <a:pos x="f5864" y="f7034"/>
                </a:cxn>
                <a:cxn ang="f4299">
                  <a:pos x="f5865" y="f7031"/>
                </a:cxn>
                <a:cxn ang="f4299">
                  <a:pos x="f5865" y="f7032"/>
                </a:cxn>
                <a:cxn ang="f4299">
                  <a:pos x="f5864" y="f7033"/>
                </a:cxn>
                <a:cxn ang="f4299">
                  <a:pos x="f5863" y="f7033"/>
                </a:cxn>
                <a:cxn ang="f4299">
                  <a:pos x="f5866" y="f7032"/>
                </a:cxn>
                <a:cxn ang="f4299">
                  <a:pos x="f5866" y="f7031"/>
                </a:cxn>
                <a:cxn ang="f4299">
                  <a:pos x="f5847" y="f7035"/>
                </a:cxn>
                <a:cxn ang="f4299">
                  <a:pos x="f5848" y="f7035"/>
                </a:cxn>
                <a:cxn ang="f4299">
                  <a:pos x="f5849" y="f7036"/>
                </a:cxn>
                <a:cxn ang="f4299">
                  <a:pos x="f5849" y="f7037"/>
                </a:cxn>
                <a:cxn ang="f4299">
                  <a:pos x="f5848" y="f7038"/>
                </a:cxn>
                <a:cxn ang="f4299">
                  <a:pos x="f5847" y="f7038"/>
                </a:cxn>
                <a:cxn ang="f4299">
                  <a:pos x="f5850" y="f7037"/>
                </a:cxn>
                <a:cxn ang="f4299">
                  <a:pos x="f5850" y="f7036"/>
                </a:cxn>
                <a:cxn ang="f4299">
                  <a:pos x="f5851" y="f7035"/>
                </a:cxn>
                <a:cxn ang="f4299">
                  <a:pos x="f5852" y="f7035"/>
                </a:cxn>
                <a:cxn ang="f4299">
                  <a:pos x="f5853" y="f7036"/>
                </a:cxn>
                <a:cxn ang="f4299">
                  <a:pos x="f5853" y="f7037"/>
                </a:cxn>
                <a:cxn ang="f4299">
                  <a:pos x="f5852" y="f7038"/>
                </a:cxn>
                <a:cxn ang="f4299">
                  <a:pos x="f5851" y="f7038"/>
                </a:cxn>
                <a:cxn ang="f4299">
                  <a:pos x="f5854" y="f7037"/>
                </a:cxn>
                <a:cxn ang="f4299">
                  <a:pos x="f5854" y="f7036"/>
                </a:cxn>
                <a:cxn ang="f4299">
                  <a:pos x="f5835" y="f7035"/>
                </a:cxn>
                <a:cxn ang="f4299">
                  <a:pos x="f5836" y="f7035"/>
                </a:cxn>
                <a:cxn ang="f4299">
                  <a:pos x="f5837" y="f7036"/>
                </a:cxn>
                <a:cxn ang="f4299">
                  <a:pos x="f5837" y="f7037"/>
                </a:cxn>
                <a:cxn ang="f4299">
                  <a:pos x="f5836" y="f7038"/>
                </a:cxn>
                <a:cxn ang="f4299">
                  <a:pos x="f5835" y="f7038"/>
                </a:cxn>
                <a:cxn ang="f4299">
                  <a:pos x="f5838" y="f7037"/>
                </a:cxn>
                <a:cxn ang="f4299">
                  <a:pos x="f5838" y="f7036"/>
                </a:cxn>
                <a:cxn ang="f4299">
                  <a:pos x="f5839" y="f7035"/>
                </a:cxn>
                <a:cxn ang="f4299">
                  <a:pos x="f5840" y="f7035"/>
                </a:cxn>
                <a:cxn ang="f4299">
                  <a:pos x="f5841" y="f7036"/>
                </a:cxn>
                <a:cxn ang="f4299">
                  <a:pos x="f5841" y="f7037"/>
                </a:cxn>
                <a:cxn ang="f4299">
                  <a:pos x="f5840" y="f7038"/>
                </a:cxn>
                <a:cxn ang="f4299">
                  <a:pos x="f5839" y="f7038"/>
                </a:cxn>
                <a:cxn ang="f4299">
                  <a:pos x="f5842" y="f7037"/>
                </a:cxn>
                <a:cxn ang="f4299">
                  <a:pos x="f5842" y="f7036"/>
                </a:cxn>
                <a:cxn ang="f4299">
                  <a:pos x="f5843" y="f7035"/>
                </a:cxn>
                <a:cxn ang="f4299">
                  <a:pos x="f5844" y="f7035"/>
                </a:cxn>
                <a:cxn ang="f4299">
                  <a:pos x="f5845" y="f7036"/>
                </a:cxn>
                <a:cxn ang="f4299">
                  <a:pos x="f5845" y="f7037"/>
                </a:cxn>
                <a:cxn ang="f4299">
                  <a:pos x="f5844" y="f7038"/>
                </a:cxn>
                <a:cxn ang="f4299">
                  <a:pos x="f5843" y="f7038"/>
                </a:cxn>
                <a:cxn ang="f4299">
                  <a:pos x="f5846" y="f7037"/>
                </a:cxn>
                <a:cxn ang="f4299">
                  <a:pos x="f5846" y="f7036"/>
                </a:cxn>
                <a:cxn ang="f4299">
                  <a:pos x="f5827" y="f7039"/>
                </a:cxn>
                <a:cxn ang="f4299">
                  <a:pos x="f5828" y="f7039"/>
                </a:cxn>
                <a:cxn ang="f4299">
                  <a:pos x="f5829" y="f7040"/>
                </a:cxn>
                <a:cxn ang="f4299">
                  <a:pos x="f5829" y="f7041"/>
                </a:cxn>
                <a:cxn ang="f4299">
                  <a:pos x="f5828" y="f7042"/>
                </a:cxn>
                <a:cxn ang="f4299">
                  <a:pos x="f5827" y="f7042"/>
                </a:cxn>
                <a:cxn ang="f4299">
                  <a:pos x="f5830" y="f7041"/>
                </a:cxn>
                <a:cxn ang="f4299">
                  <a:pos x="f5830" y="f7040"/>
                </a:cxn>
                <a:cxn ang="f4299">
                  <a:pos x="f5831" y="f7039"/>
                </a:cxn>
                <a:cxn ang="f4299">
                  <a:pos x="f5832" y="f7039"/>
                </a:cxn>
                <a:cxn ang="f4299">
                  <a:pos x="f5833" y="f7043"/>
                </a:cxn>
                <a:cxn ang="f4299">
                  <a:pos x="f5833" y="f7041"/>
                </a:cxn>
                <a:cxn ang="f4299">
                  <a:pos x="f5832" y="f7042"/>
                </a:cxn>
                <a:cxn ang="f4299">
                  <a:pos x="f5831" y="f7042"/>
                </a:cxn>
                <a:cxn ang="f4299">
                  <a:pos x="f5834" y="f7041"/>
                </a:cxn>
                <a:cxn ang="f4299">
                  <a:pos x="f5834" y="f7043"/>
                </a:cxn>
                <a:cxn ang="f4299">
                  <a:pos x="f5815" y="f7044"/>
                </a:cxn>
                <a:cxn ang="f4299">
                  <a:pos x="f5816" y="f7044"/>
                </a:cxn>
                <a:cxn ang="f4299">
                  <a:pos x="f5817" y="f7040"/>
                </a:cxn>
                <a:cxn ang="f4299">
                  <a:pos x="f5817" y="f7041"/>
                </a:cxn>
                <a:cxn ang="f4299">
                  <a:pos x="f5816" y="f7042"/>
                </a:cxn>
                <a:cxn ang="f4299">
                  <a:pos x="f5815" y="f7042"/>
                </a:cxn>
                <a:cxn ang="f4299">
                  <a:pos x="f5818" y="f7041"/>
                </a:cxn>
                <a:cxn ang="f4299">
                  <a:pos x="f5818" y="f7040"/>
                </a:cxn>
                <a:cxn ang="f4299">
                  <a:pos x="f5819" y="f7044"/>
                </a:cxn>
                <a:cxn ang="f4299">
                  <a:pos x="f5820" y="f7044"/>
                </a:cxn>
                <a:cxn ang="f4299">
                  <a:pos x="f5821" y="f7040"/>
                </a:cxn>
                <a:cxn ang="f4299">
                  <a:pos x="f5821" y="f7041"/>
                </a:cxn>
                <a:cxn ang="f4299">
                  <a:pos x="f5820" y="f7042"/>
                </a:cxn>
                <a:cxn ang="f4299">
                  <a:pos x="f5819" y="f7042"/>
                </a:cxn>
                <a:cxn ang="f4299">
                  <a:pos x="f5822" y="f7041"/>
                </a:cxn>
                <a:cxn ang="f4299">
                  <a:pos x="f5822" y="f7040"/>
                </a:cxn>
                <a:cxn ang="f4299">
                  <a:pos x="f5823" y="f7044"/>
                </a:cxn>
                <a:cxn ang="f4299">
                  <a:pos x="f5824" y="f7044"/>
                </a:cxn>
                <a:cxn ang="f4299">
                  <a:pos x="f5825" y="f7040"/>
                </a:cxn>
                <a:cxn ang="f4299">
                  <a:pos x="f5825" y="f7041"/>
                </a:cxn>
                <a:cxn ang="f4299">
                  <a:pos x="f5824" y="f7042"/>
                </a:cxn>
                <a:cxn ang="f4299">
                  <a:pos x="f5823" y="f7042"/>
                </a:cxn>
                <a:cxn ang="f4299">
                  <a:pos x="f5826" y="f7041"/>
                </a:cxn>
                <a:cxn ang="f4299">
                  <a:pos x="f5826" y="f7040"/>
                </a:cxn>
                <a:cxn ang="f4299">
                  <a:pos x="f5807" y="f7045"/>
                </a:cxn>
                <a:cxn ang="f4299">
                  <a:pos x="f5808" y="f7045"/>
                </a:cxn>
                <a:cxn ang="f4299">
                  <a:pos x="f5809" y="f7046"/>
                </a:cxn>
                <a:cxn ang="f4299">
                  <a:pos x="f5809" y="f7047"/>
                </a:cxn>
                <a:cxn ang="f4299">
                  <a:pos x="f5808" y="f7048"/>
                </a:cxn>
                <a:cxn ang="f4299">
                  <a:pos x="f5807" y="f7048"/>
                </a:cxn>
                <a:cxn ang="f4299">
                  <a:pos x="f5810" y="f7047"/>
                </a:cxn>
                <a:cxn ang="f4299">
                  <a:pos x="f5810" y="f7046"/>
                </a:cxn>
                <a:cxn ang="f4299">
                  <a:pos x="f5811" y="f7045"/>
                </a:cxn>
                <a:cxn ang="f4299">
                  <a:pos x="f5812" y="f7045"/>
                </a:cxn>
                <a:cxn ang="f4299">
                  <a:pos x="f5813" y="f7049"/>
                </a:cxn>
                <a:cxn ang="f4299">
                  <a:pos x="f5813" y="f7050"/>
                </a:cxn>
                <a:cxn ang="f4299">
                  <a:pos x="f5812" y="f7048"/>
                </a:cxn>
                <a:cxn ang="f4299">
                  <a:pos x="f5811" y="f7048"/>
                </a:cxn>
                <a:cxn ang="f4299">
                  <a:pos x="f5814" y="f7050"/>
                </a:cxn>
                <a:cxn ang="f4299">
                  <a:pos x="f5814" y="f7049"/>
                </a:cxn>
                <a:cxn ang="f4299">
                  <a:pos x="f5795" y="f7045"/>
                </a:cxn>
                <a:cxn ang="f4299">
                  <a:pos x="f5796" y="f7045"/>
                </a:cxn>
                <a:cxn ang="f4299">
                  <a:pos x="f5797" y="f7046"/>
                </a:cxn>
                <a:cxn ang="f4299">
                  <a:pos x="f5797" y="f7047"/>
                </a:cxn>
                <a:cxn ang="f4299">
                  <a:pos x="f5796" y="f7048"/>
                </a:cxn>
                <a:cxn ang="f4299">
                  <a:pos x="f5795" y="f7048"/>
                </a:cxn>
                <a:cxn ang="f4299">
                  <a:pos x="f5798" y="f7047"/>
                </a:cxn>
                <a:cxn ang="f4299">
                  <a:pos x="f5798" y="f7046"/>
                </a:cxn>
                <a:cxn ang="f4299">
                  <a:pos x="f5799" y="f7045"/>
                </a:cxn>
                <a:cxn ang="f4299">
                  <a:pos x="f5800" y="f7045"/>
                </a:cxn>
                <a:cxn ang="f4299">
                  <a:pos x="f5801" y="f7046"/>
                </a:cxn>
                <a:cxn ang="f4299">
                  <a:pos x="f5801" y="f7047"/>
                </a:cxn>
                <a:cxn ang="f4299">
                  <a:pos x="f5800" y="f7048"/>
                </a:cxn>
                <a:cxn ang="f4299">
                  <a:pos x="f5799" y="f7048"/>
                </a:cxn>
                <a:cxn ang="f4299">
                  <a:pos x="f5802" y="f7047"/>
                </a:cxn>
                <a:cxn ang="f4299">
                  <a:pos x="f5802" y="f7046"/>
                </a:cxn>
                <a:cxn ang="f4299">
                  <a:pos x="f5803" y="f7045"/>
                </a:cxn>
                <a:cxn ang="f4299">
                  <a:pos x="f5804" y="f7045"/>
                </a:cxn>
                <a:cxn ang="f4299">
                  <a:pos x="f5805" y="f7046"/>
                </a:cxn>
                <a:cxn ang="f4299">
                  <a:pos x="f5805" y="f7047"/>
                </a:cxn>
                <a:cxn ang="f4299">
                  <a:pos x="f5804" y="f7048"/>
                </a:cxn>
                <a:cxn ang="f4299">
                  <a:pos x="f5803" y="f7048"/>
                </a:cxn>
                <a:cxn ang="f4299">
                  <a:pos x="f5806" y="f7047"/>
                </a:cxn>
                <a:cxn ang="f4299">
                  <a:pos x="f5806" y="f7046"/>
                </a:cxn>
                <a:cxn ang="f4299">
                  <a:pos x="f7001" y="f7051"/>
                </a:cxn>
                <a:cxn ang="f4299">
                  <a:pos x="f7052" y="f7051"/>
                </a:cxn>
                <a:cxn ang="f4299">
                  <a:pos x="f7053" y="f7054"/>
                </a:cxn>
                <a:cxn ang="f4299">
                  <a:pos x="f7053" y="f7055"/>
                </a:cxn>
                <a:cxn ang="f4299">
                  <a:pos x="f7052" y="f7056"/>
                </a:cxn>
                <a:cxn ang="f4299">
                  <a:pos x="f7001" y="f7056"/>
                </a:cxn>
                <a:cxn ang="f4299">
                  <a:pos x="f7057" y="f7055"/>
                </a:cxn>
                <a:cxn ang="f4299">
                  <a:pos x="f7057" y="f7054"/>
                </a:cxn>
                <a:cxn ang="f4299">
                  <a:pos x="f7007" y="f7051"/>
                </a:cxn>
                <a:cxn ang="f4299">
                  <a:pos x="f7058" y="f7051"/>
                </a:cxn>
                <a:cxn ang="f4299">
                  <a:pos x="f7059" y="f7054"/>
                </a:cxn>
                <a:cxn ang="f4299">
                  <a:pos x="f7059" y="f7055"/>
                </a:cxn>
                <a:cxn ang="f4299">
                  <a:pos x="f7058" y="f7056"/>
                </a:cxn>
                <a:cxn ang="f4299">
                  <a:pos x="f7007" y="f7056"/>
                </a:cxn>
                <a:cxn ang="f4299">
                  <a:pos x="f7060" y="f7055"/>
                </a:cxn>
                <a:cxn ang="f4299">
                  <a:pos x="f7060" y="f7054"/>
                </a:cxn>
                <a:cxn ang="f4299">
                  <a:pos x="f7061" y="f7051"/>
                </a:cxn>
                <a:cxn ang="f4299">
                  <a:pos x="f7009" y="f7051"/>
                </a:cxn>
                <a:cxn ang="f4299">
                  <a:pos x="f7010" y="f7054"/>
                </a:cxn>
                <a:cxn ang="f4299">
                  <a:pos x="f7010" y="f7055"/>
                </a:cxn>
                <a:cxn ang="f4299">
                  <a:pos x="f7009" y="f7056"/>
                </a:cxn>
                <a:cxn ang="f4299">
                  <a:pos x="f7061" y="f7056"/>
                </a:cxn>
                <a:cxn ang="f4299">
                  <a:pos x="f7012" y="f7055"/>
                </a:cxn>
                <a:cxn ang="f4299">
                  <a:pos x="f7012" y="f7054"/>
                </a:cxn>
                <a:cxn ang="f4299">
                  <a:pos x="f7013" y="f7051"/>
                </a:cxn>
                <a:cxn ang="f4299">
                  <a:pos x="f7062" y="f7051"/>
                </a:cxn>
                <a:cxn ang="f4299">
                  <a:pos x="f7063" y="f7054"/>
                </a:cxn>
                <a:cxn ang="f4299">
                  <a:pos x="f7063" y="f7055"/>
                </a:cxn>
                <a:cxn ang="f4299">
                  <a:pos x="f7062" y="f7056"/>
                </a:cxn>
                <a:cxn ang="f4299">
                  <a:pos x="f7013" y="f7056"/>
                </a:cxn>
                <a:cxn ang="f4299">
                  <a:pos x="f7064" y="f7055"/>
                </a:cxn>
                <a:cxn ang="f4299">
                  <a:pos x="f7064" y="f7054"/>
                </a:cxn>
                <a:cxn ang="f4299">
                  <a:pos x="f5787" y="f7065"/>
                </a:cxn>
                <a:cxn ang="f4299">
                  <a:pos x="f5788" y="f7065"/>
                </a:cxn>
                <a:cxn ang="f4299">
                  <a:pos x="f5789" y="f7066"/>
                </a:cxn>
                <a:cxn ang="f4299">
                  <a:pos x="f5789" y="f7067"/>
                </a:cxn>
                <a:cxn ang="f4299">
                  <a:pos x="f5788" y="f7068"/>
                </a:cxn>
                <a:cxn ang="f4299">
                  <a:pos x="f5787" y="f7068"/>
                </a:cxn>
                <a:cxn ang="f4299">
                  <a:pos x="f5790" y="f7067"/>
                </a:cxn>
                <a:cxn ang="f4299">
                  <a:pos x="f5790" y="f7066"/>
                </a:cxn>
                <a:cxn ang="f4299">
                  <a:pos x="f5791" y="f7065"/>
                </a:cxn>
                <a:cxn ang="f4299">
                  <a:pos x="f5792" y="f7065"/>
                </a:cxn>
                <a:cxn ang="f4299">
                  <a:pos x="f5793" y="f7066"/>
                </a:cxn>
                <a:cxn ang="f4299">
                  <a:pos x="f5793" y="f7069"/>
                </a:cxn>
                <a:cxn ang="f4299">
                  <a:pos x="f5792" y="f7070"/>
                </a:cxn>
                <a:cxn ang="f4299">
                  <a:pos x="f5791" y="f7070"/>
                </a:cxn>
                <a:cxn ang="f4299">
                  <a:pos x="f5794" y="f7069"/>
                </a:cxn>
                <a:cxn ang="f4299">
                  <a:pos x="f5794" y="f7066"/>
                </a:cxn>
                <a:cxn ang="f4299">
                  <a:pos x="f5775" y="f7071"/>
                </a:cxn>
                <a:cxn ang="f4299">
                  <a:pos x="f5776" y="f7071"/>
                </a:cxn>
                <a:cxn ang="f4299">
                  <a:pos x="f5777" y="f7072"/>
                </a:cxn>
                <a:cxn ang="f4299">
                  <a:pos x="f5777" y="f7067"/>
                </a:cxn>
                <a:cxn ang="f4299">
                  <a:pos x="f5776" y="f7068"/>
                </a:cxn>
                <a:cxn ang="f4299">
                  <a:pos x="f5775" y="f7068"/>
                </a:cxn>
                <a:cxn ang="f4299">
                  <a:pos x="f5778" y="f7067"/>
                </a:cxn>
                <a:cxn ang="f4299">
                  <a:pos x="f5778" y="f7072"/>
                </a:cxn>
                <a:cxn ang="f4299">
                  <a:pos x="f5779" y="f7071"/>
                </a:cxn>
                <a:cxn ang="f4299">
                  <a:pos x="f5780" y="f7071"/>
                </a:cxn>
                <a:cxn ang="f4299">
                  <a:pos x="f5781" y="f7072"/>
                </a:cxn>
                <a:cxn ang="f4299">
                  <a:pos x="f5781" y="f7067"/>
                </a:cxn>
                <a:cxn ang="f4299">
                  <a:pos x="f5780" y="f7068"/>
                </a:cxn>
                <a:cxn ang="f4299">
                  <a:pos x="f5779" y="f7068"/>
                </a:cxn>
                <a:cxn ang="f4299">
                  <a:pos x="f5782" y="f7067"/>
                </a:cxn>
                <a:cxn ang="f4299">
                  <a:pos x="f5782" y="f7072"/>
                </a:cxn>
                <a:cxn ang="f4299">
                  <a:pos x="f5783" y="f7071"/>
                </a:cxn>
                <a:cxn ang="f4299">
                  <a:pos x="f5784" y="f7071"/>
                </a:cxn>
                <a:cxn ang="f4299">
                  <a:pos x="f5785" y="f7072"/>
                </a:cxn>
                <a:cxn ang="f4299">
                  <a:pos x="f5785" y="f7067"/>
                </a:cxn>
                <a:cxn ang="f4299">
                  <a:pos x="f5784" y="f7068"/>
                </a:cxn>
                <a:cxn ang="f4299">
                  <a:pos x="f5783" y="f7068"/>
                </a:cxn>
                <a:cxn ang="f4299">
                  <a:pos x="f5786" y="f7067"/>
                </a:cxn>
                <a:cxn ang="f4299">
                  <a:pos x="f5786" y="f7072"/>
                </a:cxn>
                <a:cxn ang="f4299">
                  <a:pos x="f7015" y="f7073"/>
                </a:cxn>
                <a:cxn ang="f4299">
                  <a:pos x="f7017" y="f7073"/>
                </a:cxn>
                <a:cxn ang="f4299">
                  <a:pos x="f6853" y="f7074"/>
                </a:cxn>
                <a:cxn ang="f4299">
                  <a:pos x="f6853" y="f7075"/>
                </a:cxn>
                <a:cxn ang="f4299">
                  <a:pos x="f7017" y="f7076"/>
                </a:cxn>
                <a:cxn ang="f4299">
                  <a:pos x="f7015" y="f7076"/>
                </a:cxn>
                <a:cxn ang="f4299">
                  <a:pos x="f6805" y="f7075"/>
                </a:cxn>
                <a:cxn ang="f4299">
                  <a:pos x="f6805" y="f7074"/>
                </a:cxn>
                <a:cxn ang="f4299">
                  <a:pos x="f7077" y="f7078"/>
                </a:cxn>
                <a:cxn ang="f4299">
                  <a:pos x="f7022" y="f7078"/>
                </a:cxn>
                <a:cxn ang="f4299">
                  <a:pos x="f6928" y="f7079"/>
                </a:cxn>
                <a:cxn ang="f4299">
                  <a:pos x="f6928" y="f7080"/>
                </a:cxn>
                <a:cxn ang="f4299">
                  <a:pos x="f7022" y="f7081"/>
                </a:cxn>
                <a:cxn ang="f4299">
                  <a:pos x="f7077" y="f7081"/>
                </a:cxn>
                <a:cxn ang="f4299">
                  <a:pos x="f6859" y="f7080"/>
                </a:cxn>
                <a:cxn ang="f4299">
                  <a:pos x="f6859" y="f7079"/>
                </a:cxn>
                <a:cxn ang="f4299">
                  <a:pos x="f5767" y="f7082"/>
                </a:cxn>
                <a:cxn ang="f4299">
                  <a:pos x="f5769" y="f7082"/>
                </a:cxn>
                <a:cxn ang="f4299">
                  <a:pos x="f5770" y="f7083"/>
                </a:cxn>
                <a:cxn ang="f4299">
                  <a:pos x="f5770" y="f7084"/>
                </a:cxn>
                <a:cxn ang="f4299">
                  <a:pos x="f5769" y="f7085"/>
                </a:cxn>
                <a:cxn ang="f4299">
                  <a:pos x="f5767" y="f7085"/>
                </a:cxn>
                <a:cxn ang="f4299">
                  <a:pos x="f5774" y="f7084"/>
                </a:cxn>
                <a:cxn ang="f4299">
                  <a:pos x="f5774" y="f7083"/>
                </a:cxn>
                <a:cxn ang="f4299">
                  <a:pos x="f6985" y="f7086"/>
                </a:cxn>
                <a:cxn ang="f4299">
                  <a:pos x="f7087" y="f7086"/>
                </a:cxn>
                <a:cxn ang="f4299">
                  <a:pos x="f7088" y="f7089"/>
                </a:cxn>
                <a:cxn ang="f4299">
                  <a:pos x="f7088" y="f7090"/>
                </a:cxn>
                <a:cxn ang="f4299">
                  <a:pos x="f7087" y="f7091"/>
                </a:cxn>
                <a:cxn ang="f4299">
                  <a:pos x="f6985" y="f7091"/>
                </a:cxn>
                <a:cxn ang="f4299">
                  <a:pos x="f7092" y="f7090"/>
                </a:cxn>
                <a:cxn ang="f4299">
                  <a:pos x="f7092" y="f7089"/>
                </a:cxn>
                <a:cxn ang="f4299">
                  <a:pos x="f6993" y="f7086"/>
                </a:cxn>
                <a:cxn ang="f4299">
                  <a:pos x="f7093" y="f7086"/>
                </a:cxn>
                <a:cxn ang="f4299">
                  <a:pos x="f7094" y="f7089"/>
                </a:cxn>
                <a:cxn ang="f4299">
                  <a:pos x="f7094" y="f7090"/>
                </a:cxn>
                <a:cxn ang="f4299">
                  <a:pos x="f7093" y="f7091"/>
                </a:cxn>
                <a:cxn ang="f4299">
                  <a:pos x="f6993" y="f7091"/>
                </a:cxn>
                <a:cxn ang="f4299">
                  <a:pos x="f6995" y="f7090"/>
                </a:cxn>
                <a:cxn ang="f4299">
                  <a:pos x="f6995" y="f7089"/>
                </a:cxn>
                <a:cxn ang="f4299">
                  <a:pos x="f6996" y="f7086"/>
                </a:cxn>
                <a:cxn ang="f4299">
                  <a:pos x="f7095" y="f7086"/>
                </a:cxn>
                <a:cxn ang="f4299">
                  <a:pos x="f7096" y="f7089"/>
                </a:cxn>
                <a:cxn ang="f4299">
                  <a:pos x="f7096" y="f7090"/>
                </a:cxn>
                <a:cxn ang="f4299">
                  <a:pos x="f7095" y="f7091"/>
                </a:cxn>
                <a:cxn ang="f4299">
                  <a:pos x="f6996" y="f7091"/>
                </a:cxn>
                <a:cxn ang="f4299">
                  <a:pos x="f7097" y="f7090"/>
                </a:cxn>
                <a:cxn ang="f4299">
                  <a:pos x="f7097" y="f7089"/>
                </a:cxn>
                <a:cxn ang="f4299">
                  <a:pos x="f6998" y="f7086"/>
                </a:cxn>
                <a:cxn ang="f4299">
                  <a:pos x="f7098" y="f7086"/>
                </a:cxn>
                <a:cxn ang="f4299">
                  <a:pos x="f7099" y="f7089"/>
                </a:cxn>
                <a:cxn ang="f4299">
                  <a:pos x="f7099" y="f7090"/>
                </a:cxn>
                <a:cxn ang="f4299">
                  <a:pos x="f7098" y="f7091"/>
                </a:cxn>
                <a:cxn ang="f4299">
                  <a:pos x="f6998" y="f7091"/>
                </a:cxn>
                <a:cxn ang="f4299">
                  <a:pos x="f7000" y="f7090"/>
                </a:cxn>
                <a:cxn ang="f4299">
                  <a:pos x="f7000" y="f7089"/>
                </a:cxn>
                <a:cxn ang="f4299">
                  <a:pos x="f5879" y="f7100"/>
                </a:cxn>
                <a:cxn ang="f4299">
                  <a:pos x="f5880" y="f7100"/>
                </a:cxn>
                <a:cxn ang="f4299">
                  <a:pos x="f5881" y="f7101"/>
                </a:cxn>
                <a:cxn ang="f4299">
                  <a:pos x="f5881" y="f7102"/>
                </a:cxn>
                <a:cxn ang="f4299">
                  <a:pos x="f5880" y="f7103"/>
                </a:cxn>
                <a:cxn ang="f4299">
                  <a:pos x="f5879" y="f7103"/>
                </a:cxn>
                <a:cxn ang="f4299">
                  <a:pos x="f5882" y="f7102"/>
                </a:cxn>
                <a:cxn ang="f4299">
                  <a:pos x="f5882" y="f7101"/>
                </a:cxn>
                <a:cxn ang="f4299">
                  <a:pos x="f5883" y="f7100"/>
                </a:cxn>
                <a:cxn ang="f4299">
                  <a:pos x="f5884" y="f7100"/>
                </a:cxn>
                <a:cxn ang="f4299">
                  <a:pos x="f5885" y="f7104"/>
                </a:cxn>
                <a:cxn ang="f4299">
                  <a:pos x="f5885" y="f7102"/>
                </a:cxn>
                <a:cxn ang="f4299">
                  <a:pos x="f5884" y="f7103"/>
                </a:cxn>
                <a:cxn ang="f4299">
                  <a:pos x="f5883" y="f7103"/>
                </a:cxn>
                <a:cxn ang="f4299">
                  <a:pos x="f5886" y="f7102"/>
                </a:cxn>
                <a:cxn ang="f4299">
                  <a:pos x="f5886" y="f7104"/>
                </a:cxn>
                <a:cxn ang="f4299">
                  <a:pos x="f5887" y="f7100"/>
                </a:cxn>
                <a:cxn ang="f4299">
                  <a:pos x="f5888" y="f7100"/>
                </a:cxn>
                <a:cxn ang="f4299">
                  <a:pos x="f5889" y="f7104"/>
                </a:cxn>
                <a:cxn ang="f4299">
                  <a:pos x="f5889" y="f7105"/>
                </a:cxn>
                <a:cxn ang="f4299">
                  <a:pos x="f5888" y="f7106"/>
                </a:cxn>
                <a:cxn ang="f4299">
                  <a:pos x="f5887" y="f7106"/>
                </a:cxn>
                <a:cxn ang="f4299">
                  <a:pos x="f5890" y="f7105"/>
                </a:cxn>
                <a:cxn ang="f4299">
                  <a:pos x="f5890" y="f7104"/>
                </a:cxn>
                <a:cxn ang="f4299">
                  <a:pos x="f5891" y="f7100"/>
                </a:cxn>
                <a:cxn ang="f4299">
                  <a:pos x="f5892" y="f7100"/>
                </a:cxn>
                <a:cxn ang="f4299">
                  <a:pos x="f5893" y="f7104"/>
                </a:cxn>
                <a:cxn ang="f4299">
                  <a:pos x="f5893" y="f7105"/>
                </a:cxn>
                <a:cxn ang="f4299">
                  <a:pos x="f5892" y="f7106"/>
                </a:cxn>
                <a:cxn ang="f4299">
                  <a:pos x="f5891" y="f7106"/>
                </a:cxn>
                <a:cxn ang="f4299">
                  <a:pos x="f5894" y="f7105"/>
                </a:cxn>
                <a:cxn ang="f4299">
                  <a:pos x="f5894" y="f7104"/>
                </a:cxn>
                <a:cxn ang="f4299">
                  <a:pos x="f5875" y="f7100"/>
                </a:cxn>
                <a:cxn ang="f4299">
                  <a:pos x="f5876" y="f7100"/>
                </a:cxn>
                <a:cxn ang="f4299">
                  <a:pos x="f5877" y="f7101"/>
                </a:cxn>
                <a:cxn ang="f4299">
                  <a:pos x="f5877" y="f7102"/>
                </a:cxn>
                <a:cxn ang="f4299">
                  <a:pos x="f5876" y="f7103"/>
                </a:cxn>
                <a:cxn ang="f4299">
                  <a:pos x="f5875" y="f7103"/>
                </a:cxn>
                <a:cxn ang="f4299">
                  <a:pos x="f5878" y="f7102"/>
                </a:cxn>
                <a:cxn ang="f4299">
                  <a:pos x="f5878" y="f7101"/>
                </a:cxn>
                <a:cxn ang="f4299">
                  <a:pos x="f5855" y="f7107"/>
                </a:cxn>
                <a:cxn ang="f4299">
                  <a:pos x="f5856" y="f7107"/>
                </a:cxn>
                <a:cxn ang="f4299">
                  <a:pos x="f5857" y="f7108"/>
                </a:cxn>
                <a:cxn ang="f4299">
                  <a:pos x="f5857" y="f7109"/>
                </a:cxn>
                <a:cxn ang="f4299">
                  <a:pos x="f5856" y="f7110"/>
                </a:cxn>
                <a:cxn ang="f4299">
                  <a:pos x="f5855" y="f7110"/>
                </a:cxn>
                <a:cxn ang="f4299">
                  <a:pos x="f5858" y="f7109"/>
                </a:cxn>
                <a:cxn ang="f4299">
                  <a:pos x="f5858" y="f7108"/>
                </a:cxn>
                <a:cxn ang="f4299">
                  <a:pos x="f5859" y="f7107"/>
                </a:cxn>
                <a:cxn ang="f4299">
                  <a:pos x="f5860" y="f7107"/>
                </a:cxn>
                <a:cxn ang="f4299">
                  <a:pos x="f5861" y="f7108"/>
                </a:cxn>
                <a:cxn ang="f4299">
                  <a:pos x="f5861" y="f7111"/>
                </a:cxn>
                <a:cxn ang="f4299">
                  <a:pos x="f5860" y="f7112"/>
                </a:cxn>
                <a:cxn ang="f4299">
                  <a:pos x="f5859" y="f7112"/>
                </a:cxn>
                <a:cxn ang="f4299">
                  <a:pos x="f5862" y="f7111"/>
                </a:cxn>
                <a:cxn ang="f4299">
                  <a:pos x="f5862" y="f7108"/>
                </a:cxn>
                <a:cxn ang="f4299">
                  <a:pos x="f5863" y="f7107"/>
                </a:cxn>
                <a:cxn ang="f4299">
                  <a:pos x="f5864" y="f7107"/>
                </a:cxn>
                <a:cxn ang="f4299">
                  <a:pos x="f5865" y="f7108"/>
                </a:cxn>
                <a:cxn ang="f4299">
                  <a:pos x="f5865" y="f7111"/>
                </a:cxn>
                <a:cxn ang="f4299">
                  <a:pos x="f5864" y="f7112"/>
                </a:cxn>
                <a:cxn ang="f4299">
                  <a:pos x="f5863" y="f7112"/>
                </a:cxn>
                <a:cxn ang="f4299">
                  <a:pos x="f5866" y="f7111"/>
                </a:cxn>
                <a:cxn ang="f4299">
                  <a:pos x="f5866" y="f7108"/>
                </a:cxn>
                <a:cxn ang="f4299">
                  <a:pos x="f5867" y="f7107"/>
                </a:cxn>
                <a:cxn ang="f4299">
                  <a:pos x="f5868" y="f7107"/>
                </a:cxn>
                <a:cxn ang="f4299">
                  <a:pos x="f5869" y="f7108"/>
                </a:cxn>
                <a:cxn ang="f4299">
                  <a:pos x="f5869" y="f7111"/>
                </a:cxn>
                <a:cxn ang="f4299">
                  <a:pos x="f5868" y="f7112"/>
                </a:cxn>
                <a:cxn ang="f4299">
                  <a:pos x="f5867" y="f7112"/>
                </a:cxn>
                <a:cxn ang="f4299">
                  <a:pos x="f5870" y="f7111"/>
                </a:cxn>
                <a:cxn ang="f4299">
                  <a:pos x="f5870" y="f7108"/>
                </a:cxn>
                <a:cxn ang="f4299">
                  <a:pos x="f5871" y="f7107"/>
                </a:cxn>
                <a:cxn ang="f4299">
                  <a:pos x="f5872" y="f7107"/>
                </a:cxn>
                <a:cxn ang="f4299">
                  <a:pos x="f5873" y="f7108"/>
                </a:cxn>
                <a:cxn ang="f4299">
                  <a:pos x="f5873" y="f7111"/>
                </a:cxn>
                <a:cxn ang="f4299">
                  <a:pos x="f5872" y="f7112"/>
                </a:cxn>
                <a:cxn ang="f4299">
                  <a:pos x="f5871" y="f7112"/>
                </a:cxn>
                <a:cxn ang="f4299">
                  <a:pos x="f5874" y="f7111"/>
                </a:cxn>
                <a:cxn ang="f4299">
                  <a:pos x="f5874" y="f7108"/>
                </a:cxn>
                <a:cxn ang="f4299">
                  <a:pos x="f5851" y="f7113"/>
                </a:cxn>
                <a:cxn ang="f4299">
                  <a:pos x="f5852" y="f7113"/>
                </a:cxn>
                <a:cxn ang="f4299">
                  <a:pos x="f5853" y="f7114"/>
                </a:cxn>
                <a:cxn ang="f4299">
                  <a:pos x="f5853" y="f7115"/>
                </a:cxn>
                <a:cxn ang="f4299">
                  <a:pos x="f5852" y="f7116"/>
                </a:cxn>
                <a:cxn ang="f4299">
                  <a:pos x="f5851" y="f7116"/>
                </a:cxn>
                <a:cxn ang="f4299">
                  <a:pos x="f5854" y="f7115"/>
                </a:cxn>
                <a:cxn ang="f4299">
                  <a:pos x="f5854" y="f7114"/>
                </a:cxn>
                <a:cxn ang="f4299">
                  <a:pos x="f5835" y="f7117"/>
                </a:cxn>
                <a:cxn ang="f4299">
                  <a:pos x="f5836" y="f7117"/>
                </a:cxn>
                <a:cxn ang="f4299">
                  <a:pos x="f5837" y="f7114"/>
                </a:cxn>
                <a:cxn ang="f4299">
                  <a:pos x="f5837" y="f7115"/>
                </a:cxn>
                <a:cxn ang="f4299">
                  <a:pos x="f5836" y="f7116"/>
                </a:cxn>
                <a:cxn ang="f4299">
                  <a:pos x="f5835" y="f7116"/>
                </a:cxn>
                <a:cxn ang="f4299">
                  <a:pos x="f5838" y="f7115"/>
                </a:cxn>
                <a:cxn ang="f4299">
                  <a:pos x="f5838" y="f7114"/>
                </a:cxn>
                <a:cxn ang="f4299">
                  <a:pos x="f5839" y="f7117"/>
                </a:cxn>
                <a:cxn ang="f4299">
                  <a:pos x="f5840" y="f7117"/>
                </a:cxn>
                <a:cxn ang="f4299">
                  <a:pos x="f5841" y="f7114"/>
                </a:cxn>
                <a:cxn ang="f4299">
                  <a:pos x="f5841" y="f7115"/>
                </a:cxn>
                <a:cxn ang="f4299">
                  <a:pos x="f5840" y="f7116"/>
                </a:cxn>
                <a:cxn ang="f4299">
                  <a:pos x="f5839" y="f7116"/>
                </a:cxn>
                <a:cxn ang="f4299">
                  <a:pos x="f5842" y="f7115"/>
                </a:cxn>
                <a:cxn ang="f4299">
                  <a:pos x="f5842" y="f7114"/>
                </a:cxn>
                <a:cxn ang="f4299">
                  <a:pos x="f5843" y="f7117"/>
                </a:cxn>
                <a:cxn ang="f4299">
                  <a:pos x="f5844" y="f7117"/>
                </a:cxn>
                <a:cxn ang="f4299">
                  <a:pos x="f5845" y="f7114"/>
                </a:cxn>
                <a:cxn ang="f4299">
                  <a:pos x="f5845" y="f7115"/>
                </a:cxn>
                <a:cxn ang="f4299">
                  <a:pos x="f5844" y="f7116"/>
                </a:cxn>
                <a:cxn ang="f4299">
                  <a:pos x="f5843" y="f7116"/>
                </a:cxn>
                <a:cxn ang="f4299">
                  <a:pos x="f5846" y="f7115"/>
                </a:cxn>
                <a:cxn ang="f4299">
                  <a:pos x="f5846" y="f7114"/>
                </a:cxn>
                <a:cxn ang="f4299">
                  <a:pos x="f5847" y="f7117"/>
                </a:cxn>
                <a:cxn ang="f4299">
                  <a:pos x="f5848" y="f7117"/>
                </a:cxn>
                <a:cxn ang="f4299">
                  <a:pos x="f5849" y="f7114"/>
                </a:cxn>
                <a:cxn ang="f4299">
                  <a:pos x="f5849" y="f7115"/>
                </a:cxn>
                <a:cxn ang="f4299">
                  <a:pos x="f5848" y="f7116"/>
                </a:cxn>
                <a:cxn ang="f4299">
                  <a:pos x="f5847" y="f7116"/>
                </a:cxn>
                <a:cxn ang="f4299">
                  <a:pos x="f5850" y="f7115"/>
                </a:cxn>
                <a:cxn ang="f4299">
                  <a:pos x="f5850" y="f7114"/>
                </a:cxn>
                <a:cxn ang="f4299">
                  <a:pos x="f5823" y="f7118"/>
                </a:cxn>
                <a:cxn ang="f4299">
                  <a:pos x="f5824" y="f7118"/>
                </a:cxn>
                <a:cxn ang="f4299">
                  <a:pos x="f5825" y="f7119"/>
                </a:cxn>
                <a:cxn ang="f4299">
                  <a:pos x="f5825" y="f7120"/>
                </a:cxn>
                <a:cxn ang="f4299">
                  <a:pos x="f5824" y="f7121"/>
                </a:cxn>
                <a:cxn ang="f4299">
                  <a:pos x="f5823" y="f7121"/>
                </a:cxn>
                <a:cxn ang="f4299">
                  <a:pos x="f5826" y="f7120"/>
                </a:cxn>
                <a:cxn ang="f4299">
                  <a:pos x="f5826" y="f7119"/>
                </a:cxn>
                <a:cxn ang="f4299">
                  <a:pos x="f5827" y="f7118"/>
                </a:cxn>
                <a:cxn ang="f4299">
                  <a:pos x="f5828" y="f7118"/>
                </a:cxn>
                <a:cxn ang="f4299">
                  <a:pos x="f5829" y="f7119"/>
                </a:cxn>
                <a:cxn ang="f4299">
                  <a:pos x="f5829" y="f7122"/>
                </a:cxn>
                <a:cxn ang="f4299">
                  <a:pos x="f5828" y="f7123"/>
                </a:cxn>
                <a:cxn ang="f4299">
                  <a:pos x="f5827" y="f7123"/>
                </a:cxn>
                <a:cxn ang="f4299">
                  <a:pos x="f5830" y="f7122"/>
                </a:cxn>
                <a:cxn ang="f4299">
                  <a:pos x="f5830" y="f7119"/>
                </a:cxn>
                <a:cxn ang="f4299">
                  <a:pos x="f5831" y="f7118"/>
                </a:cxn>
                <a:cxn ang="f4299">
                  <a:pos x="f5832" y="f7118"/>
                </a:cxn>
                <a:cxn ang="f4299">
                  <a:pos x="f5833" y="f7119"/>
                </a:cxn>
                <a:cxn ang="f4299">
                  <a:pos x="f5833" y="f7122"/>
                </a:cxn>
                <a:cxn ang="f4299">
                  <a:pos x="f5832" y="f7123"/>
                </a:cxn>
                <a:cxn ang="f4299">
                  <a:pos x="f5831" y="f7123"/>
                </a:cxn>
                <a:cxn ang="f4299">
                  <a:pos x="f5834" y="f7122"/>
                </a:cxn>
                <a:cxn ang="f4299">
                  <a:pos x="f5834" y="f7119"/>
                </a:cxn>
                <a:cxn ang="f4299">
                  <a:pos x="f5815" y="f7124"/>
                </a:cxn>
                <a:cxn ang="f4299">
                  <a:pos x="f5816" y="f7124"/>
                </a:cxn>
                <a:cxn ang="f4299">
                  <a:pos x="f5817" y="f7125"/>
                </a:cxn>
                <a:cxn ang="f4299">
                  <a:pos x="f5817" y="f7120"/>
                </a:cxn>
                <a:cxn ang="f4299">
                  <a:pos x="f5816" y="f7121"/>
                </a:cxn>
                <a:cxn ang="f4299">
                  <a:pos x="f5815" y="f7121"/>
                </a:cxn>
                <a:cxn ang="f4299">
                  <a:pos x="f5818" y="f7120"/>
                </a:cxn>
                <a:cxn ang="f4299">
                  <a:pos x="f5818" y="f7125"/>
                </a:cxn>
                <a:cxn ang="f4299">
                  <a:pos x="f5819" y="f7124"/>
                </a:cxn>
                <a:cxn ang="f4299">
                  <a:pos x="f5820" y="f7124"/>
                </a:cxn>
                <a:cxn ang="f4299">
                  <a:pos x="f5821" y="f7125"/>
                </a:cxn>
                <a:cxn ang="f4299">
                  <a:pos x="f5821" y="f7120"/>
                </a:cxn>
                <a:cxn ang="f4299">
                  <a:pos x="f5820" y="f7121"/>
                </a:cxn>
                <a:cxn ang="f4299">
                  <a:pos x="f5819" y="f7121"/>
                </a:cxn>
                <a:cxn ang="f4299">
                  <a:pos x="f5822" y="f7120"/>
                </a:cxn>
                <a:cxn ang="f4299">
                  <a:pos x="f5822" y="f7125"/>
                </a:cxn>
                <a:cxn ang="f4299">
                  <a:pos x="f5795" y="f7126"/>
                </a:cxn>
                <a:cxn ang="f4299">
                  <a:pos x="f5796" y="f7126"/>
                </a:cxn>
                <a:cxn ang="f4299">
                  <a:pos x="f5797" y="f7127"/>
                </a:cxn>
                <a:cxn ang="f4299">
                  <a:pos x="f5797" y="f7128"/>
                </a:cxn>
                <a:cxn ang="f4299">
                  <a:pos x="f5796" y="f7129"/>
                </a:cxn>
                <a:cxn ang="f4299">
                  <a:pos x="f5795" y="f7129"/>
                </a:cxn>
                <a:cxn ang="f4299">
                  <a:pos x="f5798" y="f7128"/>
                </a:cxn>
                <a:cxn ang="f4299">
                  <a:pos x="f5798" y="f7127"/>
                </a:cxn>
                <a:cxn ang="f4299">
                  <a:pos x="f5799" y="f7126"/>
                </a:cxn>
                <a:cxn ang="f4299">
                  <a:pos x="f5800" y="f7126"/>
                </a:cxn>
                <a:cxn ang="f4299">
                  <a:pos x="f5801" y="f7127"/>
                </a:cxn>
                <a:cxn ang="f4299">
                  <a:pos x="f5801" y="f7130"/>
                </a:cxn>
                <a:cxn ang="f4299">
                  <a:pos x="f5800" y="f7131"/>
                </a:cxn>
                <a:cxn ang="f4299">
                  <a:pos x="f5799" y="f7131"/>
                </a:cxn>
                <a:cxn ang="f4299">
                  <a:pos x="f5802" y="f7130"/>
                </a:cxn>
                <a:cxn ang="f4299">
                  <a:pos x="f5802" y="f7127"/>
                </a:cxn>
                <a:cxn ang="f4299">
                  <a:pos x="f5803" y="f7126"/>
                </a:cxn>
                <a:cxn ang="f4299">
                  <a:pos x="f5804" y="f7126"/>
                </a:cxn>
                <a:cxn ang="f4299">
                  <a:pos x="f5805" y="f7127"/>
                </a:cxn>
                <a:cxn ang="f4299">
                  <a:pos x="f5805" y="f7130"/>
                </a:cxn>
                <a:cxn ang="f4299">
                  <a:pos x="f5804" y="f7131"/>
                </a:cxn>
                <a:cxn ang="f4299">
                  <a:pos x="f5803" y="f7131"/>
                </a:cxn>
                <a:cxn ang="f4299">
                  <a:pos x="f5806" y="f7130"/>
                </a:cxn>
                <a:cxn ang="f4299">
                  <a:pos x="f5806" y="f7127"/>
                </a:cxn>
                <a:cxn ang="f4299">
                  <a:pos x="f5807" y="f7126"/>
                </a:cxn>
                <a:cxn ang="f4299">
                  <a:pos x="f5808" y="f7126"/>
                </a:cxn>
                <a:cxn ang="f4299">
                  <a:pos x="f5809" y="f7127"/>
                </a:cxn>
                <a:cxn ang="f4299">
                  <a:pos x="f5809" y="f7130"/>
                </a:cxn>
                <a:cxn ang="f4299">
                  <a:pos x="f5808" y="f7131"/>
                </a:cxn>
                <a:cxn ang="f4299">
                  <a:pos x="f5807" y="f7131"/>
                </a:cxn>
                <a:cxn ang="f4299">
                  <a:pos x="f5810" y="f7130"/>
                </a:cxn>
                <a:cxn ang="f4299">
                  <a:pos x="f5810" y="f7127"/>
                </a:cxn>
                <a:cxn ang="f4299">
                  <a:pos x="f5811" y="f7126"/>
                </a:cxn>
                <a:cxn ang="f4299">
                  <a:pos x="f5812" y="f7126"/>
                </a:cxn>
                <a:cxn ang="f4299">
                  <a:pos x="f5813" y="f7127"/>
                </a:cxn>
                <a:cxn ang="f4299">
                  <a:pos x="f5813" y="f7130"/>
                </a:cxn>
                <a:cxn ang="f4299">
                  <a:pos x="f5812" y="f7131"/>
                </a:cxn>
                <a:cxn ang="f4299">
                  <a:pos x="f5811" y="f7131"/>
                </a:cxn>
                <a:cxn ang="f4299">
                  <a:pos x="f5814" y="f7130"/>
                </a:cxn>
                <a:cxn ang="f4299">
                  <a:pos x="f5814" y="f7127"/>
                </a:cxn>
                <a:cxn ang="f4299">
                  <a:pos x="f5791" y="f7132"/>
                </a:cxn>
                <a:cxn ang="f4299">
                  <a:pos x="f5792" y="f7132"/>
                </a:cxn>
                <a:cxn ang="f4299">
                  <a:pos x="f5793" y="f7133"/>
                </a:cxn>
                <a:cxn ang="f4299">
                  <a:pos x="f5793" y="f7134"/>
                </a:cxn>
                <a:cxn ang="f4299">
                  <a:pos x="f5792" y="f7135"/>
                </a:cxn>
                <a:cxn ang="f4299">
                  <a:pos x="f5791" y="f7135"/>
                </a:cxn>
                <a:cxn ang="f4299">
                  <a:pos x="f5794" y="f7134"/>
                </a:cxn>
                <a:cxn ang="f4299">
                  <a:pos x="f5794" y="f7133"/>
                </a:cxn>
                <a:cxn ang="f4299">
                  <a:pos x="f5775" y="f7136"/>
                </a:cxn>
                <a:cxn ang="f4299">
                  <a:pos x="f5776" y="f7136"/>
                </a:cxn>
                <a:cxn ang="f4299">
                  <a:pos x="f5777" y="f7133"/>
                </a:cxn>
                <a:cxn ang="f4299">
                  <a:pos x="f5777" y="f7134"/>
                </a:cxn>
                <a:cxn ang="f4299">
                  <a:pos x="f5776" y="f7135"/>
                </a:cxn>
                <a:cxn ang="f4299">
                  <a:pos x="f5775" y="f7135"/>
                </a:cxn>
                <a:cxn ang="f4299">
                  <a:pos x="f5778" y="f7134"/>
                </a:cxn>
                <a:cxn ang="f4299">
                  <a:pos x="f5778" y="f7133"/>
                </a:cxn>
                <a:cxn ang="f4299">
                  <a:pos x="f5779" y="f7136"/>
                </a:cxn>
                <a:cxn ang="f4299">
                  <a:pos x="f5780" y="f7136"/>
                </a:cxn>
                <a:cxn ang="f4299">
                  <a:pos x="f5781" y="f7133"/>
                </a:cxn>
                <a:cxn ang="f4299">
                  <a:pos x="f5781" y="f7134"/>
                </a:cxn>
                <a:cxn ang="f4299">
                  <a:pos x="f5780" y="f7135"/>
                </a:cxn>
                <a:cxn ang="f4299">
                  <a:pos x="f5779" y="f7135"/>
                </a:cxn>
                <a:cxn ang="f4299">
                  <a:pos x="f5782" y="f7134"/>
                </a:cxn>
                <a:cxn ang="f4299">
                  <a:pos x="f5782" y="f7133"/>
                </a:cxn>
                <a:cxn ang="f4299">
                  <a:pos x="f5783" y="f7136"/>
                </a:cxn>
                <a:cxn ang="f4299">
                  <a:pos x="f5784" y="f7136"/>
                </a:cxn>
                <a:cxn ang="f4299">
                  <a:pos x="f5785" y="f7133"/>
                </a:cxn>
                <a:cxn ang="f4299">
                  <a:pos x="f5785" y="f7134"/>
                </a:cxn>
                <a:cxn ang="f4299">
                  <a:pos x="f5784" y="f7135"/>
                </a:cxn>
                <a:cxn ang="f4299">
                  <a:pos x="f5783" y="f7135"/>
                </a:cxn>
                <a:cxn ang="f4299">
                  <a:pos x="f5786" y="f7134"/>
                </a:cxn>
                <a:cxn ang="f4299">
                  <a:pos x="f5786" y="f7133"/>
                </a:cxn>
                <a:cxn ang="f4299">
                  <a:pos x="f5787" y="f7136"/>
                </a:cxn>
                <a:cxn ang="f4299">
                  <a:pos x="f5788" y="f7136"/>
                </a:cxn>
                <a:cxn ang="f4299">
                  <a:pos x="f5789" y="f7133"/>
                </a:cxn>
                <a:cxn ang="f4299">
                  <a:pos x="f5789" y="f7134"/>
                </a:cxn>
                <a:cxn ang="f4299">
                  <a:pos x="f5788" y="f7135"/>
                </a:cxn>
                <a:cxn ang="f4299">
                  <a:pos x="f5787" y="f7135"/>
                </a:cxn>
                <a:cxn ang="f4299">
                  <a:pos x="f5790" y="f7134"/>
                </a:cxn>
                <a:cxn ang="f4299">
                  <a:pos x="f5790" y="f7133"/>
                </a:cxn>
                <a:cxn ang="f4299">
                  <a:pos x="f7137" y="f7136"/>
                </a:cxn>
                <a:cxn ang="f4299">
                  <a:pos x="f7062" y="f7136"/>
                </a:cxn>
                <a:cxn ang="f4299">
                  <a:pos x="f7138" y="f7133"/>
                </a:cxn>
                <a:cxn ang="f4299">
                  <a:pos x="f7138" y="f7134"/>
                </a:cxn>
                <a:cxn ang="f4299">
                  <a:pos x="f7062" y="f7135"/>
                </a:cxn>
                <a:cxn ang="f4299">
                  <a:pos x="f7137" y="f7135"/>
                </a:cxn>
                <a:cxn ang="f4299">
                  <a:pos x="f7139" y="f7134"/>
                </a:cxn>
                <a:cxn ang="f4299">
                  <a:pos x="f7139" y="f7133"/>
                </a:cxn>
                <a:cxn ang="f4299">
                  <a:pos x="f7140" y="f7136"/>
                </a:cxn>
                <a:cxn ang="f4299">
                  <a:pos x="f7052" y="f7136"/>
                </a:cxn>
                <a:cxn ang="f4299">
                  <a:pos x="f7141" y="f7142"/>
                </a:cxn>
                <a:cxn ang="f4299">
                  <a:pos x="f7141" y="f7143"/>
                </a:cxn>
                <a:cxn ang="f4299">
                  <a:pos x="f7052" y="f7144"/>
                </a:cxn>
                <a:cxn ang="f4299">
                  <a:pos x="f7140" y="f7144"/>
                </a:cxn>
                <a:cxn ang="f4299">
                  <a:pos x="f7145" y="f7143"/>
                </a:cxn>
                <a:cxn ang="f4299">
                  <a:pos x="f7145" y="f7142"/>
                </a:cxn>
                <a:cxn ang="f4299">
                  <a:pos x="f7146" y="f7136"/>
                </a:cxn>
                <a:cxn ang="f4299">
                  <a:pos x="f7058" y="f7136"/>
                </a:cxn>
                <a:cxn ang="f4299">
                  <a:pos x="f7147" y="f7142"/>
                </a:cxn>
                <a:cxn ang="f4299">
                  <a:pos x="f7147" y="f7143"/>
                </a:cxn>
                <a:cxn ang="f4299">
                  <a:pos x="f7058" y="f7144"/>
                </a:cxn>
                <a:cxn ang="f4299">
                  <a:pos x="f7146" y="f7144"/>
                </a:cxn>
                <a:cxn ang="f4299">
                  <a:pos x="f7148" y="f7143"/>
                </a:cxn>
                <a:cxn ang="f4299">
                  <a:pos x="f7148" y="f7142"/>
                </a:cxn>
                <a:cxn ang="f4299">
                  <a:pos x="f7061" y="f7136"/>
                </a:cxn>
                <a:cxn ang="f4299">
                  <a:pos x="f7149" y="f7136"/>
                </a:cxn>
                <a:cxn ang="f4299">
                  <a:pos x="f7150" y="f7133"/>
                </a:cxn>
                <a:cxn ang="f4299">
                  <a:pos x="f7150" y="f7134"/>
                </a:cxn>
                <a:cxn ang="f4299">
                  <a:pos x="f7149" y="f7144"/>
                </a:cxn>
                <a:cxn ang="f4299">
                  <a:pos x="f7061" y="f7144"/>
                </a:cxn>
                <a:cxn ang="f4299">
                  <a:pos x="f7151" y="f7134"/>
                </a:cxn>
                <a:cxn ang="f4299">
                  <a:pos x="f7151" y="f7133"/>
                </a:cxn>
                <a:cxn ang="f4299">
                  <a:pos x="f7015" y="f7152"/>
                </a:cxn>
                <a:cxn ang="f4299">
                  <a:pos x="f7017" y="f7152"/>
                </a:cxn>
                <a:cxn ang="f4299">
                  <a:pos x="f6853" y="f7153"/>
                </a:cxn>
                <a:cxn ang="f4299">
                  <a:pos x="f6853" y="f7154"/>
                </a:cxn>
                <a:cxn ang="f4299">
                  <a:pos x="f7017" y="f7155"/>
                </a:cxn>
                <a:cxn ang="f4299">
                  <a:pos x="f7015" y="f7155"/>
                </a:cxn>
                <a:cxn ang="f4299">
                  <a:pos x="f7156" y="f7154"/>
                </a:cxn>
                <a:cxn ang="f4299">
                  <a:pos x="f7156" y="f7153"/>
                </a:cxn>
                <a:cxn ang="f4299">
                  <a:pos x="f5767" y="f7157"/>
                </a:cxn>
                <a:cxn ang="f4299">
                  <a:pos x="f5769" y="f7157"/>
                </a:cxn>
                <a:cxn ang="f4299">
                  <a:pos x="f5770" y="f7158"/>
                </a:cxn>
                <a:cxn ang="f4299">
                  <a:pos x="f5770" y="f7159"/>
                </a:cxn>
                <a:cxn ang="f4299">
                  <a:pos x="f5769" y="f7160"/>
                </a:cxn>
                <a:cxn ang="f4299">
                  <a:pos x="f5767" y="f7160"/>
                </a:cxn>
                <a:cxn ang="f4299">
                  <a:pos x="f5774" y="f7159"/>
                </a:cxn>
                <a:cxn ang="f4299">
                  <a:pos x="f5774" y="f7158"/>
                </a:cxn>
                <a:cxn ang="f4299">
                  <a:pos x="f7077" y="f7161"/>
                </a:cxn>
                <a:cxn ang="f4299">
                  <a:pos x="f7022" y="f7161"/>
                </a:cxn>
                <a:cxn ang="f4299">
                  <a:pos x="f6928" y="f7158"/>
                </a:cxn>
                <a:cxn ang="f4299">
                  <a:pos x="f6928" y="f7159"/>
                </a:cxn>
                <a:cxn ang="f4299">
                  <a:pos x="f7022" y="f7160"/>
                </a:cxn>
                <a:cxn ang="f4299">
                  <a:pos x="f7077" y="f7160"/>
                </a:cxn>
                <a:cxn ang="f4299">
                  <a:pos x="f6859" y="f7159"/>
                </a:cxn>
                <a:cxn ang="f4299">
                  <a:pos x="f6859" y="f7158"/>
                </a:cxn>
                <a:cxn ang="f4299">
                  <a:pos x="f7162" y="f7163"/>
                </a:cxn>
                <a:cxn ang="f4299">
                  <a:pos x="f7087" y="f7163"/>
                </a:cxn>
                <a:cxn ang="f4299">
                  <a:pos x="f7088" y="f7164"/>
                </a:cxn>
                <a:cxn ang="f4299">
                  <a:pos x="f7088" y="f7165"/>
                </a:cxn>
                <a:cxn ang="f4299">
                  <a:pos x="f7087" y="f7166"/>
                </a:cxn>
                <a:cxn ang="f4299">
                  <a:pos x="f7162" y="f7166"/>
                </a:cxn>
                <a:cxn ang="f4299">
                  <a:pos x="f7167" y="f7165"/>
                </a:cxn>
                <a:cxn ang="f4299">
                  <a:pos x="f7167" y="f7164"/>
                </a:cxn>
                <a:cxn ang="f4299">
                  <a:pos x="f7168" y="f7163"/>
                </a:cxn>
                <a:cxn ang="f4299">
                  <a:pos x="f7093" y="f7163"/>
                </a:cxn>
                <a:cxn ang="f4299">
                  <a:pos x="f7094" y="f7164"/>
                </a:cxn>
                <a:cxn ang="f4299">
                  <a:pos x="f7094" y="f7165"/>
                </a:cxn>
                <a:cxn ang="f4299">
                  <a:pos x="f7093" y="f7166"/>
                </a:cxn>
                <a:cxn ang="f4299">
                  <a:pos x="f7168" y="f7166"/>
                </a:cxn>
                <a:cxn ang="f4299">
                  <a:pos x="f7169" y="f7165"/>
                </a:cxn>
                <a:cxn ang="f4299">
                  <a:pos x="f7169" y="f7164"/>
                </a:cxn>
                <a:cxn ang="f4299">
                  <a:pos x="f7170" y="f7163"/>
                </a:cxn>
                <a:cxn ang="f4299">
                  <a:pos x="f7095" y="f7163"/>
                </a:cxn>
                <a:cxn ang="f4299">
                  <a:pos x="f7171" y="f7164"/>
                </a:cxn>
                <a:cxn ang="f4299">
                  <a:pos x="f7171" y="f7165"/>
                </a:cxn>
                <a:cxn ang="f4299">
                  <a:pos x="f7095" y="f7166"/>
                </a:cxn>
                <a:cxn ang="f4299">
                  <a:pos x="f7170" y="f7166"/>
                </a:cxn>
                <a:cxn ang="f4299">
                  <a:pos x="f7097" y="f7165"/>
                </a:cxn>
                <a:cxn ang="f4299">
                  <a:pos x="f7097" y="f7164"/>
                </a:cxn>
                <a:cxn ang="f4299">
                  <a:pos x="f7172" y="f7163"/>
                </a:cxn>
                <a:cxn ang="f4299">
                  <a:pos x="f7098" y="f7163"/>
                </a:cxn>
                <a:cxn ang="f4299">
                  <a:pos x="f7099" y="f7164"/>
                </a:cxn>
                <a:cxn ang="f4299">
                  <a:pos x="f7099" y="f7165"/>
                </a:cxn>
                <a:cxn ang="f4299">
                  <a:pos x="f7098" y="f7166"/>
                </a:cxn>
                <a:cxn ang="f4299">
                  <a:pos x="f7172" y="f7166"/>
                </a:cxn>
                <a:cxn ang="f4299">
                  <a:pos x="f7173" y="f7165"/>
                </a:cxn>
                <a:cxn ang="f4299">
                  <a:pos x="f7173" y="f7164"/>
                </a:cxn>
              </a:cxnLst>
              <a:rect l="f5735" t="f5738" r="f5736" b="f5737"/>
              <a:pathLst>
                <a:path w="9586368" h="6479439">
                  <a:moveTo>
                    <a:pt x="f8" y="f9"/>
                  </a:moveTo>
                  <a:lnTo>
                    <a:pt x="f10" y="f9"/>
                  </a:lnTo>
                  <a:lnTo>
                    <a:pt x="f11" y="f12"/>
                  </a:lnTo>
                  <a:lnTo>
                    <a:pt x="f11" y="f13"/>
                  </a:lnTo>
                  <a:lnTo>
                    <a:pt x="f10" y="f7"/>
                  </a:lnTo>
                  <a:lnTo>
                    <a:pt x="f8" y="f7"/>
                  </a:lnTo>
                  <a:lnTo>
                    <a:pt x="f14" y="f13"/>
                  </a:lnTo>
                  <a:lnTo>
                    <a:pt x="f14" y="f12"/>
                  </a:lnTo>
                  <a:close/>
                  <a:moveTo>
                    <a:pt x="f15" y="f9"/>
                  </a:moveTo>
                  <a:lnTo>
                    <a:pt x="f16" y="f9"/>
                  </a:lnTo>
                  <a:lnTo>
                    <a:pt x="f17" y="f12"/>
                  </a:lnTo>
                  <a:lnTo>
                    <a:pt x="f17" y="f13"/>
                  </a:lnTo>
                  <a:lnTo>
                    <a:pt x="f16" y="f7"/>
                  </a:lnTo>
                  <a:lnTo>
                    <a:pt x="f15" y="f7"/>
                  </a:lnTo>
                  <a:lnTo>
                    <a:pt x="f18" y="f13"/>
                  </a:lnTo>
                  <a:lnTo>
                    <a:pt x="f18" y="f12"/>
                  </a:lnTo>
                  <a:close/>
                  <a:moveTo>
                    <a:pt x="f19" y="f9"/>
                  </a:moveTo>
                  <a:lnTo>
                    <a:pt x="f20" y="f9"/>
                  </a:lnTo>
                  <a:lnTo>
                    <a:pt x="f21" y="f12"/>
                  </a:lnTo>
                  <a:lnTo>
                    <a:pt x="f21" y="f13"/>
                  </a:lnTo>
                  <a:lnTo>
                    <a:pt x="f20" y="f7"/>
                  </a:lnTo>
                  <a:lnTo>
                    <a:pt x="f19" y="f7"/>
                  </a:lnTo>
                  <a:lnTo>
                    <a:pt x="f22" y="f13"/>
                  </a:lnTo>
                  <a:lnTo>
                    <a:pt x="f22" y="f12"/>
                  </a:lnTo>
                  <a:close/>
                  <a:moveTo>
                    <a:pt x="f23" y="f9"/>
                  </a:moveTo>
                  <a:lnTo>
                    <a:pt x="f24" y="f9"/>
                  </a:lnTo>
                  <a:lnTo>
                    <a:pt x="f25" y="f12"/>
                  </a:lnTo>
                  <a:lnTo>
                    <a:pt x="f25" y="f13"/>
                  </a:lnTo>
                  <a:lnTo>
                    <a:pt x="f24" y="f7"/>
                  </a:lnTo>
                  <a:lnTo>
                    <a:pt x="f23" y="f7"/>
                  </a:lnTo>
                  <a:lnTo>
                    <a:pt x="f26" y="f13"/>
                  </a:lnTo>
                  <a:lnTo>
                    <a:pt x="f26" y="f12"/>
                  </a:lnTo>
                  <a:close/>
                  <a:moveTo>
                    <a:pt x="f27" y="f9"/>
                  </a:moveTo>
                  <a:lnTo>
                    <a:pt x="f28" y="f9"/>
                  </a:lnTo>
                  <a:lnTo>
                    <a:pt x="f29" y="f12"/>
                  </a:lnTo>
                  <a:lnTo>
                    <a:pt x="f29" y="f13"/>
                  </a:lnTo>
                  <a:lnTo>
                    <a:pt x="f28" y="f7"/>
                  </a:lnTo>
                  <a:lnTo>
                    <a:pt x="f27" y="f7"/>
                  </a:lnTo>
                  <a:lnTo>
                    <a:pt x="f30" y="f13"/>
                  </a:lnTo>
                  <a:lnTo>
                    <a:pt x="f30" y="f12"/>
                  </a:lnTo>
                  <a:close/>
                  <a:moveTo>
                    <a:pt x="f31" y="f9"/>
                  </a:moveTo>
                  <a:lnTo>
                    <a:pt x="f32" y="f9"/>
                  </a:lnTo>
                  <a:lnTo>
                    <a:pt x="f33" y="f12"/>
                  </a:lnTo>
                  <a:lnTo>
                    <a:pt x="f33" y="f13"/>
                  </a:lnTo>
                  <a:lnTo>
                    <a:pt x="f32" y="f7"/>
                  </a:lnTo>
                  <a:lnTo>
                    <a:pt x="f31" y="f7"/>
                  </a:lnTo>
                  <a:lnTo>
                    <a:pt x="f34" y="f13"/>
                  </a:lnTo>
                  <a:lnTo>
                    <a:pt x="f34" y="f12"/>
                  </a:lnTo>
                  <a:close/>
                  <a:moveTo>
                    <a:pt x="f35" y="f36"/>
                  </a:moveTo>
                  <a:lnTo>
                    <a:pt x="f37" y="f36"/>
                  </a:lnTo>
                  <a:lnTo>
                    <a:pt x="f6" y="f38"/>
                  </a:lnTo>
                  <a:lnTo>
                    <a:pt x="f6" y="f39"/>
                  </a:lnTo>
                  <a:lnTo>
                    <a:pt x="f37" y="f40"/>
                  </a:lnTo>
                  <a:lnTo>
                    <a:pt x="f35" y="f40"/>
                  </a:lnTo>
                  <a:lnTo>
                    <a:pt x="f41" y="f39"/>
                  </a:lnTo>
                  <a:lnTo>
                    <a:pt x="f41" y="f38"/>
                  </a:lnTo>
                  <a:close/>
                  <a:moveTo>
                    <a:pt x="f42" y="f36"/>
                  </a:moveTo>
                  <a:lnTo>
                    <a:pt x="f43" y="f36"/>
                  </a:lnTo>
                  <a:lnTo>
                    <a:pt x="f44" y="f38"/>
                  </a:lnTo>
                  <a:lnTo>
                    <a:pt x="f44" y="f39"/>
                  </a:lnTo>
                  <a:lnTo>
                    <a:pt x="f43" y="f40"/>
                  </a:lnTo>
                  <a:lnTo>
                    <a:pt x="f42" y="f40"/>
                  </a:lnTo>
                  <a:lnTo>
                    <a:pt x="f45" y="f39"/>
                  </a:lnTo>
                  <a:lnTo>
                    <a:pt x="f45" y="f38"/>
                  </a:lnTo>
                  <a:close/>
                  <a:moveTo>
                    <a:pt x="f46" y="f36"/>
                  </a:moveTo>
                  <a:lnTo>
                    <a:pt x="f47" y="f36"/>
                  </a:lnTo>
                  <a:lnTo>
                    <a:pt x="f48" y="f38"/>
                  </a:lnTo>
                  <a:lnTo>
                    <a:pt x="f48" y="f39"/>
                  </a:lnTo>
                  <a:lnTo>
                    <a:pt x="f47" y="f40"/>
                  </a:lnTo>
                  <a:lnTo>
                    <a:pt x="f46" y="f40"/>
                  </a:lnTo>
                  <a:lnTo>
                    <a:pt x="f49" y="f39"/>
                  </a:lnTo>
                  <a:lnTo>
                    <a:pt x="f49" y="f38"/>
                  </a:lnTo>
                  <a:close/>
                  <a:moveTo>
                    <a:pt x="f50" y="f36"/>
                  </a:moveTo>
                  <a:lnTo>
                    <a:pt x="f51" y="f36"/>
                  </a:lnTo>
                  <a:lnTo>
                    <a:pt x="f52" y="f38"/>
                  </a:lnTo>
                  <a:lnTo>
                    <a:pt x="f52" y="f39"/>
                  </a:lnTo>
                  <a:lnTo>
                    <a:pt x="f51" y="f40"/>
                  </a:lnTo>
                  <a:lnTo>
                    <a:pt x="f50" y="f40"/>
                  </a:lnTo>
                  <a:lnTo>
                    <a:pt x="f53" y="f39"/>
                  </a:lnTo>
                  <a:lnTo>
                    <a:pt x="f53" y="f38"/>
                  </a:lnTo>
                  <a:close/>
                  <a:moveTo>
                    <a:pt x="f54" y="f36"/>
                  </a:moveTo>
                  <a:lnTo>
                    <a:pt x="f55" y="f36"/>
                  </a:lnTo>
                  <a:lnTo>
                    <a:pt x="f56" y="f38"/>
                  </a:lnTo>
                  <a:lnTo>
                    <a:pt x="f56" y="f39"/>
                  </a:lnTo>
                  <a:lnTo>
                    <a:pt x="f55" y="f40"/>
                  </a:lnTo>
                  <a:lnTo>
                    <a:pt x="f54" y="f40"/>
                  </a:lnTo>
                  <a:lnTo>
                    <a:pt x="f57" y="f39"/>
                  </a:lnTo>
                  <a:lnTo>
                    <a:pt x="f57" y="f38"/>
                  </a:lnTo>
                  <a:close/>
                  <a:moveTo>
                    <a:pt x="f58" y="f36"/>
                  </a:moveTo>
                  <a:lnTo>
                    <a:pt x="f59" y="f36"/>
                  </a:lnTo>
                  <a:lnTo>
                    <a:pt x="f60" y="f38"/>
                  </a:lnTo>
                  <a:lnTo>
                    <a:pt x="f60" y="f39"/>
                  </a:lnTo>
                  <a:lnTo>
                    <a:pt x="f59" y="f40"/>
                  </a:lnTo>
                  <a:lnTo>
                    <a:pt x="f58" y="f40"/>
                  </a:lnTo>
                  <a:lnTo>
                    <a:pt x="f61" y="f39"/>
                  </a:lnTo>
                  <a:lnTo>
                    <a:pt x="f61" y="f38"/>
                  </a:lnTo>
                  <a:close/>
                  <a:moveTo>
                    <a:pt x="f62" y="f36"/>
                  </a:moveTo>
                  <a:lnTo>
                    <a:pt x="f63" y="f36"/>
                  </a:lnTo>
                  <a:lnTo>
                    <a:pt x="f64" y="f38"/>
                  </a:lnTo>
                  <a:lnTo>
                    <a:pt x="f64" y="f39"/>
                  </a:lnTo>
                  <a:lnTo>
                    <a:pt x="f63" y="f40"/>
                  </a:lnTo>
                  <a:lnTo>
                    <a:pt x="f62" y="f40"/>
                  </a:lnTo>
                  <a:lnTo>
                    <a:pt x="f65" y="f39"/>
                  </a:lnTo>
                  <a:lnTo>
                    <a:pt x="f65" y="f38"/>
                  </a:lnTo>
                  <a:close/>
                  <a:moveTo>
                    <a:pt x="f66" y="f36"/>
                  </a:moveTo>
                  <a:lnTo>
                    <a:pt x="f67" y="f36"/>
                  </a:lnTo>
                  <a:lnTo>
                    <a:pt x="f68" y="f38"/>
                  </a:lnTo>
                  <a:lnTo>
                    <a:pt x="f68" y="f39"/>
                  </a:lnTo>
                  <a:lnTo>
                    <a:pt x="f67" y="f40"/>
                  </a:lnTo>
                  <a:lnTo>
                    <a:pt x="f66" y="f40"/>
                  </a:lnTo>
                  <a:lnTo>
                    <a:pt x="f69" y="f39"/>
                  </a:lnTo>
                  <a:lnTo>
                    <a:pt x="f69" y="f38"/>
                  </a:lnTo>
                  <a:close/>
                  <a:moveTo>
                    <a:pt x="f70" y="f36"/>
                  </a:moveTo>
                  <a:lnTo>
                    <a:pt x="f71" y="f36"/>
                  </a:lnTo>
                  <a:lnTo>
                    <a:pt x="f72" y="f38"/>
                  </a:lnTo>
                  <a:lnTo>
                    <a:pt x="f72" y="f39"/>
                  </a:lnTo>
                  <a:lnTo>
                    <a:pt x="f71" y="f40"/>
                  </a:lnTo>
                  <a:lnTo>
                    <a:pt x="f70" y="f40"/>
                  </a:lnTo>
                  <a:lnTo>
                    <a:pt x="f73" y="f39"/>
                  </a:lnTo>
                  <a:lnTo>
                    <a:pt x="f73" y="f38"/>
                  </a:lnTo>
                  <a:close/>
                  <a:moveTo>
                    <a:pt x="f74" y="f36"/>
                  </a:moveTo>
                  <a:lnTo>
                    <a:pt x="f75" y="f36"/>
                  </a:lnTo>
                  <a:lnTo>
                    <a:pt x="f76" y="f38"/>
                  </a:lnTo>
                  <a:lnTo>
                    <a:pt x="f76" y="f39"/>
                  </a:lnTo>
                  <a:lnTo>
                    <a:pt x="f75" y="f40"/>
                  </a:lnTo>
                  <a:lnTo>
                    <a:pt x="f74" y="f40"/>
                  </a:lnTo>
                  <a:lnTo>
                    <a:pt x="f77" y="f39"/>
                  </a:lnTo>
                  <a:lnTo>
                    <a:pt x="f77" y="f38"/>
                  </a:lnTo>
                  <a:close/>
                  <a:moveTo>
                    <a:pt x="f78" y="f36"/>
                  </a:moveTo>
                  <a:lnTo>
                    <a:pt x="f79" y="f36"/>
                  </a:lnTo>
                  <a:lnTo>
                    <a:pt x="f80" y="f38"/>
                  </a:lnTo>
                  <a:lnTo>
                    <a:pt x="f80" y="f39"/>
                  </a:lnTo>
                  <a:lnTo>
                    <a:pt x="f79" y="f40"/>
                  </a:lnTo>
                  <a:lnTo>
                    <a:pt x="f78" y="f40"/>
                  </a:lnTo>
                  <a:lnTo>
                    <a:pt x="f81" y="f39"/>
                  </a:lnTo>
                  <a:lnTo>
                    <a:pt x="f81" y="f38"/>
                  </a:lnTo>
                  <a:close/>
                  <a:moveTo>
                    <a:pt x="f82" y="f36"/>
                  </a:moveTo>
                  <a:lnTo>
                    <a:pt x="f83" y="f36"/>
                  </a:lnTo>
                  <a:lnTo>
                    <a:pt x="f84" y="f38"/>
                  </a:lnTo>
                  <a:lnTo>
                    <a:pt x="f84" y="f39"/>
                  </a:lnTo>
                  <a:lnTo>
                    <a:pt x="f83" y="f40"/>
                  </a:lnTo>
                  <a:lnTo>
                    <a:pt x="f82" y="f40"/>
                  </a:lnTo>
                  <a:lnTo>
                    <a:pt x="f85" y="f39"/>
                  </a:lnTo>
                  <a:lnTo>
                    <a:pt x="f85" y="f38"/>
                  </a:lnTo>
                  <a:close/>
                  <a:moveTo>
                    <a:pt x="f86" y="f36"/>
                  </a:moveTo>
                  <a:lnTo>
                    <a:pt x="f87" y="f36"/>
                  </a:lnTo>
                  <a:lnTo>
                    <a:pt x="f88" y="f38"/>
                  </a:lnTo>
                  <a:lnTo>
                    <a:pt x="f88" y="f39"/>
                  </a:lnTo>
                  <a:lnTo>
                    <a:pt x="f87" y="f40"/>
                  </a:lnTo>
                  <a:lnTo>
                    <a:pt x="f86" y="f40"/>
                  </a:lnTo>
                  <a:lnTo>
                    <a:pt x="f89" y="f39"/>
                  </a:lnTo>
                  <a:lnTo>
                    <a:pt x="f89" y="f38"/>
                  </a:lnTo>
                  <a:close/>
                  <a:moveTo>
                    <a:pt x="f90" y="f36"/>
                  </a:moveTo>
                  <a:lnTo>
                    <a:pt x="f91" y="f36"/>
                  </a:lnTo>
                  <a:lnTo>
                    <a:pt x="f92" y="f38"/>
                  </a:lnTo>
                  <a:lnTo>
                    <a:pt x="f92" y="f39"/>
                  </a:lnTo>
                  <a:lnTo>
                    <a:pt x="f91" y="f40"/>
                  </a:lnTo>
                  <a:lnTo>
                    <a:pt x="f90" y="f40"/>
                  </a:lnTo>
                  <a:lnTo>
                    <a:pt x="f93" y="f39"/>
                  </a:lnTo>
                  <a:lnTo>
                    <a:pt x="f93" y="f38"/>
                  </a:lnTo>
                  <a:close/>
                  <a:moveTo>
                    <a:pt x="f94" y="f36"/>
                  </a:moveTo>
                  <a:lnTo>
                    <a:pt x="f95" y="f36"/>
                  </a:lnTo>
                  <a:lnTo>
                    <a:pt x="f96" y="f38"/>
                  </a:lnTo>
                  <a:lnTo>
                    <a:pt x="f96" y="f39"/>
                  </a:lnTo>
                  <a:lnTo>
                    <a:pt x="f95" y="f40"/>
                  </a:lnTo>
                  <a:lnTo>
                    <a:pt x="f94" y="f40"/>
                  </a:lnTo>
                  <a:lnTo>
                    <a:pt x="f97" y="f39"/>
                  </a:lnTo>
                  <a:lnTo>
                    <a:pt x="f97" y="f38"/>
                  </a:lnTo>
                  <a:close/>
                  <a:moveTo>
                    <a:pt x="f98" y="f36"/>
                  </a:moveTo>
                  <a:lnTo>
                    <a:pt x="f99" y="f36"/>
                  </a:lnTo>
                  <a:lnTo>
                    <a:pt x="f100" y="f38"/>
                  </a:lnTo>
                  <a:lnTo>
                    <a:pt x="f100" y="f39"/>
                  </a:lnTo>
                  <a:lnTo>
                    <a:pt x="f99" y="f40"/>
                  </a:lnTo>
                  <a:lnTo>
                    <a:pt x="f98" y="f40"/>
                  </a:lnTo>
                  <a:lnTo>
                    <a:pt x="f101" y="f39"/>
                  </a:lnTo>
                  <a:lnTo>
                    <a:pt x="f101" y="f38"/>
                  </a:lnTo>
                  <a:close/>
                  <a:moveTo>
                    <a:pt x="f102" y="f36"/>
                  </a:moveTo>
                  <a:lnTo>
                    <a:pt x="f103" y="f36"/>
                  </a:lnTo>
                  <a:lnTo>
                    <a:pt x="f104" y="f38"/>
                  </a:lnTo>
                  <a:lnTo>
                    <a:pt x="f104" y="f39"/>
                  </a:lnTo>
                  <a:lnTo>
                    <a:pt x="f103" y="f40"/>
                  </a:lnTo>
                  <a:lnTo>
                    <a:pt x="f102" y="f40"/>
                  </a:lnTo>
                  <a:lnTo>
                    <a:pt x="f105" y="f39"/>
                  </a:lnTo>
                  <a:lnTo>
                    <a:pt x="f105" y="f38"/>
                  </a:lnTo>
                  <a:close/>
                  <a:moveTo>
                    <a:pt x="f106" y="f36"/>
                  </a:moveTo>
                  <a:lnTo>
                    <a:pt x="f107" y="f36"/>
                  </a:lnTo>
                  <a:lnTo>
                    <a:pt x="f108" y="f38"/>
                  </a:lnTo>
                  <a:lnTo>
                    <a:pt x="f108" y="f39"/>
                  </a:lnTo>
                  <a:lnTo>
                    <a:pt x="f107" y="f40"/>
                  </a:lnTo>
                  <a:lnTo>
                    <a:pt x="f106" y="f40"/>
                  </a:lnTo>
                  <a:lnTo>
                    <a:pt x="f109" y="f39"/>
                  </a:lnTo>
                  <a:lnTo>
                    <a:pt x="f109" y="f38"/>
                  </a:lnTo>
                  <a:close/>
                  <a:moveTo>
                    <a:pt x="f110" y="f36"/>
                  </a:moveTo>
                  <a:lnTo>
                    <a:pt x="f111" y="f36"/>
                  </a:lnTo>
                  <a:lnTo>
                    <a:pt x="f112" y="f38"/>
                  </a:lnTo>
                  <a:lnTo>
                    <a:pt x="f112" y="f39"/>
                  </a:lnTo>
                  <a:lnTo>
                    <a:pt x="f111" y="f40"/>
                  </a:lnTo>
                  <a:lnTo>
                    <a:pt x="f110" y="f40"/>
                  </a:lnTo>
                  <a:lnTo>
                    <a:pt x="f113" y="f39"/>
                  </a:lnTo>
                  <a:lnTo>
                    <a:pt x="f113" y="f38"/>
                  </a:lnTo>
                  <a:close/>
                  <a:moveTo>
                    <a:pt x="f114" y="f36"/>
                  </a:moveTo>
                  <a:lnTo>
                    <a:pt x="f115" y="f36"/>
                  </a:lnTo>
                  <a:lnTo>
                    <a:pt x="f116" y="f38"/>
                  </a:lnTo>
                  <a:lnTo>
                    <a:pt x="f116" y="f39"/>
                  </a:lnTo>
                  <a:lnTo>
                    <a:pt x="f115" y="f40"/>
                  </a:lnTo>
                  <a:lnTo>
                    <a:pt x="f114" y="f40"/>
                  </a:lnTo>
                  <a:lnTo>
                    <a:pt x="f117" y="f39"/>
                  </a:lnTo>
                  <a:lnTo>
                    <a:pt x="f117" y="f38"/>
                  </a:lnTo>
                  <a:close/>
                  <a:moveTo>
                    <a:pt x="f118" y="f36"/>
                  </a:moveTo>
                  <a:lnTo>
                    <a:pt x="f119" y="f36"/>
                  </a:lnTo>
                  <a:lnTo>
                    <a:pt x="f120" y="f38"/>
                  </a:lnTo>
                  <a:lnTo>
                    <a:pt x="f120" y="f39"/>
                  </a:lnTo>
                  <a:lnTo>
                    <a:pt x="f119" y="f40"/>
                  </a:lnTo>
                  <a:lnTo>
                    <a:pt x="f118" y="f40"/>
                  </a:lnTo>
                  <a:lnTo>
                    <a:pt x="f121" y="f39"/>
                  </a:lnTo>
                  <a:lnTo>
                    <a:pt x="f121" y="f38"/>
                  </a:lnTo>
                  <a:close/>
                  <a:moveTo>
                    <a:pt x="f122" y="f36"/>
                  </a:moveTo>
                  <a:lnTo>
                    <a:pt x="f123" y="f36"/>
                  </a:lnTo>
                  <a:lnTo>
                    <a:pt x="f124" y="f38"/>
                  </a:lnTo>
                  <a:lnTo>
                    <a:pt x="f124" y="f39"/>
                  </a:lnTo>
                  <a:lnTo>
                    <a:pt x="f123" y="f40"/>
                  </a:lnTo>
                  <a:lnTo>
                    <a:pt x="f122" y="f40"/>
                  </a:lnTo>
                  <a:lnTo>
                    <a:pt x="f125" y="f39"/>
                  </a:lnTo>
                  <a:lnTo>
                    <a:pt x="f125" y="f38"/>
                  </a:lnTo>
                  <a:close/>
                  <a:moveTo>
                    <a:pt x="f126" y="f36"/>
                  </a:moveTo>
                  <a:lnTo>
                    <a:pt x="f127" y="f36"/>
                  </a:lnTo>
                  <a:lnTo>
                    <a:pt x="f128" y="f38"/>
                  </a:lnTo>
                  <a:lnTo>
                    <a:pt x="f128" y="f39"/>
                  </a:lnTo>
                  <a:lnTo>
                    <a:pt x="f127" y="f40"/>
                  </a:lnTo>
                  <a:lnTo>
                    <a:pt x="f126" y="f40"/>
                  </a:lnTo>
                  <a:lnTo>
                    <a:pt x="f129" y="f39"/>
                  </a:lnTo>
                  <a:lnTo>
                    <a:pt x="f129" y="f38"/>
                  </a:lnTo>
                  <a:close/>
                  <a:moveTo>
                    <a:pt x="f130" y="f36"/>
                  </a:moveTo>
                  <a:lnTo>
                    <a:pt x="f131" y="f36"/>
                  </a:lnTo>
                  <a:lnTo>
                    <a:pt x="f132" y="f38"/>
                  </a:lnTo>
                  <a:lnTo>
                    <a:pt x="f132" y="f39"/>
                  </a:lnTo>
                  <a:lnTo>
                    <a:pt x="f131" y="f40"/>
                  </a:lnTo>
                  <a:lnTo>
                    <a:pt x="f130" y="f40"/>
                  </a:lnTo>
                  <a:lnTo>
                    <a:pt x="f133" y="f39"/>
                  </a:lnTo>
                  <a:lnTo>
                    <a:pt x="f133" y="f38"/>
                  </a:lnTo>
                  <a:close/>
                  <a:moveTo>
                    <a:pt x="f134" y="f36"/>
                  </a:moveTo>
                  <a:lnTo>
                    <a:pt x="f135" y="f36"/>
                  </a:lnTo>
                  <a:lnTo>
                    <a:pt x="f136" y="f38"/>
                  </a:lnTo>
                  <a:lnTo>
                    <a:pt x="f136" y="f39"/>
                  </a:lnTo>
                  <a:lnTo>
                    <a:pt x="f135" y="f40"/>
                  </a:lnTo>
                  <a:lnTo>
                    <a:pt x="f134" y="f40"/>
                  </a:lnTo>
                  <a:lnTo>
                    <a:pt x="f137" y="f39"/>
                  </a:lnTo>
                  <a:lnTo>
                    <a:pt x="f137" y="f38"/>
                  </a:lnTo>
                  <a:close/>
                  <a:moveTo>
                    <a:pt x="f138" y="f36"/>
                  </a:moveTo>
                  <a:lnTo>
                    <a:pt x="f139" y="f36"/>
                  </a:lnTo>
                  <a:lnTo>
                    <a:pt x="f140" y="f38"/>
                  </a:lnTo>
                  <a:lnTo>
                    <a:pt x="f140" y="f39"/>
                  </a:lnTo>
                  <a:lnTo>
                    <a:pt x="f139" y="f40"/>
                  </a:lnTo>
                  <a:lnTo>
                    <a:pt x="f138" y="f40"/>
                  </a:lnTo>
                  <a:lnTo>
                    <a:pt x="f141" y="f39"/>
                  </a:lnTo>
                  <a:lnTo>
                    <a:pt x="f141" y="f38"/>
                  </a:lnTo>
                  <a:close/>
                  <a:moveTo>
                    <a:pt x="f142" y="f36"/>
                  </a:moveTo>
                  <a:lnTo>
                    <a:pt x="f143" y="f36"/>
                  </a:lnTo>
                  <a:lnTo>
                    <a:pt x="f144" y="f38"/>
                  </a:lnTo>
                  <a:lnTo>
                    <a:pt x="f144" y="f39"/>
                  </a:lnTo>
                  <a:lnTo>
                    <a:pt x="f143" y="f40"/>
                  </a:lnTo>
                  <a:lnTo>
                    <a:pt x="f142" y="f40"/>
                  </a:lnTo>
                  <a:lnTo>
                    <a:pt x="f145" y="f39"/>
                  </a:lnTo>
                  <a:lnTo>
                    <a:pt x="f145" y="f38"/>
                  </a:lnTo>
                  <a:close/>
                  <a:moveTo>
                    <a:pt x="f146" y="f36"/>
                  </a:moveTo>
                  <a:lnTo>
                    <a:pt x="f147" y="f36"/>
                  </a:lnTo>
                  <a:lnTo>
                    <a:pt x="f148" y="f38"/>
                  </a:lnTo>
                  <a:lnTo>
                    <a:pt x="f148" y="f39"/>
                  </a:lnTo>
                  <a:lnTo>
                    <a:pt x="f147" y="f40"/>
                  </a:lnTo>
                  <a:lnTo>
                    <a:pt x="f146" y="f40"/>
                  </a:lnTo>
                  <a:lnTo>
                    <a:pt x="f149" y="f39"/>
                  </a:lnTo>
                  <a:lnTo>
                    <a:pt x="f149" y="f38"/>
                  </a:lnTo>
                  <a:close/>
                  <a:moveTo>
                    <a:pt x="f150" y="f36"/>
                  </a:moveTo>
                  <a:lnTo>
                    <a:pt x="f151" y="f36"/>
                  </a:lnTo>
                  <a:lnTo>
                    <a:pt x="f152" y="f38"/>
                  </a:lnTo>
                  <a:lnTo>
                    <a:pt x="f152" y="f39"/>
                  </a:lnTo>
                  <a:lnTo>
                    <a:pt x="f151" y="f40"/>
                  </a:lnTo>
                  <a:lnTo>
                    <a:pt x="f150" y="f40"/>
                  </a:lnTo>
                  <a:lnTo>
                    <a:pt x="f153" y="f39"/>
                  </a:lnTo>
                  <a:lnTo>
                    <a:pt x="f153" y="f38"/>
                  </a:lnTo>
                  <a:close/>
                  <a:moveTo>
                    <a:pt x="f154" y="f36"/>
                  </a:moveTo>
                  <a:lnTo>
                    <a:pt x="f155" y="f36"/>
                  </a:lnTo>
                  <a:lnTo>
                    <a:pt x="f156" y="f38"/>
                  </a:lnTo>
                  <a:lnTo>
                    <a:pt x="f156" y="f39"/>
                  </a:lnTo>
                  <a:lnTo>
                    <a:pt x="f155" y="f40"/>
                  </a:lnTo>
                  <a:lnTo>
                    <a:pt x="f154" y="f40"/>
                  </a:lnTo>
                  <a:lnTo>
                    <a:pt x="f157" y="f39"/>
                  </a:lnTo>
                  <a:lnTo>
                    <a:pt x="f157" y="f38"/>
                  </a:lnTo>
                  <a:close/>
                  <a:moveTo>
                    <a:pt x="f158" y="f36"/>
                  </a:moveTo>
                  <a:lnTo>
                    <a:pt x="f159" y="f36"/>
                  </a:lnTo>
                  <a:lnTo>
                    <a:pt x="f160" y="f38"/>
                  </a:lnTo>
                  <a:lnTo>
                    <a:pt x="f160" y="f39"/>
                  </a:lnTo>
                  <a:lnTo>
                    <a:pt x="f159" y="f40"/>
                  </a:lnTo>
                  <a:lnTo>
                    <a:pt x="f158" y="f40"/>
                  </a:lnTo>
                  <a:lnTo>
                    <a:pt x="f161" y="f39"/>
                  </a:lnTo>
                  <a:lnTo>
                    <a:pt x="f161" y="f38"/>
                  </a:lnTo>
                  <a:close/>
                  <a:moveTo>
                    <a:pt x="f162" y="f36"/>
                  </a:moveTo>
                  <a:lnTo>
                    <a:pt x="f163" y="f36"/>
                  </a:lnTo>
                  <a:lnTo>
                    <a:pt x="f164" y="f38"/>
                  </a:lnTo>
                  <a:lnTo>
                    <a:pt x="f164" y="f39"/>
                  </a:lnTo>
                  <a:lnTo>
                    <a:pt x="f163" y="f40"/>
                  </a:lnTo>
                  <a:lnTo>
                    <a:pt x="f162" y="f40"/>
                  </a:lnTo>
                  <a:lnTo>
                    <a:pt x="f165" y="f39"/>
                  </a:lnTo>
                  <a:lnTo>
                    <a:pt x="f165" y="f38"/>
                  </a:lnTo>
                  <a:close/>
                  <a:moveTo>
                    <a:pt x="f166" y="f36"/>
                  </a:moveTo>
                  <a:lnTo>
                    <a:pt x="f167" y="f36"/>
                  </a:lnTo>
                  <a:lnTo>
                    <a:pt x="f168" y="f38"/>
                  </a:lnTo>
                  <a:lnTo>
                    <a:pt x="f168" y="f39"/>
                  </a:lnTo>
                  <a:lnTo>
                    <a:pt x="f167" y="f40"/>
                  </a:lnTo>
                  <a:lnTo>
                    <a:pt x="f166" y="f40"/>
                  </a:lnTo>
                  <a:lnTo>
                    <a:pt x="f169" y="f39"/>
                  </a:lnTo>
                  <a:lnTo>
                    <a:pt x="f169" y="f38"/>
                  </a:lnTo>
                  <a:close/>
                  <a:moveTo>
                    <a:pt x="f170" y="f36"/>
                  </a:moveTo>
                  <a:lnTo>
                    <a:pt x="f171" y="f36"/>
                  </a:lnTo>
                  <a:lnTo>
                    <a:pt x="f172" y="f38"/>
                  </a:lnTo>
                  <a:lnTo>
                    <a:pt x="f172" y="f39"/>
                  </a:lnTo>
                  <a:lnTo>
                    <a:pt x="f171" y="f40"/>
                  </a:lnTo>
                  <a:lnTo>
                    <a:pt x="f170" y="f40"/>
                  </a:lnTo>
                  <a:lnTo>
                    <a:pt x="f173" y="f39"/>
                  </a:lnTo>
                  <a:lnTo>
                    <a:pt x="f173" y="f38"/>
                  </a:lnTo>
                  <a:close/>
                  <a:moveTo>
                    <a:pt x="f174" y="f36"/>
                  </a:moveTo>
                  <a:lnTo>
                    <a:pt x="f175" y="f36"/>
                  </a:lnTo>
                  <a:lnTo>
                    <a:pt x="f176" y="f38"/>
                  </a:lnTo>
                  <a:lnTo>
                    <a:pt x="f176" y="f39"/>
                  </a:lnTo>
                  <a:lnTo>
                    <a:pt x="f175" y="f40"/>
                  </a:lnTo>
                  <a:lnTo>
                    <a:pt x="f174" y="f40"/>
                  </a:lnTo>
                  <a:lnTo>
                    <a:pt x="f5" y="f39"/>
                  </a:lnTo>
                  <a:lnTo>
                    <a:pt x="f5" y="f38"/>
                  </a:lnTo>
                  <a:close/>
                  <a:moveTo>
                    <a:pt x="f35" y="f177"/>
                  </a:moveTo>
                  <a:lnTo>
                    <a:pt x="f37" y="f177"/>
                  </a:lnTo>
                  <a:lnTo>
                    <a:pt x="f6" y="f178"/>
                  </a:lnTo>
                  <a:lnTo>
                    <a:pt x="f6" y="f179"/>
                  </a:lnTo>
                  <a:lnTo>
                    <a:pt x="f37" y="f180"/>
                  </a:lnTo>
                  <a:lnTo>
                    <a:pt x="f35" y="f180"/>
                  </a:lnTo>
                  <a:lnTo>
                    <a:pt x="f41" y="f179"/>
                  </a:lnTo>
                  <a:lnTo>
                    <a:pt x="f41" y="f178"/>
                  </a:lnTo>
                  <a:close/>
                  <a:moveTo>
                    <a:pt x="f42" y="f177"/>
                  </a:moveTo>
                  <a:lnTo>
                    <a:pt x="f43" y="f177"/>
                  </a:lnTo>
                  <a:lnTo>
                    <a:pt x="f44" y="f178"/>
                  </a:lnTo>
                  <a:lnTo>
                    <a:pt x="f44" y="f179"/>
                  </a:lnTo>
                  <a:lnTo>
                    <a:pt x="f43" y="f180"/>
                  </a:lnTo>
                  <a:lnTo>
                    <a:pt x="f42" y="f180"/>
                  </a:lnTo>
                  <a:lnTo>
                    <a:pt x="f45" y="f179"/>
                  </a:lnTo>
                  <a:lnTo>
                    <a:pt x="f45" y="f178"/>
                  </a:lnTo>
                  <a:close/>
                  <a:moveTo>
                    <a:pt x="f46" y="f177"/>
                  </a:moveTo>
                  <a:lnTo>
                    <a:pt x="f47" y="f177"/>
                  </a:lnTo>
                  <a:lnTo>
                    <a:pt x="f48" y="f178"/>
                  </a:lnTo>
                  <a:lnTo>
                    <a:pt x="f48" y="f179"/>
                  </a:lnTo>
                  <a:lnTo>
                    <a:pt x="f47" y="f180"/>
                  </a:lnTo>
                  <a:lnTo>
                    <a:pt x="f46" y="f180"/>
                  </a:lnTo>
                  <a:lnTo>
                    <a:pt x="f49" y="f179"/>
                  </a:lnTo>
                  <a:lnTo>
                    <a:pt x="f49" y="f178"/>
                  </a:lnTo>
                  <a:close/>
                  <a:moveTo>
                    <a:pt x="f50" y="f177"/>
                  </a:moveTo>
                  <a:lnTo>
                    <a:pt x="f51" y="f177"/>
                  </a:lnTo>
                  <a:lnTo>
                    <a:pt x="f52" y="f178"/>
                  </a:lnTo>
                  <a:lnTo>
                    <a:pt x="f52" y="f179"/>
                  </a:lnTo>
                  <a:lnTo>
                    <a:pt x="f51" y="f180"/>
                  </a:lnTo>
                  <a:lnTo>
                    <a:pt x="f50" y="f180"/>
                  </a:lnTo>
                  <a:lnTo>
                    <a:pt x="f53" y="f179"/>
                  </a:lnTo>
                  <a:lnTo>
                    <a:pt x="f53" y="f178"/>
                  </a:lnTo>
                  <a:close/>
                  <a:moveTo>
                    <a:pt x="f54" y="f177"/>
                  </a:moveTo>
                  <a:lnTo>
                    <a:pt x="f55" y="f177"/>
                  </a:lnTo>
                  <a:lnTo>
                    <a:pt x="f56" y="f178"/>
                  </a:lnTo>
                  <a:lnTo>
                    <a:pt x="f56" y="f179"/>
                  </a:lnTo>
                  <a:lnTo>
                    <a:pt x="f55" y="f180"/>
                  </a:lnTo>
                  <a:lnTo>
                    <a:pt x="f54" y="f180"/>
                  </a:lnTo>
                  <a:lnTo>
                    <a:pt x="f57" y="f179"/>
                  </a:lnTo>
                  <a:lnTo>
                    <a:pt x="f57" y="f178"/>
                  </a:lnTo>
                  <a:close/>
                  <a:moveTo>
                    <a:pt x="f58" y="f177"/>
                  </a:moveTo>
                  <a:lnTo>
                    <a:pt x="f59" y="f177"/>
                  </a:lnTo>
                  <a:lnTo>
                    <a:pt x="f60" y="f178"/>
                  </a:lnTo>
                  <a:lnTo>
                    <a:pt x="f60" y="f179"/>
                  </a:lnTo>
                  <a:lnTo>
                    <a:pt x="f59" y="f180"/>
                  </a:lnTo>
                  <a:lnTo>
                    <a:pt x="f58" y="f180"/>
                  </a:lnTo>
                  <a:lnTo>
                    <a:pt x="f61" y="f179"/>
                  </a:lnTo>
                  <a:lnTo>
                    <a:pt x="f61" y="f178"/>
                  </a:lnTo>
                  <a:close/>
                  <a:moveTo>
                    <a:pt x="f62" y="f177"/>
                  </a:moveTo>
                  <a:lnTo>
                    <a:pt x="f63" y="f177"/>
                  </a:lnTo>
                  <a:lnTo>
                    <a:pt x="f64" y="f178"/>
                  </a:lnTo>
                  <a:lnTo>
                    <a:pt x="f64" y="f179"/>
                  </a:lnTo>
                  <a:lnTo>
                    <a:pt x="f63" y="f180"/>
                  </a:lnTo>
                  <a:lnTo>
                    <a:pt x="f62" y="f180"/>
                  </a:lnTo>
                  <a:lnTo>
                    <a:pt x="f65" y="f179"/>
                  </a:lnTo>
                  <a:lnTo>
                    <a:pt x="f65" y="f178"/>
                  </a:lnTo>
                  <a:close/>
                  <a:moveTo>
                    <a:pt x="f66" y="f177"/>
                  </a:moveTo>
                  <a:lnTo>
                    <a:pt x="f67" y="f177"/>
                  </a:lnTo>
                  <a:lnTo>
                    <a:pt x="f68" y="f178"/>
                  </a:lnTo>
                  <a:lnTo>
                    <a:pt x="f68" y="f179"/>
                  </a:lnTo>
                  <a:lnTo>
                    <a:pt x="f67" y="f180"/>
                  </a:lnTo>
                  <a:lnTo>
                    <a:pt x="f66" y="f180"/>
                  </a:lnTo>
                  <a:lnTo>
                    <a:pt x="f69" y="f179"/>
                  </a:lnTo>
                  <a:lnTo>
                    <a:pt x="f69" y="f178"/>
                  </a:lnTo>
                  <a:close/>
                  <a:moveTo>
                    <a:pt x="f70" y="f177"/>
                  </a:moveTo>
                  <a:lnTo>
                    <a:pt x="f71" y="f177"/>
                  </a:lnTo>
                  <a:lnTo>
                    <a:pt x="f72" y="f178"/>
                  </a:lnTo>
                  <a:lnTo>
                    <a:pt x="f72" y="f179"/>
                  </a:lnTo>
                  <a:lnTo>
                    <a:pt x="f71" y="f180"/>
                  </a:lnTo>
                  <a:lnTo>
                    <a:pt x="f70" y="f180"/>
                  </a:lnTo>
                  <a:lnTo>
                    <a:pt x="f73" y="f179"/>
                  </a:lnTo>
                  <a:lnTo>
                    <a:pt x="f73" y="f178"/>
                  </a:lnTo>
                  <a:close/>
                  <a:moveTo>
                    <a:pt x="f74" y="f177"/>
                  </a:moveTo>
                  <a:lnTo>
                    <a:pt x="f75" y="f177"/>
                  </a:lnTo>
                  <a:lnTo>
                    <a:pt x="f76" y="f178"/>
                  </a:lnTo>
                  <a:lnTo>
                    <a:pt x="f76" y="f179"/>
                  </a:lnTo>
                  <a:lnTo>
                    <a:pt x="f75" y="f180"/>
                  </a:lnTo>
                  <a:lnTo>
                    <a:pt x="f74" y="f180"/>
                  </a:lnTo>
                  <a:lnTo>
                    <a:pt x="f77" y="f179"/>
                  </a:lnTo>
                  <a:lnTo>
                    <a:pt x="f77" y="f178"/>
                  </a:lnTo>
                  <a:close/>
                  <a:moveTo>
                    <a:pt x="f78" y="f177"/>
                  </a:moveTo>
                  <a:lnTo>
                    <a:pt x="f79" y="f177"/>
                  </a:lnTo>
                  <a:lnTo>
                    <a:pt x="f80" y="f178"/>
                  </a:lnTo>
                  <a:lnTo>
                    <a:pt x="f80" y="f179"/>
                  </a:lnTo>
                  <a:lnTo>
                    <a:pt x="f79" y="f180"/>
                  </a:lnTo>
                  <a:lnTo>
                    <a:pt x="f78" y="f180"/>
                  </a:lnTo>
                  <a:lnTo>
                    <a:pt x="f81" y="f179"/>
                  </a:lnTo>
                  <a:lnTo>
                    <a:pt x="f81" y="f178"/>
                  </a:lnTo>
                  <a:close/>
                  <a:moveTo>
                    <a:pt x="f82" y="f177"/>
                  </a:moveTo>
                  <a:lnTo>
                    <a:pt x="f83" y="f177"/>
                  </a:lnTo>
                  <a:lnTo>
                    <a:pt x="f84" y="f178"/>
                  </a:lnTo>
                  <a:lnTo>
                    <a:pt x="f84" y="f179"/>
                  </a:lnTo>
                  <a:lnTo>
                    <a:pt x="f83" y="f180"/>
                  </a:lnTo>
                  <a:lnTo>
                    <a:pt x="f82" y="f180"/>
                  </a:lnTo>
                  <a:lnTo>
                    <a:pt x="f85" y="f179"/>
                  </a:lnTo>
                  <a:lnTo>
                    <a:pt x="f85" y="f178"/>
                  </a:lnTo>
                  <a:close/>
                  <a:moveTo>
                    <a:pt x="f86" y="f177"/>
                  </a:moveTo>
                  <a:lnTo>
                    <a:pt x="f87" y="f177"/>
                  </a:lnTo>
                  <a:lnTo>
                    <a:pt x="f88" y="f178"/>
                  </a:lnTo>
                  <a:lnTo>
                    <a:pt x="f88" y="f179"/>
                  </a:lnTo>
                  <a:lnTo>
                    <a:pt x="f87" y="f180"/>
                  </a:lnTo>
                  <a:lnTo>
                    <a:pt x="f86" y="f180"/>
                  </a:lnTo>
                  <a:lnTo>
                    <a:pt x="f89" y="f179"/>
                  </a:lnTo>
                  <a:lnTo>
                    <a:pt x="f89" y="f178"/>
                  </a:lnTo>
                  <a:close/>
                  <a:moveTo>
                    <a:pt x="f90" y="f177"/>
                  </a:moveTo>
                  <a:lnTo>
                    <a:pt x="f91" y="f177"/>
                  </a:lnTo>
                  <a:lnTo>
                    <a:pt x="f92" y="f178"/>
                  </a:lnTo>
                  <a:lnTo>
                    <a:pt x="f92" y="f179"/>
                  </a:lnTo>
                  <a:lnTo>
                    <a:pt x="f91" y="f180"/>
                  </a:lnTo>
                  <a:lnTo>
                    <a:pt x="f90" y="f180"/>
                  </a:lnTo>
                  <a:lnTo>
                    <a:pt x="f93" y="f179"/>
                  </a:lnTo>
                  <a:lnTo>
                    <a:pt x="f93" y="f178"/>
                  </a:lnTo>
                  <a:close/>
                  <a:moveTo>
                    <a:pt x="f94" y="f177"/>
                  </a:moveTo>
                  <a:lnTo>
                    <a:pt x="f95" y="f177"/>
                  </a:lnTo>
                  <a:lnTo>
                    <a:pt x="f96" y="f178"/>
                  </a:lnTo>
                  <a:lnTo>
                    <a:pt x="f96" y="f179"/>
                  </a:lnTo>
                  <a:lnTo>
                    <a:pt x="f95" y="f180"/>
                  </a:lnTo>
                  <a:lnTo>
                    <a:pt x="f94" y="f180"/>
                  </a:lnTo>
                  <a:lnTo>
                    <a:pt x="f97" y="f179"/>
                  </a:lnTo>
                  <a:lnTo>
                    <a:pt x="f97" y="f178"/>
                  </a:lnTo>
                  <a:close/>
                  <a:moveTo>
                    <a:pt x="f98" y="f177"/>
                  </a:moveTo>
                  <a:lnTo>
                    <a:pt x="f99" y="f177"/>
                  </a:lnTo>
                  <a:lnTo>
                    <a:pt x="f100" y="f178"/>
                  </a:lnTo>
                  <a:lnTo>
                    <a:pt x="f100" y="f179"/>
                  </a:lnTo>
                  <a:lnTo>
                    <a:pt x="f99" y="f180"/>
                  </a:lnTo>
                  <a:lnTo>
                    <a:pt x="f98" y="f180"/>
                  </a:lnTo>
                  <a:lnTo>
                    <a:pt x="f101" y="f179"/>
                  </a:lnTo>
                  <a:lnTo>
                    <a:pt x="f101" y="f178"/>
                  </a:lnTo>
                  <a:close/>
                  <a:moveTo>
                    <a:pt x="f102" y="f177"/>
                  </a:moveTo>
                  <a:lnTo>
                    <a:pt x="f103" y="f177"/>
                  </a:lnTo>
                  <a:lnTo>
                    <a:pt x="f104" y="f178"/>
                  </a:lnTo>
                  <a:lnTo>
                    <a:pt x="f104" y="f179"/>
                  </a:lnTo>
                  <a:lnTo>
                    <a:pt x="f103" y="f180"/>
                  </a:lnTo>
                  <a:lnTo>
                    <a:pt x="f102" y="f180"/>
                  </a:lnTo>
                  <a:lnTo>
                    <a:pt x="f105" y="f179"/>
                  </a:lnTo>
                  <a:lnTo>
                    <a:pt x="f105" y="f178"/>
                  </a:lnTo>
                  <a:close/>
                  <a:moveTo>
                    <a:pt x="f106" y="f177"/>
                  </a:moveTo>
                  <a:lnTo>
                    <a:pt x="f107" y="f177"/>
                  </a:lnTo>
                  <a:lnTo>
                    <a:pt x="f108" y="f178"/>
                  </a:lnTo>
                  <a:lnTo>
                    <a:pt x="f108" y="f179"/>
                  </a:lnTo>
                  <a:lnTo>
                    <a:pt x="f107" y="f180"/>
                  </a:lnTo>
                  <a:lnTo>
                    <a:pt x="f106" y="f180"/>
                  </a:lnTo>
                  <a:lnTo>
                    <a:pt x="f109" y="f179"/>
                  </a:lnTo>
                  <a:lnTo>
                    <a:pt x="f109" y="f178"/>
                  </a:lnTo>
                  <a:close/>
                  <a:moveTo>
                    <a:pt x="f110" y="f177"/>
                  </a:moveTo>
                  <a:lnTo>
                    <a:pt x="f111" y="f177"/>
                  </a:lnTo>
                  <a:lnTo>
                    <a:pt x="f112" y="f178"/>
                  </a:lnTo>
                  <a:lnTo>
                    <a:pt x="f112" y="f179"/>
                  </a:lnTo>
                  <a:lnTo>
                    <a:pt x="f111" y="f180"/>
                  </a:lnTo>
                  <a:lnTo>
                    <a:pt x="f110" y="f180"/>
                  </a:lnTo>
                  <a:lnTo>
                    <a:pt x="f113" y="f179"/>
                  </a:lnTo>
                  <a:lnTo>
                    <a:pt x="f113" y="f178"/>
                  </a:lnTo>
                  <a:close/>
                  <a:moveTo>
                    <a:pt x="f114" y="f177"/>
                  </a:moveTo>
                  <a:lnTo>
                    <a:pt x="f115" y="f177"/>
                  </a:lnTo>
                  <a:lnTo>
                    <a:pt x="f116" y="f178"/>
                  </a:lnTo>
                  <a:lnTo>
                    <a:pt x="f116" y="f179"/>
                  </a:lnTo>
                  <a:lnTo>
                    <a:pt x="f115" y="f180"/>
                  </a:lnTo>
                  <a:lnTo>
                    <a:pt x="f114" y="f180"/>
                  </a:lnTo>
                  <a:lnTo>
                    <a:pt x="f117" y="f179"/>
                  </a:lnTo>
                  <a:lnTo>
                    <a:pt x="f117" y="f178"/>
                  </a:lnTo>
                  <a:close/>
                  <a:moveTo>
                    <a:pt x="f118" y="f177"/>
                  </a:moveTo>
                  <a:lnTo>
                    <a:pt x="f119" y="f177"/>
                  </a:lnTo>
                  <a:lnTo>
                    <a:pt x="f120" y="f178"/>
                  </a:lnTo>
                  <a:lnTo>
                    <a:pt x="f120" y="f179"/>
                  </a:lnTo>
                  <a:lnTo>
                    <a:pt x="f119" y="f180"/>
                  </a:lnTo>
                  <a:lnTo>
                    <a:pt x="f118" y="f180"/>
                  </a:lnTo>
                  <a:lnTo>
                    <a:pt x="f121" y="f179"/>
                  </a:lnTo>
                  <a:lnTo>
                    <a:pt x="f121" y="f178"/>
                  </a:lnTo>
                  <a:close/>
                  <a:moveTo>
                    <a:pt x="f122" y="f177"/>
                  </a:moveTo>
                  <a:lnTo>
                    <a:pt x="f123" y="f177"/>
                  </a:lnTo>
                  <a:lnTo>
                    <a:pt x="f124" y="f178"/>
                  </a:lnTo>
                  <a:lnTo>
                    <a:pt x="f124" y="f179"/>
                  </a:lnTo>
                  <a:lnTo>
                    <a:pt x="f123" y="f180"/>
                  </a:lnTo>
                  <a:lnTo>
                    <a:pt x="f122" y="f180"/>
                  </a:lnTo>
                  <a:lnTo>
                    <a:pt x="f125" y="f179"/>
                  </a:lnTo>
                  <a:lnTo>
                    <a:pt x="f125" y="f178"/>
                  </a:lnTo>
                  <a:close/>
                  <a:moveTo>
                    <a:pt x="f126" y="f177"/>
                  </a:moveTo>
                  <a:lnTo>
                    <a:pt x="f127" y="f177"/>
                  </a:lnTo>
                  <a:lnTo>
                    <a:pt x="f128" y="f178"/>
                  </a:lnTo>
                  <a:lnTo>
                    <a:pt x="f128" y="f179"/>
                  </a:lnTo>
                  <a:lnTo>
                    <a:pt x="f127" y="f180"/>
                  </a:lnTo>
                  <a:lnTo>
                    <a:pt x="f126" y="f180"/>
                  </a:lnTo>
                  <a:lnTo>
                    <a:pt x="f129" y="f179"/>
                  </a:lnTo>
                  <a:lnTo>
                    <a:pt x="f129" y="f178"/>
                  </a:lnTo>
                  <a:close/>
                  <a:moveTo>
                    <a:pt x="f130" y="f177"/>
                  </a:moveTo>
                  <a:lnTo>
                    <a:pt x="f131" y="f177"/>
                  </a:lnTo>
                  <a:lnTo>
                    <a:pt x="f132" y="f178"/>
                  </a:lnTo>
                  <a:lnTo>
                    <a:pt x="f132" y="f179"/>
                  </a:lnTo>
                  <a:lnTo>
                    <a:pt x="f131" y="f180"/>
                  </a:lnTo>
                  <a:lnTo>
                    <a:pt x="f130" y="f180"/>
                  </a:lnTo>
                  <a:lnTo>
                    <a:pt x="f133" y="f179"/>
                  </a:lnTo>
                  <a:lnTo>
                    <a:pt x="f133" y="f178"/>
                  </a:lnTo>
                  <a:close/>
                  <a:moveTo>
                    <a:pt x="f134" y="f177"/>
                  </a:moveTo>
                  <a:lnTo>
                    <a:pt x="f135" y="f177"/>
                  </a:lnTo>
                  <a:lnTo>
                    <a:pt x="f136" y="f178"/>
                  </a:lnTo>
                  <a:lnTo>
                    <a:pt x="f136" y="f179"/>
                  </a:lnTo>
                  <a:lnTo>
                    <a:pt x="f135" y="f180"/>
                  </a:lnTo>
                  <a:lnTo>
                    <a:pt x="f134" y="f180"/>
                  </a:lnTo>
                  <a:lnTo>
                    <a:pt x="f137" y="f179"/>
                  </a:lnTo>
                  <a:lnTo>
                    <a:pt x="f137" y="f178"/>
                  </a:lnTo>
                  <a:close/>
                  <a:moveTo>
                    <a:pt x="f138" y="f177"/>
                  </a:moveTo>
                  <a:lnTo>
                    <a:pt x="f139" y="f177"/>
                  </a:lnTo>
                  <a:lnTo>
                    <a:pt x="f140" y="f178"/>
                  </a:lnTo>
                  <a:lnTo>
                    <a:pt x="f140" y="f179"/>
                  </a:lnTo>
                  <a:lnTo>
                    <a:pt x="f139" y="f180"/>
                  </a:lnTo>
                  <a:lnTo>
                    <a:pt x="f138" y="f180"/>
                  </a:lnTo>
                  <a:lnTo>
                    <a:pt x="f141" y="f179"/>
                  </a:lnTo>
                  <a:lnTo>
                    <a:pt x="f141" y="f178"/>
                  </a:lnTo>
                  <a:close/>
                  <a:moveTo>
                    <a:pt x="f142" y="f177"/>
                  </a:moveTo>
                  <a:lnTo>
                    <a:pt x="f143" y="f177"/>
                  </a:lnTo>
                  <a:lnTo>
                    <a:pt x="f144" y="f178"/>
                  </a:lnTo>
                  <a:lnTo>
                    <a:pt x="f144" y="f179"/>
                  </a:lnTo>
                  <a:lnTo>
                    <a:pt x="f143" y="f180"/>
                  </a:lnTo>
                  <a:lnTo>
                    <a:pt x="f142" y="f180"/>
                  </a:lnTo>
                  <a:lnTo>
                    <a:pt x="f145" y="f179"/>
                  </a:lnTo>
                  <a:lnTo>
                    <a:pt x="f145" y="f178"/>
                  </a:lnTo>
                  <a:close/>
                  <a:moveTo>
                    <a:pt x="f146" y="f177"/>
                  </a:moveTo>
                  <a:lnTo>
                    <a:pt x="f147" y="f177"/>
                  </a:lnTo>
                  <a:lnTo>
                    <a:pt x="f148" y="f178"/>
                  </a:lnTo>
                  <a:lnTo>
                    <a:pt x="f148" y="f179"/>
                  </a:lnTo>
                  <a:lnTo>
                    <a:pt x="f147" y="f180"/>
                  </a:lnTo>
                  <a:lnTo>
                    <a:pt x="f146" y="f180"/>
                  </a:lnTo>
                  <a:lnTo>
                    <a:pt x="f149" y="f179"/>
                  </a:lnTo>
                  <a:lnTo>
                    <a:pt x="f149" y="f178"/>
                  </a:lnTo>
                  <a:close/>
                  <a:moveTo>
                    <a:pt x="f150" y="f177"/>
                  </a:moveTo>
                  <a:lnTo>
                    <a:pt x="f151" y="f177"/>
                  </a:lnTo>
                  <a:lnTo>
                    <a:pt x="f152" y="f178"/>
                  </a:lnTo>
                  <a:lnTo>
                    <a:pt x="f152" y="f179"/>
                  </a:lnTo>
                  <a:lnTo>
                    <a:pt x="f151" y="f180"/>
                  </a:lnTo>
                  <a:lnTo>
                    <a:pt x="f150" y="f180"/>
                  </a:lnTo>
                  <a:lnTo>
                    <a:pt x="f153" y="f179"/>
                  </a:lnTo>
                  <a:lnTo>
                    <a:pt x="f153" y="f178"/>
                  </a:lnTo>
                  <a:close/>
                  <a:moveTo>
                    <a:pt x="f154" y="f177"/>
                  </a:moveTo>
                  <a:lnTo>
                    <a:pt x="f155" y="f177"/>
                  </a:lnTo>
                  <a:lnTo>
                    <a:pt x="f156" y="f178"/>
                  </a:lnTo>
                  <a:lnTo>
                    <a:pt x="f156" y="f179"/>
                  </a:lnTo>
                  <a:lnTo>
                    <a:pt x="f155" y="f180"/>
                  </a:lnTo>
                  <a:lnTo>
                    <a:pt x="f154" y="f180"/>
                  </a:lnTo>
                  <a:lnTo>
                    <a:pt x="f157" y="f179"/>
                  </a:lnTo>
                  <a:lnTo>
                    <a:pt x="f157" y="f178"/>
                  </a:lnTo>
                  <a:close/>
                  <a:moveTo>
                    <a:pt x="f158" y="f177"/>
                  </a:moveTo>
                  <a:lnTo>
                    <a:pt x="f159" y="f177"/>
                  </a:lnTo>
                  <a:lnTo>
                    <a:pt x="f160" y="f178"/>
                  </a:lnTo>
                  <a:lnTo>
                    <a:pt x="f160" y="f179"/>
                  </a:lnTo>
                  <a:lnTo>
                    <a:pt x="f159" y="f180"/>
                  </a:lnTo>
                  <a:lnTo>
                    <a:pt x="f158" y="f180"/>
                  </a:lnTo>
                  <a:lnTo>
                    <a:pt x="f161" y="f179"/>
                  </a:lnTo>
                  <a:lnTo>
                    <a:pt x="f161" y="f178"/>
                  </a:lnTo>
                  <a:close/>
                  <a:moveTo>
                    <a:pt x="f181" y="f177"/>
                  </a:moveTo>
                  <a:lnTo>
                    <a:pt x="f182" y="f177"/>
                  </a:lnTo>
                  <a:lnTo>
                    <a:pt x="f183" y="f178"/>
                  </a:lnTo>
                  <a:lnTo>
                    <a:pt x="f183" y="f179"/>
                  </a:lnTo>
                  <a:lnTo>
                    <a:pt x="f182" y="f180"/>
                  </a:lnTo>
                  <a:lnTo>
                    <a:pt x="f181" y="f180"/>
                  </a:lnTo>
                  <a:lnTo>
                    <a:pt x="f184" y="f179"/>
                  </a:lnTo>
                  <a:lnTo>
                    <a:pt x="f184" y="f178"/>
                  </a:lnTo>
                  <a:close/>
                  <a:moveTo>
                    <a:pt x="f15" y="f177"/>
                  </a:moveTo>
                  <a:lnTo>
                    <a:pt x="f16" y="f177"/>
                  </a:lnTo>
                  <a:lnTo>
                    <a:pt x="f185" y="f178"/>
                  </a:lnTo>
                  <a:lnTo>
                    <a:pt x="f185" y="f179"/>
                  </a:lnTo>
                  <a:lnTo>
                    <a:pt x="f16" y="f180"/>
                  </a:lnTo>
                  <a:lnTo>
                    <a:pt x="f15" y="f180"/>
                  </a:lnTo>
                  <a:lnTo>
                    <a:pt x="f18" y="f179"/>
                  </a:lnTo>
                  <a:lnTo>
                    <a:pt x="f18" y="f178"/>
                  </a:lnTo>
                  <a:close/>
                  <a:moveTo>
                    <a:pt x="f19" y="f177"/>
                  </a:moveTo>
                  <a:lnTo>
                    <a:pt x="f20" y="f177"/>
                  </a:lnTo>
                  <a:lnTo>
                    <a:pt x="f186" y="f178"/>
                  </a:lnTo>
                  <a:lnTo>
                    <a:pt x="f186" y="f179"/>
                  </a:lnTo>
                  <a:lnTo>
                    <a:pt x="f20" y="f180"/>
                  </a:lnTo>
                  <a:lnTo>
                    <a:pt x="f19" y="f180"/>
                  </a:lnTo>
                  <a:lnTo>
                    <a:pt x="f187" y="f179"/>
                  </a:lnTo>
                  <a:lnTo>
                    <a:pt x="f187" y="f178"/>
                  </a:lnTo>
                  <a:close/>
                  <a:moveTo>
                    <a:pt x="f23" y="f177"/>
                  </a:moveTo>
                  <a:lnTo>
                    <a:pt x="f24" y="f177"/>
                  </a:lnTo>
                  <a:lnTo>
                    <a:pt x="f188" y="f178"/>
                  </a:lnTo>
                  <a:lnTo>
                    <a:pt x="f188" y="f179"/>
                  </a:lnTo>
                  <a:lnTo>
                    <a:pt x="f24" y="f180"/>
                  </a:lnTo>
                  <a:lnTo>
                    <a:pt x="f23" y="f180"/>
                  </a:lnTo>
                  <a:lnTo>
                    <a:pt x="f189" y="f179"/>
                  </a:lnTo>
                  <a:lnTo>
                    <a:pt x="f189" y="f178"/>
                  </a:lnTo>
                  <a:close/>
                  <a:moveTo>
                    <a:pt x="f27" y="f177"/>
                  </a:moveTo>
                  <a:lnTo>
                    <a:pt x="f190" y="f177"/>
                  </a:lnTo>
                  <a:lnTo>
                    <a:pt x="f191" y="f178"/>
                  </a:lnTo>
                  <a:lnTo>
                    <a:pt x="f191" y="f179"/>
                  </a:lnTo>
                  <a:lnTo>
                    <a:pt x="f190" y="f180"/>
                  </a:lnTo>
                  <a:lnTo>
                    <a:pt x="f27" y="f180"/>
                  </a:lnTo>
                  <a:lnTo>
                    <a:pt x="f30" y="f179"/>
                  </a:lnTo>
                  <a:lnTo>
                    <a:pt x="f30" y="f178"/>
                  </a:lnTo>
                  <a:close/>
                  <a:moveTo>
                    <a:pt x="f192" y="f177"/>
                  </a:moveTo>
                  <a:lnTo>
                    <a:pt x="f32" y="f177"/>
                  </a:lnTo>
                  <a:lnTo>
                    <a:pt x="f33" y="f178"/>
                  </a:lnTo>
                  <a:lnTo>
                    <a:pt x="f33" y="f179"/>
                  </a:lnTo>
                  <a:lnTo>
                    <a:pt x="f32" y="f180"/>
                  </a:lnTo>
                  <a:lnTo>
                    <a:pt x="f192" y="f180"/>
                  </a:lnTo>
                  <a:lnTo>
                    <a:pt x="f193" y="f179"/>
                  </a:lnTo>
                  <a:lnTo>
                    <a:pt x="f193" y="f178"/>
                  </a:lnTo>
                  <a:close/>
                  <a:moveTo>
                    <a:pt x="f194" y="f177"/>
                  </a:moveTo>
                  <a:lnTo>
                    <a:pt x="f195" y="f177"/>
                  </a:lnTo>
                  <a:lnTo>
                    <a:pt x="f196" y="f178"/>
                  </a:lnTo>
                  <a:lnTo>
                    <a:pt x="f196" y="f179"/>
                  </a:lnTo>
                  <a:lnTo>
                    <a:pt x="f195" y="f180"/>
                  </a:lnTo>
                  <a:lnTo>
                    <a:pt x="f194" y="f180"/>
                  </a:lnTo>
                  <a:lnTo>
                    <a:pt x="f197" y="f179"/>
                  </a:lnTo>
                  <a:lnTo>
                    <a:pt x="f197" y="f178"/>
                  </a:lnTo>
                  <a:close/>
                  <a:moveTo>
                    <a:pt x="f166" y="f177"/>
                  </a:moveTo>
                  <a:lnTo>
                    <a:pt x="f198" y="f177"/>
                  </a:lnTo>
                  <a:lnTo>
                    <a:pt x="f199" y="f178"/>
                  </a:lnTo>
                  <a:lnTo>
                    <a:pt x="f199" y="f179"/>
                  </a:lnTo>
                  <a:lnTo>
                    <a:pt x="f198" y="f180"/>
                  </a:lnTo>
                  <a:lnTo>
                    <a:pt x="f166" y="f180"/>
                  </a:lnTo>
                  <a:lnTo>
                    <a:pt x="f169" y="f179"/>
                  </a:lnTo>
                  <a:lnTo>
                    <a:pt x="f169" y="f178"/>
                  </a:lnTo>
                  <a:close/>
                  <a:moveTo>
                    <a:pt x="f200" y="f177"/>
                  </a:moveTo>
                  <a:lnTo>
                    <a:pt x="f201" y="f177"/>
                  </a:lnTo>
                  <a:lnTo>
                    <a:pt x="f202" y="f178"/>
                  </a:lnTo>
                  <a:lnTo>
                    <a:pt x="f202" y="f179"/>
                  </a:lnTo>
                  <a:lnTo>
                    <a:pt x="f201" y="f180"/>
                  </a:lnTo>
                  <a:lnTo>
                    <a:pt x="f200" y="f180"/>
                  </a:lnTo>
                  <a:lnTo>
                    <a:pt x="f203" y="f179"/>
                  </a:lnTo>
                  <a:lnTo>
                    <a:pt x="f203" y="f178"/>
                  </a:lnTo>
                  <a:close/>
                  <a:moveTo>
                    <a:pt x="f204" y="f177"/>
                  </a:moveTo>
                  <a:lnTo>
                    <a:pt x="f205" y="f177"/>
                  </a:lnTo>
                  <a:lnTo>
                    <a:pt x="f176" y="f178"/>
                  </a:lnTo>
                  <a:lnTo>
                    <a:pt x="f176" y="f179"/>
                  </a:lnTo>
                  <a:lnTo>
                    <a:pt x="f205" y="f180"/>
                  </a:lnTo>
                  <a:lnTo>
                    <a:pt x="f204" y="f180"/>
                  </a:lnTo>
                  <a:lnTo>
                    <a:pt x="f206" y="f179"/>
                  </a:lnTo>
                  <a:lnTo>
                    <a:pt x="f206" y="f178"/>
                  </a:lnTo>
                  <a:close/>
                  <a:moveTo>
                    <a:pt x="f181" y="f207"/>
                  </a:moveTo>
                  <a:lnTo>
                    <a:pt x="f182" y="f207"/>
                  </a:lnTo>
                  <a:lnTo>
                    <a:pt x="f208" y="f209"/>
                  </a:lnTo>
                  <a:lnTo>
                    <a:pt x="f208" y="f210"/>
                  </a:lnTo>
                  <a:lnTo>
                    <a:pt x="f182" y="f211"/>
                  </a:lnTo>
                  <a:lnTo>
                    <a:pt x="f181" y="f211"/>
                  </a:lnTo>
                  <a:lnTo>
                    <a:pt x="f184" y="f210"/>
                  </a:lnTo>
                  <a:lnTo>
                    <a:pt x="f184" y="f209"/>
                  </a:lnTo>
                  <a:close/>
                  <a:moveTo>
                    <a:pt x="f15" y="f207"/>
                  </a:moveTo>
                  <a:lnTo>
                    <a:pt x="f212" y="f207"/>
                  </a:lnTo>
                  <a:lnTo>
                    <a:pt x="f185" y="f209"/>
                  </a:lnTo>
                  <a:lnTo>
                    <a:pt x="f185" y="f210"/>
                  </a:lnTo>
                  <a:lnTo>
                    <a:pt x="f212" y="f211"/>
                  </a:lnTo>
                  <a:lnTo>
                    <a:pt x="f15" y="f211"/>
                  </a:lnTo>
                  <a:lnTo>
                    <a:pt x="f18" y="f210"/>
                  </a:lnTo>
                  <a:lnTo>
                    <a:pt x="f18" y="f209"/>
                  </a:lnTo>
                  <a:close/>
                  <a:moveTo>
                    <a:pt x="f213" y="f207"/>
                  </a:moveTo>
                  <a:lnTo>
                    <a:pt x="f214" y="f207"/>
                  </a:lnTo>
                  <a:lnTo>
                    <a:pt x="f186" y="f209"/>
                  </a:lnTo>
                  <a:lnTo>
                    <a:pt x="f186" y="f210"/>
                  </a:lnTo>
                  <a:lnTo>
                    <a:pt x="f214" y="f211"/>
                  </a:lnTo>
                  <a:lnTo>
                    <a:pt x="f213" y="f211"/>
                  </a:lnTo>
                  <a:lnTo>
                    <a:pt x="f187" y="f210"/>
                  </a:lnTo>
                  <a:lnTo>
                    <a:pt x="f187" y="f209"/>
                  </a:lnTo>
                  <a:close/>
                  <a:moveTo>
                    <a:pt x="f215" y="f207"/>
                  </a:moveTo>
                  <a:lnTo>
                    <a:pt x="f216" y="f207"/>
                  </a:lnTo>
                  <a:lnTo>
                    <a:pt x="f188" y="f209"/>
                  </a:lnTo>
                  <a:lnTo>
                    <a:pt x="f188" y="f210"/>
                  </a:lnTo>
                  <a:lnTo>
                    <a:pt x="f216" y="f211"/>
                  </a:lnTo>
                  <a:lnTo>
                    <a:pt x="f215" y="f211"/>
                  </a:lnTo>
                  <a:lnTo>
                    <a:pt x="f189" y="f210"/>
                  </a:lnTo>
                  <a:lnTo>
                    <a:pt x="f189" y="f209"/>
                  </a:lnTo>
                  <a:close/>
                  <a:moveTo>
                    <a:pt x="f217" y="f207"/>
                  </a:moveTo>
                  <a:lnTo>
                    <a:pt x="f190" y="f207"/>
                  </a:lnTo>
                  <a:lnTo>
                    <a:pt x="f218" y="f209"/>
                  </a:lnTo>
                  <a:lnTo>
                    <a:pt x="f218" y="f210"/>
                  </a:lnTo>
                  <a:lnTo>
                    <a:pt x="f190" y="f211"/>
                  </a:lnTo>
                  <a:lnTo>
                    <a:pt x="f217" y="f211"/>
                  </a:lnTo>
                  <a:lnTo>
                    <a:pt x="f219" y="f210"/>
                  </a:lnTo>
                  <a:lnTo>
                    <a:pt x="f219" y="f209"/>
                  </a:lnTo>
                  <a:close/>
                  <a:moveTo>
                    <a:pt x="f192" y="f207"/>
                  </a:moveTo>
                  <a:lnTo>
                    <a:pt x="f220" y="f207"/>
                  </a:lnTo>
                  <a:lnTo>
                    <a:pt x="f221" y="f209"/>
                  </a:lnTo>
                  <a:lnTo>
                    <a:pt x="f221" y="f210"/>
                  </a:lnTo>
                  <a:lnTo>
                    <a:pt x="f220" y="f211"/>
                  </a:lnTo>
                  <a:lnTo>
                    <a:pt x="f192" y="f211"/>
                  </a:lnTo>
                  <a:lnTo>
                    <a:pt x="f193" y="f210"/>
                  </a:lnTo>
                  <a:lnTo>
                    <a:pt x="f193" y="f209"/>
                  </a:lnTo>
                  <a:close/>
                  <a:moveTo>
                    <a:pt x="f35" y="f222"/>
                  </a:moveTo>
                  <a:lnTo>
                    <a:pt x="f37" y="f222"/>
                  </a:lnTo>
                  <a:lnTo>
                    <a:pt x="f6" y="f223"/>
                  </a:lnTo>
                  <a:lnTo>
                    <a:pt x="f6" y="f224"/>
                  </a:lnTo>
                  <a:lnTo>
                    <a:pt x="f37" y="f225"/>
                  </a:lnTo>
                  <a:lnTo>
                    <a:pt x="f35" y="f225"/>
                  </a:lnTo>
                  <a:lnTo>
                    <a:pt x="f41" y="f224"/>
                  </a:lnTo>
                  <a:lnTo>
                    <a:pt x="f41" y="f223"/>
                  </a:lnTo>
                  <a:close/>
                  <a:moveTo>
                    <a:pt x="f42" y="f222"/>
                  </a:moveTo>
                  <a:lnTo>
                    <a:pt x="f43" y="f222"/>
                  </a:lnTo>
                  <a:lnTo>
                    <a:pt x="f44" y="f223"/>
                  </a:lnTo>
                  <a:lnTo>
                    <a:pt x="f44" y="f224"/>
                  </a:lnTo>
                  <a:lnTo>
                    <a:pt x="f43" y="f225"/>
                  </a:lnTo>
                  <a:lnTo>
                    <a:pt x="f42" y="f225"/>
                  </a:lnTo>
                  <a:lnTo>
                    <a:pt x="f45" y="f224"/>
                  </a:lnTo>
                  <a:lnTo>
                    <a:pt x="f45" y="f223"/>
                  </a:lnTo>
                  <a:close/>
                  <a:moveTo>
                    <a:pt x="f46" y="f222"/>
                  </a:moveTo>
                  <a:lnTo>
                    <a:pt x="f47" y="f222"/>
                  </a:lnTo>
                  <a:lnTo>
                    <a:pt x="f48" y="f223"/>
                  </a:lnTo>
                  <a:lnTo>
                    <a:pt x="f48" y="f224"/>
                  </a:lnTo>
                  <a:lnTo>
                    <a:pt x="f47" y="f225"/>
                  </a:lnTo>
                  <a:lnTo>
                    <a:pt x="f46" y="f225"/>
                  </a:lnTo>
                  <a:lnTo>
                    <a:pt x="f49" y="f224"/>
                  </a:lnTo>
                  <a:lnTo>
                    <a:pt x="f49" y="f223"/>
                  </a:lnTo>
                  <a:close/>
                  <a:moveTo>
                    <a:pt x="f50" y="f222"/>
                  </a:moveTo>
                  <a:lnTo>
                    <a:pt x="f51" y="f222"/>
                  </a:lnTo>
                  <a:lnTo>
                    <a:pt x="f52" y="f223"/>
                  </a:lnTo>
                  <a:lnTo>
                    <a:pt x="f52" y="f224"/>
                  </a:lnTo>
                  <a:lnTo>
                    <a:pt x="f51" y="f225"/>
                  </a:lnTo>
                  <a:lnTo>
                    <a:pt x="f50" y="f225"/>
                  </a:lnTo>
                  <a:lnTo>
                    <a:pt x="f53" y="f224"/>
                  </a:lnTo>
                  <a:lnTo>
                    <a:pt x="f53" y="f223"/>
                  </a:lnTo>
                  <a:close/>
                  <a:moveTo>
                    <a:pt x="f54" y="f222"/>
                  </a:moveTo>
                  <a:lnTo>
                    <a:pt x="f55" y="f222"/>
                  </a:lnTo>
                  <a:lnTo>
                    <a:pt x="f56" y="f223"/>
                  </a:lnTo>
                  <a:lnTo>
                    <a:pt x="f56" y="f224"/>
                  </a:lnTo>
                  <a:lnTo>
                    <a:pt x="f55" y="f225"/>
                  </a:lnTo>
                  <a:lnTo>
                    <a:pt x="f54" y="f225"/>
                  </a:lnTo>
                  <a:lnTo>
                    <a:pt x="f57" y="f224"/>
                  </a:lnTo>
                  <a:lnTo>
                    <a:pt x="f57" y="f223"/>
                  </a:lnTo>
                  <a:close/>
                  <a:moveTo>
                    <a:pt x="f58" y="f222"/>
                  </a:moveTo>
                  <a:lnTo>
                    <a:pt x="f59" y="f222"/>
                  </a:lnTo>
                  <a:lnTo>
                    <a:pt x="f60" y="f223"/>
                  </a:lnTo>
                  <a:lnTo>
                    <a:pt x="f60" y="f224"/>
                  </a:lnTo>
                  <a:lnTo>
                    <a:pt x="f59" y="f225"/>
                  </a:lnTo>
                  <a:lnTo>
                    <a:pt x="f58" y="f225"/>
                  </a:lnTo>
                  <a:lnTo>
                    <a:pt x="f61" y="f224"/>
                  </a:lnTo>
                  <a:lnTo>
                    <a:pt x="f61" y="f223"/>
                  </a:lnTo>
                  <a:close/>
                  <a:moveTo>
                    <a:pt x="f62" y="f222"/>
                  </a:moveTo>
                  <a:lnTo>
                    <a:pt x="f63" y="f222"/>
                  </a:lnTo>
                  <a:lnTo>
                    <a:pt x="f64" y="f223"/>
                  </a:lnTo>
                  <a:lnTo>
                    <a:pt x="f64" y="f224"/>
                  </a:lnTo>
                  <a:lnTo>
                    <a:pt x="f63" y="f225"/>
                  </a:lnTo>
                  <a:lnTo>
                    <a:pt x="f62" y="f225"/>
                  </a:lnTo>
                  <a:lnTo>
                    <a:pt x="f65" y="f224"/>
                  </a:lnTo>
                  <a:lnTo>
                    <a:pt x="f65" y="f223"/>
                  </a:lnTo>
                  <a:close/>
                  <a:moveTo>
                    <a:pt x="f66" y="f222"/>
                  </a:moveTo>
                  <a:lnTo>
                    <a:pt x="f67" y="f222"/>
                  </a:lnTo>
                  <a:lnTo>
                    <a:pt x="f68" y="f223"/>
                  </a:lnTo>
                  <a:lnTo>
                    <a:pt x="f68" y="f224"/>
                  </a:lnTo>
                  <a:lnTo>
                    <a:pt x="f67" y="f225"/>
                  </a:lnTo>
                  <a:lnTo>
                    <a:pt x="f66" y="f225"/>
                  </a:lnTo>
                  <a:lnTo>
                    <a:pt x="f69" y="f224"/>
                  </a:lnTo>
                  <a:lnTo>
                    <a:pt x="f69" y="f223"/>
                  </a:lnTo>
                  <a:close/>
                  <a:moveTo>
                    <a:pt x="f70" y="f222"/>
                  </a:moveTo>
                  <a:lnTo>
                    <a:pt x="f71" y="f222"/>
                  </a:lnTo>
                  <a:lnTo>
                    <a:pt x="f72" y="f223"/>
                  </a:lnTo>
                  <a:lnTo>
                    <a:pt x="f72" y="f224"/>
                  </a:lnTo>
                  <a:lnTo>
                    <a:pt x="f71" y="f225"/>
                  </a:lnTo>
                  <a:lnTo>
                    <a:pt x="f70" y="f225"/>
                  </a:lnTo>
                  <a:lnTo>
                    <a:pt x="f73" y="f224"/>
                  </a:lnTo>
                  <a:lnTo>
                    <a:pt x="f73" y="f223"/>
                  </a:lnTo>
                  <a:close/>
                  <a:moveTo>
                    <a:pt x="f74" y="f222"/>
                  </a:moveTo>
                  <a:lnTo>
                    <a:pt x="f75" y="f222"/>
                  </a:lnTo>
                  <a:lnTo>
                    <a:pt x="f76" y="f223"/>
                  </a:lnTo>
                  <a:lnTo>
                    <a:pt x="f76" y="f224"/>
                  </a:lnTo>
                  <a:lnTo>
                    <a:pt x="f75" y="f225"/>
                  </a:lnTo>
                  <a:lnTo>
                    <a:pt x="f74" y="f225"/>
                  </a:lnTo>
                  <a:lnTo>
                    <a:pt x="f77" y="f224"/>
                  </a:lnTo>
                  <a:lnTo>
                    <a:pt x="f77" y="f223"/>
                  </a:lnTo>
                  <a:close/>
                  <a:moveTo>
                    <a:pt x="f78" y="f222"/>
                  </a:moveTo>
                  <a:lnTo>
                    <a:pt x="f79" y="f222"/>
                  </a:lnTo>
                  <a:lnTo>
                    <a:pt x="f80" y="f223"/>
                  </a:lnTo>
                  <a:lnTo>
                    <a:pt x="f80" y="f224"/>
                  </a:lnTo>
                  <a:lnTo>
                    <a:pt x="f79" y="f225"/>
                  </a:lnTo>
                  <a:lnTo>
                    <a:pt x="f78" y="f225"/>
                  </a:lnTo>
                  <a:lnTo>
                    <a:pt x="f81" y="f224"/>
                  </a:lnTo>
                  <a:lnTo>
                    <a:pt x="f81" y="f223"/>
                  </a:lnTo>
                  <a:close/>
                  <a:moveTo>
                    <a:pt x="f82" y="f222"/>
                  </a:moveTo>
                  <a:lnTo>
                    <a:pt x="f83" y="f222"/>
                  </a:lnTo>
                  <a:lnTo>
                    <a:pt x="f84" y="f223"/>
                  </a:lnTo>
                  <a:lnTo>
                    <a:pt x="f84" y="f224"/>
                  </a:lnTo>
                  <a:lnTo>
                    <a:pt x="f83" y="f225"/>
                  </a:lnTo>
                  <a:lnTo>
                    <a:pt x="f82" y="f225"/>
                  </a:lnTo>
                  <a:lnTo>
                    <a:pt x="f85" y="f224"/>
                  </a:lnTo>
                  <a:lnTo>
                    <a:pt x="f85" y="f223"/>
                  </a:lnTo>
                  <a:close/>
                  <a:moveTo>
                    <a:pt x="f86" y="f222"/>
                  </a:moveTo>
                  <a:lnTo>
                    <a:pt x="f87" y="f222"/>
                  </a:lnTo>
                  <a:lnTo>
                    <a:pt x="f88" y="f223"/>
                  </a:lnTo>
                  <a:lnTo>
                    <a:pt x="f88" y="f224"/>
                  </a:lnTo>
                  <a:lnTo>
                    <a:pt x="f87" y="f225"/>
                  </a:lnTo>
                  <a:lnTo>
                    <a:pt x="f86" y="f225"/>
                  </a:lnTo>
                  <a:lnTo>
                    <a:pt x="f89" y="f224"/>
                  </a:lnTo>
                  <a:lnTo>
                    <a:pt x="f89" y="f223"/>
                  </a:lnTo>
                  <a:close/>
                  <a:moveTo>
                    <a:pt x="f90" y="f222"/>
                  </a:moveTo>
                  <a:lnTo>
                    <a:pt x="f91" y="f222"/>
                  </a:lnTo>
                  <a:lnTo>
                    <a:pt x="f92" y="f223"/>
                  </a:lnTo>
                  <a:lnTo>
                    <a:pt x="f92" y="f224"/>
                  </a:lnTo>
                  <a:lnTo>
                    <a:pt x="f91" y="f225"/>
                  </a:lnTo>
                  <a:lnTo>
                    <a:pt x="f90" y="f225"/>
                  </a:lnTo>
                  <a:lnTo>
                    <a:pt x="f93" y="f224"/>
                  </a:lnTo>
                  <a:lnTo>
                    <a:pt x="f93" y="f223"/>
                  </a:lnTo>
                  <a:close/>
                  <a:moveTo>
                    <a:pt x="f94" y="f222"/>
                  </a:moveTo>
                  <a:lnTo>
                    <a:pt x="f95" y="f222"/>
                  </a:lnTo>
                  <a:lnTo>
                    <a:pt x="f96" y="f223"/>
                  </a:lnTo>
                  <a:lnTo>
                    <a:pt x="f96" y="f224"/>
                  </a:lnTo>
                  <a:lnTo>
                    <a:pt x="f95" y="f225"/>
                  </a:lnTo>
                  <a:lnTo>
                    <a:pt x="f94" y="f225"/>
                  </a:lnTo>
                  <a:lnTo>
                    <a:pt x="f97" y="f224"/>
                  </a:lnTo>
                  <a:lnTo>
                    <a:pt x="f97" y="f223"/>
                  </a:lnTo>
                  <a:close/>
                  <a:moveTo>
                    <a:pt x="f98" y="f222"/>
                  </a:moveTo>
                  <a:lnTo>
                    <a:pt x="f99" y="f222"/>
                  </a:lnTo>
                  <a:lnTo>
                    <a:pt x="f100" y="f223"/>
                  </a:lnTo>
                  <a:lnTo>
                    <a:pt x="f100" y="f224"/>
                  </a:lnTo>
                  <a:lnTo>
                    <a:pt x="f99" y="f225"/>
                  </a:lnTo>
                  <a:lnTo>
                    <a:pt x="f98" y="f225"/>
                  </a:lnTo>
                  <a:lnTo>
                    <a:pt x="f101" y="f224"/>
                  </a:lnTo>
                  <a:lnTo>
                    <a:pt x="f101" y="f223"/>
                  </a:lnTo>
                  <a:close/>
                  <a:moveTo>
                    <a:pt x="f102" y="f222"/>
                  </a:moveTo>
                  <a:lnTo>
                    <a:pt x="f103" y="f222"/>
                  </a:lnTo>
                  <a:lnTo>
                    <a:pt x="f104" y="f223"/>
                  </a:lnTo>
                  <a:lnTo>
                    <a:pt x="f104" y="f224"/>
                  </a:lnTo>
                  <a:lnTo>
                    <a:pt x="f103" y="f225"/>
                  </a:lnTo>
                  <a:lnTo>
                    <a:pt x="f102" y="f225"/>
                  </a:lnTo>
                  <a:lnTo>
                    <a:pt x="f105" y="f224"/>
                  </a:lnTo>
                  <a:lnTo>
                    <a:pt x="f105" y="f223"/>
                  </a:lnTo>
                  <a:close/>
                  <a:moveTo>
                    <a:pt x="f106" y="f222"/>
                  </a:moveTo>
                  <a:lnTo>
                    <a:pt x="f107" y="f222"/>
                  </a:lnTo>
                  <a:lnTo>
                    <a:pt x="f108" y="f223"/>
                  </a:lnTo>
                  <a:lnTo>
                    <a:pt x="f108" y="f224"/>
                  </a:lnTo>
                  <a:lnTo>
                    <a:pt x="f107" y="f225"/>
                  </a:lnTo>
                  <a:lnTo>
                    <a:pt x="f106" y="f225"/>
                  </a:lnTo>
                  <a:lnTo>
                    <a:pt x="f109" y="f224"/>
                  </a:lnTo>
                  <a:lnTo>
                    <a:pt x="f109" y="f223"/>
                  </a:lnTo>
                  <a:close/>
                  <a:moveTo>
                    <a:pt x="f110" y="f222"/>
                  </a:moveTo>
                  <a:lnTo>
                    <a:pt x="f111" y="f222"/>
                  </a:lnTo>
                  <a:lnTo>
                    <a:pt x="f112" y="f223"/>
                  </a:lnTo>
                  <a:lnTo>
                    <a:pt x="f112" y="f224"/>
                  </a:lnTo>
                  <a:lnTo>
                    <a:pt x="f111" y="f225"/>
                  </a:lnTo>
                  <a:lnTo>
                    <a:pt x="f110" y="f225"/>
                  </a:lnTo>
                  <a:lnTo>
                    <a:pt x="f113" y="f224"/>
                  </a:lnTo>
                  <a:lnTo>
                    <a:pt x="f113" y="f223"/>
                  </a:lnTo>
                  <a:close/>
                  <a:moveTo>
                    <a:pt x="f114" y="f222"/>
                  </a:moveTo>
                  <a:lnTo>
                    <a:pt x="f115" y="f222"/>
                  </a:lnTo>
                  <a:lnTo>
                    <a:pt x="f116" y="f223"/>
                  </a:lnTo>
                  <a:lnTo>
                    <a:pt x="f116" y="f224"/>
                  </a:lnTo>
                  <a:lnTo>
                    <a:pt x="f115" y="f225"/>
                  </a:lnTo>
                  <a:lnTo>
                    <a:pt x="f114" y="f225"/>
                  </a:lnTo>
                  <a:lnTo>
                    <a:pt x="f117" y="f224"/>
                  </a:lnTo>
                  <a:lnTo>
                    <a:pt x="f117" y="f223"/>
                  </a:lnTo>
                  <a:close/>
                  <a:moveTo>
                    <a:pt x="f118" y="f222"/>
                  </a:moveTo>
                  <a:lnTo>
                    <a:pt x="f119" y="f222"/>
                  </a:lnTo>
                  <a:lnTo>
                    <a:pt x="f120" y="f223"/>
                  </a:lnTo>
                  <a:lnTo>
                    <a:pt x="f120" y="f224"/>
                  </a:lnTo>
                  <a:lnTo>
                    <a:pt x="f119" y="f225"/>
                  </a:lnTo>
                  <a:lnTo>
                    <a:pt x="f118" y="f225"/>
                  </a:lnTo>
                  <a:lnTo>
                    <a:pt x="f121" y="f224"/>
                  </a:lnTo>
                  <a:lnTo>
                    <a:pt x="f121" y="f223"/>
                  </a:lnTo>
                  <a:close/>
                  <a:moveTo>
                    <a:pt x="f122" y="f222"/>
                  </a:moveTo>
                  <a:lnTo>
                    <a:pt x="f123" y="f222"/>
                  </a:lnTo>
                  <a:lnTo>
                    <a:pt x="f124" y="f223"/>
                  </a:lnTo>
                  <a:lnTo>
                    <a:pt x="f124" y="f224"/>
                  </a:lnTo>
                  <a:lnTo>
                    <a:pt x="f123" y="f225"/>
                  </a:lnTo>
                  <a:lnTo>
                    <a:pt x="f122" y="f225"/>
                  </a:lnTo>
                  <a:lnTo>
                    <a:pt x="f125" y="f224"/>
                  </a:lnTo>
                  <a:lnTo>
                    <a:pt x="f125" y="f223"/>
                  </a:lnTo>
                  <a:close/>
                  <a:moveTo>
                    <a:pt x="f126" y="f222"/>
                  </a:moveTo>
                  <a:lnTo>
                    <a:pt x="f127" y="f222"/>
                  </a:lnTo>
                  <a:lnTo>
                    <a:pt x="f128" y="f223"/>
                  </a:lnTo>
                  <a:lnTo>
                    <a:pt x="f128" y="f224"/>
                  </a:lnTo>
                  <a:lnTo>
                    <a:pt x="f127" y="f225"/>
                  </a:lnTo>
                  <a:lnTo>
                    <a:pt x="f126" y="f225"/>
                  </a:lnTo>
                  <a:lnTo>
                    <a:pt x="f129" y="f224"/>
                  </a:lnTo>
                  <a:lnTo>
                    <a:pt x="f129" y="f223"/>
                  </a:lnTo>
                  <a:close/>
                  <a:moveTo>
                    <a:pt x="f130" y="f222"/>
                  </a:moveTo>
                  <a:lnTo>
                    <a:pt x="f131" y="f222"/>
                  </a:lnTo>
                  <a:lnTo>
                    <a:pt x="f132" y="f223"/>
                  </a:lnTo>
                  <a:lnTo>
                    <a:pt x="f132" y="f224"/>
                  </a:lnTo>
                  <a:lnTo>
                    <a:pt x="f131" y="f225"/>
                  </a:lnTo>
                  <a:lnTo>
                    <a:pt x="f130" y="f225"/>
                  </a:lnTo>
                  <a:lnTo>
                    <a:pt x="f133" y="f224"/>
                  </a:lnTo>
                  <a:lnTo>
                    <a:pt x="f133" y="f223"/>
                  </a:lnTo>
                  <a:close/>
                  <a:moveTo>
                    <a:pt x="f134" y="f222"/>
                  </a:moveTo>
                  <a:lnTo>
                    <a:pt x="f135" y="f222"/>
                  </a:lnTo>
                  <a:lnTo>
                    <a:pt x="f136" y="f223"/>
                  </a:lnTo>
                  <a:lnTo>
                    <a:pt x="f136" y="f224"/>
                  </a:lnTo>
                  <a:lnTo>
                    <a:pt x="f135" y="f225"/>
                  </a:lnTo>
                  <a:lnTo>
                    <a:pt x="f134" y="f225"/>
                  </a:lnTo>
                  <a:lnTo>
                    <a:pt x="f137" y="f224"/>
                  </a:lnTo>
                  <a:lnTo>
                    <a:pt x="f137" y="f223"/>
                  </a:lnTo>
                  <a:close/>
                  <a:moveTo>
                    <a:pt x="f138" y="f222"/>
                  </a:moveTo>
                  <a:lnTo>
                    <a:pt x="f139" y="f222"/>
                  </a:lnTo>
                  <a:lnTo>
                    <a:pt x="f140" y="f223"/>
                  </a:lnTo>
                  <a:lnTo>
                    <a:pt x="f140" y="f224"/>
                  </a:lnTo>
                  <a:lnTo>
                    <a:pt x="f139" y="f225"/>
                  </a:lnTo>
                  <a:lnTo>
                    <a:pt x="f138" y="f225"/>
                  </a:lnTo>
                  <a:lnTo>
                    <a:pt x="f141" y="f224"/>
                  </a:lnTo>
                  <a:lnTo>
                    <a:pt x="f141" y="f223"/>
                  </a:lnTo>
                  <a:close/>
                  <a:moveTo>
                    <a:pt x="f142" y="f222"/>
                  </a:moveTo>
                  <a:lnTo>
                    <a:pt x="f143" y="f222"/>
                  </a:lnTo>
                  <a:lnTo>
                    <a:pt x="f144" y="f223"/>
                  </a:lnTo>
                  <a:lnTo>
                    <a:pt x="f144" y="f224"/>
                  </a:lnTo>
                  <a:lnTo>
                    <a:pt x="f143" y="f225"/>
                  </a:lnTo>
                  <a:lnTo>
                    <a:pt x="f142" y="f225"/>
                  </a:lnTo>
                  <a:lnTo>
                    <a:pt x="f145" y="f224"/>
                  </a:lnTo>
                  <a:lnTo>
                    <a:pt x="f145" y="f223"/>
                  </a:lnTo>
                  <a:close/>
                  <a:moveTo>
                    <a:pt x="f146" y="f222"/>
                  </a:moveTo>
                  <a:lnTo>
                    <a:pt x="f147" y="f222"/>
                  </a:lnTo>
                  <a:lnTo>
                    <a:pt x="f148" y="f223"/>
                  </a:lnTo>
                  <a:lnTo>
                    <a:pt x="f148" y="f224"/>
                  </a:lnTo>
                  <a:lnTo>
                    <a:pt x="f147" y="f225"/>
                  </a:lnTo>
                  <a:lnTo>
                    <a:pt x="f146" y="f225"/>
                  </a:lnTo>
                  <a:lnTo>
                    <a:pt x="f149" y="f224"/>
                  </a:lnTo>
                  <a:lnTo>
                    <a:pt x="f149" y="f223"/>
                  </a:lnTo>
                  <a:close/>
                  <a:moveTo>
                    <a:pt x="f150" y="f222"/>
                  </a:moveTo>
                  <a:lnTo>
                    <a:pt x="f151" y="f222"/>
                  </a:lnTo>
                  <a:lnTo>
                    <a:pt x="f152" y="f223"/>
                  </a:lnTo>
                  <a:lnTo>
                    <a:pt x="f152" y="f224"/>
                  </a:lnTo>
                  <a:lnTo>
                    <a:pt x="f151" y="f225"/>
                  </a:lnTo>
                  <a:lnTo>
                    <a:pt x="f150" y="f225"/>
                  </a:lnTo>
                  <a:lnTo>
                    <a:pt x="f153" y="f224"/>
                  </a:lnTo>
                  <a:lnTo>
                    <a:pt x="f153" y="f223"/>
                  </a:lnTo>
                  <a:close/>
                  <a:moveTo>
                    <a:pt x="f154" y="f222"/>
                  </a:moveTo>
                  <a:lnTo>
                    <a:pt x="f155" y="f222"/>
                  </a:lnTo>
                  <a:lnTo>
                    <a:pt x="f156" y="f223"/>
                  </a:lnTo>
                  <a:lnTo>
                    <a:pt x="f156" y="f224"/>
                  </a:lnTo>
                  <a:lnTo>
                    <a:pt x="f155" y="f225"/>
                  </a:lnTo>
                  <a:lnTo>
                    <a:pt x="f154" y="f225"/>
                  </a:lnTo>
                  <a:lnTo>
                    <a:pt x="f157" y="f224"/>
                  </a:lnTo>
                  <a:lnTo>
                    <a:pt x="f157" y="f223"/>
                  </a:lnTo>
                  <a:close/>
                  <a:moveTo>
                    <a:pt x="f158" y="f222"/>
                  </a:moveTo>
                  <a:lnTo>
                    <a:pt x="f159" y="f222"/>
                  </a:lnTo>
                  <a:lnTo>
                    <a:pt x="f160" y="f223"/>
                  </a:lnTo>
                  <a:lnTo>
                    <a:pt x="f160" y="f224"/>
                  </a:lnTo>
                  <a:lnTo>
                    <a:pt x="f159" y="f225"/>
                  </a:lnTo>
                  <a:lnTo>
                    <a:pt x="f158" y="f225"/>
                  </a:lnTo>
                  <a:lnTo>
                    <a:pt x="f161" y="f224"/>
                  </a:lnTo>
                  <a:lnTo>
                    <a:pt x="f161" y="f223"/>
                  </a:lnTo>
                  <a:close/>
                  <a:moveTo>
                    <a:pt x="f226" y="f222"/>
                  </a:moveTo>
                  <a:lnTo>
                    <a:pt x="f195" y="f222"/>
                  </a:lnTo>
                  <a:lnTo>
                    <a:pt x="f196" y="f223"/>
                  </a:lnTo>
                  <a:lnTo>
                    <a:pt x="f196" y="f224"/>
                  </a:lnTo>
                  <a:lnTo>
                    <a:pt x="f195" y="f225"/>
                  </a:lnTo>
                  <a:lnTo>
                    <a:pt x="f226" y="f225"/>
                  </a:lnTo>
                  <a:lnTo>
                    <a:pt x="f197" y="f224"/>
                  </a:lnTo>
                  <a:lnTo>
                    <a:pt x="f197" y="f223"/>
                  </a:lnTo>
                  <a:close/>
                  <a:moveTo>
                    <a:pt x="f227" y="f222"/>
                  </a:moveTo>
                  <a:lnTo>
                    <a:pt x="f198" y="f222"/>
                  </a:lnTo>
                  <a:lnTo>
                    <a:pt x="f199" y="f223"/>
                  </a:lnTo>
                  <a:lnTo>
                    <a:pt x="f199" y="f224"/>
                  </a:lnTo>
                  <a:lnTo>
                    <a:pt x="f198" y="f225"/>
                  </a:lnTo>
                  <a:lnTo>
                    <a:pt x="f227" y="f225"/>
                  </a:lnTo>
                  <a:lnTo>
                    <a:pt x="f228" y="f224"/>
                  </a:lnTo>
                  <a:lnTo>
                    <a:pt x="f228" y="f223"/>
                  </a:lnTo>
                  <a:close/>
                  <a:moveTo>
                    <a:pt x="f229" y="f222"/>
                  </a:moveTo>
                  <a:lnTo>
                    <a:pt x="f230" y="f222"/>
                  </a:lnTo>
                  <a:lnTo>
                    <a:pt x="f202" y="f223"/>
                  </a:lnTo>
                  <a:lnTo>
                    <a:pt x="f202" y="f224"/>
                  </a:lnTo>
                  <a:lnTo>
                    <a:pt x="f230" y="f225"/>
                  </a:lnTo>
                  <a:lnTo>
                    <a:pt x="f229" y="f225"/>
                  </a:lnTo>
                  <a:lnTo>
                    <a:pt x="f231" y="f224"/>
                  </a:lnTo>
                  <a:lnTo>
                    <a:pt x="f231" y="f223"/>
                  </a:lnTo>
                  <a:close/>
                  <a:moveTo>
                    <a:pt x="f232" y="f222"/>
                  </a:moveTo>
                  <a:lnTo>
                    <a:pt x="f233" y="f222"/>
                  </a:lnTo>
                  <a:lnTo>
                    <a:pt x="f234" y="f223"/>
                  </a:lnTo>
                  <a:lnTo>
                    <a:pt x="f234" y="f224"/>
                  </a:lnTo>
                  <a:lnTo>
                    <a:pt x="f233" y="f225"/>
                  </a:lnTo>
                  <a:lnTo>
                    <a:pt x="f232" y="f225"/>
                  </a:lnTo>
                  <a:lnTo>
                    <a:pt x="f206" y="f224"/>
                  </a:lnTo>
                  <a:lnTo>
                    <a:pt x="f206" y="f223"/>
                  </a:lnTo>
                  <a:close/>
                  <a:moveTo>
                    <a:pt x="f181" y="f235"/>
                  </a:moveTo>
                  <a:lnTo>
                    <a:pt x="f182" y="f235"/>
                  </a:lnTo>
                  <a:lnTo>
                    <a:pt x="f208" y="f236"/>
                  </a:lnTo>
                  <a:lnTo>
                    <a:pt x="f208" y="f237"/>
                  </a:lnTo>
                  <a:lnTo>
                    <a:pt x="f182" y="f238"/>
                  </a:lnTo>
                  <a:lnTo>
                    <a:pt x="f181" y="f238"/>
                  </a:lnTo>
                  <a:lnTo>
                    <a:pt x="f184" y="f237"/>
                  </a:lnTo>
                  <a:lnTo>
                    <a:pt x="f184" y="f236"/>
                  </a:lnTo>
                  <a:close/>
                  <a:moveTo>
                    <a:pt x="f239" y="f235"/>
                  </a:moveTo>
                  <a:lnTo>
                    <a:pt x="f212" y="f235"/>
                  </a:lnTo>
                  <a:lnTo>
                    <a:pt x="f185" y="f236"/>
                  </a:lnTo>
                  <a:lnTo>
                    <a:pt x="f185" y="f237"/>
                  </a:lnTo>
                  <a:lnTo>
                    <a:pt x="f212" y="f238"/>
                  </a:lnTo>
                  <a:lnTo>
                    <a:pt x="f239" y="f238"/>
                  </a:lnTo>
                  <a:lnTo>
                    <a:pt x="f18" y="f237"/>
                  </a:lnTo>
                  <a:lnTo>
                    <a:pt x="f18" y="f236"/>
                  </a:lnTo>
                  <a:close/>
                  <a:moveTo>
                    <a:pt x="f213" y="f235"/>
                  </a:moveTo>
                  <a:lnTo>
                    <a:pt x="f240" y="f235"/>
                  </a:lnTo>
                  <a:lnTo>
                    <a:pt x="f241" y="f236"/>
                  </a:lnTo>
                  <a:lnTo>
                    <a:pt x="f241" y="f237"/>
                  </a:lnTo>
                  <a:lnTo>
                    <a:pt x="f240" y="f238"/>
                  </a:lnTo>
                  <a:lnTo>
                    <a:pt x="f213" y="f238"/>
                  </a:lnTo>
                  <a:lnTo>
                    <a:pt x="f242" y="f237"/>
                  </a:lnTo>
                  <a:lnTo>
                    <a:pt x="f242" y="f236"/>
                  </a:lnTo>
                  <a:close/>
                  <a:moveTo>
                    <a:pt x="f215" y="f235"/>
                  </a:moveTo>
                  <a:lnTo>
                    <a:pt x="f243" y="f235"/>
                  </a:lnTo>
                  <a:lnTo>
                    <a:pt x="f244" y="f236"/>
                  </a:lnTo>
                  <a:lnTo>
                    <a:pt x="f244" y="f237"/>
                  </a:lnTo>
                  <a:lnTo>
                    <a:pt x="f243" y="f238"/>
                  </a:lnTo>
                  <a:lnTo>
                    <a:pt x="f215" y="f238"/>
                  </a:lnTo>
                  <a:lnTo>
                    <a:pt x="f245" y="f237"/>
                  </a:lnTo>
                  <a:lnTo>
                    <a:pt x="f245" y="f236"/>
                  </a:lnTo>
                  <a:close/>
                  <a:moveTo>
                    <a:pt x="f246" y="f235"/>
                  </a:moveTo>
                  <a:lnTo>
                    <a:pt x="f247" y="f235"/>
                  </a:lnTo>
                  <a:lnTo>
                    <a:pt x="f218" y="f236"/>
                  </a:lnTo>
                  <a:lnTo>
                    <a:pt x="f218" y="f237"/>
                  </a:lnTo>
                  <a:lnTo>
                    <a:pt x="f247" y="f238"/>
                  </a:lnTo>
                  <a:lnTo>
                    <a:pt x="f246" y="f238"/>
                  </a:lnTo>
                  <a:lnTo>
                    <a:pt x="f219" y="f237"/>
                  </a:lnTo>
                  <a:lnTo>
                    <a:pt x="f219" y="f236"/>
                  </a:lnTo>
                  <a:close/>
                  <a:moveTo>
                    <a:pt x="f248" y="f235"/>
                  </a:moveTo>
                  <a:lnTo>
                    <a:pt x="f249" y="f235"/>
                  </a:lnTo>
                  <a:lnTo>
                    <a:pt x="f250" y="f236"/>
                  </a:lnTo>
                  <a:lnTo>
                    <a:pt x="f250" y="f237"/>
                  </a:lnTo>
                  <a:lnTo>
                    <a:pt x="f249" y="f238"/>
                  </a:lnTo>
                  <a:lnTo>
                    <a:pt x="f248" y="f238"/>
                  </a:lnTo>
                  <a:lnTo>
                    <a:pt x="f251" y="f237"/>
                  </a:lnTo>
                  <a:lnTo>
                    <a:pt x="f251" y="f236"/>
                  </a:lnTo>
                  <a:close/>
                  <a:moveTo>
                    <a:pt x="f35" y="f252"/>
                  </a:moveTo>
                  <a:lnTo>
                    <a:pt x="f37" y="f252"/>
                  </a:lnTo>
                  <a:lnTo>
                    <a:pt x="f6" y="f253"/>
                  </a:lnTo>
                  <a:lnTo>
                    <a:pt x="f6" y="f254"/>
                  </a:lnTo>
                  <a:lnTo>
                    <a:pt x="f37" y="f255"/>
                  </a:lnTo>
                  <a:lnTo>
                    <a:pt x="f35" y="f255"/>
                  </a:lnTo>
                  <a:lnTo>
                    <a:pt x="f41" y="f254"/>
                  </a:lnTo>
                  <a:lnTo>
                    <a:pt x="f41" y="f253"/>
                  </a:lnTo>
                  <a:close/>
                  <a:moveTo>
                    <a:pt x="f42" y="f252"/>
                  </a:moveTo>
                  <a:lnTo>
                    <a:pt x="f43" y="f252"/>
                  </a:lnTo>
                  <a:lnTo>
                    <a:pt x="f44" y="f253"/>
                  </a:lnTo>
                  <a:lnTo>
                    <a:pt x="f44" y="f254"/>
                  </a:lnTo>
                  <a:lnTo>
                    <a:pt x="f43" y="f255"/>
                  </a:lnTo>
                  <a:lnTo>
                    <a:pt x="f42" y="f255"/>
                  </a:lnTo>
                  <a:lnTo>
                    <a:pt x="f45" y="f254"/>
                  </a:lnTo>
                  <a:lnTo>
                    <a:pt x="f45" y="f253"/>
                  </a:lnTo>
                  <a:close/>
                  <a:moveTo>
                    <a:pt x="f46" y="f252"/>
                  </a:moveTo>
                  <a:lnTo>
                    <a:pt x="f47" y="f252"/>
                  </a:lnTo>
                  <a:lnTo>
                    <a:pt x="f48" y="f253"/>
                  </a:lnTo>
                  <a:lnTo>
                    <a:pt x="f48" y="f254"/>
                  </a:lnTo>
                  <a:lnTo>
                    <a:pt x="f47" y="f255"/>
                  </a:lnTo>
                  <a:lnTo>
                    <a:pt x="f46" y="f255"/>
                  </a:lnTo>
                  <a:lnTo>
                    <a:pt x="f49" y="f254"/>
                  </a:lnTo>
                  <a:lnTo>
                    <a:pt x="f49" y="f253"/>
                  </a:lnTo>
                  <a:close/>
                  <a:moveTo>
                    <a:pt x="f50" y="f252"/>
                  </a:moveTo>
                  <a:lnTo>
                    <a:pt x="f51" y="f252"/>
                  </a:lnTo>
                  <a:lnTo>
                    <a:pt x="f52" y="f253"/>
                  </a:lnTo>
                  <a:lnTo>
                    <a:pt x="f52" y="f254"/>
                  </a:lnTo>
                  <a:lnTo>
                    <a:pt x="f51" y="f255"/>
                  </a:lnTo>
                  <a:lnTo>
                    <a:pt x="f50" y="f255"/>
                  </a:lnTo>
                  <a:lnTo>
                    <a:pt x="f53" y="f254"/>
                  </a:lnTo>
                  <a:lnTo>
                    <a:pt x="f53" y="f253"/>
                  </a:lnTo>
                  <a:close/>
                  <a:moveTo>
                    <a:pt x="f54" y="f252"/>
                  </a:moveTo>
                  <a:lnTo>
                    <a:pt x="f55" y="f252"/>
                  </a:lnTo>
                  <a:lnTo>
                    <a:pt x="f56" y="f253"/>
                  </a:lnTo>
                  <a:lnTo>
                    <a:pt x="f56" y="f254"/>
                  </a:lnTo>
                  <a:lnTo>
                    <a:pt x="f55" y="f255"/>
                  </a:lnTo>
                  <a:lnTo>
                    <a:pt x="f54" y="f255"/>
                  </a:lnTo>
                  <a:lnTo>
                    <a:pt x="f57" y="f254"/>
                  </a:lnTo>
                  <a:lnTo>
                    <a:pt x="f57" y="f253"/>
                  </a:lnTo>
                  <a:close/>
                  <a:moveTo>
                    <a:pt x="f58" y="f252"/>
                  </a:moveTo>
                  <a:lnTo>
                    <a:pt x="f59" y="f252"/>
                  </a:lnTo>
                  <a:lnTo>
                    <a:pt x="f60" y="f253"/>
                  </a:lnTo>
                  <a:lnTo>
                    <a:pt x="f60" y="f254"/>
                  </a:lnTo>
                  <a:lnTo>
                    <a:pt x="f59" y="f255"/>
                  </a:lnTo>
                  <a:lnTo>
                    <a:pt x="f58" y="f255"/>
                  </a:lnTo>
                  <a:lnTo>
                    <a:pt x="f61" y="f254"/>
                  </a:lnTo>
                  <a:lnTo>
                    <a:pt x="f61" y="f253"/>
                  </a:lnTo>
                  <a:close/>
                  <a:moveTo>
                    <a:pt x="f62" y="f252"/>
                  </a:moveTo>
                  <a:lnTo>
                    <a:pt x="f63" y="f252"/>
                  </a:lnTo>
                  <a:lnTo>
                    <a:pt x="f64" y="f253"/>
                  </a:lnTo>
                  <a:lnTo>
                    <a:pt x="f64" y="f254"/>
                  </a:lnTo>
                  <a:lnTo>
                    <a:pt x="f63" y="f255"/>
                  </a:lnTo>
                  <a:lnTo>
                    <a:pt x="f62" y="f255"/>
                  </a:lnTo>
                  <a:lnTo>
                    <a:pt x="f65" y="f254"/>
                  </a:lnTo>
                  <a:lnTo>
                    <a:pt x="f65" y="f253"/>
                  </a:lnTo>
                  <a:close/>
                  <a:moveTo>
                    <a:pt x="f66" y="f252"/>
                  </a:moveTo>
                  <a:lnTo>
                    <a:pt x="f67" y="f252"/>
                  </a:lnTo>
                  <a:lnTo>
                    <a:pt x="f68" y="f253"/>
                  </a:lnTo>
                  <a:lnTo>
                    <a:pt x="f68" y="f254"/>
                  </a:lnTo>
                  <a:lnTo>
                    <a:pt x="f67" y="f255"/>
                  </a:lnTo>
                  <a:lnTo>
                    <a:pt x="f66" y="f255"/>
                  </a:lnTo>
                  <a:lnTo>
                    <a:pt x="f69" y="f254"/>
                  </a:lnTo>
                  <a:lnTo>
                    <a:pt x="f69" y="f253"/>
                  </a:lnTo>
                  <a:close/>
                  <a:moveTo>
                    <a:pt x="f70" y="f252"/>
                  </a:moveTo>
                  <a:lnTo>
                    <a:pt x="f71" y="f252"/>
                  </a:lnTo>
                  <a:lnTo>
                    <a:pt x="f72" y="f253"/>
                  </a:lnTo>
                  <a:lnTo>
                    <a:pt x="f72" y="f254"/>
                  </a:lnTo>
                  <a:lnTo>
                    <a:pt x="f71" y="f255"/>
                  </a:lnTo>
                  <a:lnTo>
                    <a:pt x="f70" y="f255"/>
                  </a:lnTo>
                  <a:lnTo>
                    <a:pt x="f73" y="f254"/>
                  </a:lnTo>
                  <a:lnTo>
                    <a:pt x="f73" y="f253"/>
                  </a:lnTo>
                  <a:close/>
                  <a:moveTo>
                    <a:pt x="f74" y="f252"/>
                  </a:moveTo>
                  <a:lnTo>
                    <a:pt x="f75" y="f252"/>
                  </a:lnTo>
                  <a:lnTo>
                    <a:pt x="f76" y="f253"/>
                  </a:lnTo>
                  <a:lnTo>
                    <a:pt x="f76" y="f254"/>
                  </a:lnTo>
                  <a:lnTo>
                    <a:pt x="f75" y="f255"/>
                  </a:lnTo>
                  <a:lnTo>
                    <a:pt x="f74" y="f255"/>
                  </a:lnTo>
                  <a:lnTo>
                    <a:pt x="f77" y="f254"/>
                  </a:lnTo>
                  <a:lnTo>
                    <a:pt x="f77" y="f253"/>
                  </a:lnTo>
                  <a:close/>
                  <a:moveTo>
                    <a:pt x="f78" y="f252"/>
                  </a:moveTo>
                  <a:lnTo>
                    <a:pt x="f79" y="f252"/>
                  </a:lnTo>
                  <a:lnTo>
                    <a:pt x="f80" y="f253"/>
                  </a:lnTo>
                  <a:lnTo>
                    <a:pt x="f80" y="f254"/>
                  </a:lnTo>
                  <a:lnTo>
                    <a:pt x="f79" y="f255"/>
                  </a:lnTo>
                  <a:lnTo>
                    <a:pt x="f78" y="f255"/>
                  </a:lnTo>
                  <a:lnTo>
                    <a:pt x="f81" y="f254"/>
                  </a:lnTo>
                  <a:lnTo>
                    <a:pt x="f81" y="f253"/>
                  </a:lnTo>
                  <a:close/>
                  <a:moveTo>
                    <a:pt x="f82" y="f252"/>
                  </a:moveTo>
                  <a:lnTo>
                    <a:pt x="f83" y="f252"/>
                  </a:lnTo>
                  <a:lnTo>
                    <a:pt x="f84" y="f253"/>
                  </a:lnTo>
                  <a:lnTo>
                    <a:pt x="f84" y="f254"/>
                  </a:lnTo>
                  <a:lnTo>
                    <a:pt x="f83" y="f255"/>
                  </a:lnTo>
                  <a:lnTo>
                    <a:pt x="f82" y="f255"/>
                  </a:lnTo>
                  <a:lnTo>
                    <a:pt x="f85" y="f254"/>
                  </a:lnTo>
                  <a:lnTo>
                    <a:pt x="f85" y="f253"/>
                  </a:lnTo>
                  <a:close/>
                  <a:moveTo>
                    <a:pt x="f86" y="f252"/>
                  </a:moveTo>
                  <a:lnTo>
                    <a:pt x="f87" y="f252"/>
                  </a:lnTo>
                  <a:lnTo>
                    <a:pt x="f88" y="f253"/>
                  </a:lnTo>
                  <a:lnTo>
                    <a:pt x="f88" y="f254"/>
                  </a:lnTo>
                  <a:lnTo>
                    <a:pt x="f87" y="f255"/>
                  </a:lnTo>
                  <a:lnTo>
                    <a:pt x="f86" y="f255"/>
                  </a:lnTo>
                  <a:lnTo>
                    <a:pt x="f89" y="f254"/>
                  </a:lnTo>
                  <a:lnTo>
                    <a:pt x="f89" y="f253"/>
                  </a:lnTo>
                  <a:close/>
                  <a:moveTo>
                    <a:pt x="f90" y="f252"/>
                  </a:moveTo>
                  <a:lnTo>
                    <a:pt x="f91" y="f252"/>
                  </a:lnTo>
                  <a:lnTo>
                    <a:pt x="f92" y="f253"/>
                  </a:lnTo>
                  <a:lnTo>
                    <a:pt x="f92" y="f254"/>
                  </a:lnTo>
                  <a:lnTo>
                    <a:pt x="f91" y="f255"/>
                  </a:lnTo>
                  <a:lnTo>
                    <a:pt x="f90" y="f255"/>
                  </a:lnTo>
                  <a:lnTo>
                    <a:pt x="f93" y="f254"/>
                  </a:lnTo>
                  <a:lnTo>
                    <a:pt x="f93" y="f253"/>
                  </a:lnTo>
                  <a:close/>
                  <a:moveTo>
                    <a:pt x="f94" y="f252"/>
                  </a:moveTo>
                  <a:lnTo>
                    <a:pt x="f95" y="f252"/>
                  </a:lnTo>
                  <a:lnTo>
                    <a:pt x="f96" y="f253"/>
                  </a:lnTo>
                  <a:lnTo>
                    <a:pt x="f96" y="f254"/>
                  </a:lnTo>
                  <a:lnTo>
                    <a:pt x="f95" y="f255"/>
                  </a:lnTo>
                  <a:lnTo>
                    <a:pt x="f94" y="f255"/>
                  </a:lnTo>
                  <a:lnTo>
                    <a:pt x="f97" y="f254"/>
                  </a:lnTo>
                  <a:lnTo>
                    <a:pt x="f97" y="f253"/>
                  </a:lnTo>
                  <a:close/>
                  <a:moveTo>
                    <a:pt x="f98" y="f252"/>
                  </a:moveTo>
                  <a:lnTo>
                    <a:pt x="f99" y="f252"/>
                  </a:lnTo>
                  <a:lnTo>
                    <a:pt x="f100" y="f253"/>
                  </a:lnTo>
                  <a:lnTo>
                    <a:pt x="f100" y="f254"/>
                  </a:lnTo>
                  <a:lnTo>
                    <a:pt x="f99" y="f255"/>
                  </a:lnTo>
                  <a:lnTo>
                    <a:pt x="f98" y="f255"/>
                  </a:lnTo>
                  <a:lnTo>
                    <a:pt x="f101" y="f254"/>
                  </a:lnTo>
                  <a:lnTo>
                    <a:pt x="f101" y="f253"/>
                  </a:lnTo>
                  <a:close/>
                  <a:moveTo>
                    <a:pt x="f102" y="f252"/>
                  </a:moveTo>
                  <a:lnTo>
                    <a:pt x="f103" y="f252"/>
                  </a:lnTo>
                  <a:lnTo>
                    <a:pt x="f104" y="f253"/>
                  </a:lnTo>
                  <a:lnTo>
                    <a:pt x="f104" y="f254"/>
                  </a:lnTo>
                  <a:lnTo>
                    <a:pt x="f103" y="f255"/>
                  </a:lnTo>
                  <a:lnTo>
                    <a:pt x="f102" y="f255"/>
                  </a:lnTo>
                  <a:lnTo>
                    <a:pt x="f105" y="f254"/>
                  </a:lnTo>
                  <a:lnTo>
                    <a:pt x="f105" y="f253"/>
                  </a:lnTo>
                  <a:close/>
                  <a:moveTo>
                    <a:pt x="f106" y="f252"/>
                  </a:moveTo>
                  <a:lnTo>
                    <a:pt x="f107" y="f252"/>
                  </a:lnTo>
                  <a:lnTo>
                    <a:pt x="f108" y="f253"/>
                  </a:lnTo>
                  <a:lnTo>
                    <a:pt x="f108" y="f254"/>
                  </a:lnTo>
                  <a:lnTo>
                    <a:pt x="f107" y="f255"/>
                  </a:lnTo>
                  <a:lnTo>
                    <a:pt x="f106" y="f255"/>
                  </a:lnTo>
                  <a:lnTo>
                    <a:pt x="f109" y="f254"/>
                  </a:lnTo>
                  <a:lnTo>
                    <a:pt x="f109" y="f253"/>
                  </a:lnTo>
                  <a:close/>
                  <a:moveTo>
                    <a:pt x="f110" y="f252"/>
                  </a:moveTo>
                  <a:lnTo>
                    <a:pt x="f111" y="f252"/>
                  </a:lnTo>
                  <a:lnTo>
                    <a:pt x="f112" y="f253"/>
                  </a:lnTo>
                  <a:lnTo>
                    <a:pt x="f112" y="f254"/>
                  </a:lnTo>
                  <a:lnTo>
                    <a:pt x="f111" y="f255"/>
                  </a:lnTo>
                  <a:lnTo>
                    <a:pt x="f110" y="f255"/>
                  </a:lnTo>
                  <a:lnTo>
                    <a:pt x="f113" y="f254"/>
                  </a:lnTo>
                  <a:lnTo>
                    <a:pt x="f113" y="f253"/>
                  </a:lnTo>
                  <a:close/>
                  <a:moveTo>
                    <a:pt x="f114" y="f252"/>
                  </a:moveTo>
                  <a:lnTo>
                    <a:pt x="f115" y="f252"/>
                  </a:lnTo>
                  <a:lnTo>
                    <a:pt x="f116" y="f253"/>
                  </a:lnTo>
                  <a:lnTo>
                    <a:pt x="f116" y="f254"/>
                  </a:lnTo>
                  <a:lnTo>
                    <a:pt x="f115" y="f255"/>
                  </a:lnTo>
                  <a:lnTo>
                    <a:pt x="f114" y="f255"/>
                  </a:lnTo>
                  <a:lnTo>
                    <a:pt x="f117" y="f254"/>
                  </a:lnTo>
                  <a:lnTo>
                    <a:pt x="f117" y="f253"/>
                  </a:lnTo>
                  <a:close/>
                  <a:moveTo>
                    <a:pt x="f118" y="f252"/>
                  </a:moveTo>
                  <a:lnTo>
                    <a:pt x="f119" y="f252"/>
                  </a:lnTo>
                  <a:lnTo>
                    <a:pt x="f120" y="f253"/>
                  </a:lnTo>
                  <a:lnTo>
                    <a:pt x="f120" y="f254"/>
                  </a:lnTo>
                  <a:lnTo>
                    <a:pt x="f119" y="f255"/>
                  </a:lnTo>
                  <a:lnTo>
                    <a:pt x="f118" y="f255"/>
                  </a:lnTo>
                  <a:lnTo>
                    <a:pt x="f121" y="f254"/>
                  </a:lnTo>
                  <a:lnTo>
                    <a:pt x="f121" y="f253"/>
                  </a:lnTo>
                  <a:close/>
                  <a:moveTo>
                    <a:pt x="f122" y="f252"/>
                  </a:moveTo>
                  <a:lnTo>
                    <a:pt x="f123" y="f252"/>
                  </a:lnTo>
                  <a:lnTo>
                    <a:pt x="f124" y="f253"/>
                  </a:lnTo>
                  <a:lnTo>
                    <a:pt x="f124" y="f254"/>
                  </a:lnTo>
                  <a:lnTo>
                    <a:pt x="f123" y="f255"/>
                  </a:lnTo>
                  <a:lnTo>
                    <a:pt x="f122" y="f255"/>
                  </a:lnTo>
                  <a:lnTo>
                    <a:pt x="f125" y="f254"/>
                  </a:lnTo>
                  <a:lnTo>
                    <a:pt x="f125" y="f253"/>
                  </a:lnTo>
                  <a:close/>
                  <a:moveTo>
                    <a:pt x="f126" y="f252"/>
                  </a:moveTo>
                  <a:lnTo>
                    <a:pt x="f127" y="f252"/>
                  </a:lnTo>
                  <a:lnTo>
                    <a:pt x="f128" y="f253"/>
                  </a:lnTo>
                  <a:lnTo>
                    <a:pt x="f128" y="f254"/>
                  </a:lnTo>
                  <a:lnTo>
                    <a:pt x="f127" y="f255"/>
                  </a:lnTo>
                  <a:lnTo>
                    <a:pt x="f126" y="f255"/>
                  </a:lnTo>
                  <a:lnTo>
                    <a:pt x="f129" y="f254"/>
                  </a:lnTo>
                  <a:lnTo>
                    <a:pt x="f129" y="f253"/>
                  </a:lnTo>
                  <a:close/>
                  <a:moveTo>
                    <a:pt x="f130" y="f252"/>
                  </a:moveTo>
                  <a:lnTo>
                    <a:pt x="f131" y="f252"/>
                  </a:lnTo>
                  <a:lnTo>
                    <a:pt x="f132" y="f253"/>
                  </a:lnTo>
                  <a:lnTo>
                    <a:pt x="f132" y="f254"/>
                  </a:lnTo>
                  <a:lnTo>
                    <a:pt x="f131" y="f255"/>
                  </a:lnTo>
                  <a:lnTo>
                    <a:pt x="f130" y="f255"/>
                  </a:lnTo>
                  <a:lnTo>
                    <a:pt x="f133" y="f254"/>
                  </a:lnTo>
                  <a:lnTo>
                    <a:pt x="f133" y="f253"/>
                  </a:lnTo>
                  <a:close/>
                  <a:moveTo>
                    <a:pt x="f134" y="f252"/>
                  </a:moveTo>
                  <a:lnTo>
                    <a:pt x="f135" y="f252"/>
                  </a:lnTo>
                  <a:lnTo>
                    <a:pt x="f136" y="f253"/>
                  </a:lnTo>
                  <a:lnTo>
                    <a:pt x="f136" y="f254"/>
                  </a:lnTo>
                  <a:lnTo>
                    <a:pt x="f135" y="f255"/>
                  </a:lnTo>
                  <a:lnTo>
                    <a:pt x="f134" y="f255"/>
                  </a:lnTo>
                  <a:lnTo>
                    <a:pt x="f137" y="f254"/>
                  </a:lnTo>
                  <a:lnTo>
                    <a:pt x="f137" y="f253"/>
                  </a:lnTo>
                  <a:close/>
                  <a:moveTo>
                    <a:pt x="f138" y="f252"/>
                  </a:moveTo>
                  <a:lnTo>
                    <a:pt x="f139" y="f252"/>
                  </a:lnTo>
                  <a:lnTo>
                    <a:pt x="f140" y="f253"/>
                  </a:lnTo>
                  <a:lnTo>
                    <a:pt x="f140" y="f254"/>
                  </a:lnTo>
                  <a:lnTo>
                    <a:pt x="f139" y="f255"/>
                  </a:lnTo>
                  <a:lnTo>
                    <a:pt x="f138" y="f255"/>
                  </a:lnTo>
                  <a:lnTo>
                    <a:pt x="f141" y="f254"/>
                  </a:lnTo>
                  <a:lnTo>
                    <a:pt x="f141" y="f253"/>
                  </a:lnTo>
                  <a:close/>
                  <a:moveTo>
                    <a:pt x="f142" y="f252"/>
                  </a:moveTo>
                  <a:lnTo>
                    <a:pt x="f143" y="f252"/>
                  </a:lnTo>
                  <a:lnTo>
                    <a:pt x="f144" y="f253"/>
                  </a:lnTo>
                  <a:lnTo>
                    <a:pt x="f144" y="f254"/>
                  </a:lnTo>
                  <a:lnTo>
                    <a:pt x="f143" y="f255"/>
                  </a:lnTo>
                  <a:lnTo>
                    <a:pt x="f142" y="f255"/>
                  </a:lnTo>
                  <a:lnTo>
                    <a:pt x="f145" y="f254"/>
                  </a:lnTo>
                  <a:lnTo>
                    <a:pt x="f145" y="f253"/>
                  </a:lnTo>
                  <a:close/>
                  <a:moveTo>
                    <a:pt x="f146" y="f252"/>
                  </a:moveTo>
                  <a:lnTo>
                    <a:pt x="f147" y="f252"/>
                  </a:lnTo>
                  <a:lnTo>
                    <a:pt x="f148" y="f253"/>
                  </a:lnTo>
                  <a:lnTo>
                    <a:pt x="f148" y="f254"/>
                  </a:lnTo>
                  <a:lnTo>
                    <a:pt x="f147" y="f255"/>
                  </a:lnTo>
                  <a:lnTo>
                    <a:pt x="f146" y="f255"/>
                  </a:lnTo>
                  <a:lnTo>
                    <a:pt x="f149" y="f254"/>
                  </a:lnTo>
                  <a:lnTo>
                    <a:pt x="f149" y="f253"/>
                  </a:lnTo>
                  <a:close/>
                  <a:moveTo>
                    <a:pt x="f150" y="f252"/>
                  </a:moveTo>
                  <a:lnTo>
                    <a:pt x="f151" y="f252"/>
                  </a:lnTo>
                  <a:lnTo>
                    <a:pt x="f152" y="f253"/>
                  </a:lnTo>
                  <a:lnTo>
                    <a:pt x="f152" y="f254"/>
                  </a:lnTo>
                  <a:lnTo>
                    <a:pt x="f151" y="f255"/>
                  </a:lnTo>
                  <a:lnTo>
                    <a:pt x="f150" y="f255"/>
                  </a:lnTo>
                  <a:lnTo>
                    <a:pt x="f153" y="f254"/>
                  </a:lnTo>
                  <a:lnTo>
                    <a:pt x="f153" y="f253"/>
                  </a:lnTo>
                  <a:close/>
                  <a:moveTo>
                    <a:pt x="f154" y="f252"/>
                  </a:moveTo>
                  <a:lnTo>
                    <a:pt x="f155" y="f252"/>
                  </a:lnTo>
                  <a:lnTo>
                    <a:pt x="f156" y="f253"/>
                  </a:lnTo>
                  <a:lnTo>
                    <a:pt x="f156" y="f254"/>
                  </a:lnTo>
                  <a:lnTo>
                    <a:pt x="f155" y="f255"/>
                  </a:lnTo>
                  <a:lnTo>
                    <a:pt x="f154" y="f255"/>
                  </a:lnTo>
                  <a:lnTo>
                    <a:pt x="f157" y="f254"/>
                  </a:lnTo>
                  <a:lnTo>
                    <a:pt x="f157" y="f253"/>
                  </a:lnTo>
                  <a:close/>
                  <a:moveTo>
                    <a:pt x="f158" y="f252"/>
                  </a:moveTo>
                  <a:lnTo>
                    <a:pt x="f159" y="f252"/>
                  </a:lnTo>
                  <a:lnTo>
                    <a:pt x="f160" y="f253"/>
                  </a:lnTo>
                  <a:lnTo>
                    <a:pt x="f160" y="f254"/>
                  </a:lnTo>
                  <a:lnTo>
                    <a:pt x="f159" y="f255"/>
                  </a:lnTo>
                  <a:lnTo>
                    <a:pt x="f158" y="f255"/>
                  </a:lnTo>
                  <a:lnTo>
                    <a:pt x="f161" y="f254"/>
                  </a:lnTo>
                  <a:lnTo>
                    <a:pt x="f161" y="f253"/>
                  </a:lnTo>
                  <a:close/>
                  <a:moveTo>
                    <a:pt x="f226" y="f252"/>
                  </a:moveTo>
                  <a:lnTo>
                    <a:pt x="f256" y="f252"/>
                  </a:lnTo>
                  <a:lnTo>
                    <a:pt x="f257" y="f253"/>
                  </a:lnTo>
                  <a:lnTo>
                    <a:pt x="f257" y="f254"/>
                  </a:lnTo>
                  <a:lnTo>
                    <a:pt x="f256" y="f255"/>
                  </a:lnTo>
                  <a:lnTo>
                    <a:pt x="f226" y="f255"/>
                  </a:lnTo>
                  <a:lnTo>
                    <a:pt x="f258" y="f254"/>
                  </a:lnTo>
                  <a:lnTo>
                    <a:pt x="f258" y="f253"/>
                  </a:lnTo>
                  <a:close/>
                  <a:moveTo>
                    <a:pt x="f259" y="f252"/>
                  </a:moveTo>
                  <a:lnTo>
                    <a:pt x="f260" y="f252"/>
                  </a:lnTo>
                  <a:lnTo>
                    <a:pt x="f261" y="f253"/>
                  </a:lnTo>
                  <a:lnTo>
                    <a:pt x="f261" y="f254"/>
                  </a:lnTo>
                  <a:lnTo>
                    <a:pt x="f260" y="f255"/>
                  </a:lnTo>
                  <a:lnTo>
                    <a:pt x="f259" y="f255"/>
                  </a:lnTo>
                  <a:lnTo>
                    <a:pt x="f262" y="f254"/>
                  </a:lnTo>
                  <a:lnTo>
                    <a:pt x="f262" y="f253"/>
                  </a:lnTo>
                  <a:close/>
                  <a:moveTo>
                    <a:pt x="f229" y="f252"/>
                  </a:moveTo>
                  <a:lnTo>
                    <a:pt x="f263" y="f252"/>
                  </a:lnTo>
                  <a:lnTo>
                    <a:pt x="f264" y="f253"/>
                  </a:lnTo>
                  <a:lnTo>
                    <a:pt x="f264" y="f254"/>
                  </a:lnTo>
                  <a:lnTo>
                    <a:pt x="f263" y="f255"/>
                  </a:lnTo>
                  <a:lnTo>
                    <a:pt x="f229" y="f255"/>
                  </a:lnTo>
                  <a:lnTo>
                    <a:pt x="f231" y="f254"/>
                  </a:lnTo>
                  <a:lnTo>
                    <a:pt x="f231" y="f253"/>
                  </a:lnTo>
                  <a:close/>
                  <a:moveTo>
                    <a:pt x="f232" y="f252"/>
                  </a:moveTo>
                  <a:lnTo>
                    <a:pt x="f265" y="f252"/>
                  </a:lnTo>
                  <a:lnTo>
                    <a:pt x="f234" y="f253"/>
                  </a:lnTo>
                  <a:lnTo>
                    <a:pt x="f234" y="f254"/>
                  </a:lnTo>
                  <a:lnTo>
                    <a:pt x="f265" y="f255"/>
                  </a:lnTo>
                  <a:lnTo>
                    <a:pt x="f232" y="f255"/>
                  </a:lnTo>
                  <a:lnTo>
                    <a:pt x="f266" y="f254"/>
                  </a:lnTo>
                  <a:lnTo>
                    <a:pt x="f266" y="f253"/>
                  </a:lnTo>
                  <a:close/>
                  <a:moveTo>
                    <a:pt x="f35" y="f267"/>
                  </a:moveTo>
                  <a:lnTo>
                    <a:pt x="f37" y="f267"/>
                  </a:lnTo>
                  <a:lnTo>
                    <a:pt x="f6" y="f268"/>
                  </a:lnTo>
                  <a:lnTo>
                    <a:pt x="f6" y="f269"/>
                  </a:lnTo>
                  <a:lnTo>
                    <a:pt x="f37" y="f270"/>
                  </a:lnTo>
                  <a:lnTo>
                    <a:pt x="f35" y="f270"/>
                  </a:lnTo>
                  <a:lnTo>
                    <a:pt x="f41" y="f269"/>
                  </a:lnTo>
                  <a:lnTo>
                    <a:pt x="f41" y="f268"/>
                  </a:lnTo>
                  <a:close/>
                  <a:moveTo>
                    <a:pt x="f42" y="f267"/>
                  </a:moveTo>
                  <a:lnTo>
                    <a:pt x="f43" y="f267"/>
                  </a:lnTo>
                  <a:lnTo>
                    <a:pt x="f44" y="f268"/>
                  </a:lnTo>
                  <a:lnTo>
                    <a:pt x="f44" y="f269"/>
                  </a:lnTo>
                  <a:lnTo>
                    <a:pt x="f43" y="f270"/>
                  </a:lnTo>
                  <a:lnTo>
                    <a:pt x="f42" y="f270"/>
                  </a:lnTo>
                  <a:lnTo>
                    <a:pt x="f45" y="f269"/>
                  </a:lnTo>
                  <a:lnTo>
                    <a:pt x="f45" y="f268"/>
                  </a:lnTo>
                  <a:close/>
                  <a:moveTo>
                    <a:pt x="f46" y="f267"/>
                  </a:moveTo>
                  <a:lnTo>
                    <a:pt x="f47" y="f267"/>
                  </a:lnTo>
                  <a:lnTo>
                    <a:pt x="f48" y="f268"/>
                  </a:lnTo>
                  <a:lnTo>
                    <a:pt x="f48" y="f269"/>
                  </a:lnTo>
                  <a:lnTo>
                    <a:pt x="f47" y="f270"/>
                  </a:lnTo>
                  <a:lnTo>
                    <a:pt x="f46" y="f270"/>
                  </a:lnTo>
                  <a:lnTo>
                    <a:pt x="f49" y="f269"/>
                  </a:lnTo>
                  <a:lnTo>
                    <a:pt x="f49" y="f268"/>
                  </a:lnTo>
                  <a:close/>
                  <a:moveTo>
                    <a:pt x="f50" y="f267"/>
                  </a:moveTo>
                  <a:lnTo>
                    <a:pt x="f51" y="f267"/>
                  </a:lnTo>
                  <a:lnTo>
                    <a:pt x="f52" y="f268"/>
                  </a:lnTo>
                  <a:lnTo>
                    <a:pt x="f52" y="f269"/>
                  </a:lnTo>
                  <a:lnTo>
                    <a:pt x="f51" y="f270"/>
                  </a:lnTo>
                  <a:lnTo>
                    <a:pt x="f50" y="f270"/>
                  </a:lnTo>
                  <a:lnTo>
                    <a:pt x="f53" y="f269"/>
                  </a:lnTo>
                  <a:lnTo>
                    <a:pt x="f53" y="f268"/>
                  </a:lnTo>
                  <a:close/>
                  <a:moveTo>
                    <a:pt x="f54" y="f267"/>
                  </a:moveTo>
                  <a:lnTo>
                    <a:pt x="f55" y="f267"/>
                  </a:lnTo>
                  <a:lnTo>
                    <a:pt x="f56" y="f268"/>
                  </a:lnTo>
                  <a:lnTo>
                    <a:pt x="f56" y="f269"/>
                  </a:lnTo>
                  <a:lnTo>
                    <a:pt x="f55" y="f270"/>
                  </a:lnTo>
                  <a:lnTo>
                    <a:pt x="f54" y="f270"/>
                  </a:lnTo>
                  <a:lnTo>
                    <a:pt x="f57" y="f269"/>
                  </a:lnTo>
                  <a:lnTo>
                    <a:pt x="f57" y="f268"/>
                  </a:lnTo>
                  <a:close/>
                  <a:moveTo>
                    <a:pt x="f58" y="f267"/>
                  </a:moveTo>
                  <a:lnTo>
                    <a:pt x="f59" y="f267"/>
                  </a:lnTo>
                  <a:lnTo>
                    <a:pt x="f60" y="f268"/>
                  </a:lnTo>
                  <a:lnTo>
                    <a:pt x="f60" y="f269"/>
                  </a:lnTo>
                  <a:lnTo>
                    <a:pt x="f59" y="f270"/>
                  </a:lnTo>
                  <a:lnTo>
                    <a:pt x="f58" y="f270"/>
                  </a:lnTo>
                  <a:lnTo>
                    <a:pt x="f61" y="f269"/>
                  </a:lnTo>
                  <a:lnTo>
                    <a:pt x="f61" y="f268"/>
                  </a:lnTo>
                  <a:close/>
                  <a:moveTo>
                    <a:pt x="f62" y="f267"/>
                  </a:moveTo>
                  <a:lnTo>
                    <a:pt x="f63" y="f267"/>
                  </a:lnTo>
                  <a:lnTo>
                    <a:pt x="f64" y="f268"/>
                  </a:lnTo>
                  <a:lnTo>
                    <a:pt x="f64" y="f269"/>
                  </a:lnTo>
                  <a:lnTo>
                    <a:pt x="f63" y="f270"/>
                  </a:lnTo>
                  <a:lnTo>
                    <a:pt x="f62" y="f270"/>
                  </a:lnTo>
                  <a:lnTo>
                    <a:pt x="f65" y="f269"/>
                  </a:lnTo>
                  <a:lnTo>
                    <a:pt x="f65" y="f268"/>
                  </a:lnTo>
                  <a:close/>
                  <a:moveTo>
                    <a:pt x="f66" y="f267"/>
                  </a:moveTo>
                  <a:lnTo>
                    <a:pt x="f67" y="f267"/>
                  </a:lnTo>
                  <a:lnTo>
                    <a:pt x="f68" y="f268"/>
                  </a:lnTo>
                  <a:lnTo>
                    <a:pt x="f68" y="f269"/>
                  </a:lnTo>
                  <a:lnTo>
                    <a:pt x="f67" y="f270"/>
                  </a:lnTo>
                  <a:lnTo>
                    <a:pt x="f66" y="f270"/>
                  </a:lnTo>
                  <a:lnTo>
                    <a:pt x="f69" y="f269"/>
                  </a:lnTo>
                  <a:lnTo>
                    <a:pt x="f69" y="f268"/>
                  </a:lnTo>
                  <a:close/>
                  <a:moveTo>
                    <a:pt x="f70" y="f267"/>
                  </a:moveTo>
                  <a:lnTo>
                    <a:pt x="f71" y="f267"/>
                  </a:lnTo>
                  <a:lnTo>
                    <a:pt x="f72" y="f268"/>
                  </a:lnTo>
                  <a:lnTo>
                    <a:pt x="f72" y="f269"/>
                  </a:lnTo>
                  <a:lnTo>
                    <a:pt x="f71" y="f270"/>
                  </a:lnTo>
                  <a:lnTo>
                    <a:pt x="f70" y="f270"/>
                  </a:lnTo>
                  <a:lnTo>
                    <a:pt x="f73" y="f269"/>
                  </a:lnTo>
                  <a:lnTo>
                    <a:pt x="f73" y="f268"/>
                  </a:lnTo>
                  <a:close/>
                  <a:moveTo>
                    <a:pt x="f74" y="f267"/>
                  </a:moveTo>
                  <a:lnTo>
                    <a:pt x="f75" y="f267"/>
                  </a:lnTo>
                  <a:lnTo>
                    <a:pt x="f76" y="f268"/>
                  </a:lnTo>
                  <a:lnTo>
                    <a:pt x="f76" y="f269"/>
                  </a:lnTo>
                  <a:lnTo>
                    <a:pt x="f75" y="f270"/>
                  </a:lnTo>
                  <a:lnTo>
                    <a:pt x="f74" y="f270"/>
                  </a:lnTo>
                  <a:lnTo>
                    <a:pt x="f77" y="f269"/>
                  </a:lnTo>
                  <a:lnTo>
                    <a:pt x="f77" y="f268"/>
                  </a:lnTo>
                  <a:close/>
                  <a:moveTo>
                    <a:pt x="f78" y="f267"/>
                  </a:moveTo>
                  <a:lnTo>
                    <a:pt x="f79" y="f267"/>
                  </a:lnTo>
                  <a:lnTo>
                    <a:pt x="f80" y="f268"/>
                  </a:lnTo>
                  <a:lnTo>
                    <a:pt x="f80" y="f269"/>
                  </a:lnTo>
                  <a:lnTo>
                    <a:pt x="f79" y="f270"/>
                  </a:lnTo>
                  <a:lnTo>
                    <a:pt x="f78" y="f270"/>
                  </a:lnTo>
                  <a:lnTo>
                    <a:pt x="f81" y="f269"/>
                  </a:lnTo>
                  <a:lnTo>
                    <a:pt x="f81" y="f268"/>
                  </a:lnTo>
                  <a:close/>
                  <a:moveTo>
                    <a:pt x="f82" y="f267"/>
                  </a:moveTo>
                  <a:lnTo>
                    <a:pt x="f83" y="f267"/>
                  </a:lnTo>
                  <a:lnTo>
                    <a:pt x="f84" y="f268"/>
                  </a:lnTo>
                  <a:lnTo>
                    <a:pt x="f84" y="f269"/>
                  </a:lnTo>
                  <a:lnTo>
                    <a:pt x="f83" y="f270"/>
                  </a:lnTo>
                  <a:lnTo>
                    <a:pt x="f82" y="f270"/>
                  </a:lnTo>
                  <a:lnTo>
                    <a:pt x="f85" y="f269"/>
                  </a:lnTo>
                  <a:lnTo>
                    <a:pt x="f85" y="f268"/>
                  </a:lnTo>
                  <a:close/>
                  <a:moveTo>
                    <a:pt x="f86" y="f267"/>
                  </a:moveTo>
                  <a:lnTo>
                    <a:pt x="f87" y="f267"/>
                  </a:lnTo>
                  <a:lnTo>
                    <a:pt x="f88" y="f268"/>
                  </a:lnTo>
                  <a:lnTo>
                    <a:pt x="f88" y="f269"/>
                  </a:lnTo>
                  <a:lnTo>
                    <a:pt x="f87" y="f270"/>
                  </a:lnTo>
                  <a:lnTo>
                    <a:pt x="f86" y="f270"/>
                  </a:lnTo>
                  <a:lnTo>
                    <a:pt x="f89" y="f269"/>
                  </a:lnTo>
                  <a:lnTo>
                    <a:pt x="f89" y="f268"/>
                  </a:lnTo>
                  <a:close/>
                  <a:moveTo>
                    <a:pt x="f90" y="f267"/>
                  </a:moveTo>
                  <a:lnTo>
                    <a:pt x="f91" y="f267"/>
                  </a:lnTo>
                  <a:lnTo>
                    <a:pt x="f92" y="f268"/>
                  </a:lnTo>
                  <a:lnTo>
                    <a:pt x="f92" y="f269"/>
                  </a:lnTo>
                  <a:lnTo>
                    <a:pt x="f91" y="f270"/>
                  </a:lnTo>
                  <a:lnTo>
                    <a:pt x="f90" y="f270"/>
                  </a:lnTo>
                  <a:lnTo>
                    <a:pt x="f93" y="f269"/>
                  </a:lnTo>
                  <a:lnTo>
                    <a:pt x="f93" y="f268"/>
                  </a:lnTo>
                  <a:close/>
                  <a:moveTo>
                    <a:pt x="f94" y="f267"/>
                  </a:moveTo>
                  <a:lnTo>
                    <a:pt x="f95" y="f267"/>
                  </a:lnTo>
                  <a:lnTo>
                    <a:pt x="f96" y="f268"/>
                  </a:lnTo>
                  <a:lnTo>
                    <a:pt x="f96" y="f269"/>
                  </a:lnTo>
                  <a:lnTo>
                    <a:pt x="f95" y="f270"/>
                  </a:lnTo>
                  <a:lnTo>
                    <a:pt x="f94" y="f270"/>
                  </a:lnTo>
                  <a:lnTo>
                    <a:pt x="f97" y="f269"/>
                  </a:lnTo>
                  <a:lnTo>
                    <a:pt x="f97" y="f268"/>
                  </a:lnTo>
                  <a:close/>
                  <a:moveTo>
                    <a:pt x="f98" y="f267"/>
                  </a:moveTo>
                  <a:lnTo>
                    <a:pt x="f99" y="f267"/>
                  </a:lnTo>
                  <a:lnTo>
                    <a:pt x="f100" y="f268"/>
                  </a:lnTo>
                  <a:lnTo>
                    <a:pt x="f100" y="f269"/>
                  </a:lnTo>
                  <a:lnTo>
                    <a:pt x="f99" y="f270"/>
                  </a:lnTo>
                  <a:lnTo>
                    <a:pt x="f98" y="f270"/>
                  </a:lnTo>
                  <a:lnTo>
                    <a:pt x="f101" y="f269"/>
                  </a:lnTo>
                  <a:lnTo>
                    <a:pt x="f101" y="f268"/>
                  </a:lnTo>
                  <a:close/>
                  <a:moveTo>
                    <a:pt x="f102" y="f267"/>
                  </a:moveTo>
                  <a:lnTo>
                    <a:pt x="f103" y="f267"/>
                  </a:lnTo>
                  <a:lnTo>
                    <a:pt x="f104" y="f268"/>
                  </a:lnTo>
                  <a:lnTo>
                    <a:pt x="f104" y="f269"/>
                  </a:lnTo>
                  <a:lnTo>
                    <a:pt x="f103" y="f270"/>
                  </a:lnTo>
                  <a:lnTo>
                    <a:pt x="f102" y="f270"/>
                  </a:lnTo>
                  <a:lnTo>
                    <a:pt x="f105" y="f269"/>
                  </a:lnTo>
                  <a:lnTo>
                    <a:pt x="f105" y="f268"/>
                  </a:lnTo>
                  <a:close/>
                  <a:moveTo>
                    <a:pt x="f106" y="f267"/>
                  </a:moveTo>
                  <a:lnTo>
                    <a:pt x="f107" y="f267"/>
                  </a:lnTo>
                  <a:lnTo>
                    <a:pt x="f108" y="f268"/>
                  </a:lnTo>
                  <a:lnTo>
                    <a:pt x="f108" y="f269"/>
                  </a:lnTo>
                  <a:lnTo>
                    <a:pt x="f107" y="f270"/>
                  </a:lnTo>
                  <a:lnTo>
                    <a:pt x="f106" y="f270"/>
                  </a:lnTo>
                  <a:lnTo>
                    <a:pt x="f109" y="f269"/>
                  </a:lnTo>
                  <a:lnTo>
                    <a:pt x="f109" y="f268"/>
                  </a:lnTo>
                  <a:close/>
                  <a:moveTo>
                    <a:pt x="f110" y="f267"/>
                  </a:moveTo>
                  <a:lnTo>
                    <a:pt x="f111" y="f267"/>
                  </a:lnTo>
                  <a:lnTo>
                    <a:pt x="f112" y="f268"/>
                  </a:lnTo>
                  <a:lnTo>
                    <a:pt x="f112" y="f269"/>
                  </a:lnTo>
                  <a:lnTo>
                    <a:pt x="f111" y="f270"/>
                  </a:lnTo>
                  <a:lnTo>
                    <a:pt x="f110" y="f270"/>
                  </a:lnTo>
                  <a:lnTo>
                    <a:pt x="f113" y="f269"/>
                  </a:lnTo>
                  <a:lnTo>
                    <a:pt x="f113" y="f268"/>
                  </a:lnTo>
                  <a:close/>
                  <a:moveTo>
                    <a:pt x="f114" y="f267"/>
                  </a:moveTo>
                  <a:lnTo>
                    <a:pt x="f115" y="f267"/>
                  </a:lnTo>
                  <a:lnTo>
                    <a:pt x="f116" y="f268"/>
                  </a:lnTo>
                  <a:lnTo>
                    <a:pt x="f116" y="f269"/>
                  </a:lnTo>
                  <a:lnTo>
                    <a:pt x="f115" y="f270"/>
                  </a:lnTo>
                  <a:lnTo>
                    <a:pt x="f114" y="f270"/>
                  </a:lnTo>
                  <a:lnTo>
                    <a:pt x="f117" y="f269"/>
                  </a:lnTo>
                  <a:lnTo>
                    <a:pt x="f117" y="f268"/>
                  </a:lnTo>
                  <a:close/>
                  <a:moveTo>
                    <a:pt x="f118" y="f267"/>
                  </a:moveTo>
                  <a:lnTo>
                    <a:pt x="f119" y="f267"/>
                  </a:lnTo>
                  <a:lnTo>
                    <a:pt x="f120" y="f268"/>
                  </a:lnTo>
                  <a:lnTo>
                    <a:pt x="f120" y="f269"/>
                  </a:lnTo>
                  <a:lnTo>
                    <a:pt x="f119" y="f270"/>
                  </a:lnTo>
                  <a:lnTo>
                    <a:pt x="f118" y="f270"/>
                  </a:lnTo>
                  <a:lnTo>
                    <a:pt x="f121" y="f269"/>
                  </a:lnTo>
                  <a:lnTo>
                    <a:pt x="f121" y="f268"/>
                  </a:lnTo>
                  <a:close/>
                  <a:moveTo>
                    <a:pt x="f122" y="f267"/>
                  </a:moveTo>
                  <a:lnTo>
                    <a:pt x="f123" y="f267"/>
                  </a:lnTo>
                  <a:lnTo>
                    <a:pt x="f124" y="f268"/>
                  </a:lnTo>
                  <a:lnTo>
                    <a:pt x="f124" y="f269"/>
                  </a:lnTo>
                  <a:lnTo>
                    <a:pt x="f123" y="f270"/>
                  </a:lnTo>
                  <a:lnTo>
                    <a:pt x="f122" y="f270"/>
                  </a:lnTo>
                  <a:lnTo>
                    <a:pt x="f125" y="f269"/>
                  </a:lnTo>
                  <a:lnTo>
                    <a:pt x="f125" y="f268"/>
                  </a:lnTo>
                  <a:close/>
                  <a:moveTo>
                    <a:pt x="f126" y="f267"/>
                  </a:moveTo>
                  <a:lnTo>
                    <a:pt x="f127" y="f267"/>
                  </a:lnTo>
                  <a:lnTo>
                    <a:pt x="f128" y="f268"/>
                  </a:lnTo>
                  <a:lnTo>
                    <a:pt x="f128" y="f269"/>
                  </a:lnTo>
                  <a:lnTo>
                    <a:pt x="f127" y="f270"/>
                  </a:lnTo>
                  <a:lnTo>
                    <a:pt x="f126" y="f270"/>
                  </a:lnTo>
                  <a:lnTo>
                    <a:pt x="f129" y="f269"/>
                  </a:lnTo>
                  <a:lnTo>
                    <a:pt x="f129" y="f268"/>
                  </a:lnTo>
                  <a:close/>
                  <a:moveTo>
                    <a:pt x="f130" y="f267"/>
                  </a:moveTo>
                  <a:lnTo>
                    <a:pt x="f131" y="f267"/>
                  </a:lnTo>
                  <a:lnTo>
                    <a:pt x="f132" y="f268"/>
                  </a:lnTo>
                  <a:lnTo>
                    <a:pt x="f132" y="f269"/>
                  </a:lnTo>
                  <a:lnTo>
                    <a:pt x="f131" y="f270"/>
                  </a:lnTo>
                  <a:lnTo>
                    <a:pt x="f130" y="f270"/>
                  </a:lnTo>
                  <a:lnTo>
                    <a:pt x="f133" y="f269"/>
                  </a:lnTo>
                  <a:lnTo>
                    <a:pt x="f133" y="f268"/>
                  </a:lnTo>
                  <a:close/>
                  <a:moveTo>
                    <a:pt x="f134" y="f267"/>
                  </a:moveTo>
                  <a:lnTo>
                    <a:pt x="f135" y="f267"/>
                  </a:lnTo>
                  <a:lnTo>
                    <a:pt x="f136" y="f268"/>
                  </a:lnTo>
                  <a:lnTo>
                    <a:pt x="f136" y="f269"/>
                  </a:lnTo>
                  <a:lnTo>
                    <a:pt x="f135" y="f270"/>
                  </a:lnTo>
                  <a:lnTo>
                    <a:pt x="f134" y="f270"/>
                  </a:lnTo>
                  <a:lnTo>
                    <a:pt x="f137" y="f269"/>
                  </a:lnTo>
                  <a:lnTo>
                    <a:pt x="f137" y="f268"/>
                  </a:lnTo>
                  <a:close/>
                  <a:moveTo>
                    <a:pt x="f138" y="f267"/>
                  </a:moveTo>
                  <a:lnTo>
                    <a:pt x="f139" y="f267"/>
                  </a:lnTo>
                  <a:lnTo>
                    <a:pt x="f140" y="f268"/>
                  </a:lnTo>
                  <a:lnTo>
                    <a:pt x="f140" y="f269"/>
                  </a:lnTo>
                  <a:lnTo>
                    <a:pt x="f139" y="f270"/>
                  </a:lnTo>
                  <a:lnTo>
                    <a:pt x="f138" y="f270"/>
                  </a:lnTo>
                  <a:lnTo>
                    <a:pt x="f141" y="f269"/>
                  </a:lnTo>
                  <a:lnTo>
                    <a:pt x="f141" y="f268"/>
                  </a:lnTo>
                  <a:close/>
                  <a:moveTo>
                    <a:pt x="f142" y="f267"/>
                  </a:moveTo>
                  <a:lnTo>
                    <a:pt x="f143" y="f267"/>
                  </a:lnTo>
                  <a:lnTo>
                    <a:pt x="f144" y="f268"/>
                  </a:lnTo>
                  <a:lnTo>
                    <a:pt x="f144" y="f269"/>
                  </a:lnTo>
                  <a:lnTo>
                    <a:pt x="f143" y="f270"/>
                  </a:lnTo>
                  <a:lnTo>
                    <a:pt x="f142" y="f270"/>
                  </a:lnTo>
                  <a:lnTo>
                    <a:pt x="f145" y="f269"/>
                  </a:lnTo>
                  <a:lnTo>
                    <a:pt x="f145" y="f268"/>
                  </a:lnTo>
                  <a:close/>
                  <a:moveTo>
                    <a:pt x="f146" y="f267"/>
                  </a:moveTo>
                  <a:lnTo>
                    <a:pt x="f147" y="f267"/>
                  </a:lnTo>
                  <a:lnTo>
                    <a:pt x="f148" y="f268"/>
                  </a:lnTo>
                  <a:lnTo>
                    <a:pt x="f148" y="f269"/>
                  </a:lnTo>
                  <a:lnTo>
                    <a:pt x="f147" y="f270"/>
                  </a:lnTo>
                  <a:lnTo>
                    <a:pt x="f146" y="f270"/>
                  </a:lnTo>
                  <a:lnTo>
                    <a:pt x="f149" y="f269"/>
                  </a:lnTo>
                  <a:lnTo>
                    <a:pt x="f149" y="f268"/>
                  </a:lnTo>
                  <a:close/>
                  <a:moveTo>
                    <a:pt x="f150" y="f267"/>
                  </a:moveTo>
                  <a:lnTo>
                    <a:pt x="f151" y="f267"/>
                  </a:lnTo>
                  <a:lnTo>
                    <a:pt x="f152" y="f268"/>
                  </a:lnTo>
                  <a:lnTo>
                    <a:pt x="f152" y="f269"/>
                  </a:lnTo>
                  <a:lnTo>
                    <a:pt x="f151" y="f270"/>
                  </a:lnTo>
                  <a:lnTo>
                    <a:pt x="f150" y="f270"/>
                  </a:lnTo>
                  <a:lnTo>
                    <a:pt x="f153" y="f269"/>
                  </a:lnTo>
                  <a:lnTo>
                    <a:pt x="f153" y="f268"/>
                  </a:lnTo>
                  <a:close/>
                  <a:moveTo>
                    <a:pt x="f154" y="f267"/>
                  </a:moveTo>
                  <a:lnTo>
                    <a:pt x="f155" y="f267"/>
                  </a:lnTo>
                  <a:lnTo>
                    <a:pt x="f156" y="f268"/>
                  </a:lnTo>
                  <a:lnTo>
                    <a:pt x="f156" y="f269"/>
                  </a:lnTo>
                  <a:lnTo>
                    <a:pt x="f155" y="f270"/>
                  </a:lnTo>
                  <a:lnTo>
                    <a:pt x="f154" y="f270"/>
                  </a:lnTo>
                  <a:lnTo>
                    <a:pt x="f157" y="f269"/>
                  </a:lnTo>
                  <a:lnTo>
                    <a:pt x="f157" y="f268"/>
                  </a:lnTo>
                  <a:close/>
                  <a:moveTo>
                    <a:pt x="f158" y="f267"/>
                  </a:moveTo>
                  <a:lnTo>
                    <a:pt x="f159" y="f267"/>
                  </a:lnTo>
                  <a:lnTo>
                    <a:pt x="f160" y="f268"/>
                  </a:lnTo>
                  <a:lnTo>
                    <a:pt x="f160" y="f269"/>
                  </a:lnTo>
                  <a:lnTo>
                    <a:pt x="f159" y="f270"/>
                  </a:lnTo>
                  <a:lnTo>
                    <a:pt x="f158" y="f270"/>
                  </a:lnTo>
                  <a:lnTo>
                    <a:pt x="f161" y="f269"/>
                  </a:lnTo>
                  <a:lnTo>
                    <a:pt x="f161" y="f268"/>
                  </a:lnTo>
                  <a:close/>
                  <a:moveTo>
                    <a:pt x="f181" y="f267"/>
                  </a:moveTo>
                  <a:lnTo>
                    <a:pt x="f182" y="f267"/>
                  </a:lnTo>
                  <a:lnTo>
                    <a:pt x="f271" y="f268"/>
                  </a:lnTo>
                  <a:lnTo>
                    <a:pt x="f271" y="f269"/>
                  </a:lnTo>
                  <a:lnTo>
                    <a:pt x="f182" y="f270"/>
                  </a:lnTo>
                  <a:lnTo>
                    <a:pt x="f181" y="f270"/>
                  </a:lnTo>
                  <a:lnTo>
                    <a:pt x="f184" y="f269"/>
                  </a:lnTo>
                  <a:lnTo>
                    <a:pt x="f184" y="f268"/>
                  </a:lnTo>
                  <a:close/>
                  <a:moveTo>
                    <a:pt x="f239" y="f267"/>
                  </a:moveTo>
                  <a:lnTo>
                    <a:pt x="f212" y="f267"/>
                  </a:lnTo>
                  <a:lnTo>
                    <a:pt x="f185" y="f268"/>
                  </a:lnTo>
                  <a:lnTo>
                    <a:pt x="f185" y="f269"/>
                  </a:lnTo>
                  <a:lnTo>
                    <a:pt x="f212" y="f270"/>
                  </a:lnTo>
                  <a:lnTo>
                    <a:pt x="f239" y="f270"/>
                  </a:lnTo>
                  <a:lnTo>
                    <a:pt x="f18" y="f269"/>
                  </a:lnTo>
                  <a:lnTo>
                    <a:pt x="f18" y="f268"/>
                  </a:lnTo>
                  <a:close/>
                  <a:moveTo>
                    <a:pt x="f272" y="f267"/>
                  </a:moveTo>
                  <a:lnTo>
                    <a:pt x="f240" y="f267"/>
                  </a:lnTo>
                  <a:lnTo>
                    <a:pt x="f273" y="f268"/>
                  </a:lnTo>
                  <a:lnTo>
                    <a:pt x="f273" y="f269"/>
                  </a:lnTo>
                  <a:lnTo>
                    <a:pt x="f240" y="f270"/>
                  </a:lnTo>
                  <a:lnTo>
                    <a:pt x="f272" y="f270"/>
                  </a:lnTo>
                  <a:lnTo>
                    <a:pt x="f274" y="f269"/>
                  </a:lnTo>
                  <a:lnTo>
                    <a:pt x="f274" y="f268"/>
                  </a:lnTo>
                  <a:close/>
                  <a:moveTo>
                    <a:pt x="f275" y="f267"/>
                  </a:moveTo>
                  <a:lnTo>
                    <a:pt x="f243" y="f267"/>
                  </a:lnTo>
                  <a:lnTo>
                    <a:pt x="f244" y="f268"/>
                  </a:lnTo>
                  <a:lnTo>
                    <a:pt x="f244" y="f269"/>
                  </a:lnTo>
                  <a:lnTo>
                    <a:pt x="f243" y="f270"/>
                  </a:lnTo>
                  <a:lnTo>
                    <a:pt x="f275" y="f270"/>
                  </a:lnTo>
                  <a:lnTo>
                    <a:pt x="f276" y="f269"/>
                  </a:lnTo>
                  <a:lnTo>
                    <a:pt x="f276" y="f268"/>
                  </a:lnTo>
                  <a:close/>
                  <a:moveTo>
                    <a:pt x="f246" y="f267"/>
                  </a:moveTo>
                  <a:lnTo>
                    <a:pt x="f277" y="f267"/>
                  </a:lnTo>
                  <a:lnTo>
                    <a:pt x="f278" y="f268"/>
                  </a:lnTo>
                  <a:lnTo>
                    <a:pt x="f278" y="f269"/>
                  </a:lnTo>
                  <a:lnTo>
                    <a:pt x="f277" y="f270"/>
                  </a:lnTo>
                  <a:lnTo>
                    <a:pt x="f246" y="f270"/>
                  </a:lnTo>
                  <a:lnTo>
                    <a:pt x="f279" y="f269"/>
                  </a:lnTo>
                  <a:lnTo>
                    <a:pt x="f279" y="f268"/>
                  </a:lnTo>
                  <a:close/>
                  <a:moveTo>
                    <a:pt x="f280" y="f267"/>
                  </a:moveTo>
                  <a:lnTo>
                    <a:pt x="f249" y="f267"/>
                  </a:lnTo>
                  <a:lnTo>
                    <a:pt x="f281" y="f268"/>
                  </a:lnTo>
                  <a:lnTo>
                    <a:pt x="f281" y="f269"/>
                  </a:lnTo>
                  <a:lnTo>
                    <a:pt x="f249" y="f270"/>
                  </a:lnTo>
                  <a:lnTo>
                    <a:pt x="f280" y="f270"/>
                  </a:lnTo>
                  <a:lnTo>
                    <a:pt x="f282" y="f269"/>
                  </a:lnTo>
                  <a:lnTo>
                    <a:pt x="f282" y="f268"/>
                  </a:lnTo>
                  <a:close/>
                  <a:moveTo>
                    <a:pt x="f283" y="f267"/>
                  </a:moveTo>
                  <a:lnTo>
                    <a:pt x="f256" y="f267"/>
                  </a:lnTo>
                  <a:lnTo>
                    <a:pt x="f284" y="f268"/>
                  </a:lnTo>
                  <a:lnTo>
                    <a:pt x="f284" y="f269"/>
                  </a:lnTo>
                  <a:lnTo>
                    <a:pt x="f256" y="f270"/>
                  </a:lnTo>
                  <a:lnTo>
                    <a:pt x="f283" y="f270"/>
                  </a:lnTo>
                  <a:lnTo>
                    <a:pt x="f285" y="f269"/>
                  </a:lnTo>
                  <a:lnTo>
                    <a:pt x="f285" y="f268"/>
                  </a:lnTo>
                  <a:close/>
                  <a:moveTo>
                    <a:pt x="f286" y="f267"/>
                  </a:moveTo>
                  <a:lnTo>
                    <a:pt x="f287" y="f267"/>
                  </a:lnTo>
                  <a:lnTo>
                    <a:pt x="f261" y="f268"/>
                  </a:lnTo>
                  <a:lnTo>
                    <a:pt x="f261" y="f269"/>
                  </a:lnTo>
                  <a:lnTo>
                    <a:pt x="f287" y="f270"/>
                  </a:lnTo>
                  <a:lnTo>
                    <a:pt x="f286" y="f270"/>
                  </a:lnTo>
                  <a:lnTo>
                    <a:pt x="f288" y="f269"/>
                  </a:lnTo>
                  <a:lnTo>
                    <a:pt x="f288" y="f268"/>
                  </a:lnTo>
                  <a:close/>
                  <a:moveTo>
                    <a:pt x="f289" y="f267"/>
                  </a:moveTo>
                  <a:lnTo>
                    <a:pt x="f263" y="f267"/>
                  </a:lnTo>
                  <a:lnTo>
                    <a:pt x="f264" y="f268"/>
                  </a:lnTo>
                  <a:lnTo>
                    <a:pt x="f264" y="f269"/>
                  </a:lnTo>
                  <a:lnTo>
                    <a:pt x="f263" y="f270"/>
                  </a:lnTo>
                  <a:lnTo>
                    <a:pt x="f289" y="f270"/>
                  </a:lnTo>
                  <a:lnTo>
                    <a:pt x="f290" y="f269"/>
                  </a:lnTo>
                  <a:lnTo>
                    <a:pt x="f290" y="f268"/>
                  </a:lnTo>
                  <a:close/>
                  <a:moveTo>
                    <a:pt x="f291" y="f267"/>
                  </a:moveTo>
                  <a:lnTo>
                    <a:pt x="f265" y="f267"/>
                  </a:lnTo>
                  <a:lnTo>
                    <a:pt x="f292" y="f268"/>
                  </a:lnTo>
                  <a:lnTo>
                    <a:pt x="f292" y="f269"/>
                  </a:lnTo>
                  <a:lnTo>
                    <a:pt x="f265" y="f270"/>
                  </a:lnTo>
                  <a:lnTo>
                    <a:pt x="f291" y="f270"/>
                  </a:lnTo>
                  <a:lnTo>
                    <a:pt x="f293" y="f269"/>
                  </a:lnTo>
                  <a:lnTo>
                    <a:pt x="f293" y="f268"/>
                  </a:lnTo>
                  <a:close/>
                  <a:moveTo>
                    <a:pt x="f181" y="f294"/>
                  </a:moveTo>
                  <a:lnTo>
                    <a:pt x="f295" y="f294"/>
                  </a:lnTo>
                  <a:lnTo>
                    <a:pt x="f271" y="f296"/>
                  </a:lnTo>
                  <a:lnTo>
                    <a:pt x="f271" y="f297"/>
                  </a:lnTo>
                  <a:lnTo>
                    <a:pt x="f295" y="f298"/>
                  </a:lnTo>
                  <a:lnTo>
                    <a:pt x="f181" y="f298"/>
                  </a:lnTo>
                  <a:lnTo>
                    <a:pt x="f184" y="f297"/>
                  </a:lnTo>
                  <a:lnTo>
                    <a:pt x="f184" y="f296"/>
                  </a:lnTo>
                  <a:close/>
                  <a:moveTo>
                    <a:pt x="f239" y="f294"/>
                  </a:moveTo>
                  <a:lnTo>
                    <a:pt x="f212" y="f294"/>
                  </a:lnTo>
                  <a:lnTo>
                    <a:pt x="f185" y="f296"/>
                  </a:lnTo>
                  <a:lnTo>
                    <a:pt x="f185" y="f297"/>
                  </a:lnTo>
                  <a:lnTo>
                    <a:pt x="f212" y="f298"/>
                  </a:lnTo>
                  <a:lnTo>
                    <a:pt x="f239" y="f298"/>
                  </a:lnTo>
                  <a:lnTo>
                    <a:pt x="f299" y="f297"/>
                  </a:lnTo>
                  <a:lnTo>
                    <a:pt x="f299" y="f296"/>
                  </a:lnTo>
                  <a:close/>
                  <a:moveTo>
                    <a:pt x="f300" y="f294"/>
                  </a:moveTo>
                  <a:lnTo>
                    <a:pt x="f301" y="f294"/>
                  </a:lnTo>
                  <a:lnTo>
                    <a:pt x="f273" y="f296"/>
                  </a:lnTo>
                  <a:lnTo>
                    <a:pt x="f273" y="f297"/>
                  </a:lnTo>
                  <a:lnTo>
                    <a:pt x="f301" y="f298"/>
                  </a:lnTo>
                  <a:lnTo>
                    <a:pt x="f300" y="f298"/>
                  </a:lnTo>
                  <a:lnTo>
                    <a:pt x="f274" y="f297"/>
                  </a:lnTo>
                  <a:lnTo>
                    <a:pt x="f274" y="f296"/>
                  </a:lnTo>
                  <a:close/>
                  <a:moveTo>
                    <a:pt x="f302" y="f294"/>
                  </a:moveTo>
                  <a:lnTo>
                    <a:pt x="f303" y="f294"/>
                  </a:lnTo>
                  <a:lnTo>
                    <a:pt x="f304" y="f296"/>
                  </a:lnTo>
                  <a:lnTo>
                    <a:pt x="f304" y="f297"/>
                  </a:lnTo>
                  <a:lnTo>
                    <a:pt x="f303" y="f298"/>
                  </a:lnTo>
                  <a:lnTo>
                    <a:pt x="f302" y="f298"/>
                  </a:lnTo>
                  <a:lnTo>
                    <a:pt x="f276" y="f297"/>
                  </a:lnTo>
                  <a:lnTo>
                    <a:pt x="f276" y="f296"/>
                  </a:lnTo>
                  <a:close/>
                  <a:moveTo>
                    <a:pt x="f305" y="f294"/>
                  </a:moveTo>
                  <a:lnTo>
                    <a:pt x="f277" y="f294"/>
                  </a:lnTo>
                  <a:lnTo>
                    <a:pt x="f306" y="f296"/>
                  </a:lnTo>
                  <a:lnTo>
                    <a:pt x="f306" y="f297"/>
                  </a:lnTo>
                  <a:lnTo>
                    <a:pt x="f277" y="f298"/>
                  </a:lnTo>
                  <a:lnTo>
                    <a:pt x="f305" y="f298"/>
                  </a:lnTo>
                  <a:lnTo>
                    <a:pt x="f279" y="f297"/>
                  </a:lnTo>
                  <a:lnTo>
                    <a:pt x="f279" y="f296"/>
                  </a:lnTo>
                  <a:close/>
                  <a:moveTo>
                    <a:pt x="f280" y="f294"/>
                  </a:moveTo>
                  <a:lnTo>
                    <a:pt x="f307" y="f294"/>
                  </a:lnTo>
                  <a:lnTo>
                    <a:pt x="f281" y="f296"/>
                  </a:lnTo>
                  <a:lnTo>
                    <a:pt x="f281" y="f297"/>
                  </a:lnTo>
                  <a:lnTo>
                    <a:pt x="f307" y="f298"/>
                  </a:lnTo>
                  <a:lnTo>
                    <a:pt x="f280" y="f298"/>
                  </a:lnTo>
                  <a:lnTo>
                    <a:pt x="f282" y="f297"/>
                  </a:lnTo>
                  <a:lnTo>
                    <a:pt x="f282" y="f296"/>
                  </a:lnTo>
                  <a:close/>
                  <a:moveTo>
                    <a:pt x="f35" y="f308"/>
                  </a:moveTo>
                  <a:lnTo>
                    <a:pt x="f37" y="f308"/>
                  </a:lnTo>
                  <a:lnTo>
                    <a:pt x="f6" y="f309"/>
                  </a:lnTo>
                  <a:lnTo>
                    <a:pt x="f6" y="f310"/>
                  </a:lnTo>
                  <a:lnTo>
                    <a:pt x="f37" y="f311"/>
                  </a:lnTo>
                  <a:lnTo>
                    <a:pt x="f35" y="f311"/>
                  </a:lnTo>
                  <a:lnTo>
                    <a:pt x="f41" y="f310"/>
                  </a:lnTo>
                  <a:lnTo>
                    <a:pt x="f41" y="f309"/>
                  </a:lnTo>
                  <a:close/>
                  <a:moveTo>
                    <a:pt x="f42" y="f308"/>
                  </a:moveTo>
                  <a:lnTo>
                    <a:pt x="f43" y="f308"/>
                  </a:lnTo>
                  <a:lnTo>
                    <a:pt x="f44" y="f309"/>
                  </a:lnTo>
                  <a:lnTo>
                    <a:pt x="f44" y="f310"/>
                  </a:lnTo>
                  <a:lnTo>
                    <a:pt x="f43" y="f311"/>
                  </a:lnTo>
                  <a:lnTo>
                    <a:pt x="f42" y="f311"/>
                  </a:lnTo>
                  <a:lnTo>
                    <a:pt x="f45" y="f310"/>
                  </a:lnTo>
                  <a:lnTo>
                    <a:pt x="f45" y="f309"/>
                  </a:lnTo>
                  <a:close/>
                  <a:moveTo>
                    <a:pt x="f46" y="f308"/>
                  </a:moveTo>
                  <a:lnTo>
                    <a:pt x="f47" y="f308"/>
                  </a:lnTo>
                  <a:lnTo>
                    <a:pt x="f48" y="f309"/>
                  </a:lnTo>
                  <a:lnTo>
                    <a:pt x="f48" y="f310"/>
                  </a:lnTo>
                  <a:lnTo>
                    <a:pt x="f47" y="f311"/>
                  </a:lnTo>
                  <a:lnTo>
                    <a:pt x="f46" y="f311"/>
                  </a:lnTo>
                  <a:lnTo>
                    <a:pt x="f49" y="f310"/>
                  </a:lnTo>
                  <a:lnTo>
                    <a:pt x="f49" y="f309"/>
                  </a:lnTo>
                  <a:close/>
                  <a:moveTo>
                    <a:pt x="f50" y="f308"/>
                  </a:moveTo>
                  <a:lnTo>
                    <a:pt x="f51" y="f308"/>
                  </a:lnTo>
                  <a:lnTo>
                    <a:pt x="f52" y="f309"/>
                  </a:lnTo>
                  <a:lnTo>
                    <a:pt x="f52" y="f310"/>
                  </a:lnTo>
                  <a:lnTo>
                    <a:pt x="f51" y="f311"/>
                  </a:lnTo>
                  <a:lnTo>
                    <a:pt x="f50" y="f311"/>
                  </a:lnTo>
                  <a:lnTo>
                    <a:pt x="f53" y="f310"/>
                  </a:lnTo>
                  <a:lnTo>
                    <a:pt x="f53" y="f309"/>
                  </a:lnTo>
                  <a:close/>
                  <a:moveTo>
                    <a:pt x="f54" y="f308"/>
                  </a:moveTo>
                  <a:lnTo>
                    <a:pt x="f55" y="f308"/>
                  </a:lnTo>
                  <a:lnTo>
                    <a:pt x="f56" y="f309"/>
                  </a:lnTo>
                  <a:lnTo>
                    <a:pt x="f56" y="f310"/>
                  </a:lnTo>
                  <a:lnTo>
                    <a:pt x="f55" y="f311"/>
                  </a:lnTo>
                  <a:lnTo>
                    <a:pt x="f54" y="f311"/>
                  </a:lnTo>
                  <a:lnTo>
                    <a:pt x="f57" y="f310"/>
                  </a:lnTo>
                  <a:lnTo>
                    <a:pt x="f57" y="f309"/>
                  </a:lnTo>
                  <a:close/>
                  <a:moveTo>
                    <a:pt x="f58" y="f308"/>
                  </a:moveTo>
                  <a:lnTo>
                    <a:pt x="f59" y="f308"/>
                  </a:lnTo>
                  <a:lnTo>
                    <a:pt x="f60" y="f309"/>
                  </a:lnTo>
                  <a:lnTo>
                    <a:pt x="f60" y="f310"/>
                  </a:lnTo>
                  <a:lnTo>
                    <a:pt x="f59" y="f311"/>
                  </a:lnTo>
                  <a:lnTo>
                    <a:pt x="f58" y="f311"/>
                  </a:lnTo>
                  <a:lnTo>
                    <a:pt x="f61" y="f310"/>
                  </a:lnTo>
                  <a:lnTo>
                    <a:pt x="f61" y="f309"/>
                  </a:lnTo>
                  <a:close/>
                  <a:moveTo>
                    <a:pt x="f62" y="f308"/>
                  </a:moveTo>
                  <a:lnTo>
                    <a:pt x="f63" y="f308"/>
                  </a:lnTo>
                  <a:lnTo>
                    <a:pt x="f64" y="f309"/>
                  </a:lnTo>
                  <a:lnTo>
                    <a:pt x="f64" y="f310"/>
                  </a:lnTo>
                  <a:lnTo>
                    <a:pt x="f63" y="f311"/>
                  </a:lnTo>
                  <a:lnTo>
                    <a:pt x="f62" y="f311"/>
                  </a:lnTo>
                  <a:lnTo>
                    <a:pt x="f65" y="f310"/>
                  </a:lnTo>
                  <a:lnTo>
                    <a:pt x="f65" y="f309"/>
                  </a:lnTo>
                  <a:close/>
                  <a:moveTo>
                    <a:pt x="f66" y="f308"/>
                  </a:moveTo>
                  <a:lnTo>
                    <a:pt x="f67" y="f308"/>
                  </a:lnTo>
                  <a:lnTo>
                    <a:pt x="f68" y="f309"/>
                  </a:lnTo>
                  <a:lnTo>
                    <a:pt x="f68" y="f310"/>
                  </a:lnTo>
                  <a:lnTo>
                    <a:pt x="f67" y="f311"/>
                  </a:lnTo>
                  <a:lnTo>
                    <a:pt x="f66" y="f311"/>
                  </a:lnTo>
                  <a:lnTo>
                    <a:pt x="f69" y="f310"/>
                  </a:lnTo>
                  <a:lnTo>
                    <a:pt x="f69" y="f309"/>
                  </a:lnTo>
                  <a:close/>
                  <a:moveTo>
                    <a:pt x="f70" y="f308"/>
                  </a:moveTo>
                  <a:lnTo>
                    <a:pt x="f71" y="f308"/>
                  </a:lnTo>
                  <a:lnTo>
                    <a:pt x="f72" y="f309"/>
                  </a:lnTo>
                  <a:lnTo>
                    <a:pt x="f72" y="f310"/>
                  </a:lnTo>
                  <a:lnTo>
                    <a:pt x="f71" y="f311"/>
                  </a:lnTo>
                  <a:lnTo>
                    <a:pt x="f70" y="f311"/>
                  </a:lnTo>
                  <a:lnTo>
                    <a:pt x="f73" y="f310"/>
                  </a:lnTo>
                  <a:lnTo>
                    <a:pt x="f73" y="f309"/>
                  </a:lnTo>
                  <a:close/>
                  <a:moveTo>
                    <a:pt x="f74" y="f308"/>
                  </a:moveTo>
                  <a:lnTo>
                    <a:pt x="f75" y="f308"/>
                  </a:lnTo>
                  <a:lnTo>
                    <a:pt x="f76" y="f309"/>
                  </a:lnTo>
                  <a:lnTo>
                    <a:pt x="f76" y="f310"/>
                  </a:lnTo>
                  <a:lnTo>
                    <a:pt x="f75" y="f311"/>
                  </a:lnTo>
                  <a:lnTo>
                    <a:pt x="f74" y="f311"/>
                  </a:lnTo>
                  <a:lnTo>
                    <a:pt x="f77" y="f310"/>
                  </a:lnTo>
                  <a:lnTo>
                    <a:pt x="f77" y="f309"/>
                  </a:lnTo>
                  <a:close/>
                  <a:moveTo>
                    <a:pt x="f78" y="f308"/>
                  </a:moveTo>
                  <a:lnTo>
                    <a:pt x="f79" y="f308"/>
                  </a:lnTo>
                  <a:lnTo>
                    <a:pt x="f80" y="f309"/>
                  </a:lnTo>
                  <a:lnTo>
                    <a:pt x="f80" y="f310"/>
                  </a:lnTo>
                  <a:lnTo>
                    <a:pt x="f79" y="f311"/>
                  </a:lnTo>
                  <a:lnTo>
                    <a:pt x="f78" y="f311"/>
                  </a:lnTo>
                  <a:lnTo>
                    <a:pt x="f81" y="f310"/>
                  </a:lnTo>
                  <a:lnTo>
                    <a:pt x="f81" y="f309"/>
                  </a:lnTo>
                  <a:close/>
                  <a:moveTo>
                    <a:pt x="f82" y="f308"/>
                  </a:moveTo>
                  <a:lnTo>
                    <a:pt x="f83" y="f308"/>
                  </a:lnTo>
                  <a:lnTo>
                    <a:pt x="f84" y="f309"/>
                  </a:lnTo>
                  <a:lnTo>
                    <a:pt x="f84" y="f310"/>
                  </a:lnTo>
                  <a:lnTo>
                    <a:pt x="f83" y="f311"/>
                  </a:lnTo>
                  <a:lnTo>
                    <a:pt x="f82" y="f311"/>
                  </a:lnTo>
                  <a:lnTo>
                    <a:pt x="f85" y="f310"/>
                  </a:lnTo>
                  <a:lnTo>
                    <a:pt x="f85" y="f309"/>
                  </a:lnTo>
                  <a:close/>
                  <a:moveTo>
                    <a:pt x="f86" y="f308"/>
                  </a:moveTo>
                  <a:lnTo>
                    <a:pt x="f87" y="f308"/>
                  </a:lnTo>
                  <a:lnTo>
                    <a:pt x="f88" y="f309"/>
                  </a:lnTo>
                  <a:lnTo>
                    <a:pt x="f88" y="f310"/>
                  </a:lnTo>
                  <a:lnTo>
                    <a:pt x="f87" y="f311"/>
                  </a:lnTo>
                  <a:lnTo>
                    <a:pt x="f86" y="f311"/>
                  </a:lnTo>
                  <a:lnTo>
                    <a:pt x="f89" y="f310"/>
                  </a:lnTo>
                  <a:lnTo>
                    <a:pt x="f89" y="f309"/>
                  </a:lnTo>
                  <a:close/>
                  <a:moveTo>
                    <a:pt x="f90" y="f308"/>
                  </a:moveTo>
                  <a:lnTo>
                    <a:pt x="f91" y="f308"/>
                  </a:lnTo>
                  <a:lnTo>
                    <a:pt x="f92" y="f309"/>
                  </a:lnTo>
                  <a:lnTo>
                    <a:pt x="f92" y="f310"/>
                  </a:lnTo>
                  <a:lnTo>
                    <a:pt x="f91" y="f311"/>
                  </a:lnTo>
                  <a:lnTo>
                    <a:pt x="f90" y="f311"/>
                  </a:lnTo>
                  <a:lnTo>
                    <a:pt x="f93" y="f310"/>
                  </a:lnTo>
                  <a:lnTo>
                    <a:pt x="f93" y="f309"/>
                  </a:lnTo>
                  <a:close/>
                  <a:moveTo>
                    <a:pt x="f94" y="f308"/>
                  </a:moveTo>
                  <a:lnTo>
                    <a:pt x="f95" y="f308"/>
                  </a:lnTo>
                  <a:lnTo>
                    <a:pt x="f96" y="f309"/>
                  </a:lnTo>
                  <a:lnTo>
                    <a:pt x="f96" y="f310"/>
                  </a:lnTo>
                  <a:lnTo>
                    <a:pt x="f95" y="f311"/>
                  </a:lnTo>
                  <a:lnTo>
                    <a:pt x="f94" y="f311"/>
                  </a:lnTo>
                  <a:lnTo>
                    <a:pt x="f97" y="f310"/>
                  </a:lnTo>
                  <a:lnTo>
                    <a:pt x="f97" y="f309"/>
                  </a:lnTo>
                  <a:close/>
                  <a:moveTo>
                    <a:pt x="f98" y="f308"/>
                  </a:moveTo>
                  <a:lnTo>
                    <a:pt x="f99" y="f308"/>
                  </a:lnTo>
                  <a:lnTo>
                    <a:pt x="f100" y="f309"/>
                  </a:lnTo>
                  <a:lnTo>
                    <a:pt x="f100" y="f310"/>
                  </a:lnTo>
                  <a:lnTo>
                    <a:pt x="f99" y="f311"/>
                  </a:lnTo>
                  <a:lnTo>
                    <a:pt x="f98" y="f311"/>
                  </a:lnTo>
                  <a:lnTo>
                    <a:pt x="f101" y="f310"/>
                  </a:lnTo>
                  <a:lnTo>
                    <a:pt x="f101" y="f309"/>
                  </a:lnTo>
                  <a:close/>
                  <a:moveTo>
                    <a:pt x="f102" y="f308"/>
                  </a:moveTo>
                  <a:lnTo>
                    <a:pt x="f103" y="f308"/>
                  </a:lnTo>
                  <a:lnTo>
                    <a:pt x="f104" y="f309"/>
                  </a:lnTo>
                  <a:lnTo>
                    <a:pt x="f104" y="f310"/>
                  </a:lnTo>
                  <a:lnTo>
                    <a:pt x="f103" y="f311"/>
                  </a:lnTo>
                  <a:lnTo>
                    <a:pt x="f102" y="f311"/>
                  </a:lnTo>
                  <a:lnTo>
                    <a:pt x="f105" y="f310"/>
                  </a:lnTo>
                  <a:lnTo>
                    <a:pt x="f105" y="f309"/>
                  </a:lnTo>
                  <a:close/>
                  <a:moveTo>
                    <a:pt x="f106" y="f308"/>
                  </a:moveTo>
                  <a:lnTo>
                    <a:pt x="f107" y="f308"/>
                  </a:lnTo>
                  <a:lnTo>
                    <a:pt x="f108" y="f309"/>
                  </a:lnTo>
                  <a:lnTo>
                    <a:pt x="f108" y="f310"/>
                  </a:lnTo>
                  <a:lnTo>
                    <a:pt x="f107" y="f311"/>
                  </a:lnTo>
                  <a:lnTo>
                    <a:pt x="f106" y="f311"/>
                  </a:lnTo>
                  <a:lnTo>
                    <a:pt x="f109" y="f310"/>
                  </a:lnTo>
                  <a:lnTo>
                    <a:pt x="f109" y="f309"/>
                  </a:lnTo>
                  <a:close/>
                  <a:moveTo>
                    <a:pt x="f110" y="f308"/>
                  </a:moveTo>
                  <a:lnTo>
                    <a:pt x="f111" y="f308"/>
                  </a:lnTo>
                  <a:lnTo>
                    <a:pt x="f112" y="f309"/>
                  </a:lnTo>
                  <a:lnTo>
                    <a:pt x="f112" y="f310"/>
                  </a:lnTo>
                  <a:lnTo>
                    <a:pt x="f111" y="f311"/>
                  </a:lnTo>
                  <a:lnTo>
                    <a:pt x="f110" y="f311"/>
                  </a:lnTo>
                  <a:lnTo>
                    <a:pt x="f113" y="f310"/>
                  </a:lnTo>
                  <a:lnTo>
                    <a:pt x="f113" y="f309"/>
                  </a:lnTo>
                  <a:close/>
                  <a:moveTo>
                    <a:pt x="f114" y="f308"/>
                  </a:moveTo>
                  <a:lnTo>
                    <a:pt x="f115" y="f308"/>
                  </a:lnTo>
                  <a:lnTo>
                    <a:pt x="f116" y="f309"/>
                  </a:lnTo>
                  <a:lnTo>
                    <a:pt x="f116" y="f310"/>
                  </a:lnTo>
                  <a:lnTo>
                    <a:pt x="f115" y="f311"/>
                  </a:lnTo>
                  <a:lnTo>
                    <a:pt x="f114" y="f311"/>
                  </a:lnTo>
                  <a:lnTo>
                    <a:pt x="f117" y="f310"/>
                  </a:lnTo>
                  <a:lnTo>
                    <a:pt x="f117" y="f309"/>
                  </a:lnTo>
                  <a:close/>
                  <a:moveTo>
                    <a:pt x="f118" y="f308"/>
                  </a:moveTo>
                  <a:lnTo>
                    <a:pt x="f119" y="f308"/>
                  </a:lnTo>
                  <a:lnTo>
                    <a:pt x="f120" y="f309"/>
                  </a:lnTo>
                  <a:lnTo>
                    <a:pt x="f120" y="f310"/>
                  </a:lnTo>
                  <a:lnTo>
                    <a:pt x="f119" y="f311"/>
                  </a:lnTo>
                  <a:lnTo>
                    <a:pt x="f118" y="f311"/>
                  </a:lnTo>
                  <a:lnTo>
                    <a:pt x="f121" y="f310"/>
                  </a:lnTo>
                  <a:lnTo>
                    <a:pt x="f121" y="f309"/>
                  </a:lnTo>
                  <a:close/>
                  <a:moveTo>
                    <a:pt x="f122" y="f308"/>
                  </a:moveTo>
                  <a:lnTo>
                    <a:pt x="f123" y="f308"/>
                  </a:lnTo>
                  <a:lnTo>
                    <a:pt x="f124" y="f309"/>
                  </a:lnTo>
                  <a:lnTo>
                    <a:pt x="f124" y="f310"/>
                  </a:lnTo>
                  <a:lnTo>
                    <a:pt x="f123" y="f311"/>
                  </a:lnTo>
                  <a:lnTo>
                    <a:pt x="f122" y="f311"/>
                  </a:lnTo>
                  <a:lnTo>
                    <a:pt x="f125" y="f310"/>
                  </a:lnTo>
                  <a:lnTo>
                    <a:pt x="f125" y="f309"/>
                  </a:lnTo>
                  <a:close/>
                  <a:moveTo>
                    <a:pt x="f126" y="f308"/>
                  </a:moveTo>
                  <a:lnTo>
                    <a:pt x="f127" y="f308"/>
                  </a:lnTo>
                  <a:lnTo>
                    <a:pt x="f128" y="f309"/>
                  </a:lnTo>
                  <a:lnTo>
                    <a:pt x="f128" y="f310"/>
                  </a:lnTo>
                  <a:lnTo>
                    <a:pt x="f127" y="f311"/>
                  </a:lnTo>
                  <a:lnTo>
                    <a:pt x="f126" y="f311"/>
                  </a:lnTo>
                  <a:lnTo>
                    <a:pt x="f129" y="f310"/>
                  </a:lnTo>
                  <a:lnTo>
                    <a:pt x="f129" y="f309"/>
                  </a:lnTo>
                  <a:close/>
                  <a:moveTo>
                    <a:pt x="f130" y="f308"/>
                  </a:moveTo>
                  <a:lnTo>
                    <a:pt x="f131" y="f308"/>
                  </a:lnTo>
                  <a:lnTo>
                    <a:pt x="f132" y="f309"/>
                  </a:lnTo>
                  <a:lnTo>
                    <a:pt x="f132" y="f310"/>
                  </a:lnTo>
                  <a:lnTo>
                    <a:pt x="f131" y="f311"/>
                  </a:lnTo>
                  <a:lnTo>
                    <a:pt x="f130" y="f311"/>
                  </a:lnTo>
                  <a:lnTo>
                    <a:pt x="f133" y="f310"/>
                  </a:lnTo>
                  <a:lnTo>
                    <a:pt x="f133" y="f309"/>
                  </a:lnTo>
                  <a:close/>
                  <a:moveTo>
                    <a:pt x="f134" y="f308"/>
                  </a:moveTo>
                  <a:lnTo>
                    <a:pt x="f135" y="f308"/>
                  </a:lnTo>
                  <a:lnTo>
                    <a:pt x="f136" y="f309"/>
                  </a:lnTo>
                  <a:lnTo>
                    <a:pt x="f136" y="f310"/>
                  </a:lnTo>
                  <a:lnTo>
                    <a:pt x="f135" y="f311"/>
                  </a:lnTo>
                  <a:lnTo>
                    <a:pt x="f134" y="f311"/>
                  </a:lnTo>
                  <a:lnTo>
                    <a:pt x="f137" y="f310"/>
                  </a:lnTo>
                  <a:lnTo>
                    <a:pt x="f137" y="f309"/>
                  </a:lnTo>
                  <a:close/>
                  <a:moveTo>
                    <a:pt x="f138" y="f308"/>
                  </a:moveTo>
                  <a:lnTo>
                    <a:pt x="f139" y="f308"/>
                  </a:lnTo>
                  <a:lnTo>
                    <a:pt x="f140" y="f309"/>
                  </a:lnTo>
                  <a:lnTo>
                    <a:pt x="f140" y="f310"/>
                  </a:lnTo>
                  <a:lnTo>
                    <a:pt x="f139" y="f311"/>
                  </a:lnTo>
                  <a:lnTo>
                    <a:pt x="f138" y="f311"/>
                  </a:lnTo>
                  <a:lnTo>
                    <a:pt x="f141" y="f310"/>
                  </a:lnTo>
                  <a:lnTo>
                    <a:pt x="f141" y="f309"/>
                  </a:lnTo>
                  <a:close/>
                  <a:moveTo>
                    <a:pt x="f142" y="f308"/>
                  </a:moveTo>
                  <a:lnTo>
                    <a:pt x="f143" y="f308"/>
                  </a:lnTo>
                  <a:lnTo>
                    <a:pt x="f144" y="f309"/>
                  </a:lnTo>
                  <a:lnTo>
                    <a:pt x="f144" y="f310"/>
                  </a:lnTo>
                  <a:lnTo>
                    <a:pt x="f143" y="f311"/>
                  </a:lnTo>
                  <a:lnTo>
                    <a:pt x="f142" y="f311"/>
                  </a:lnTo>
                  <a:lnTo>
                    <a:pt x="f145" y="f310"/>
                  </a:lnTo>
                  <a:lnTo>
                    <a:pt x="f145" y="f309"/>
                  </a:lnTo>
                  <a:close/>
                  <a:moveTo>
                    <a:pt x="f146" y="f308"/>
                  </a:moveTo>
                  <a:lnTo>
                    <a:pt x="f147" y="f308"/>
                  </a:lnTo>
                  <a:lnTo>
                    <a:pt x="f148" y="f309"/>
                  </a:lnTo>
                  <a:lnTo>
                    <a:pt x="f148" y="f310"/>
                  </a:lnTo>
                  <a:lnTo>
                    <a:pt x="f147" y="f311"/>
                  </a:lnTo>
                  <a:lnTo>
                    <a:pt x="f146" y="f311"/>
                  </a:lnTo>
                  <a:lnTo>
                    <a:pt x="f149" y="f310"/>
                  </a:lnTo>
                  <a:lnTo>
                    <a:pt x="f149" y="f309"/>
                  </a:lnTo>
                  <a:close/>
                  <a:moveTo>
                    <a:pt x="f150" y="f308"/>
                  </a:moveTo>
                  <a:lnTo>
                    <a:pt x="f151" y="f308"/>
                  </a:lnTo>
                  <a:lnTo>
                    <a:pt x="f152" y="f309"/>
                  </a:lnTo>
                  <a:lnTo>
                    <a:pt x="f152" y="f310"/>
                  </a:lnTo>
                  <a:lnTo>
                    <a:pt x="f151" y="f311"/>
                  </a:lnTo>
                  <a:lnTo>
                    <a:pt x="f150" y="f311"/>
                  </a:lnTo>
                  <a:lnTo>
                    <a:pt x="f153" y="f310"/>
                  </a:lnTo>
                  <a:lnTo>
                    <a:pt x="f153" y="f309"/>
                  </a:lnTo>
                  <a:close/>
                  <a:moveTo>
                    <a:pt x="f154" y="f308"/>
                  </a:moveTo>
                  <a:lnTo>
                    <a:pt x="f155" y="f308"/>
                  </a:lnTo>
                  <a:lnTo>
                    <a:pt x="f156" y="f309"/>
                  </a:lnTo>
                  <a:lnTo>
                    <a:pt x="f156" y="f310"/>
                  </a:lnTo>
                  <a:lnTo>
                    <a:pt x="f155" y="f311"/>
                  </a:lnTo>
                  <a:lnTo>
                    <a:pt x="f154" y="f311"/>
                  </a:lnTo>
                  <a:lnTo>
                    <a:pt x="f157" y="f310"/>
                  </a:lnTo>
                  <a:lnTo>
                    <a:pt x="f157" y="f309"/>
                  </a:lnTo>
                  <a:close/>
                  <a:moveTo>
                    <a:pt x="f158" y="f308"/>
                  </a:moveTo>
                  <a:lnTo>
                    <a:pt x="f159" y="f308"/>
                  </a:lnTo>
                  <a:lnTo>
                    <a:pt x="f160" y="f309"/>
                  </a:lnTo>
                  <a:lnTo>
                    <a:pt x="f160" y="f310"/>
                  </a:lnTo>
                  <a:lnTo>
                    <a:pt x="f159" y="f311"/>
                  </a:lnTo>
                  <a:lnTo>
                    <a:pt x="f158" y="f311"/>
                  </a:lnTo>
                  <a:lnTo>
                    <a:pt x="f161" y="f310"/>
                  </a:lnTo>
                  <a:lnTo>
                    <a:pt x="f161" y="f309"/>
                  </a:lnTo>
                  <a:close/>
                  <a:moveTo>
                    <a:pt x="f283" y="f308"/>
                  </a:moveTo>
                  <a:lnTo>
                    <a:pt x="f312" y="f308"/>
                  </a:lnTo>
                  <a:lnTo>
                    <a:pt x="f313" y="f309"/>
                  </a:lnTo>
                  <a:lnTo>
                    <a:pt x="f313" y="f310"/>
                  </a:lnTo>
                  <a:lnTo>
                    <a:pt x="f312" y="f311"/>
                  </a:lnTo>
                  <a:lnTo>
                    <a:pt x="f283" y="f311"/>
                  </a:lnTo>
                  <a:lnTo>
                    <a:pt x="f314" y="f310"/>
                  </a:lnTo>
                  <a:lnTo>
                    <a:pt x="f314" y="f309"/>
                  </a:lnTo>
                  <a:close/>
                  <a:moveTo>
                    <a:pt x="f286" y="f308"/>
                  </a:moveTo>
                  <a:lnTo>
                    <a:pt x="f315" y="f308"/>
                  </a:lnTo>
                  <a:lnTo>
                    <a:pt x="f316" y="f309"/>
                  </a:lnTo>
                  <a:lnTo>
                    <a:pt x="f316" y="f310"/>
                  </a:lnTo>
                  <a:lnTo>
                    <a:pt x="f315" y="f311"/>
                  </a:lnTo>
                  <a:lnTo>
                    <a:pt x="f286" y="f311"/>
                  </a:lnTo>
                  <a:lnTo>
                    <a:pt x="f288" y="f310"/>
                  </a:lnTo>
                  <a:lnTo>
                    <a:pt x="f288" y="f309"/>
                  </a:lnTo>
                  <a:close/>
                  <a:moveTo>
                    <a:pt x="f317" y="f308"/>
                  </a:moveTo>
                  <a:lnTo>
                    <a:pt x="f318" y="f308"/>
                  </a:lnTo>
                  <a:lnTo>
                    <a:pt x="f319" y="f309"/>
                  </a:lnTo>
                  <a:lnTo>
                    <a:pt x="f319" y="f310"/>
                  </a:lnTo>
                  <a:lnTo>
                    <a:pt x="f318" y="f311"/>
                  </a:lnTo>
                  <a:lnTo>
                    <a:pt x="f317" y="f311"/>
                  </a:lnTo>
                  <a:lnTo>
                    <a:pt x="f320" y="f310"/>
                  </a:lnTo>
                  <a:lnTo>
                    <a:pt x="f320" y="f309"/>
                  </a:lnTo>
                  <a:close/>
                  <a:moveTo>
                    <a:pt x="f291" y="f308"/>
                  </a:moveTo>
                  <a:lnTo>
                    <a:pt x="f321" y="f308"/>
                  </a:lnTo>
                  <a:lnTo>
                    <a:pt x="f322" y="f309"/>
                  </a:lnTo>
                  <a:lnTo>
                    <a:pt x="f322" y="f310"/>
                  </a:lnTo>
                  <a:lnTo>
                    <a:pt x="f321" y="f311"/>
                  </a:lnTo>
                  <a:lnTo>
                    <a:pt x="f291" y="f311"/>
                  </a:lnTo>
                  <a:lnTo>
                    <a:pt x="f293" y="f310"/>
                  </a:lnTo>
                  <a:lnTo>
                    <a:pt x="f293" y="f309"/>
                  </a:lnTo>
                  <a:close/>
                  <a:moveTo>
                    <a:pt x="f323" y="f324"/>
                  </a:moveTo>
                  <a:lnTo>
                    <a:pt x="f295" y="f324"/>
                  </a:lnTo>
                  <a:lnTo>
                    <a:pt x="f271" y="f325"/>
                  </a:lnTo>
                  <a:lnTo>
                    <a:pt x="f271" y="f326"/>
                  </a:lnTo>
                  <a:lnTo>
                    <a:pt x="f295" y="f327"/>
                  </a:lnTo>
                  <a:lnTo>
                    <a:pt x="f323" y="f327"/>
                  </a:lnTo>
                  <a:lnTo>
                    <a:pt x="f328" y="f326"/>
                  </a:lnTo>
                  <a:lnTo>
                    <a:pt x="f328" y="f325"/>
                  </a:lnTo>
                  <a:close/>
                  <a:moveTo>
                    <a:pt x="f239" y="f324"/>
                  </a:moveTo>
                  <a:lnTo>
                    <a:pt x="f212" y="f324"/>
                  </a:lnTo>
                  <a:lnTo>
                    <a:pt x="f329" y="f325"/>
                  </a:lnTo>
                  <a:lnTo>
                    <a:pt x="f329" y="f326"/>
                  </a:lnTo>
                  <a:lnTo>
                    <a:pt x="f212" y="f327"/>
                  </a:lnTo>
                  <a:lnTo>
                    <a:pt x="f239" y="f327"/>
                  </a:lnTo>
                  <a:lnTo>
                    <a:pt x="f299" y="f326"/>
                  </a:lnTo>
                  <a:lnTo>
                    <a:pt x="f299" y="f325"/>
                  </a:lnTo>
                  <a:close/>
                  <a:moveTo>
                    <a:pt x="f300" y="f324"/>
                  </a:moveTo>
                  <a:lnTo>
                    <a:pt x="f330" y="f324"/>
                  </a:lnTo>
                  <a:lnTo>
                    <a:pt x="f331" y="f325"/>
                  </a:lnTo>
                  <a:lnTo>
                    <a:pt x="f331" y="f326"/>
                  </a:lnTo>
                  <a:lnTo>
                    <a:pt x="f330" y="f327"/>
                  </a:lnTo>
                  <a:lnTo>
                    <a:pt x="f300" y="f327"/>
                  </a:lnTo>
                  <a:lnTo>
                    <a:pt x="f332" y="f326"/>
                  </a:lnTo>
                  <a:lnTo>
                    <a:pt x="f332" y="f325"/>
                  </a:lnTo>
                  <a:close/>
                  <a:moveTo>
                    <a:pt x="f302" y="f324"/>
                  </a:moveTo>
                  <a:lnTo>
                    <a:pt x="f303" y="f324"/>
                  </a:lnTo>
                  <a:lnTo>
                    <a:pt x="f333" y="f325"/>
                  </a:lnTo>
                  <a:lnTo>
                    <a:pt x="f333" y="f326"/>
                  </a:lnTo>
                  <a:lnTo>
                    <a:pt x="f303" y="f327"/>
                  </a:lnTo>
                  <a:lnTo>
                    <a:pt x="f302" y="f327"/>
                  </a:lnTo>
                  <a:lnTo>
                    <a:pt x="f334" y="f326"/>
                  </a:lnTo>
                  <a:lnTo>
                    <a:pt x="f334" y="f325"/>
                  </a:lnTo>
                  <a:close/>
                  <a:moveTo>
                    <a:pt x="f305" y="f324"/>
                  </a:moveTo>
                  <a:lnTo>
                    <a:pt x="f335" y="f324"/>
                  </a:lnTo>
                  <a:lnTo>
                    <a:pt x="f306" y="f325"/>
                  </a:lnTo>
                  <a:lnTo>
                    <a:pt x="f306" y="f326"/>
                  </a:lnTo>
                  <a:lnTo>
                    <a:pt x="f335" y="f327"/>
                  </a:lnTo>
                  <a:lnTo>
                    <a:pt x="f305" y="f327"/>
                  </a:lnTo>
                  <a:lnTo>
                    <a:pt x="f336" y="f326"/>
                  </a:lnTo>
                  <a:lnTo>
                    <a:pt x="f336" y="f325"/>
                  </a:lnTo>
                  <a:close/>
                  <a:moveTo>
                    <a:pt x="f337" y="f324"/>
                  </a:moveTo>
                  <a:lnTo>
                    <a:pt x="f307" y="f324"/>
                  </a:lnTo>
                  <a:lnTo>
                    <a:pt x="f338" y="f325"/>
                  </a:lnTo>
                  <a:lnTo>
                    <a:pt x="f338" y="f326"/>
                  </a:lnTo>
                  <a:lnTo>
                    <a:pt x="f307" y="f327"/>
                  </a:lnTo>
                  <a:lnTo>
                    <a:pt x="f337" y="f327"/>
                  </a:lnTo>
                  <a:lnTo>
                    <a:pt x="f339" y="f326"/>
                  </a:lnTo>
                  <a:lnTo>
                    <a:pt x="f339" y="f325"/>
                  </a:lnTo>
                  <a:close/>
                  <a:moveTo>
                    <a:pt x="f35" y="f340"/>
                  </a:moveTo>
                  <a:lnTo>
                    <a:pt x="f37" y="f340"/>
                  </a:lnTo>
                  <a:lnTo>
                    <a:pt x="f6" y="f341"/>
                  </a:lnTo>
                  <a:lnTo>
                    <a:pt x="f6" y="f342"/>
                  </a:lnTo>
                  <a:lnTo>
                    <a:pt x="f37" y="f343"/>
                  </a:lnTo>
                  <a:lnTo>
                    <a:pt x="f35" y="f343"/>
                  </a:lnTo>
                  <a:lnTo>
                    <a:pt x="f41" y="f342"/>
                  </a:lnTo>
                  <a:lnTo>
                    <a:pt x="f41" y="f341"/>
                  </a:lnTo>
                  <a:close/>
                  <a:moveTo>
                    <a:pt x="f42" y="f340"/>
                  </a:moveTo>
                  <a:lnTo>
                    <a:pt x="f43" y="f340"/>
                  </a:lnTo>
                  <a:lnTo>
                    <a:pt x="f44" y="f341"/>
                  </a:lnTo>
                  <a:lnTo>
                    <a:pt x="f44" y="f342"/>
                  </a:lnTo>
                  <a:lnTo>
                    <a:pt x="f43" y="f343"/>
                  </a:lnTo>
                  <a:lnTo>
                    <a:pt x="f42" y="f343"/>
                  </a:lnTo>
                  <a:lnTo>
                    <a:pt x="f45" y="f342"/>
                  </a:lnTo>
                  <a:lnTo>
                    <a:pt x="f45" y="f341"/>
                  </a:lnTo>
                  <a:close/>
                  <a:moveTo>
                    <a:pt x="f46" y="f340"/>
                  </a:moveTo>
                  <a:lnTo>
                    <a:pt x="f47" y="f340"/>
                  </a:lnTo>
                  <a:lnTo>
                    <a:pt x="f48" y="f341"/>
                  </a:lnTo>
                  <a:lnTo>
                    <a:pt x="f48" y="f342"/>
                  </a:lnTo>
                  <a:lnTo>
                    <a:pt x="f47" y="f343"/>
                  </a:lnTo>
                  <a:lnTo>
                    <a:pt x="f46" y="f343"/>
                  </a:lnTo>
                  <a:lnTo>
                    <a:pt x="f49" y="f342"/>
                  </a:lnTo>
                  <a:lnTo>
                    <a:pt x="f49" y="f341"/>
                  </a:lnTo>
                  <a:close/>
                  <a:moveTo>
                    <a:pt x="f50" y="f340"/>
                  </a:moveTo>
                  <a:lnTo>
                    <a:pt x="f51" y="f340"/>
                  </a:lnTo>
                  <a:lnTo>
                    <a:pt x="f52" y="f341"/>
                  </a:lnTo>
                  <a:lnTo>
                    <a:pt x="f52" y="f342"/>
                  </a:lnTo>
                  <a:lnTo>
                    <a:pt x="f51" y="f343"/>
                  </a:lnTo>
                  <a:lnTo>
                    <a:pt x="f50" y="f343"/>
                  </a:lnTo>
                  <a:lnTo>
                    <a:pt x="f53" y="f342"/>
                  </a:lnTo>
                  <a:lnTo>
                    <a:pt x="f53" y="f341"/>
                  </a:lnTo>
                  <a:close/>
                  <a:moveTo>
                    <a:pt x="f54" y="f340"/>
                  </a:moveTo>
                  <a:lnTo>
                    <a:pt x="f55" y="f340"/>
                  </a:lnTo>
                  <a:lnTo>
                    <a:pt x="f56" y="f341"/>
                  </a:lnTo>
                  <a:lnTo>
                    <a:pt x="f56" y="f342"/>
                  </a:lnTo>
                  <a:lnTo>
                    <a:pt x="f55" y="f343"/>
                  </a:lnTo>
                  <a:lnTo>
                    <a:pt x="f54" y="f343"/>
                  </a:lnTo>
                  <a:lnTo>
                    <a:pt x="f57" y="f342"/>
                  </a:lnTo>
                  <a:lnTo>
                    <a:pt x="f57" y="f341"/>
                  </a:lnTo>
                  <a:close/>
                  <a:moveTo>
                    <a:pt x="f58" y="f340"/>
                  </a:moveTo>
                  <a:lnTo>
                    <a:pt x="f59" y="f340"/>
                  </a:lnTo>
                  <a:lnTo>
                    <a:pt x="f60" y="f341"/>
                  </a:lnTo>
                  <a:lnTo>
                    <a:pt x="f60" y="f342"/>
                  </a:lnTo>
                  <a:lnTo>
                    <a:pt x="f59" y="f343"/>
                  </a:lnTo>
                  <a:lnTo>
                    <a:pt x="f58" y="f343"/>
                  </a:lnTo>
                  <a:lnTo>
                    <a:pt x="f61" y="f342"/>
                  </a:lnTo>
                  <a:lnTo>
                    <a:pt x="f61" y="f341"/>
                  </a:lnTo>
                  <a:close/>
                  <a:moveTo>
                    <a:pt x="f62" y="f340"/>
                  </a:moveTo>
                  <a:lnTo>
                    <a:pt x="f63" y="f340"/>
                  </a:lnTo>
                  <a:lnTo>
                    <a:pt x="f64" y="f341"/>
                  </a:lnTo>
                  <a:lnTo>
                    <a:pt x="f64" y="f342"/>
                  </a:lnTo>
                  <a:lnTo>
                    <a:pt x="f63" y="f343"/>
                  </a:lnTo>
                  <a:lnTo>
                    <a:pt x="f62" y="f343"/>
                  </a:lnTo>
                  <a:lnTo>
                    <a:pt x="f65" y="f342"/>
                  </a:lnTo>
                  <a:lnTo>
                    <a:pt x="f65" y="f341"/>
                  </a:lnTo>
                  <a:close/>
                  <a:moveTo>
                    <a:pt x="f66" y="f340"/>
                  </a:moveTo>
                  <a:lnTo>
                    <a:pt x="f67" y="f340"/>
                  </a:lnTo>
                  <a:lnTo>
                    <a:pt x="f68" y="f341"/>
                  </a:lnTo>
                  <a:lnTo>
                    <a:pt x="f68" y="f342"/>
                  </a:lnTo>
                  <a:lnTo>
                    <a:pt x="f67" y="f343"/>
                  </a:lnTo>
                  <a:lnTo>
                    <a:pt x="f66" y="f343"/>
                  </a:lnTo>
                  <a:lnTo>
                    <a:pt x="f69" y="f342"/>
                  </a:lnTo>
                  <a:lnTo>
                    <a:pt x="f69" y="f341"/>
                  </a:lnTo>
                  <a:close/>
                  <a:moveTo>
                    <a:pt x="f70" y="f340"/>
                  </a:moveTo>
                  <a:lnTo>
                    <a:pt x="f71" y="f340"/>
                  </a:lnTo>
                  <a:lnTo>
                    <a:pt x="f72" y="f341"/>
                  </a:lnTo>
                  <a:lnTo>
                    <a:pt x="f72" y="f342"/>
                  </a:lnTo>
                  <a:lnTo>
                    <a:pt x="f71" y="f343"/>
                  </a:lnTo>
                  <a:lnTo>
                    <a:pt x="f70" y="f343"/>
                  </a:lnTo>
                  <a:lnTo>
                    <a:pt x="f73" y="f342"/>
                  </a:lnTo>
                  <a:lnTo>
                    <a:pt x="f73" y="f341"/>
                  </a:lnTo>
                  <a:close/>
                  <a:moveTo>
                    <a:pt x="f74" y="f340"/>
                  </a:moveTo>
                  <a:lnTo>
                    <a:pt x="f75" y="f340"/>
                  </a:lnTo>
                  <a:lnTo>
                    <a:pt x="f76" y="f341"/>
                  </a:lnTo>
                  <a:lnTo>
                    <a:pt x="f76" y="f342"/>
                  </a:lnTo>
                  <a:lnTo>
                    <a:pt x="f75" y="f343"/>
                  </a:lnTo>
                  <a:lnTo>
                    <a:pt x="f74" y="f343"/>
                  </a:lnTo>
                  <a:lnTo>
                    <a:pt x="f77" y="f342"/>
                  </a:lnTo>
                  <a:lnTo>
                    <a:pt x="f77" y="f341"/>
                  </a:lnTo>
                  <a:close/>
                  <a:moveTo>
                    <a:pt x="f78" y="f340"/>
                  </a:moveTo>
                  <a:lnTo>
                    <a:pt x="f79" y="f340"/>
                  </a:lnTo>
                  <a:lnTo>
                    <a:pt x="f80" y="f341"/>
                  </a:lnTo>
                  <a:lnTo>
                    <a:pt x="f80" y="f342"/>
                  </a:lnTo>
                  <a:lnTo>
                    <a:pt x="f79" y="f343"/>
                  </a:lnTo>
                  <a:lnTo>
                    <a:pt x="f78" y="f343"/>
                  </a:lnTo>
                  <a:lnTo>
                    <a:pt x="f81" y="f342"/>
                  </a:lnTo>
                  <a:lnTo>
                    <a:pt x="f81" y="f341"/>
                  </a:lnTo>
                  <a:close/>
                  <a:moveTo>
                    <a:pt x="f82" y="f340"/>
                  </a:moveTo>
                  <a:lnTo>
                    <a:pt x="f83" y="f340"/>
                  </a:lnTo>
                  <a:lnTo>
                    <a:pt x="f84" y="f341"/>
                  </a:lnTo>
                  <a:lnTo>
                    <a:pt x="f84" y="f342"/>
                  </a:lnTo>
                  <a:lnTo>
                    <a:pt x="f83" y="f343"/>
                  </a:lnTo>
                  <a:lnTo>
                    <a:pt x="f82" y="f343"/>
                  </a:lnTo>
                  <a:lnTo>
                    <a:pt x="f85" y="f342"/>
                  </a:lnTo>
                  <a:lnTo>
                    <a:pt x="f85" y="f341"/>
                  </a:lnTo>
                  <a:close/>
                  <a:moveTo>
                    <a:pt x="f86" y="f340"/>
                  </a:moveTo>
                  <a:lnTo>
                    <a:pt x="f87" y="f340"/>
                  </a:lnTo>
                  <a:lnTo>
                    <a:pt x="f88" y="f341"/>
                  </a:lnTo>
                  <a:lnTo>
                    <a:pt x="f88" y="f342"/>
                  </a:lnTo>
                  <a:lnTo>
                    <a:pt x="f87" y="f343"/>
                  </a:lnTo>
                  <a:lnTo>
                    <a:pt x="f86" y="f343"/>
                  </a:lnTo>
                  <a:lnTo>
                    <a:pt x="f89" y="f342"/>
                  </a:lnTo>
                  <a:lnTo>
                    <a:pt x="f89" y="f341"/>
                  </a:lnTo>
                  <a:close/>
                  <a:moveTo>
                    <a:pt x="f90" y="f340"/>
                  </a:moveTo>
                  <a:lnTo>
                    <a:pt x="f91" y="f340"/>
                  </a:lnTo>
                  <a:lnTo>
                    <a:pt x="f92" y="f341"/>
                  </a:lnTo>
                  <a:lnTo>
                    <a:pt x="f92" y="f342"/>
                  </a:lnTo>
                  <a:lnTo>
                    <a:pt x="f91" y="f343"/>
                  </a:lnTo>
                  <a:lnTo>
                    <a:pt x="f90" y="f343"/>
                  </a:lnTo>
                  <a:lnTo>
                    <a:pt x="f93" y="f342"/>
                  </a:lnTo>
                  <a:lnTo>
                    <a:pt x="f93" y="f341"/>
                  </a:lnTo>
                  <a:close/>
                  <a:moveTo>
                    <a:pt x="f94" y="f340"/>
                  </a:moveTo>
                  <a:lnTo>
                    <a:pt x="f95" y="f340"/>
                  </a:lnTo>
                  <a:lnTo>
                    <a:pt x="f96" y="f341"/>
                  </a:lnTo>
                  <a:lnTo>
                    <a:pt x="f96" y="f342"/>
                  </a:lnTo>
                  <a:lnTo>
                    <a:pt x="f95" y="f343"/>
                  </a:lnTo>
                  <a:lnTo>
                    <a:pt x="f94" y="f343"/>
                  </a:lnTo>
                  <a:lnTo>
                    <a:pt x="f97" y="f342"/>
                  </a:lnTo>
                  <a:lnTo>
                    <a:pt x="f97" y="f341"/>
                  </a:lnTo>
                  <a:close/>
                  <a:moveTo>
                    <a:pt x="f98" y="f340"/>
                  </a:moveTo>
                  <a:lnTo>
                    <a:pt x="f99" y="f340"/>
                  </a:lnTo>
                  <a:lnTo>
                    <a:pt x="f100" y="f341"/>
                  </a:lnTo>
                  <a:lnTo>
                    <a:pt x="f100" y="f342"/>
                  </a:lnTo>
                  <a:lnTo>
                    <a:pt x="f99" y="f343"/>
                  </a:lnTo>
                  <a:lnTo>
                    <a:pt x="f98" y="f343"/>
                  </a:lnTo>
                  <a:lnTo>
                    <a:pt x="f101" y="f342"/>
                  </a:lnTo>
                  <a:lnTo>
                    <a:pt x="f101" y="f341"/>
                  </a:lnTo>
                  <a:close/>
                  <a:moveTo>
                    <a:pt x="f102" y="f340"/>
                  </a:moveTo>
                  <a:lnTo>
                    <a:pt x="f103" y="f340"/>
                  </a:lnTo>
                  <a:lnTo>
                    <a:pt x="f104" y="f341"/>
                  </a:lnTo>
                  <a:lnTo>
                    <a:pt x="f104" y="f342"/>
                  </a:lnTo>
                  <a:lnTo>
                    <a:pt x="f103" y="f343"/>
                  </a:lnTo>
                  <a:lnTo>
                    <a:pt x="f102" y="f343"/>
                  </a:lnTo>
                  <a:lnTo>
                    <a:pt x="f105" y="f342"/>
                  </a:lnTo>
                  <a:lnTo>
                    <a:pt x="f105" y="f341"/>
                  </a:lnTo>
                  <a:close/>
                  <a:moveTo>
                    <a:pt x="f106" y="f340"/>
                  </a:moveTo>
                  <a:lnTo>
                    <a:pt x="f107" y="f340"/>
                  </a:lnTo>
                  <a:lnTo>
                    <a:pt x="f108" y="f341"/>
                  </a:lnTo>
                  <a:lnTo>
                    <a:pt x="f108" y="f342"/>
                  </a:lnTo>
                  <a:lnTo>
                    <a:pt x="f107" y="f343"/>
                  </a:lnTo>
                  <a:lnTo>
                    <a:pt x="f106" y="f343"/>
                  </a:lnTo>
                  <a:lnTo>
                    <a:pt x="f109" y="f342"/>
                  </a:lnTo>
                  <a:lnTo>
                    <a:pt x="f109" y="f341"/>
                  </a:lnTo>
                  <a:close/>
                  <a:moveTo>
                    <a:pt x="f110" y="f340"/>
                  </a:moveTo>
                  <a:lnTo>
                    <a:pt x="f111" y="f340"/>
                  </a:lnTo>
                  <a:lnTo>
                    <a:pt x="f112" y="f341"/>
                  </a:lnTo>
                  <a:lnTo>
                    <a:pt x="f112" y="f342"/>
                  </a:lnTo>
                  <a:lnTo>
                    <a:pt x="f111" y="f343"/>
                  </a:lnTo>
                  <a:lnTo>
                    <a:pt x="f110" y="f343"/>
                  </a:lnTo>
                  <a:lnTo>
                    <a:pt x="f113" y="f342"/>
                  </a:lnTo>
                  <a:lnTo>
                    <a:pt x="f113" y="f341"/>
                  </a:lnTo>
                  <a:close/>
                  <a:moveTo>
                    <a:pt x="f114" y="f340"/>
                  </a:moveTo>
                  <a:lnTo>
                    <a:pt x="f115" y="f340"/>
                  </a:lnTo>
                  <a:lnTo>
                    <a:pt x="f116" y="f341"/>
                  </a:lnTo>
                  <a:lnTo>
                    <a:pt x="f116" y="f342"/>
                  </a:lnTo>
                  <a:lnTo>
                    <a:pt x="f115" y="f343"/>
                  </a:lnTo>
                  <a:lnTo>
                    <a:pt x="f114" y="f343"/>
                  </a:lnTo>
                  <a:lnTo>
                    <a:pt x="f117" y="f342"/>
                  </a:lnTo>
                  <a:lnTo>
                    <a:pt x="f117" y="f341"/>
                  </a:lnTo>
                  <a:close/>
                  <a:moveTo>
                    <a:pt x="f118" y="f340"/>
                  </a:moveTo>
                  <a:lnTo>
                    <a:pt x="f119" y="f340"/>
                  </a:lnTo>
                  <a:lnTo>
                    <a:pt x="f120" y="f341"/>
                  </a:lnTo>
                  <a:lnTo>
                    <a:pt x="f120" y="f342"/>
                  </a:lnTo>
                  <a:lnTo>
                    <a:pt x="f119" y="f343"/>
                  </a:lnTo>
                  <a:lnTo>
                    <a:pt x="f118" y="f343"/>
                  </a:lnTo>
                  <a:lnTo>
                    <a:pt x="f121" y="f342"/>
                  </a:lnTo>
                  <a:lnTo>
                    <a:pt x="f121" y="f341"/>
                  </a:lnTo>
                  <a:close/>
                  <a:moveTo>
                    <a:pt x="f122" y="f340"/>
                  </a:moveTo>
                  <a:lnTo>
                    <a:pt x="f123" y="f340"/>
                  </a:lnTo>
                  <a:lnTo>
                    <a:pt x="f124" y="f341"/>
                  </a:lnTo>
                  <a:lnTo>
                    <a:pt x="f124" y="f342"/>
                  </a:lnTo>
                  <a:lnTo>
                    <a:pt x="f123" y="f343"/>
                  </a:lnTo>
                  <a:lnTo>
                    <a:pt x="f122" y="f343"/>
                  </a:lnTo>
                  <a:lnTo>
                    <a:pt x="f125" y="f342"/>
                  </a:lnTo>
                  <a:lnTo>
                    <a:pt x="f125" y="f341"/>
                  </a:lnTo>
                  <a:close/>
                  <a:moveTo>
                    <a:pt x="f126" y="f340"/>
                  </a:moveTo>
                  <a:lnTo>
                    <a:pt x="f127" y="f340"/>
                  </a:lnTo>
                  <a:lnTo>
                    <a:pt x="f128" y="f341"/>
                  </a:lnTo>
                  <a:lnTo>
                    <a:pt x="f128" y="f342"/>
                  </a:lnTo>
                  <a:lnTo>
                    <a:pt x="f127" y="f343"/>
                  </a:lnTo>
                  <a:lnTo>
                    <a:pt x="f126" y="f343"/>
                  </a:lnTo>
                  <a:lnTo>
                    <a:pt x="f129" y="f342"/>
                  </a:lnTo>
                  <a:lnTo>
                    <a:pt x="f129" y="f341"/>
                  </a:lnTo>
                  <a:close/>
                  <a:moveTo>
                    <a:pt x="f130" y="f340"/>
                  </a:moveTo>
                  <a:lnTo>
                    <a:pt x="f131" y="f340"/>
                  </a:lnTo>
                  <a:lnTo>
                    <a:pt x="f132" y="f341"/>
                  </a:lnTo>
                  <a:lnTo>
                    <a:pt x="f132" y="f342"/>
                  </a:lnTo>
                  <a:lnTo>
                    <a:pt x="f131" y="f343"/>
                  </a:lnTo>
                  <a:lnTo>
                    <a:pt x="f130" y="f343"/>
                  </a:lnTo>
                  <a:lnTo>
                    <a:pt x="f133" y="f342"/>
                  </a:lnTo>
                  <a:lnTo>
                    <a:pt x="f133" y="f341"/>
                  </a:lnTo>
                  <a:close/>
                  <a:moveTo>
                    <a:pt x="f134" y="f340"/>
                  </a:moveTo>
                  <a:lnTo>
                    <a:pt x="f135" y="f340"/>
                  </a:lnTo>
                  <a:lnTo>
                    <a:pt x="f136" y="f341"/>
                  </a:lnTo>
                  <a:lnTo>
                    <a:pt x="f136" y="f342"/>
                  </a:lnTo>
                  <a:lnTo>
                    <a:pt x="f135" y="f343"/>
                  </a:lnTo>
                  <a:lnTo>
                    <a:pt x="f134" y="f343"/>
                  </a:lnTo>
                  <a:lnTo>
                    <a:pt x="f137" y="f342"/>
                  </a:lnTo>
                  <a:lnTo>
                    <a:pt x="f137" y="f341"/>
                  </a:lnTo>
                  <a:close/>
                  <a:moveTo>
                    <a:pt x="f138" y="f340"/>
                  </a:moveTo>
                  <a:lnTo>
                    <a:pt x="f139" y="f340"/>
                  </a:lnTo>
                  <a:lnTo>
                    <a:pt x="f140" y="f341"/>
                  </a:lnTo>
                  <a:lnTo>
                    <a:pt x="f140" y="f342"/>
                  </a:lnTo>
                  <a:lnTo>
                    <a:pt x="f139" y="f343"/>
                  </a:lnTo>
                  <a:lnTo>
                    <a:pt x="f138" y="f343"/>
                  </a:lnTo>
                  <a:lnTo>
                    <a:pt x="f141" y="f342"/>
                  </a:lnTo>
                  <a:lnTo>
                    <a:pt x="f141" y="f341"/>
                  </a:lnTo>
                  <a:close/>
                  <a:moveTo>
                    <a:pt x="f142" y="f340"/>
                  </a:moveTo>
                  <a:lnTo>
                    <a:pt x="f143" y="f340"/>
                  </a:lnTo>
                  <a:lnTo>
                    <a:pt x="f144" y="f341"/>
                  </a:lnTo>
                  <a:lnTo>
                    <a:pt x="f144" y="f342"/>
                  </a:lnTo>
                  <a:lnTo>
                    <a:pt x="f143" y="f343"/>
                  </a:lnTo>
                  <a:lnTo>
                    <a:pt x="f142" y="f343"/>
                  </a:lnTo>
                  <a:lnTo>
                    <a:pt x="f145" y="f342"/>
                  </a:lnTo>
                  <a:lnTo>
                    <a:pt x="f145" y="f341"/>
                  </a:lnTo>
                  <a:close/>
                  <a:moveTo>
                    <a:pt x="f146" y="f340"/>
                  </a:moveTo>
                  <a:lnTo>
                    <a:pt x="f147" y="f340"/>
                  </a:lnTo>
                  <a:lnTo>
                    <a:pt x="f148" y="f341"/>
                  </a:lnTo>
                  <a:lnTo>
                    <a:pt x="f148" y="f342"/>
                  </a:lnTo>
                  <a:lnTo>
                    <a:pt x="f147" y="f343"/>
                  </a:lnTo>
                  <a:lnTo>
                    <a:pt x="f146" y="f343"/>
                  </a:lnTo>
                  <a:lnTo>
                    <a:pt x="f149" y="f342"/>
                  </a:lnTo>
                  <a:lnTo>
                    <a:pt x="f149" y="f341"/>
                  </a:lnTo>
                  <a:close/>
                  <a:moveTo>
                    <a:pt x="f150" y="f340"/>
                  </a:moveTo>
                  <a:lnTo>
                    <a:pt x="f151" y="f340"/>
                  </a:lnTo>
                  <a:lnTo>
                    <a:pt x="f152" y="f341"/>
                  </a:lnTo>
                  <a:lnTo>
                    <a:pt x="f152" y="f342"/>
                  </a:lnTo>
                  <a:lnTo>
                    <a:pt x="f151" y="f343"/>
                  </a:lnTo>
                  <a:lnTo>
                    <a:pt x="f150" y="f343"/>
                  </a:lnTo>
                  <a:lnTo>
                    <a:pt x="f153" y="f342"/>
                  </a:lnTo>
                  <a:lnTo>
                    <a:pt x="f153" y="f341"/>
                  </a:lnTo>
                  <a:close/>
                  <a:moveTo>
                    <a:pt x="f154" y="f340"/>
                  </a:moveTo>
                  <a:lnTo>
                    <a:pt x="f155" y="f340"/>
                  </a:lnTo>
                  <a:lnTo>
                    <a:pt x="f156" y="f341"/>
                  </a:lnTo>
                  <a:lnTo>
                    <a:pt x="f156" y="f342"/>
                  </a:lnTo>
                  <a:lnTo>
                    <a:pt x="f155" y="f343"/>
                  </a:lnTo>
                  <a:lnTo>
                    <a:pt x="f154" y="f343"/>
                  </a:lnTo>
                  <a:lnTo>
                    <a:pt x="f157" y="f342"/>
                  </a:lnTo>
                  <a:lnTo>
                    <a:pt x="f157" y="f341"/>
                  </a:lnTo>
                  <a:close/>
                  <a:moveTo>
                    <a:pt x="f158" y="f340"/>
                  </a:moveTo>
                  <a:lnTo>
                    <a:pt x="f159" y="f340"/>
                  </a:lnTo>
                  <a:lnTo>
                    <a:pt x="f160" y="f341"/>
                  </a:lnTo>
                  <a:lnTo>
                    <a:pt x="f160" y="f342"/>
                  </a:lnTo>
                  <a:lnTo>
                    <a:pt x="f159" y="f343"/>
                  </a:lnTo>
                  <a:lnTo>
                    <a:pt x="f158" y="f343"/>
                  </a:lnTo>
                  <a:lnTo>
                    <a:pt x="f161" y="f342"/>
                  </a:lnTo>
                  <a:lnTo>
                    <a:pt x="f161" y="f341"/>
                  </a:lnTo>
                  <a:close/>
                  <a:moveTo>
                    <a:pt x="f344" y="f340"/>
                  </a:moveTo>
                  <a:lnTo>
                    <a:pt x="f312" y="f340"/>
                  </a:lnTo>
                  <a:lnTo>
                    <a:pt x="f313" y="f341"/>
                  </a:lnTo>
                  <a:lnTo>
                    <a:pt x="f313" y="f342"/>
                  </a:lnTo>
                  <a:lnTo>
                    <a:pt x="f312" y="f343"/>
                  </a:lnTo>
                  <a:lnTo>
                    <a:pt x="f344" y="f343"/>
                  </a:lnTo>
                  <a:lnTo>
                    <a:pt x="f345" y="f342"/>
                  </a:lnTo>
                  <a:lnTo>
                    <a:pt x="f345" y="f341"/>
                  </a:lnTo>
                  <a:close/>
                  <a:moveTo>
                    <a:pt x="f346" y="f340"/>
                  </a:moveTo>
                  <a:lnTo>
                    <a:pt x="f315" y="f340"/>
                  </a:lnTo>
                  <a:lnTo>
                    <a:pt x="f347" y="f341"/>
                  </a:lnTo>
                  <a:lnTo>
                    <a:pt x="f347" y="f342"/>
                  </a:lnTo>
                  <a:lnTo>
                    <a:pt x="f315" y="f343"/>
                  </a:lnTo>
                  <a:lnTo>
                    <a:pt x="f346" y="f343"/>
                  </a:lnTo>
                  <a:lnTo>
                    <a:pt x="f348" y="f342"/>
                  </a:lnTo>
                  <a:lnTo>
                    <a:pt x="f348" y="f341"/>
                  </a:lnTo>
                  <a:close/>
                  <a:moveTo>
                    <a:pt x="f317" y="f340"/>
                  </a:moveTo>
                  <a:lnTo>
                    <a:pt x="f349" y="f340"/>
                  </a:lnTo>
                  <a:lnTo>
                    <a:pt x="f350" y="f341"/>
                  </a:lnTo>
                  <a:lnTo>
                    <a:pt x="f350" y="f342"/>
                  </a:lnTo>
                  <a:lnTo>
                    <a:pt x="f349" y="f343"/>
                  </a:lnTo>
                  <a:lnTo>
                    <a:pt x="f317" y="f343"/>
                  </a:lnTo>
                  <a:lnTo>
                    <a:pt x="f320" y="f342"/>
                  </a:lnTo>
                  <a:lnTo>
                    <a:pt x="f320" y="f341"/>
                  </a:lnTo>
                  <a:close/>
                  <a:moveTo>
                    <a:pt x="f351" y="f340"/>
                  </a:moveTo>
                  <a:lnTo>
                    <a:pt x="f321" y="f340"/>
                  </a:lnTo>
                  <a:lnTo>
                    <a:pt x="f322" y="f341"/>
                  </a:lnTo>
                  <a:lnTo>
                    <a:pt x="f322" y="f342"/>
                  </a:lnTo>
                  <a:lnTo>
                    <a:pt x="f321" y="f343"/>
                  </a:lnTo>
                  <a:lnTo>
                    <a:pt x="f351" y="f343"/>
                  </a:lnTo>
                  <a:lnTo>
                    <a:pt x="f352" y="f342"/>
                  </a:lnTo>
                  <a:lnTo>
                    <a:pt x="f352" y="f341"/>
                  </a:lnTo>
                  <a:close/>
                  <a:moveTo>
                    <a:pt x="f35" y="f353"/>
                  </a:moveTo>
                  <a:lnTo>
                    <a:pt x="f37" y="f353"/>
                  </a:lnTo>
                  <a:lnTo>
                    <a:pt x="f6" y="f354"/>
                  </a:lnTo>
                  <a:lnTo>
                    <a:pt x="f6" y="f355"/>
                  </a:lnTo>
                  <a:lnTo>
                    <a:pt x="f37" y="f356"/>
                  </a:lnTo>
                  <a:lnTo>
                    <a:pt x="f35" y="f356"/>
                  </a:lnTo>
                  <a:lnTo>
                    <a:pt x="f41" y="f355"/>
                  </a:lnTo>
                  <a:lnTo>
                    <a:pt x="f41" y="f354"/>
                  </a:lnTo>
                  <a:close/>
                  <a:moveTo>
                    <a:pt x="f42" y="f353"/>
                  </a:moveTo>
                  <a:lnTo>
                    <a:pt x="f43" y="f353"/>
                  </a:lnTo>
                  <a:lnTo>
                    <a:pt x="f44" y="f354"/>
                  </a:lnTo>
                  <a:lnTo>
                    <a:pt x="f44" y="f355"/>
                  </a:lnTo>
                  <a:lnTo>
                    <a:pt x="f43" y="f356"/>
                  </a:lnTo>
                  <a:lnTo>
                    <a:pt x="f42" y="f356"/>
                  </a:lnTo>
                  <a:lnTo>
                    <a:pt x="f45" y="f355"/>
                  </a:lnTo>
                  <a:lnTo>
                    <a:pt x="f45" y="f354"/>
                  </a:lnTo>
                  <a:close/>
                  <a:moveTo>
                    <a:pt x="f46" y="f353"/>
                  </a:moveTo>
                  <a:lnTo>
                    <a:pt x="f47" y="f353"/>
                  </a:lnTo>
                  <a:lnTo>
                    <a:pt x="f48" y="f354"/>
                  </a:lnTo>
                  <a:lnTo>
                    <a:pt x="f48" y="f355"/>
                  </a:lnTo>
                  <a:lnTo>
                    <a:pt x="f47" y="f356"/>
                  </a:lnTo>
                  <a:lnTo>
                    <a:pt x="f46" y="f356"/>
                  </a:lnTo>
                  <a:lnTo>
                    <a:pt x="f49" y="f355"/>
                  </a:lnTo>
                  <a:lnTo>
                    <a:pt x="f49" y="f354"/>
                  </a:lnTo>
                  <a:close/>
                  <a:moveTo>
                    <a:pt x="f50" y="f353"/>
                  </a:moveTo>
                  <a:lnTo>
                    <a:pt x="f51" y="f353"/>
                  </a:lnTo>
                  <a:lnTo>
                    <a:pt x="f52" y="f354"/>
                  </a:lnTo>
                  <a:lnTo>
                    <a:pt x="f52" y="f355"/>
                  </a:lnTo>
                  <a:lnTo>
                    <a:pt x="f51" y="f356"/>
                  </a:lnTo>
                  <a:lnTo>
                    <a:pt x="f50" y="f356"/>
                  </a:lnTo>
                  <a:lnTo>
                    <a:pt x="f53" y="f355"/>
                  </a:lnTo>
                  <a:lnTo>
                    <a:pt x="f53" y="f354"/>
                  </a:lnTo>
                  <a:close/>
                  <a:moveTo>
                    <a:pt x="f54" y="f353"/>
                  </a:moveTo>
                  <a:lnTo>
                    <a:pt x="f55" y="f353"/>
                  </a:lnTo>
                  <a:lnTo>
                    <a:pt x="f56" y="f354"/>
                  </a:lnTo>
                  <a:lnTo>
                    <a:pt x="f56" y="f355"/>
                  </a:lnTo>
                  <a:lnTo>
                    <a:pt x="f55" y="f356"/>
                  </a:lnTo>
                  <a:lnTo>
                    <a:pt x="f54" y="f356"/>
                  </a:lnTo>
                  <a:lnTo>
                    <a:pt x="f57" y="f355"/>
                  </a:lnTo>
                  <a:lnTo>
                    <a:pt x="f57" y="f354"/>
                  </a:lnTo>
                  <a:close/>
                  <a:moveTo>
                    <a:pt x="f58" y="f353"/>
                  </a:moveTo>
                  <a:lnTo>
                    <a:pt x="f59" y="f353"/>
                  </a:lnTo>
                  <a:lnTo>
                    <a:pt x="f60" y="f354"/>
                  </a:lnTo>
                  <a:lnTo>
                    <a:pt x="f60" y="f355"/>
                  </a:lnTo>
                  <a:lnTo>
                    <a:pt x="f59" y="f356"/>
                  </a:lnTo>
                  <a:lnTo>
                    <a:pt x="f58" y="f356"/>
                  </a:lnTo>
                  <a:lnTo>
                    <a:pt x="f61" y="f355"/>
                  </a:lnTo>
                  <a:lnTo>
                    <a:pt x="f61" y="f354"/>
                  </a:lnTo>
                  <a:close/>
                  <a:moveTo>
                    <a:pt x="f62" y="f353"/>
                  </a:moveTo>
                  <a:lnTo>
                    <a:pt x="f63" y="f353"/>
                  </a:lnTo>
                  <a:lnTo>
                    <a:pt x="f64" y="f354"/>
                  </a:lnTo>
                  <a:lnTo>
                    <a:pt x="f64" y="f355"/>
                  </a:lnTo>
                  <a:lnTo>
                    <a:pt x="f63" y="f356"/>
                  </a:lnTo>
                  <a:lnTo>
                    <a:pt x="f62" y="f356"/>
                  </a:lnTo>
                  <a:lnTo>
                    <a:pt x="f65" y="f355"/>
                  </a:lnTo>
                  <a:lnTo>
                    <a:pt x="f65" y="f354"/>
                  </a:lnTo>
                  <a:close/>
                  <a:moveTo>
                    <a:pt x="f66" y="f353"/>
                  </a:moveTo>
                  <a:lnTo>
                    <a:pt x="f67" y="f353"/>
                  </a:lnTo>
                  <a:lnTo>
                    <a:pt x="f68" y="f354"/>
                  </a:lnTo>
                  <a:lnTo>
                    <a:pt x="f68" y="f355"/>
                  </a:lnTo>
                  <a:lnTo>
                    <a:pt x="f67" y="f356"/>
                  </a:lnTo>
                  <a:lnTo>
                    <a:pt x="f66" y="f356"/>
                  </a:lnTo>
                  <a:lnTo>
                    <a:pt x="f69" y="f355"/>
                  </a:lnTo>
                  <a:lnTo>
                    <a:pt x="f69" y="f354"/>
                  </a:lnTo>
                  <a:close/>
                  <a:moveTo>
                    <a:pt x="f70" y="f353"/>
                  </a:moveTo>
                  <a:lnTo>
                    <a:pt x="f71" y="f353"/>
                  </a:lnTo>
                  <a:lnTo>
                    <a:pt x="f72" y="f354"/>
                  </a:lnTo>
                  <a:lnTo>
                    <a:pt x="f72" y="f355"/>
                  </a:lnTo>
                  <a:lnTo>
                    <a:pt x="f71" y="f356"/>
                  </a:lnTo>
                  <a:lnTo>
                    <a:pt x="f70" y="f356"/>
                  </a:lnTo>
                  <a:lnTo>
                    <a:pt x="f73" y="f355"/>
                  </a:lnTo>
                  <a:lnTo>
                    <a:pt x="f73" y="f354"/>
                  </a:lnTo>
                  <a:close/>
                  <a:moveTo>
                    <a:pt x="f74" y="f353"/>
                  </a:moveTo>
                  <a:lnTo>
                    <a:pt x="f75" y="f353"/>
                  </a:lnTo>
                  <a:lnTo>
                    <a:pt x="f76" y="f354"/>
                  </a:lnTo>
                  <a:lnTo>
                    <a:pt x="f76" y="f355"/>
                  </a:lnTo>
                  <a:lnTo>
                    <a:pt x="f75" y="f356"/>
                  </a:lnTo>
                  <a:lnTo>
                    <a:pt x="f74" y="f356"/>
                  </a:lnTo>
                  <a:lnTo>
                    <a:pt x="f77" y="f355"/>
                  </a:lnTo>
                  <a:lnTo>
                    <a:pt x="f77" y="f354"/>
                  </a:lnTo>
                  <a:close/>
                  <a:moveTo>
                    <a:pt x="f78" y="f353"/>
                  </a:moveTo>
                  <a:lnTo>
                    <a:pt x="f79" y="f353"/>
                  </a:lnTo>
                  <a:lnTo>
                    <a:pt x="f80" y="f354"/>
                  </a:lnTo>
                  <a:lnTo>
                    <a:pt x="f80" y="f355"/>
                  </a:lnTo>
                  <a:lnTo>
                    <a:pt x="f79" y="f356"/>
                  </a:lnTo>
                  <a:lnTo>
                    <a:pt x="f78" y="f356"/>
                  </a:lnTo>
                  <a:lnTo>
                    <a:pt x="f81" y="f355"/>
                  </a:lnTo>
                  <a:lnTo>
                    <a:pt x="f81" y="f354"/>
                  </a:lnTo>
                  <a:close/>
                  <a:moveTo>
                    <a:pt x="f82" y="f353"/>
                  </a:moveTo>
                  <a:lnTo>
                    <a:pt x="f83" y="f353"/>
                  </a:lnTo>
                  <a:lnTo>
                    <a:pt x="f84" y="f354"/>
                  </a:lnTo>
                  <a:lnTo>
                    <a:pt x="f84" y="f355"/>
                  </a:lnTo>
                  <a:lnTo>
                    <a:pt x="f83" y="f356"/>
                  </a:lnTo>
                  <a:lnTo>
                    <a:pt x="f82" y="f356"/>
                  </a:lnTo>
                  <a:lnTo>
                    <a:pt x="f85" y="f355"/>
                  </a:lnTo>
                  <a:lnTo>
                    <a:pt x="f85" y="f354"/>
                  </a:lnTo>
                  <a:close/>
                  <a:moveTo>
                    <a:pt x="f86" y="f353"/>
                  </a:moveTo>
                  <a:lnTo>
                    <a:pt x="f87" y="f353"/>
                  </a:lnTo>
                  <a:lnTo>
                    <a:pt x="f88" y="f354"/>
                  </a:lnTo>
                  <a:lnTo>
                    <a:pt x="f88" y="f355"/>
                  </a:lnTo>
                  <a:lnTo>
                    <a:pt x="f87" y="f356"/>
                  </a:lnTo>
                  <a:lnTo>
                    <a:pt x="f86" y="f356"/>
                  </a:lnTo>
                  <a:lnTo>
                    <a:pt x="f89" y="f355"/>
                  </a:lnTo>
                  <a:lnTo>
                    <a:pt x="f89" y="f354"/>
                  </a:lnTo>
                  <a:close/>
                  <a:moveTo>
                    <a:pt x="f90" y="f353"/>
                  </a:moveTo>
                  <a:lnTo>
                    <a:pt x="f91" y="f353"/>
                  </a:lnTo>
                  <a:lnTo>
                    <a:pt x="f92" y="f354"/>
                  </a:lnTo>
                  <a:lnTo>
                    <a:pt x="f92" y="f355"/>
                  </a:lnTo>
                  <a:lnTo>
                    <a:pt x="f91" y="f356"/>
                  </a:lnTo>
                  <a:lnTo>
                    <a:pt x="f90" y="f356"/>
                  </a:lnTo>
                  <a:lnTo>
                    <a:pt x="f93" y="f355"/>
                  </a:lnTo>
                  <a:lnTo>
                    <a:pt x="f93" y="f354"/>
                  </a:lnTo>
                  <a:close/>
                  <a:moveTo>
                    <a:pt x="f94" y="f353"/>
                  </a:moveTo>
                  <a:lnTo>
                    <a:pt x="f95" y="f353"/>
                  </a:lnTo>
                  <a:lnTo>
                    <a:pt x="f96" y="f354"/>
                  </a:lnTo>
                  <a:lnTo>
                    <a:pt x="f96" y="f355"/>
                  </a:lnTo>
                  <a:lnTo>
                    <a:pt x="f95" y="f356"/>
                  </a:lnTo>
                  <a:lnTo>
                    <a:pt x="f94" y="f356"/>
                  </a:lnTo>
                  <a:lnTo>
                    <a:pt x="f97" y="f355"/>
                  </a:lnTo>
                  <a:lnTo>
                    <a:pt x="f97" y="f354"/>
                  </a:lnTo>
                  <a:close/>
                  <a:moveTo>
                    <a:pt x="f98" y="f353"/>
                  </a:moveTo>
                  <a:lnTo>
                    <a:pt x="f99" y="f353"/>
                  </a:lnTo>
                  <a:lnTo>
                    <a:pt x="f100" y="f354"/>
                  </a:lnTo>
                  <a:lnTo>
                    <a:pt x="f100" y="f355"/>
                  </a:lnTo>
                  <a:lnTo>
                    <a:pt x="f99" y="f356"/>
                  </a:lnTo>
                  <a:lnTo>
                    <a:pt x="f98" y="f356"/>
                  </a:lnTo>
                  <a:lnTo>
                    <a:pt x="f101" y="f355"/>
                  </a:lnTo>
                  <a:lnTo>
                    <a:pt x="f101" y="f354"/>
                  </a:lnTo>
                  <a:close/>
                  <a:moveTo>
                    <a:pt x="f102" y="f353"/>
                  </a:moveTo>
                  <a:lnTo>
                    <a:pt x="f103" y="f353"/>
                  </a:lnTo>
                  <a:lnTo>
                    <a:pt x="f104" y="f354"/>
                  </a:lnTo>
                  <a:lnTo>
                    <a:pt x="f104" y="f355"/>
                  </a:lnTo>
                  <a:lnTo>
                    <a:pt x="f103" y="f356"/>
                  </a:lnTo>
                  <a:lnTo>
                    <a:pt x="f102" y="f356"/>
                  </a:lnTo>
                  <a:lnTo>
                    <a:pt x="f105" y="f355"/>
                  </a:lnTo>
                  <a:lnTo>
                    <a:pt x="f105" y="f354"/>
                  </a:lnTo>
                  <a:close/>
                  <a:moveTo>
                    <a:pt x="f106" y="f353"/>
                  </a:moveTo>
                  <a:lnTo>
                    <a:pt x="f107" y="f353"/>
                  </a:lnTo>
                  <a:lnTo>
                    <a:pt x="f108" y="f354"/>
                  </a:lnTo>
                  <a:lnTo>
                    <a:pt x="f108" y="f355"/>
                  </a:lnTo>
                  <a:lnTo>
                    <a:pt x="f107" y="f356"/>
                  </a:lnTo>
                  <a:lnTo>
                    <a:pt x="f106" y="f356"/>
                  </a:lnTo>
                  <a:lnTo>
                    <a:pt x="f109" y="f355"/>
                  </a:lnTo>
                  <a:lnTo>
                    <a:pt x="f109" y="f354"/>
                  </a:lnTo>
                  <a:close/>
                  <a:moveTo>
                    <a:pt x="f110" y="f353"/>
                  </a:moveTo>
                  <a:lnTo>
                    <a:pt x="f111" y="f353"/>
                  </a:lnTo>
                  <a:lnTo>
                    <a:pt x="f112" y="f354"/>
                  </a:lnTo>
                  <a:lnTo>
                    <a:pt x="f112" y="f355"/>
                  </a:lnTo>
                  <a:lnTo>
                    <a:pt x="f111" y="f356"/>
                  </a:lnTo>
                  <a:lnTo>
                    <a:pt x="f110" y="f356"/>
                  </a:lnTo>
                  <a:lnTo>
                    <a:pt x="f113" y="f355"/>
                  </a:lnTo>
                  <a:lnTo>
                    <a:pt x="f113" y="f354"/>
                  </a:lnTo>
                  <a:close/>
                  <a:moveTo>
                    <a:pt x="f114" y="f353"/>
                  </a:moveTo>
                  <a:lnTo>
                    <a:pt x="f115" y="f353"/>
                  </a:lnTo>
                  <a:lnTo>
                    <a:pt x="f116" y="f354"/>
                  </a:lnTo>
                  <a:lnTo>
                    <a:pt x="f116" y="f355"/>
                  </a:lnTo>
                  <a:lnTo>
                    <a:pt x="f115" y="f356"/>
                  </a:lnTo>
                  <a:lnTo>
                    <a:pt x="f114" y="f356"/>
                  </a:lnTo>
                  <a:lnTo>
                    <a:pt x="f117" y="f355"/>
                  </a:lnTo>
                  <a:lnTo>
                    <a:pt x="f117" y="f354"/>
                  </a:lnTo>
                  <a:close/>
                  <a:moveTo>
                    <a:pt x="f118" y="f353"/>
                  </a:moveTo>
                  <a:lnTo>
                    <a:pt x="f119" y="f353"/>
                  </a:lnTo>
                  <a:lnTo>
                    <a:pt x="f120" y="f354"/>
                  </a:lnTo>
                  <a:lnTo>
                    <a:pt x="f120" y="f355"/>
                  </a:lnTo>
                  <a:lnTo>
                    <a:pt x="f119" y="f356"/>
                  </a:lnTo>
                  <a:lnTo>
                    <a:pt x="f118" y="f356"/>
                  </a:lnTo>
                  <a:lnTo>
                    <a:pt x="f121" y="f355"/>
                  </a:lnTo>
                  <a:lnTo>
                    <a:pt x="f121" y="f354"/>
                  </a:lnTo>
                  <a:close/>
                  <a:moveTo>
                    <a:pt x="f122" y="f353"/>
                  </a:moveTo>
                  <a:lnTo>
                    <a:pt x="f123" y="f353"/>
                  </a:lnTo>
                  <a:lnTo>
                    <a:pt x="f124" y="f354"/>
                  </a:lnTo>
                  <a:lnTo>
                    <a:pt x="f124" y="f355"/>
                  </a:lnTo>
                  <a:lnTo>
                    <a:pt x="f123" y="f356"/>
                  </a:lnTo>
                  <a:lnTo>
                    <a:pt x="f122" y="f356"/>
                  </a:lnTo>
                  <a:lnTo>
                    <a:pt x="f125" y="f355"/>
                  </a:lnTo>
                  <a:lnTo>
                    <a:pt x="f125" y="f354"/>
                  </a:lnTo>
                  <a:close/>
                  <a:moveTo>
                    <a:pt x="f126" y="f353"/>
                  </a:moveTo>
                  <a:lnTo>
                    <a:pt x="f127" y="f353"/>
                  </a:lnTo>
                  <a:lnTo>
                    <a:pt x="f128" y="f354"/>
                  </a:lnTo>
                  <a:lnTo>
                    <a:pt x="f128" y="f355"/>
                  </a:lnTo>
                  <a:lnTo>
                    <a:pt x="f127" y="f356"/>
                  </a:lnTo>
                  <a:lnTo>
                    <a:pt x="f126" y="f356"/>
                  </a:lnTo>
                  <a:lnTo>
                    <a:pt x="f129" y="f355"/>
                  </a:lnTo>
                  <a:lnTo>
                    <a:pt x="f129" y="f354"/>
                  </a:lnTo>
                  <a:close/>
                  <a:moveTo>
                    <a:pt x="f130" y="f353"/>
                  </a:moveTo>
                  <a:lnTo>
                    <a:pt x="f131" y="f353"/>
                  </a:lnTo>
                  <a:lnTo>
                    <a:pt x="f132" y="f354"/>
                  </a:lnTo>
                  <a:lnTo>
                    <a:pt x="f132" y="f355"/>
                  </a:lnTo>
                  <a:lnTo>
                    <a:pt x="f131" y="f356"/>
                  </a:lnTo>
                  <a:lnTo>
                    <a:pt x="f130" y="f356"/>
                  </a:lnTo>
                  <a:lnTo>
                    <a:pt x="f133" y="f355"/>
                  </a:lnTo>
                  <a:lnTo>
                    <a:pt x="f133" y="f354"/>
                  </a:lnTo>
                  <a:close/>
                  <a:moveTo>
                    <a:pt x="f134" y="f353"/>
                  </a:moveTo>
                  <a:lnTo>
                    <a:pt x="f135" y="f353"/>
                  </a:lnTo>
                  <a:lnTo>
                    <a:pt x="f136" y="f354"/>
                  </a:lnTo>
                  <a:lnTo>
                    <a:pt x="f136" y="f355"/>
                  </a:lnTo>
                  <a:lnTo>
                    <a:pt x="f135" y="f356"/>
                  </a:lnTo>
                  <a:lnTo>
                    <a:pt x="f134" y="f356"/>
                  </a:lnTo>
                  <a:lnTo>
                    <a:pt x="f137" y="f355"/>
                  </a:lnTo>
                  <a:lnTo>
                    <a:pt x="f137" y="f354"/>
                  </a:lnTo>
                  <a:close/>
                  <a:moveTo>
                    <a:pt x="f138" y="f353"/>
                  </a:moveTo>
                  <a:lnTo>
                    <a:pt x="f139" y="f353"/>
                  </a:lnTo>
                  <a:lnTo>
                    <a:pt x="f140" y="f354"/>
                  </a:lnTo>
                  <a:lnTo>
                    <a:pt x="f140" y="f355"/>
                  </a:lnTo>
                  <a:lnTo>
                    <a:pt x="f139" y="f356"/>
                  </a:lnTo>
                  <a:lnTo>
                    <a:pt x="f138" y="f356"/>
                  </a:lnTo>
                  <a:lnTo>
                    <a:pt x="f141" y="f355"/>
                  </a:lnTo>
                  <a:lnTo>
                    <a:pt x="f141" y="f354"/>
                  </a:lnTo>
                  <a:close/>
                  <a:moveTo>
                    <a:pt x="f142" y="f353"/>
                  </a:moveTo>
                  <a:lnTo>
                    <a:pt x="f143" y="f353"/>
                  </a:lnTo>
                  <a:lnTo>
                    <a:pt x="f144" y="f354"/>
                  </a:lnTo>
                  <a:lnTo>
                    <a:pt x="f144" y="f355"/>
                  </a:lnTo>
                  <a:lnTo>
                    <a:pt x="f143" y="f356"/>
                  </a:lnTo>
                  <a:lnTo>
                    <a:pt x="f142" y="f356"/>
                  </a:lnTo>
                  <a:lnTo>
                    <a:pt x="f145" y="f355"/>
                  </a:lnTo>
                  <a:lnTo>
                    <a:pt x="f145" y="f354"/>
                  </a:lnTo>
                  <a:close/>
                  <a:moveTo>
                    <a:pt x="f146" y="f353"/>
                  </a:moveTo>
                  <a:lnTo>
                    <a:pt x="f147" y="f353"/>
                  </a:lnTo>
                  <a:lnTo>
                    <a:pt x="f148" y="f354"/>
                  </a:lnTo>
                  <a:lnTo>
                    <a:pt x="f148" y="f355"/>
                  </a:lnTo>
                  <a:lnTo>
                    <a:pt x="f147" y="f356"/>
                  </a:lnTo>
                  <a:lnTo>
                    <a:pt x="f146" y="f356"/>
                  </a:lnTo>
                  <a:lnTo>
                    <a:pt x="f149" y="f355"/>
                  </a:lnTo>
                  <a:lnTo>
                    <a:pt x="f149" y="f354"/>
                  </a:lnTo>
                  <a:close/>
                  <a:moveTo>
                    <a:pt x="f150" y="f353"/>
                  </a:moveTo>
                  <a:lnTo>
                    <a:pt x="f151" y="f353"/>
                  </a:lnTo>
                  <a:lnTo>
                    <a:pt x="f152" y="f354"/>
                  </a:lnTo>
                  <a:lnTo>
                    <a:pt x="f152" y="f355"/>
                  </a:lnTo>
                  <a:lnTo>
                    <a:pt x="f151" y="f356"/>
                  </a:lnTo>
                  <a:lnTo>
                    <a:pt x="f150" y="f356"/>
                  </a:lnTo>
                  <a:lnTo>
                    <a:pt x="f153" y="f355"/>
                  </a:lnTo>
                  <a:lnTo>
                    <a:pt x="f153" y="f354"/>
                  </a:lnTo>
                  <a:close/>
                  <a:moveTo>
                    <a:pt x="f154" y="f353"/>
                  </a:moveTo>
                  <a:lnTo>
                    <a:pt x="f155" y="f353"/>
                  </a:lnTo>
                  <a:lnTo>
                    <a:pt x="f156" y="f354"/>
                  </a:lnTo>
                  <a:lnTo>
                    <a:pt x="f156" y="f355"/>
                  </a:lnTo>
                  <a:lnTo>
                    <a:pt x="f155" y="f356"/>
                  </a:lnTo>
                  <a:lnTo>
                    <a:pt x="f154" y="f356"/>
                  </a:lnTo>
                  <a:lnTo>
                    <a:pt x="f157" y="f355"/>
                  </a:lnTo>
                  <a:lnTo>
                    <a:pt x="f157" y="f354"/>
                  </a:lnTo>
                  <a:close/>
                  <a:moveTo>
                    <a:pt x="f158" y="f353"/>
                  </a:moveTo>
                  <a:lnTo>
                    <a:pt x="f159" y="f353"/>
                  </a:lnTo>
                  <a:lnTo>
                    <a:pt x="f160" y="f354"/>
                  </a:lnTo>
                  <a:lnTo>
                    <a:pt x="f160" y="f355"/>
                  </a:lnTo>
                  <a:lnTo>
                    <a:pt x="f159" y="f356"/>
                  </a:lnTo>
                  <a:lnTo>
                    <a:pt x="f158" y="f356"/>
                  </a:lnTo>
                  <a:lnTo>
                    <a:pt x="f161" y="f355"/>
                  </a:lnTo>
                  <a:lnTo>
                    <a:pt x="f161" y="f354"/>
                  </a:lnTo>
                  <a:close/>
                  <a:moveTo>
                    <a:pt x="f323" y="f353"/>
                  </a:moveTo>
                  <a:lnTo>
                    <a:pt x="f295" y="f353"/>
                  </a:lnTo>
                  <a:lnTo>
                    <a:pt x="f271" y="f354"/>
                  </a:lnTo>
                  <a:lnTo>
                    <a:pt x="f271" y="f355"/>
                  </a:lnTo>
                  <a:lnTo>
                    <a:pt x="f295" y="f356"/>
                  </a:lnTo>
                  <a:lnTo>
                    <a:pt x="f323" y="f356"/>
                  </a:lnTo>
                  <a:lnTo>
                    <a:pt x="f328" y="f355"/>
                  </a:lnTo>
                  <a:lnTo>
                    <a:pt x="f328" y="f354"/>
                  </a:lnTo>
                  <a:close/>
                  <a:moveTo>
                    <a:pt x="f239" y="f353"/>
                  </a:moveTo>
                  <a:lnTo>
                    <a:pt x="f212" y="f353"/>
                  </a:lnTo>
                  <a:lnTo>
                    <a:pt x="f329" y="f354"/>
                  </a:lnTo>
                  <a:lnTo>
                    <a:pt x="f329" y="f355"/>
                  </a:lnTo>
                  <a:lnTo>
                    <a:pt x="f212" y="f356"/>
                  </a:lnTo>
                  <a:lnTo>
                    <a:pt x="f239" y="f356"/>
                  </a:lnTo>
                  <a:lnTo>
                    <a:pt x="f299" y="f355"/>
                  </a:lnTo>
                  <a:lnTo>
                    <a:pt x="f299" y="f354"/>
                  </a:lnTo>
                  <a:close/>
                  <a:moveTo>
                    <a:pt x="f357" y="f353"/>
                  </a:moveTo>
                  <a:lnTo>
                    <a:pt x="f330" y="f353"/>
                  </a:lnTo>
                  <a:lnTo>
                    <a:pt x="f358" y="f354"/>
                  </a:lnTo>
                  <a:lnTo>
                    <a:pt x="f358" y="f355"/>
                  </a:lnTo>
                  <a:lnTo>
                    <a:pt x="f330" y="f356"/>
                  </a:lnTo>
                  <a:lnTo>
                    <a:pt x="f357" y="f356"/>
                  </a:lnTo>
                  <a:lnTo>
                    <a:pt x="f359" y="f355"/>
                  </a:lnTo>
                  <a:lnTo>
                    <a:pt x="f359" y="f354"/>
                  </a:lnTo>
                  <a:close/>
                  <a:moveTo>
                    <a:pt x="f360" y="f353"/>
                  </a:moveTo>
                  <a:lnTo>
                    <a:pt x="f361" y="f353"/>
                  </a:lnTo>
                  <a:lnTo>
                    <a:pt x="f333" y="f354"/>
                  </a:lnTo>
                  <a:lnTo>
                    <a:pt x="f333" y="f355"/>
                  </a:lnTo>
                  <a:lnTo>
                    <a:pt x="f361" y="f356"/>
                  </a:lnTo>
                  <a:lnTo>
                    <a:pt x="f360" y="f356"/>
                  </a:lnTo>
                  <a:lnTo>
                    <a:pt x="f334" y="f355"/>
                  </a:lnTo>
                  <a:lnTo>
                    <a:pt x="f334" y="f354"/>
                  </a:lnTo>
                  <a:close/>
                  <a:moveTo>
                    <a:pt x="f362" y="f353"/>
                  </a:moveTo>
                  <a:lnTo>
                    <a:pt x="f335" y="f353"/>
                  </a:lnTo>
                  <a:lnTo>
                    <a:pt x="f363" y="f354"/>
                  </a:lnTo>
                  <a:lnTo>
                    <a:pt x="f363" y="f355"/>
                  </a:lnTo>
                  <a:lnTo>
                    <a:pt x="f335" y="f356"/>
                  </a:lnTo>
                  <a:lnTo>
                    <a:pt x="f362" y="f356"/>
                  </a:lnTo>
                  <a:lnTo>
                    <a:pt x="f336" y="f355"/>
                  </a:lnTo>
                  <a:lnTo>
                    <a:pt x="f336" y="f354"/>
                  </a:lnTo>
                  <a:close/>
                  <a:moveTo>
                    <a:pt x="f364" y="f353"/>
                  </a:moveTo>
                  <a:lnTo>
                    <a:pt x="f365" y="f353"/>
                  </a:lnTo>
                  <a:lnTo>
                    <a:pt x="f338" y="f354"/>
                  </a:lnTo>
                  <a:lnTo>
                    <a:pt x="f338" y="f355"/>
                  </a:lnTo>
                  <a:lnTo>
                    <a:pt x="f365" y="f356"/>
                  </a:lnTo>
                  <a:lnTo>
                    <a:pt x="f364" y="f356"/>
                  </a:lnTo>
                  <a:lnTo>
                    <a:pt x="f339" y="f355"/>
                  </a:lnTo>
                  <a:lnTo>
                    <a:pt x="f339" y="f354"/>
                  </a:lnTo>
                  <a:close/>
                  <a:moveTo>
                    <a:pt x="f366" y="f353"/>
                  </a:moveTo>
                  <a:lnTo>
                    <a:pt x="f367" y="f353"/>
                  </a:lnTo>
                  <a:lnTo>
                    <a:pt x="f368" y="f354"/>
                  </a:lnTo>
                  <a:lnTo>
                    <a:pt x="f368" y="f355"/>
                  </a:lnTo>
                  <a:lnTo>
                    <a:pt x="f367" y="f356"/>
                  </a:lnTo>
                  <a:lnTo>
                    <a:pt x="f366" y="f356"/>
                  </a:lnTo>
                  <a:lnTo>
                    <a:pt x="f345" y="f355"/>
                  </a:lnTo>
                  <a:lnTo>
                    <a:pt x="f345" y="f354"/>
                  </a:lnTo>
                  <a:close/>
                  <a:moveTo>
                    <a:pt x="f369" y="f353"/>
                  </a:moveTo>
                  <a:lnTo>
                    <a:pt x="f370" y="f353"/>
                  </a:lnTo>
                  <a:lnTo>
                    <a:pt x="f347" y="f354"/>
                  </a:lnTo>
                  <a:lnTo>
                    <a:pt x="f347" y="f355"/>
                  </a:lnTo>
                  <a:lnTo>
                    <a:pt x="f370" y="f356"/>
                  </a:lnTo>
                  <a:lnTo>
                    <a:pt x="f369" y="f356"/>
                  </a:lnTo>
                  <a:lnTo>
                    <a:pt x="f371" y="f355"/>
                  </a:lnTo>
                  <a:lnTo>
                    <a:pt x="f371" y="f354"/>
                  </a:lnTo>
                  <a:close/>
                  <a:moveTo>
                    <a:pt x="f372" y="f353"/>
                  </a:moveTo>
                  <a:lnTo>
                    <a:pt x="f349" y="f353"/>
                  </a:lnTo>
                  <a:lnTo>
                    <a:pt x="f350" y="f354"/>
                  </a:lnTo>
                  <a:lnTo>
                    <a:pt x="f350" y="f355"/>
                  </a:lnTo>
                  <a:lnTo>
                    <a:pt x="f349" y="f356"/>
                  </a:lnTo>
                  <a:lnTo>
                    <a:pt x="f372" y="f356"/>
                  </a:lnTo>
                  <a:lnTo>
                    <a:pt x="f373" y="f355"/>
                  </a:lnTo>
                  <a:lnTo>
                    <a:pt x="f373" y="f354"/>
                  </a:lnTo>
                  <a:close/>
                  <a:moveTo>
                    <a:pt x="f351" y="f353"/>
                  </a:moveTo>
                  <a:lnTo>
                    <a:pt x="f374" y="f353"/>
                  </a:lnTo>
                  <a:lnTo>
                    <a:pt x="f375" y="f354"/>
                  </a:lnTo>
                  <a:lnTo>
                    <a:pt x="f375" y="f355"/>
                  </a:lnTo>
                  <a:lnTo>
                    <a:pt x="f374" y="f356"/>
                  </a:lnTo>
                  <a:lnTo>
                    <a:pt x="f351" y="f356"/>
                  </a:lnTo>
                  <a:lnTo>
                    <a:pt x="f376" y="f355"/>
                  </a:lnTo>
                  <a:lnTo>
                    <a:pt x="f376" y="f354"/>
                  </a:lnTo>
                  <a:close/>
                  <a:moveTo>
                    <a:pt x="f323" y="f377"/>
                  </a:moveTo>
                  <a:lnTo>
                    <a:pt x="f295" y="f377"/>
                  </a:lnTo>
                  <a:lnTo>
                    <a:pt x="f271" y="f378"/>
                  </a:lnTo>
                  <a:lnTo>
                    <a:pt x="f271" y="f379"/>
                  </a:lnTo>
                  <a:lnTo>
                    <a:pt x="f295" y="f380"/>
                  </a:lnTo>
                  <a:lnTo>
                    <a:pt x="f323" y="f380"/>
                  </a:lnTo>
                  <a:lnTo>
                    <a:pt x="f381" y="f379"/>
                  </a:lnTo>
                  <a:lnTo>
                    <a:pt x="f381" y="f378"/>
                  </a:lnTo>
                  <a:close/>
                  <a:moveTo>
                    <a:pt x="f239" y="f377"/>
                  </a:moveTo>
                  <a:lnTo>
                    <a:pt x="f382" y="f377"/>
                  </a:lnTo>
                  <a:lnTo>
                    <a:pt x="f329" y="f378"/>
                  </a:lnTo>
                  <a:lnTo>
                    <a:pt x="f329" y="f379"/>
                  </a:lnTo>
                  <a:lnTo>
                    <a:pt x="f382" y="f380"/>
                  </a:lnTo>
                  <a:lnTo>
                    <a:pt x="f239" y="f380"/>
                  </a:lnTo>
                  <a:lnTo>
                    <a:pt x="f299" y="f379"/>
                  </a:lnTo>
                  <a:lnTo>
                    <a:pt x="f299" y="f378"/>
                  </a:lnTo>
                  <a:close/>
                  <a:moveTo>
                    <a:pt x="f383" y="f377"/>
                  </a:moveTo>
                  <a:lnTo>
                    <a:pt x="f384" y="f377"/>
                  </a:lnTo>
                  <a:lnTo>
                    <a:pt x="f358" y="f378"/>
                  </a:lnTo>
                  <a:lnTo>
                    <a:pt x="f358" y="f379"/>
                  </a:lnTo>
                  <a:lnTo>
                    <a:pt x="f384" y="f380"/>
                  </a:lnTo>
                  <a:lnTo>
                    <a:pt x="f383" y="f380"/>
                  </a:lnTo>
                  <a:lnTo>
                    <a:pt x="f359" y="f379"/>
                  </a:lnTo>
                  <a:lnTo>
                    <a:pt x="f359" y="f378"/>
                  </a:lnTo>
                  <a:close/>
                  <a:moveTo>
                    <a:pt x="f360" y="f377"/>
                  </a:moveTo>
                  <a:lnTo>
                    <a:pt x="f361" y="f377"/>
                  </a:lnTo>
                  <a:lnTo>
                    <a:pt x="f385" y="f378"/>
                  </a:lnTo>
                  <a:lnTo>
                    <a:pt x="f385" y="f379"/>
                  </a:lnTo>
                  <a:lnTo>
                    <a:pt x="f361" y="f380"/>
                  </a:lnTo>
                  <a:lnTo>
                    <a:pt x="f360" y="f380"/>
                  </a:lnTo>
                  <a:lnTo>
                    <a:pt x="f386" y="f379"/>
                  </a:lnTo>
                  <a:lnTo>
                    <a:pt x="f386" y="f378"/>
                  </a:lnTo>
                  <a:close/>
                  <a:moveTo>
                    <a:pt x="f387" y="f377"/>
                  </a:moveTo>
                  <a:lnTo>
                    <a:pt x="f388" y="f377"/>
                  </a:lnTo>
                  <a:lnTo>
                    <a:pt x="f389" y="f378"/>
                  </a:lnTo>
                  <a:lnTo>
                    <a:pt x="f389" y="f379"/>
                  </a:lnTo>
                  <a:lnTo>
                    <a:pt x="f388" y="f380"/>
                  </a:lnTo>
                  <a:lnTo>
                    <a:pt x="f387" y="f380"/>
                  </a:lnTo>
                  <a:lnTo>
                    <a:pt x="f390" y="f379"/>
                  </a:lnTo>
                  <a:lnTo>
                    <a:pt x="f390" y="f378"/>
                  </a:lnTo>
                  <a:close/>
                  <a:moveTo>
                    <a:pt x="f364" y="f377"/>
                  </a:moveTo>
                  <a:lnTo>
                    <a:pt x="f365" y="f377"/>
                  </a:lnTo>
                  <a:lnTo>
                    <a:pt x="f391" y="f378"/>
                  </a:lnTo>
                  <a:lnTo>
                    <a:pt x="f391" y="f379"/>
                  </a:lnTo>
                  <a:lnTo>
                    <a:pt x="f365" y="f380"/>
                  </a:lnTo>
                  <a:lnTo>
                    <a:pt x="f364" y="f380"/>
                  </a:lnTo>
                  <a:lnTo>
                    <a:pt x="f392" y="f379"/>
                  </a:lnTo>
                  <a:lnTo>
                    <a:pt x="f392" y="f378"/>
                  </a:lnTo>
                  <a:close/>
                  <a:moveTo>
                    <a:pt x="f35" y="f393"/>
                  </a:moveTo>
                  <a:lnTo>
                    <a:pt x="f37" y="f393"/>
                  </a:lnTo>
                  <a:lnTo>
                    <a:pt x="f6" y="f394"/>
                  </a:lnTo>
                  <a:lnTo>
                    <a:pt x="f6" y="f395"/>
                  </a:lnTo>
                  <a:lnTo>
                    <a:pt x="f37" y="f396"/>
                  </a:lnTo>
                  <a:lnTo>
                    <a:pt x="f35" y="f396"/>
                  </a:lnTo>
                  <a:lnTo>
                    <a:pt x="f41" y="f395"/>
                  </a:lnTo>
                  <a:lnTo>
                    <a:pt x="f41" y="f394"/>
                  </a:lnTo>
                  <a:close/>
                  <a:moveTo>
                    <a:pt x="f42" y="f393"/>
                  </a:moveTo>
                  <a:lnTo>
                    <a:pt x="f43" y="f393"/>
                  </a:lnTo>
                  <a:lnTo>
                    <a:pt x="f44" y="f394"/>
                  </a:lnTo>
                  <a:lnTo>
                    <a:pt x="f44" y="f395"/>
                  </a:lnTo>
                  <a:lnTo>
                    <a:pt x="f43" y="f396"/>
                  </a:lnTo>
                  <a:lnTo>
                    <a:pt x="f42" y="f396"/>
                  </a:lnTo>
                  <a:lnTo>
                    <a:pt x="f45" y="f395"/>
                  </a:lnTo>
                  <a:lnTo>
                    <a:pt x="f45" y="f394"/>
                  </a:lnTo>
                  <a:close/>
                  <a:moveTo>
                    <a:pt x="f46" y="f393"/>
                  </a:moveTo>
                  <a:lnTo>
                    <a:pt x="f47" y="f393"/>
                  </a:lnTo>
                  <a:lnTo>
                    <a:pt x="f48" y="f394"/>
                  </a:lnTo>
                  <a:lnTo>
                    <a:pt x="f48" y="f395"/>
                  </a:lnTo>
                  <a:lnTo>
                    <a:pt x="f47" y="f396"/>
                  </a:lnTo>
                  <a:lnTo>
                    <a:pt x="f46" y="f396"/>
                  </a:lnTo>
                  <a:lnTo>
                    <a:pt x="f49" y="f395"/>
                  </a:lnTo>
                  <a:lnTo>
                    <a:pt x="f49" y="f394"/>
                  </a:lnTo>
                  <a:close/>
                  <a:moveTo>
                    <a:pt x="f50" y="f393"/>
                  </a:moveTo>
                  <a:lnTo>
                    <a:pt x="f51" y="f393"/>
                  </a:lnTo>
                  <a:lnTo>
                    <a:pt x="f52" y="f394"/>
                  </a:lnTo>
                  <a:lnTo>
                    <a:pt x="f52" y="f395"/>
                  </a:lnTo>
                  <a:lnTo>
                    <a:pt x="f51" y="f396"/>
                  </a:lnTo>
                  <a:lnTo>
                    <a:pt x="f50" y="f396"/>
                  </a:lnTo>
                  <a:lnTo>
                    <a:pt x="f53" y="f395"/>
                  </a:lnTo>
                  <a:lnTo>
                    <a:pt x="f53" y="f394"/>
                  </a:lnTo>
                  <a:close/>
                  <a:moveTo>
                    <a:pt x="f54" y="f393"/>
                  </a:moveTo>
                  <a:lnTo>
                    <a:pt x="f55" y="f393"/>
                  </a:lnTo>
                  <a:lnTo>
                    <a:pt x="f56" y="f394"/>
                  </a:lnTo>
                  <a:lnTo>
                    <a:pt x="f56" y="f395"/>
                  </a:lnTo>
                  <a:lnTo>
                    <a:pt x="f55" y="f396"/>
                  </a:lnTo>
                  <a:lnTo>
                    <a:pt x="f54" y="f396"/>
                  </a:lnTo>
                  <a:lnTo>
                    <a:pt x="f57" y="f395"/>
                  </a:lnTo>
                  <a:lnTo>
                    <a:pt x="f57" y="f394"/>
                  </a:lnTo>
                  <a:close/>
                  <a:moveTo>
                    <a:pt x="f58" y="f393"/>
                  </a:moveTo>
                  <a:lnTo>
                    <a:pt x="f59" y="f393"/>
                  </a:lnTo>
                  <a:lnTo>
                    <a:pt x="f60" y="f394"/>
                  </a:lnTo>
                  <a:lnTo>
                    <a:pt x="f60" y="f395"/>
                  </a:lnTo>
                  <a:lnTo>
                    <a:pt x="f59" y="f396"/>
                  </a:lnTo>
                  <a:lnTo>
                    <a:pt x="f58" y="f396"/>
                  </a:lnTo>
                  <a:lnTo>
                    <a:pt x="f61" y="f395"/>
                  </a:lnTo>
                  <a:lnTo>
                    <a:pt x="f61" y="f394"/>
                  </a:lnTo>
                  <a:close/>
                  <a:moveTo>
                    <a:pt x="f62" y="f393"/>
                  </a:moveTo>
                  <a:lnTo>
                    <a:pt x="f63" y="f393"/>
                  </a:lnTo>
                  <a:lnTo>
                    <a:pt x="f64" y="f394"/>
                  </a:lnTo>
                  <a:lnTo>
                    <a:pt x="f64" y="f395"/>
                  </a:lnTo>
                  <a:lnTo>
                    <a:pt x="f63" y="f396"/>
                  </a:lnTo>
                  <a:lnTo>
                    <a:pt x="f62" y="f396"/>
                  </a:lnTo>
                  <a:lnTo>
                    <a:pt x="f65" y="f395"/>
                  </a:lnTo>
                  <a:lnTo>
                    <a:pt x="f65" y="f394"/>
                  </a:lnTo>
                  <a:close/>
                  <a:moveTo>
                    <a:pt x="f66" y="f393"/>
                  </a:moveTo>
                  <a:lnTo>
                    <a:pt x="f67" y="f393"/>
                  </a:lnTo>
                  <a:lnTo>
                    <a:pt x="f68" y="f394"/>
                  </a:lnTo>
                  <a:lnTo>
                    <a:pt x="f68" y="f395"/>
                  </a:lnTo>
                  <a:lnTo>
                    <a:pt x="f67" y="f396"/>
                  </a:lnTo>
                  <a:lnTo>
                    <a:pt x="f66" y="f396"/>
                  </a:lnTo>
                  <a:lnTo>
                    <a:pt x="f69" y="f395"/>
                  </a:lnTo>
                  <a:lnTo>
                    <a:pt x="f69" y="f394"/>
                  </a:lnTo>
                  <a:close/>
                  <a:moveTo>
                    <a:pt x="f70" y="f393"/>
                  </a:moveTo>
                  <a:lnTo>
                    <a:pt x="f71" y="f393"/>
                  </a:lnTo>
                  <a:lnTo>
                    <a:pt x="f72" y="f394"/>
                  </a:lnTo>
                  <a:lnTo>
                    <a:pt x="f72" y="f395"/>
                  </a:lnTo>
                  <a:lnTo>
                    <a:pt x="f71" y="f396"/>
                  </a:lnTo>
                  <a:lnTo>
                    <a:pt x="f70" y="f396"/>
                  </a:lnTo>
                  <a:lnTo>
                    <a:pt x="f73" y="f395"/>
                  </a:lnTo>
                  <a:lnTo>
                    <a:pt x="f73" y="f394"/>
                  </a:lnTo>
                  <a:close/>
                  <a:moveTo>
                    <a:pt x="f74" y="f393"/>
                  </a:moveTo>
                  <a:lnTo>
                    <a:pt x="f75" y="f393"/>
                  </a:lnTo>
                  <a:lnTo>
                    <a:pt x="f76" y="f394"/>
                  </a:lnTo>
                  <a:lnTo>
                    <a:pt x="f76" y="f395"/>
                  </a:lnTo>
                  <a:lnTo>
                    <a:pt x="f75" y="f396"/>
                  </a:lnTo>
                  <a:lnTo>
                    <a:pt x="f74" y="f396"/>
                  </a:lnTo>
                  <a:lnTo>
                    <a:pt x="f77" y="f395"/>
                  </a:lnTo>
                  <a:lnTo>
                    <a:pt x="f77" y="f394"/>
                  </a:lnTo>
                  <a:close/>
                  <a:moveTo>
                    <a:pt x="f78" y="f393"/>
                  </a:moveTo>
                  <a:lnTo>
                    <a:pt x="f79" y="f393"/>
                  </a:lnTo>
                  <a:lnTo>
                    <a:pt x="f80" y="f394"/>
                  </a:lnTo>
                  <a:lnTo>
                    <a:pt x="f80" y="f395"/>
                  </a:lnTo>
                  <a:lnTo>
                    <a:pt x="f79" y="f396"/>
                  </a:lnTo>
                  <a:lnTo>
                    <a:pt x="f78" y="f396"/>
                  </a:lnTo>
                  <a:lnTo>
                    <a:pt x="f81" y="f395"/>
                  </a:lnTo>
                  <a:lnTo>
                    <a:pt x="f81" y="f394"/>
                  </a:lnTo>
                  <a:close/>
                  <a:moveTo>
                    <a:pt x="f82" y="f393"/>
                  </a:moveTo>
                  <a:lnTo>
                    <a:pt x="f83" y="f393"/>
                  </a:lnTo>
                  <a:lnTo>
                    <a:pt x="f84" y="f394"/>
                  </a:lnTo>
                  <a:lnTo>
                    <a:pt x="f84" y="f395"/>
                  </a:lnTo>
                  <a:lnTo>
                    <a:pt x="f83" y="f396"/>
                  </a:lnTo>
                  <a:lnTo>
                    <a:pt x="f82" y="f396"/>
                  </a:lnTo>
                  <a:lnTo>
                    <a:pt x="f85" y="f395"/>
                  </a:lnTo>
                  <a:lnTo>
                    <a:pt x="f85" y="f394"/>
                  </a:lnTo>
                  <a:close/>
                  <a:moveTo>
                    <a:pt x="f86" y="f393"/>
                  </a:moveTo>
                  <a:lnTo>
                    <a:pt x="f87" y="f393"/>
                  </a:lnTo>
                  <a:lnTo>
                    <a:pt x="f88" y="f394"/>
                  </a:lnTo>
                  <a:lnTo>
                    <a:pt x="f88" y="f395"/>
                  </a:lnTo>
                  <a:lnTo>
                    <a:pt x="f87" y="f396"/>
                  </a:lnTo>
                  <a:lnTo>
                    <a:pt x="f86" y="f396"/>
                  </a:lnTo>
                  <a:lnTo>
                    <a:pt x="f89" y="f395"/>
                  </a:lnTo>
                  <a:lnTo>
                    <a:pt x="f89" y="f394"/>
                  </a:lnTo>
                  <a:close/>
                  <a:moveTo>
                    <a:pt x="f90" y="f393"/>
                  </a:moveTo>
                  <a:lnTo>
                    <a:pt x="f91" y="f393"/>
                  </a:lnTo>
                  <a:lnTo>
                    <a:pt x="f92" y="f394"/>
                  </a:lnTo>
                  <a:lnTo>
                    <a:pt x="f92" y="f395"/>
                  </a:lnTo>
                  <a:lnTo>
                    <a:pt x="f91" y="f396"/>
                  </a:lnTo>
                  <a:lnTo>
                    <a:pt x="f90" y="f396"/>
                  </a:lnTo>
                  <a:lnTo>
                    <a:pt x="f93" y="f395"/>
                  </a:lnTo>
                  <a:lnTo>
                    <a:pt x="f93" y="f394"/>
                  </a:lnTo>
                  <a:close/>
                  <a:moveTo>
                    <a:pt x="f94" y="f393"/>
                  </a:moveTo>
                  <a:lnTo>
                    <a:pt x="f95" y="f393"/>
                  </a:lnTo>
                  <a:lnTo>
                    <a:pt x="f96" y="f394"/>
                  </a:lnTo>
                  <a:lnTo>
                    <a:pt x="f96" y="f395"/>
                  </a:lnTo>
                  <a:lnTo>
                    <a:pt x="f95" y="f396"/>
                  </a:lnTo>
                  <a:lnTo>
                    <a:pt x="f94" y="f396"/>
                  </a:lnTo>
                  <a:lnTo>
                    <a:pt x="f97" y="f395"/>
                  </a:lnTo>
                  <a:lnTo>
                    <a:pt x="f97" y="f394"/>
                  </a:lnTo>
                  <a:close/>
                  <a:moveTo>
                    <a:pt x="f98" y="f393"/>
                  </a:moveTo>
                  <a:lnTo>
                    <a:pt x="f99" y="f393"/>
                  </a:lnTo>
                  <a:lnTo>
                    <a:pt x="f100" y="f394"/>
                  </a:lnTo>
                  <a:lnTo>
                    <a:pt x="f100" y="f395"/>
                  </a:lnTo>
                  <a:lnTo>
                    <a:pt x="f99" y="f396"/>
                  </a:lnTo>
                  <a:lnTo>
                    <a:pt x="f98" y="f396"/>
                  </a:lnTo>
                  <a:lnTo>
                    <a:pt x="f101" y="f395"/>
                  </a:lnTo>
                  <a:lnTo>
                    <a:pt x="f101" y="f394"/>
                  </a:lnTo>
                  <a:close/>
                  <a:moveTo>
                    <a:pt x="f102" y="f393"/>
                  </a:moveTo>
                  <a:lnTo>
                    <a:pt x="f103" y="f393"/>
                  </a:lnTo>
                  <a:lnTo>
                    <a:pt x="f104" y="f394"/>
                  </a:lnTo>
                  <a:lnTo>
                    <a:pt x="f104" y="f395"/>
                  </a:lnTo>
                  <a:lnTo>
                    <a:pt x="f103" y="f396"/>
                  </a:lnTo>
                  <a:lnTo>
                    <a:pt x="f102" y="f396"/>
                  </a:lnTo>
                  <a:lnTo>
                    <a:pt x="f105" y="f395"/>
                  </a:lnTo>
                  <a:lnTo>
                    <a:pt x="f105" y="f394"/>
                  </a:lnTo>
                  <a:close/>
                  <a:moveTo>
                    <a:pt x="f106" y="f393"/>
                  </a:moveTo>
                  <a:lnTo>
                    <a:pt x="f107" y="f393"/>
                  </a:lnTo>
                  <a:lnTo>
                    <a:pt x="f108" y="f394"/>
                  </a:lnTo>
                  <a:lnTo>
                    <a:pt x="f108" y="f395"/>
                  </a:lnTo>
                  <a:lnTo>
                    <a:pt x="f107" y="f396"/>
                  </a:lnTo>
                  <a:lnTo>
                    <a:pt x="f106" y="f396"/>
                  </a:lnTo>
                  <a:lnTo>
                    <a:pt x="f109" y="f395"/>
                  </a:lnTo>
                  <a:lnTo>
                    <a:pt x="f109" y="f394"/>
                  </a:lnTo>
                  <a:close/>
                  <a:moveTo>
                    <a:pt x="f110" y="f393"/>
                  </a:moveTo>
                  <a:lnTo>
                    <a:pt x="f111" y="f393"/>
                  </a:lnTo>
                  <a:lnTo>
                    <a:pt x="f112" y="f394"/>
                  </a:lnTo>
                  <a:lnTo>
                    <a:pt x="f112" y="f395"/>
                  </a:lnTo>
                  <a:lnTo>
                    <a:pt x="f111" y="f396"/>
                  </a:lnTo>
                  <a:lnTo>
                    <a:pt x="f110" y="f396"/>
                  </a:lnTo>
                  <a:lnTo>
                    <a:pt x="f113" y="f395"/>
                  </a:lnTo>
                  <a:lnTo>
                    <a:pt x="f113" y="f394"/>
                  </a:lnTo>
                  <a:close/>
                  <a:moveTo>
                    <a:pt x="f114" y="f393"/>
                  </a:moveTo>
                  <a:lnTo>
                    <a:pt x="f115" y="f393"/>
                  </a:lnTo>
                  <a:lnTo>
                    <a:pt x="f116" y="f394"/>
                  </a:lnTo>
                  <a:lnTo>
                    <a:pt x="f116" y="f395"/>
                  </a:lnTo>
                  <a:lnTo>
                    <a:pt x="f115" y="f396"/>
                  </a:lnTo>
                  <a:lnTo>
                    <a:pt x="f114" y="f396"/>
                  </a:lnTo>
                  <a:lnTo>
                    <a:pt x="f117" y="f395"/>
                  </a:lnTo>
                  <a:lnTo>
                    <a:pt x="f117" y="f394"/>
                  </a:lnTo>
                  <a:close/>
                  <a:moveTo>
                    <a:pt x="f118" y="f393"/>
                  </a:moveTo>
                  <a:lnTo>
                    <a:pt x="f119" y="f393"/>
                  </a:lnTo>
                  <a:lnTo>
                    <a:pt x="f120" y="f394"/>
                  </a:lnTo>
                  <a:lnTo>
                    <a:pt x="f120" y="f395"/>
                  </a:lnTo>
                  <a:lnTo>
                    <a:pt x="f119" y="f396"/>
                  </a:lnTo>
                  <a:lnTo>
                    <a:pt x="f118" y="f396"/>
                  </a:lnTo>
                  <a:lnTo>
                    <a:pt x="f121" y="f395"/>
                  </a:lnTo>
                  <a:lnTo>
                    <a:pt x="f121" y="f394"/>
                  </a:lnTo>
                  <a:close/>
                  <a:moveTo>
                    <a:pt x="f122" y="f393"/>
                  </a:moveTo>
                  <a:lnTo>
                    <a:pt x="f123" y="f393"/>
                  </a:lnTo>
                  <a:lnTo>
                    <a:pt x="f124" y="f394"/>
                  </a:lnTo>
                  <a:lnTo>
                    <a:pt x="f124" y="f395"/>
                  </a:lnTo>
                  <a:lnTo>
                    <a:pt x="f123" y="f396"/>
                  </a:lnTo>
                  <a:lnTo>
                    <a:pt x="f122" y="f396"/>
                  </a:lnTo>
                  <a:lnTo>
                    <a:pt x="f125" y="f395"/>
                  </a:lnTo>
                  <a:lnTo>
                    <a:pt x="f125" y="f394"/>
                  </a:lnTo>
                  <a:close/>
                  <a:moveTo>
                    <a:pt x="f126" y="f393"/>
                  </a:moveTo>
                  <a:lnTo>
                    <a:pt x="f127" y="f393"/>
                  </a:lnTo>
                  <a:lnTo>
                    <a:pt x="f128" y="f394"/>
                  </a:lnTo>
                  <a:lnTo>
                    <a:pt x="f128" y="f395"/>
                  </a:lnTo>
                  <a:lnTo>
                    <a:pt x="f127" y="f396"/>
                  </a:lnTo>
                  <a:lnTo>
                    <a:pt x="f126" y="f396"/>
                  </a:lnTo>
                  <a:lnTo>
                    <a:pt x="f129" y="f395"/>
                  </a:lnTo>
                  <a:lnTo>
                    <a:pt x="f129" y="f394"/>
                  </a:lnTo>
                  <a:close/>
                  <a:moveTo>
                    <a:pt x="f130" y="f393"/>
                  </a:moveTo>
                  <a:lnTo>
                    <a:pt x="f131" y="f393"/>
                  </a:lnTo>
                  <a:lnTo>
                    <a:pt x="f132" y="f394"/>
                  </a:lnTo>
                  <a:lnTo>
                    <a:pt x="f132" y="f395"/>
                  </a:lnTo>
                  <a:lnTo>
                    <a:pt x="f131" y="f396"/>
                  </a:lnTo>
                  <a:lnTo>
                    <a:pt x="f130" y="f396"/>
                  </a:lnTo>
                  <a:lnTo>
                    <a:pt x="f133" y="f395"/>
                  </a:lnTo>
                  <a:lnTo>
                    <a:pt x="f133" y="f394"/>
                  </a:lnTo>
                  <a:close/>
                  <a:moveTo>
                    <a:pt x="f134" y="f393"/>
                  </a:moveTo>
                  <a:lnTo>
                    <a:pt x="f135" y="f393"/>
                  </a:lnTo>
                  <a:lnTo>
                    <a:pt x="f136" y="f394"/>
                  </a:lnTo>
                  <a:lnTo>
                    <a:pt x="f136" y="f395"/>
                  </a:lnTo>
                  <a:lnTo>
                    <a:pt x="f135" y="f396"/>
                  </a:lnTo>
                  <a:lnTo>
                    <a:pt x="f134" y="f396"/>
                  </a:lnTo>
                  <a:lnTo>
                    <a:pt x="f137" y="f395"/>
                  </a:lnTo>
                  <a:lnTo>
                    <a:pt x="f137" y="f394"/>
                  </a:lnTo>
                  <a:close/>
                  <a:moveTo>
                    <a:pt x="f138" y="f393"/>
                  </a:moveTo>
                  <a:lnTo>
                    <a:pt x="f139" y="f393"/>
                  </a:lnTo>
                  <a:lnTo>
                    <a:pt x="f140" y="f394"/>
                  </a:lnTo>
                  <a:lnTo>
                    <a:pt x="f140" y="f395"/>
                  </a:lnTo>
                  <a:lnTo>
                    <a:pt x="f139" y="f396"/>
                  </a:lnTo>
                  <a:lnTo>
                    <a:pt x="f138" y="f396"/>
                  </a:lnTo>
                  <a:lnTo>
                    <a:pt x="f141" y="f395"/>
                  </a:lnTo>
                  <a:lnTo>
                    <a:pt x="f141" y="f394"/>
                  </a:lnTo>
                  <a:close/>
                  <a:moveTo>
                    <a:pt x="f142" y="f393"/>
                  </a:moveTo>
                  <a:lnTo>
                    <a:pt x="f143" y="f393"/>
                  </a:lnTo>
                  <a:lnTo>
                    <a:pt x="f144" y="f394"/>
                  </a:lnTo>
                  <a:lnTo>
                    <a:pt x="f144" y="f395"/>
                  </a:lnTo>
                  <a:lnTo>
                    <a:pt x="f143" y="f396"/>
                  </a:lnTo>
                  <a:lnTo>
                    <a:pt x="f142" y="f396"/>
                  </a:lnTo>
                  <a:lnTo>
                    <a:pt x="f145" y="f395"/>
                  </a:lnTo>
                  <a:lnTo>
                    <a:pt x="f145" y="f394"/>
                  </a:lnTo>
                  <a:close/>
                  <a:moveTo>
                    <a:pt x="f146" y="f393"/>
                  </a:moveTo>
                  <a:lnTo>
                    <a:pt x="f147" y="f393"/>
                  </a:lnTo>
                  <a:lnTo>
                    <a:pt x="f148" y="f394"/>
                  </a:lnTo>
                  <a:lnTo>
                    <a:pt x="f148" y="f395"/>
                  </a:lnTo>
                  <a:lnTo>
                    <a:pt x="f147" y="f396"/>
                  </a:lnTo>
                  <a:lnTo>
                    <a:pt x="f146" y="f396"/>
                  </a:lnTo>
                  <a:lnTo>
                    <a:pt x="f149" y="f395"/>
                  </a:lnTo>
                  <a:lnTo>
                    <a:pt x="f149" y="f394"/>
                  </a:lnTo>
                  <a:close/>
                  <a:moveTo>
                    <a:pt x="f150" y="f393"/>
                  </a:moveTo>
                  <a:lnTo>
                    <a:pt x="f151" y="f393"/>
                  </a:lnTo>
                  <a:lnTo>
                    <a:pt x="f152" y="f394"/>
                  </a:lnTo>
                  <a:lnTo>
                    <a:pt x="f152" y="f395"/>
                  </a:lnTo>
                  <a:lnTo>
                    <a:pt x="f151" y="f396"/>
                  </a:lnTo>
                  <a:lnTo>
                    <a:pt x="f150" y="f396"/>
                  </a:lnTo>
                  <a:lnTo>
                    <a:pt x="f153" y="f395"/>
                  </a:lnTo>
                  <a:lnTo>
                    <a:pt x="f153" y="f394"/>
                  </a:lnTo>
                  <a:close/>
                  <a:moveTo>
                    <a:pt x="f154" y="f393"/>
                  </a:moveTo>
                  <a:lnTo>
                    <a:pt x="f155" y="f393"/>
                  </a:lnTo>
                  <a:lnTo>
                    <a:pt x="f156" y="f394"/>
                  </a:lnTo>
                  <a:lnTo>
                    <a:pt x="f156" y="f395"/>
                  </a:lnTo>
                  <a:lnTo>
                    <a:pt x="f155" y="f396"/>
                  </a:lnTo>
                  <a:lnTo>
                    <a:pt x="f154" y="f396"/>
                  </a:lnTo>
                  <a:lnTo>
                    <a:pt x="f157" y="f395"/>
                  </a:lnTo>
                  <a:lnTo>
                    <a:pt x="f157" y="f394"/>
                  </a:lnTo>
                  <a:close/>
                  <a:moveTo>
                    <a:pt x="f158" y="f393"/>
                  </a:moveTo>
                  <a:lnTo>
                    <a:pt x="f159" y="f393"/>
                  </a:lnTo>
                  <a:lnTo>
                    <a:pt x="f160" y="f394"/>
                  </a:lnTo>
                  <a:lnTo>
                    <a:pt x="f160" y="f395"/>
                  </a:lnTo>
                  <a:lnTo>
                    <a:pt x="f159" y="f396"/>
                  </a:lnTo>
                  <a:lnTo>
                    <a:pt x="f158" y="f396"/>
                  </a:lnTo>
                  <a:lnTo>
                    <a:pt x="f161" y="f395"/>
                  </a:lnTo>
                  <a:lnTo>
                    <a:pt x="f161" y="f394"/>
                  </a:lnTo>
                  <a:close/>
                  <a:moveTo>
                    <a:pt x="f397" y="f393"/>
                  </a:moveTo>
                  <a:lnTo>
                    <a:pt x="f398" y="f393"/>
                  </a:lnTo>
                  <a:lnTo>
                    <a:pt x="f399" y="f394"/>
                  </a:lnTo>
                  <a:lnTo>
                    <a:pt x="f399" y="f395"/>
                  </a:lnTo>
                  <a:lnTo>
                    <a:pt x="f398" y="f396"/>
                  </a:lnTo>
                  <a:lnTo>
                    <a:pt x="f397" y="f396"/>
                  </a:lnTo>
                  <a:lnTo>
                    <a:pt x="f400" y="f395"/>
                  </a:lnTo>
                  <a:lnTo>
                    <a:pt x="f400" y="f394"/>
                  </a:lnTo>
                  <a:close/>
                  <a:moveTo>
                    <a:pt x="f369" y="f393"/>
                  </a:moveTo>
                  <a:lnTo>
                    <a:pt x="f401" y="f393"/>
                  </a:lnTo>
                  <a:lnTo>
                    <a:pt x="f402" y="f394"/>
                  </a:lnTo>
                  <a:lnTo>
                    <a:pt x="f402" y="f395"/>
                  </a:lnTo>
                  <a:lnTo>
                    <a:pt x="f401" y="f396"/>
                  </a:lnTo>
                  <a:lnTo>
                    <a:pt x="f369" y="f396"/>
                  </a:lnTo>
                  <a:lnTo>
                    <a:pt x="f371" y="f395"/>
                  </a:lnTo>
                  <a:lnTo>
                    <a:pt x="f371" y="f394"/>
                  </a:lnTo>
                  <a:close/>
                  <a:moveTo>
                    <a:pt x="f372" y="f393"/>
                  </a:moveTo>
                  <a:lnTo>
                    <a:pt x="f403" y="f393"/>
                  </a:lnTo>
                  <a:lnTo>
                    <a:pt x="f404" y="f394"/>
                  </a:lnTo>
                  <a:lnTo>
                    <a:pt x="f404" y="f395"/>
                  </a:lnTo>
                  <a:lnTo>
                    <a:pt x="f403" y="f396"/>
                  </a:lnTo>
                  <a:lnTo>
                    <a:pt x="f372" y="f396"/>
                  </a:lnTo>
                  <a:lnTo>
                    <a:pt x="f405" y="f395"/>
                  </a:lnTo>
                  <a:lnTo>
                    <a:pt x="f405" y="f394"/>
                  </a:lnTo>
                  <a:close/>
                  <a:moveTo>
                    <a:pt x="f406" y="f393"/>
                  </a:moveTo>
                  <a:lnTo>
                    <a:pt x="f407" y="f393"/>
                  </a:lnTo>
                  <a:lnTo>
                    <a:pt x="f375" y="f394"/>
                  </a:lnTo>
                  <a:lnTo>
                    <a:pt x="f375" y="f395"/>
                  </a:lnTo>
                  <a:lnTo>
                    <a:pt x="f407" y="f396"/>
                  </a:lnTo>
                  <a:lnTo>
                    <a:pt x="f406" y="f396"/>
                  </a:lnTo>
                  <a:lnTo>
                    <a:pt x="f408" y="f395"/>
                  </a:lnTo>
                  <a:lnTo>
                    <a:pt x="f408" y="f394"/>
                  </a:lnTo>
                  <a:close/>
                  <a:moveTo>
                    <a:pt x="f323" y="f409"/>
                  </a:moveTo>
                  <a:lnTo>
                    <a:pt x="f295" y="f409"/>
                  </a:lnTo>
                  <a:lnTo>
                    <a:pt x="f410" y="f411"/>
                  </a:lnTo>
                  <a:lnTo>
                    <a:pt x="f410" y="f412"/>
                  </a:lnTo>
                  <a:lnTo>
                    <a:pt x="f295" y="f413"/>
                  </a:lnTo>
                  <a:lnTo>
                    <a:pt x="f323" y="f413"/>
                  </a:lnTo>
                  <a:lnTo>
                    <a:pt x="f381" y="f412"/>
                  </a:lnTo>
                  <a:lnTo>
                    <a:pt x="f381" y="f411"/>
                  </a:lnTo>
                  <a:close/>
                  <a:moveTo>
                    <a:pt x="f414" y="f409"/>
                  </a:moveTo>
                  <a:lnTo>
                    <a:pt x="f382" y="f409"/>
                  </a:lnTo>
                  <a:lnTo>
                    <a:pt x="f329" y="f411"/>
                  </a:lnTo>
                  <a:lnTo>
                    <a:pt x="f329" y="f412"/>
                  </a:lnTo>
                  <a:lnTo>
                    <a:pt x="f382" y="f413"/>
                  </a:lnTo>
                  <a:lnTo>
                    <a:pt x="f414" y="f413"/>
                  </a:lnTo>
                  <a:lnTo>
                    <a:pt x="f299" y="f412"/>
                  </a:lnTo>
                  <a:lnTo>
                    <a:pt x="f299" y="f411"/>
                  </a:lnTo>
                  <a:close/>
                  <a:moveTo>
                    <a:pt x="f383" y="f409"/>
                  </a:moveTo>
                  <a:lnTo>
                    <a:pt x="f415" y="f409"/>
                  </a:lnTo>
                  <a:lnTo>
                    <a:pt x="f416" y="f411"/>
                  </a:lnTo>
                  <a:lnTo>
                    <a:pt x="f416" y="f412"/>
                  </a:lnTo>
                  <a:lnTo>
                    <a:pt x="f415" y="f413"/>
                  </a:lnTo>
                  <a:lnTo>
                    <a:pt x="f383" y="f413"/>
                  </a:lnTo>
                  <a:lnTo>
                    <a:pt x="f417" y="f412"/>
                  </a:lnTo>
                  <a:lnTo>
                    <a:pt x="f417" y="f411"/>
                  </a:lnTo>
                  <a:close/>
                  <a:moveTo>
                    <a:pt x="f418" y="f409"/>
                  </a:moveTo>
                  <a:lnTo>
                    <a:pt x="f419" y="f409"/>
                  </a:lnTo>
                  <a:lnTo>
                    <a:pt x="f385" y="f411"/>
                  </a:lnTo>
                  <a:lnTo>
                    <a:pt x="f385" y="f412"/>
                  </a:lnTo>
                  <a:lnTo>
                    <a:pt x="f419" y="f413"/>
                  </a:lnTo>
                  <a:lnTo>
                    <a:pt x="f418" y="f413"/>
                  </a:lnTo>
                  <a:lnTo>
                    <a:pt x="f386" y="f412"/>
                  </a:lnTo>
                  <a:lnTo>
                    <a:pt x="f386" y="f411"/>
                  </a:lnTo>
                  <a:close/>
                  <a:moveTo>
                    <a:pt x="f387" y="f409"/>
                  </a:moveTo>
                  <a:lnTo>
                    <a:pt x="f420" y="f409"/>
                  </a:lnTo>
                  <a:lnTo>
                    <a:pt x="f421" y="f411"/>
                  </a:lnTo>
                  <a:lnTo>
                    <a:pt x="f421" y="f412"/>
                  </a:lnTo>
                  <a:lnTo>
                    <a:pt x="f420" y="f413"/>
                  </a:lnTo>
                  <a:lnTo>
                    <a:pt x="f387" y="f413"/>
                  </a:lnTo>
                  <a:lnTo>
                    <a:pt x="f390" y="f412"/>
                  </a:lnTo>
                  <a:lnTo>
                    <a:pt x="f390" y="f411"/>
                  </a:lnTo>
                  <a:close/>
                  <a:moveTo>
                    <a:pt x="f422" y="f409"/>
                  </a:moveTo>
                  <a:lnTo>
                    <a:pt x="f423" y="f409"/>
                  </a:lnTo>
                  <a:lnTo>
                    <a:pt x="f391" y="f411"/>
                  </a:lnTo>
                  <a:lnTo>
                    <a:pt x="f391" y="f412"/>
                  </a:lnTo>
                  <a:lnTo>
                    <a:pt x="f423" y="f413"/>
                  </a:lnTo>
                  <a:lnTo>
                    <a:pt x="f422" y="f413"/>
                  </a:lnTo>
                  <a:lnTo>
                    <a:pt x="f424" y="f412"/>
                  </a:lnTo>
                  <a:lnTo>
                    <a:pt x="f424" y="f411"/>
                  </a:lnTo>
                  <a:close/>
                  <a:moveTo>
                    <a:pt x="f35" y="f425"/>
                  </a:moveTo>
                  <a:lnTo>
                    <a:pt x="f37" y="f425"/>
                  </a:lnTo>
                  <a:lnTo>
                    <a:pt x="f6" y="f426"/>
                  </a:lnTo>
                  <a:lnTo>
                    <a:pt x="f6" y="f427"/>
                  </a:lnTo>
                  <a:lnTo>
                    <a:pt x="f37" y="f428"/>
                  </a:lnTo>
                  <a:lnTo>
                    <a:pt x="f35" y="f428"/>
                  </a:lnTo>
                  <a:lnTo>
                    <a:pt x="f41" y="f427"/>
                  </a:lnTo>
                  <a:lnTo>
                    <a:pt x="f41" y="f426"/>
                  </a:lnTo>
                  <a:close/>
                  <a:moveTo>
                    <a:pt x="f42" y="f425"/>
                  </a:moveTo>
                  <a:lnTo>
                    <a:pt x="f43" y="f425"/>
                  </a:lnTo>
                  <a:lnTo>
                    <a:pt x="f44" y="f426"/>
                  </a:lnTo>
                  <a:lnTo>
                    <a:pt x="f44" y="f427"/>
                  </a:lnTo>
                  <a:lnTo>
                    <a:pt x="f43" y="f428"/>
                  </a:lnTo>
                  <a:lnTo>
                    <a:pt x="f42" y="f428"/>
                  </a:lnTo>
                  <a:lnTo>
                    <a:pt x="f45" y="f427"/>
                  </a:lnTo>
                  <a:lnTo>
                    <a:pt x="f45" y="f426"/>
                  </a:lnTo>
                  <a:close/>
                  <a:moveTo>
                    <a:pt x="f46" y="f425"/>
                  </a:moveTo>
                  <a:lnTo>
                    <a:pt x="f47" y="f425"/>
                  </a:lnTo>
                  <a:lnTo>
                    <a:pt x="f48" y="f426"/>
                  </a:lnTo>
                  <a:lnTo>
                    <a:pt x="f48" y="f427"/>
                  </a:lnTo>
                  <a:lnTo>
                    <a:pt x="f47" y="f428"/>
                  </a:lnTo>
                  <a:lnTo>
                    <a:pt x="f46" y="f428"/>
                  </a:lnTo>
                  <a:lnTo>
                    <a:pt x="f49" y="f427"/>
                  </a:lnTo>
                  <a:lnTo>
                    <a:pt x="f49" y="f426"/>
                  </a:lnTo>
                  <a:close/>
                  <a:moveTo>
                    <a:pt x="f50" y="f425"/>
                  </a:moveTo>
                  <a:lnTo>
                    <a:pt x="f51" y="f425"/>
                  </a:lnTo>
                  <a:lnTo>
                    <a:pt x="f52" y="f426"/>
                  </a:lnTo>
                  <a:lnTo>
                    <a:pt x="f52" y="f427"/>
                  </a:lnTo>
                  <a:lnTo>
                    <a:pt x="f51" y="f428"/>
                  </a:lnTo>
                  <a:lnTo>
                    <a:pt x="f50" y="f428"/>
                  </a:lnTo>
                  <a:lnTo>
                    <a:pt x="f53" y="f427"/>
                  </a:lnTo>
                  <a:lnTo>
                    <a:pt x="f53" y="f426"/>
                  </a:lnTo>
                  <a:close/>
                  <a:moveTo>
                    <a:pt x="f54" y="f425"/>
                  </a:moveTo>
                  <a:lnTo>
                    <a:pt x="f55" y="f425"/>
                  </a:lnTo>
                  <a:lnTo>
                    <a:pt x="f56" y="f426"/>
                  </a:lnTo>
                  <a:lnTo>
                    <a:pt x="f56" y="f427"/>
                  </a:lnTo>
                  <a:lnTo>
                    <a:pt x="f55" y="f428"/>
                  </a:lnTo>
                  <a:lnTo>
                    <a:pt x="f54" y="f428"/>
                  </a:lnTo>
                  <a:lnTo>
                    <a:pt x="f57" y="f427"/>
                  </a:lnTo>
                  <a:lnTo>
                    <a:pt x="f57" y="f426"/>
                  </a:lnTo>
                  <a:close/>
                  <a:moveTo>
                    <a:pt x="f58" y="f425"/>
                  </a:moveTo>
                  <a:lnTo>
                    <a:pt x="f59" y="f425"/>
                  </a:lnTo>
                  <a:lnTo>
                    <a:pt x="f60" y="f426"/>
                  </a:lnTo>
                  <a:lnTo>
                    <a:pt x="f60" y="f427"/>
                  </a:lnTo>
                  <a:lnTo>
                    <a:pt x="f59" y="f428"/>
                  </a:lnTo>
                  <a:lnTo>
                    <a:pt x="f58" y="f428"/>
                  </a:lnTo>
                  <a:lnTo>
                    <a:pt x="f61" y="f427"/>
                  </a:lnTo>
                  <a:lnTo>
                    <a:pt x="f61" y="f426"/>
                  </a:lnTo>
                  <a:close/>
                  <a:moveTo>
                    <a:pt x="f62" y="f425"/>
                  </a:moveTo>
                  <a:lnTo>
                    <a:pt x="f63" y="f425"/>
                  </a:lnTo>
                  <a:lnTo>
                    <a:pt x="f64" y="f426"/>
                  </a:lnTo>
                  <a:lnTo>
                    <a:pt x="f64" y="f427"/>
                  </a:lnTo>
                  <a:lnTo>
                    <a:pt x="f63" y="f428"/>
                  </a:lnTo>
                  <a:lnTo>
                    <a:pt x="f62" y="f428"/>
                  </a:lnTo>
                  <a:lnTo>
                    <a:pt x="f65" y="f427"/>
                  </a:lnTo>
                  <a:lnTo>
                    <a:pt x="f65" y="f426"/>
                  </a:lnTo>
                  <a:close/>
                  <a:moveTo>
                    <a:pt x="f66" y="f425"/>
                  </a:moveTo>
                  <a:lnTo>
                    <a:pt x="f67" y="f425"/>
                  </a:lnTo>
                  <a:lnTo>
                    <a:pt x="f68" y="f426"/>
                  </a:lnTo>
                  <a:lnTo>
                    <a:pt x="f68" y="f427"/>
                  </a:lnTo>
                  <a:lnTo>
                    <a:pt x="f67" y="f428"/>
                  </a:lnTo>
                  <a:lnTo>
                    <a:pt x="f66" y="f428"/>
                  </a:lnTo>
                  <a:lnTo>
                    <a:pt x="f69" y="f427"/>
                  </a:lnTo>
                  <a:lnTo>
                    <a:pt x="f69" y="f426"/>
                  </a:lnTo>
                  <a:close/>
                  <a:moveTo>
                    <a:pt x="f70" y="f425"/>
                  </a:moveTo>
                  <a:lnTo>
                    <a:pt x="f71" y="f425"/>
                  </a:lnTo>
                  <a:lnTo>
                    <a:pt x="f72" y="f426"/>
                  </a:lnTo>
                  <a:lnTo>
                    <a:pt x="f72" y="f427"/>
                  </a:lnTo>
                  <a:lnTo>
                    <a:pt x="f71" y="f428"/>
                  </a:lnTo>
                  <a:lnTo>
                    <a:pt x="f70" y="f428"/>
                  </a:lnTo>
                  <a:lnTo>
                    <a:pt x="f73" y="f427"/>
                  </a:lnTo>
                  <a:lnTo>
                    <a:pt x="f73" y="f426"/>
                  </a:lnTo>
                  <a:close/>
                  <a:moveTo>
                    <a:pt x="f74" y="f425"/>
                  </a:moveTo>
                  <a:lnTo>
                    <a:pt x="f75" y="f425"/>
                  </a:lnTo>
                  <a:lnTo>
                    <a:pt x="f76" y="f426"/>
                  </a:lnTo>
                  <a:lnTo>
                    <a:pt x="f76" y="f427"/>
                  </a:lnTo>
                  <a:lnTo>
                    <a:pt x="f75" y="f428"/>
                  </a:lnTo>
                  <a:lnTo>
                    <a:pt x="f74" y="f428"/>
                  </a:lnTo>
                  <a:lnTo>
                    <a:pt x="f77" y="f427"/>
                  </a:lnTo>
                  <a:lnTo>
                    <a:pt x="f77" y="f426"/>
                  </a:lnTo>
                  <a:close/>
                  <a:moveTo>
                    <a:pt x="f78" y="f425"/>
                  </a:moveTo>
                  <a:lnTo>
                    <a:pt x="f79" y="f425"/>
                  </a:lnTo>
                  <a:lnTo>
                    <a:pt x="f80" y="f426"/>
                  </a:lnTo>
                  <a:lnTo>
                    <a:pt x="f80" y="f427"/>
                  </a:lnTo>
                  <a:lnTo>
                    <a:pt x="f79" y="f428"/>
                  </a:lnTo>
                  <a:lnTo>
                    <a:pt x="f78" y="f428"/>
                  </a:lnTo>
                  <a:lnTo>
                    <a:pt x="f81" y="f427"/>
                  </a:lnTo>
                  <a:lnTo>
                    <a:pt x="f81" y="f426"/>
                  </a:lnTo>
                  <a:close/>
                  <a:moveTo>
                    <a:pt x="f82" y="f425"/>
                  </a:moveTo>
                  <a:lnTo>
                    <a:pt x="f83" y="f425"/>
                  </a:lnTo>
                  <a:lnTo>
                    <a:pt x="f84" y="f426"/>
                  </a:lnTo>
                  <a:lnTo>
                    <a:pt x="f84" y="f427"/>
                  </a:lnTo>
                  <a:lnTo>
                    <a:pt x="f83" y="f428"/>
                  </a:lnTo>
                  <a:lnTo>
                    <a:pt x="f82" y="f428"/>
                  </a:lnTo>
                  <a:lnTo>
                    <a:pt x="f85" y="f427"/>
                  </a:lnTo>
                  <a:lnTo>
                    <a:pt x="f85" y="f426"/>
                  </a:lnTo>
                  <a:close/>
                  <a:moveTo>
                    <a:pt x="f86" y="f425"/>
                  </a:moveTo>
                  <a:lnTo>
                    <a:pt x="f87" y="f425"/>
                  </a:lnTo>
                  <a:lnTo>
                    <a:pt x="f88" y="f426"/>
                  </a:lnTo>
                  <a:lnTo>
                    <a:pt x="f88" y="f427"/>
                  </a:lnTo>
                  <a:lnTo>
                    <a:pt x="f87" y="f428"/>
                  </a:lnTo>
                  <a:lnTo>
                    <a:pt x="f86" y="f428"/>
                  </a:lnTo>
                  <a:lnTo>
                    <a:pt x="f89" y="f427"/>
                  </a:lnTo>
                  <a:lnTo>
                    <a:pt x="f89" y="f426"/>
                  </a:lnTo>
                  <a:close/>
                  <a:moveTo>
                    <a:pt x="f90" y="f425"/>
                  </a:moveTo>
                  <a:lnTo>
                    <a:pt x="f91" y="f425"/>
                  </a:lnTo>
                  <a:lnTo>
                    <a:pt x="f92" y="f426"/>
                  </a:lnTo>
                  <a:lnTo>
                    <a:pt x="f92" y="f427"/>
                  </a:lnTo>
                  <a:lnTo>
                    <a:pt x="f91" y="f428"/>
                  </a:lnTo>
                  <a:lnTo>
                    <a:pt x="f90" y="f428"/>
                  </a:lnTo>
                  <a:lnTo>
                    <a:pt x="f93" y="f427"/>
                  </a:lnTo>
                  <a:lnTo>
                    <a:pt x="f93" y="f426"/>
                  </a:lnTo>
                  <a:close/>
                  <a:moveTo>
                    <a:pt x="f94" y="f425"/>
                  </a:moveTo>
                  <a:lnTo>
                    <a:pt x="f95" y="f425"/>
                  </a:lnTo>
                  <a:lnTo>
                    <a:pt x="f96" y="f426"/>
                  </a:lnTo>
                  <a:lnTo>
                    <a:pt x="f96" y="f427"/>
                  </a:lnTo>
                  <a:lnTo>
                    <a:pt x="f95" y="f428"/>
                  </a:lnTo>
                  <a:lnTo>
                    <a:pt x="f94" y="f428"/>
                  </a:lnTo>
                  <a:lnTo>
                    <a:pt x="f97" y="f427"/>
                  </a:lnTo>
                  <a:lnTo>
                    <a:pt x="f97" y="f426"/>
                  </a:lnTo>
                  <a:close/>
                  <a:moveTo>
                    <a:pt x="f98" y="f425"/>
                  </a:moveTo>
                  <a:lnTo>
                    <a:pt x="f99" y="f425"/>
                  </a:lnTo>
                  <a:lnTo>
                    <a:pt x="f100" y="f426"/>
                  </a:lnTo>
                  <a:lnTo>
                    <a:pt x="f100" y="f427"/>
                  </a:lnTo>
                  <a:lnTo>
                    <a:pt x="f99" y="f428"/>
                  </a:lnTo>
                  <a:lnTo>
                    <a:pt x="f98" y="f428"/>
                  </a:lnTo>
                  <a:lnTo>
                    <a:pt x="f101" y="f427"/>
                  </a:lnTo>
                  <a:lnTo>
                    <a:pt x="f101" y="f426"/>
                  </a:lnTo>
                  <a:close/>
                  <a:moveTo>
                    <a:pt x="f102" y="f425"/>
                  </a:moveTo>
                  <a:lnTo>
                    <a:pt x="f103" y="f425"/>
                  </a:lnTo>
                  <a:lnTo>
                    <a:pt x="f104" y="f426"/>
                  </a:lnTo>
                  <a:lnTo>
                    <a:pt x="f104" y="f427"/>
                  </a:lnTo>
                  <a:lnTo>
                    <a:pt x="f103" y="f428"/>
                  </a:lnTo>
                  <a:lnTo>
                    <a:pt x="f102" y="f428"/>
                  </a:lnTo>
                  <a:lnTo>
                    <a:pt x="f105" y="f427"/>
                  </a:lnTo>
                  <a:lnTo>
                    <a:pt x="f105" y="f426"/>
                  </a:lnTo>
                  <a:close/>
                  <a:moveTo>
                    <a:pt x="f106" y="f425"/>
                  </a:moveTo>
                  <a:lnTo>
                    <a:pt x="f107" y="f425"/>
                  </a:lnTo>
                  <a:lnTo>
                    <a:pt x="f108" y="f426"/>
                  </a:lnTo>
                  <a:lnTo>
                    <a:pt x="f108" y="f427"/>
                  </a:lnTo>
                  <a:lnTo>
                    <a:pt x="f107" y="f428"/>
                  </a:lnTo>
                  <a:lnTo>
                    <a:pt x="f106" y="f428"/>
                  </a:lnTo>
                  <a:lnTo>
                    <a:pt x="f109" y="f427"/>
                  </a:lnTo>
                  <a:lnTo>
                    <a:pt x="f109" y="f426"/>
                  </a:lnTo>
                  <a:close/>
                  <a:moveTo>
                    <a:pt x="f110" y="f425"/>
                  </a:moveTo>
                  <a:lnTo>
                    <a:pt x="f111" y="f425"/>
                  </a:lnTo>
                  <a:lnTo>
                    <a:pt x="f112" y="f426"/>
                  </a:lnTo>
                  <a:lnTo>
                    <a:pt x="f112" y="f427"/>
                  </a:lnTo>
                  <a:lnTo>
                    <a:pt x="f111" y="f428"/>
                  </a:lnTo>
                  <a:lnTo>
                    <a:pt x="f110" y="f428"/>
                  </a:lnTo>
                  <a:lnTo>
                    <a:pt x="f113" y="f427"/>
                  </a:lnTo>
                  <a:lnTo>
                    <a:pt x="f113" y="f426"/>
                  </a:lnTo>
                  <a:close/>
                  <a:moveTo>
                    <a:pt x="f114" y="f425"/>
                  </a:moveTo>
                  <a:lnTo>
                    <a:pt x="f115" y="f425"/>
                  </a:lnTo>
                  <a:lnTo>
                    <a:pt x="f116" y="f426"/>
                  </a:lnTo>
                  <a:lnTo>
                    <a:pt x="f116" y="f427"/>
                  </a:lnTo>
                  <a:lnTo>
                    <a:pt x="f115" y="f428"/>
                  </a:lnTo>
                  <a:lnTo>
                    <a:pt x="f114" y="f428"/>
                  </a:lnTo>
                  <a:lnTo>
                    <a:pt x="f117" y="f427"/>
                  </a:lnTo>
                  <a:lnTo>
                    <a:pt x="f117" y="f426"/>
                  </a:lnTo>
                  <a:close/>
                  <a:moveTo>
                    <a:pt x="f118" y="f425"/>
                  </a:moveTo>
                  <a:lnTo>
                    <a:pt x="f119" y="f425"/>
                  </a:lnTo>
                  <a:lnTo>
                    <a:pt x="f120" y="f426"/>
                  </a:lnTo>
                  <a:lnTo>
                    <a:pt x="f120" y="f427"/>
                  </a:lnTo>
                  <a:lnTo>
                    <a:pt x="f119" y="f428"/>
                  </a:lnTo>
                  <a:lnTo>
                    <a:pt x="f118" y="f428"/>
                  </a:lnTo>
                  <a:lnTo>
                    <a:pt x="f121" y="f427"/>
                  </a:lnTo>
                  <a:lnTo>
                    <a:pt x="f121" y="f426"/>
                  </a:lnTo>
                  <a:close/>
                  <a:moveTo>
                    <a:pt x="f122" y="f425"/>
                  </a:moveTo>
                  <a:lnTo>
                    <a:pt x="f123" y="f425"/>
                  </a:lnTo>
                  <a:lnTo>
                    <a:pt x="f124" y="f426"/>
                  </a:lnTo>
                  <a:lnTo>
                    <a:pt x="f124" y="f427"/>
                  </a:lnTo>
                  <a:lnTo>
                    <a:pt x="f123" y="f428"/>
                  </a:lnTo>
                  <a:lnTo>
                    <a:pt x="f122" y="f428"/>
                  </a:lnTo>
                  <a:lnTo>
                    <a:pt x="f125" y="f427"/>
                  </a:lnTo>
                  <a:lnTo>
                    <a:pt x="f125" y="f426"/>
                  </a:lnTo>
                  <a:close/>
                  <a:moveTo>
                    <a:pt x="f126" y="f425"/>
                  </a:moveTo>
                  <a:lnTo>
                    <a:pt x="f127" y="f425"/>
                  </a:lnTo>
                  <a:lnTo>
                    <a:pt x="f128" y="f426"/>
                  </a:lnTo>
                  <a:lnTo>
                    <a:pt x="f128" y="f427"/>
                  </a:lnTo>
                  <a:lnTo>
                    <a:pt x="f127" y="f428"/>
                  </a:lnTo>
                  <a:lnTo>
                    <a:pt x="f126" y="f428"/>
                  </a:lnTo>
                  <a:lnTo>
                    <a:pt x="f129" y="f427"/>
                  </a:lnTo>
                  <a:lnTo>
                    <a:pt x="f129" y="f426"/>
                  </a:lnTo>
                  <a:close/>
                  <a:moveTo>
                    <a:pt x="f130" y="f425"/>
                  </a:moveTo>
                  <a:lnTo>
                    <a:pt x="f131" y="f425"/>
                  </a:lnTo>
                  <a:lnTo>
                    <a:pt x="f132" y="f426"/>
                  </a:lnTo>
                  <a:lnTo>
                    <a:pt x="f132" y="f427"/>
                  </a:lnTo>
                  <a:lnTo>
                    <a:pt x="f131" y="f428"/>
                  </a:lnTo>
                  <a:lnTo>
                    <a:pt x="f130" y="f428"/>
                  </a:lnTo>
                  <a:lnTo>
                    <a:pt x="f133" y="f427"/>
                  </a:lnTo>
                  <a:lnTo>
                    <a:pt x="f133" y="f426"/>
                  </a:lnTo>
                  <a:close/>
                  <a:moveTo>
                    <a:pt x="f134" y="f425"/>
                  </a:moveTo>
                  <a:lnTo>
                    <a:pt x="f135" y="f425"/>
                  </a:lnTo>
                  <a:lnTo>
                    <a:pt x="f136" y="f426"/>
                  </a:lnTo>
                  <a:lnTo>
                    <a:pt x="f136" y="f427"/>
                  </a:lnTo>
                  <a:lnTo>
                    <a:pt x="f135" y="f428"/>
                  </a:lnTo>
                  <a:lnTo>
                    <a:pt x="f134" y="f428"/>
                  </a:lnTo>
                  <a:lnTo>
                    <a:pt x="f137" y="f427"/>
                  </a:lnTo>
                  <a:lnTo>
                    <a:pt x="f137" y="f426"/>
                  </a:lnTo>
                  <a:close/>
                  <a:moveTo>
                    <a:pt x="f138" y="f425"/>
                  </a:moveTo>
                  <a:lnTo>
                    <a:pt x="f139" y="f425"/>
                  </a:lnTo>
                  <a:lnTo>
                    <a:pt x="f140" y="f426"/>
                  </a:lnTo>
                  <a:lnTo>
                    <a:pt x="f140" y="f427"/>
                  </a:lnTo>
                  <a:lnTo>
                    <a:pt x="f139" y="f428"/>
                  </a:lnTo>
                  <a:lnTo>
                    <a:pt x="f138" y="f428"/>
                  </a:lnTo>
                  <a:lnTo>
                    <a:pt x="f141" y="f427"/>
                  </a:lnTo>
                  <a:lnTo>
                    <a:pt x="f141" y="f426"/>
                  </a:lnTo>
                  <a:close/>
                  <a:moveTo>
                    <a:pt x="f142" y="f425"/>
                  </a:moveTo>
                  <a:lnTo>
                    <a:pt x="f143" y="f425"/>
                  </a:lnTo>
                  <a:lnTo>
                    <a:pt x="f144" y="f426"/>
                  </a:lnTo>
                  <a:lnTo>
                    <a:pt x="f144" y="f427"/>
                  </a:lnTo>
                  <a:lnTo>
                    <a:pt x="f143" y="f428"/>
                  </a:lnTo>
                  <a:lnTo>
                    <a:pt x="f142" y="f428"/>
                  </a:lnTo>
                  <a:lnTo>
                    <a:pt x="f145" y="f427"/>
                  </a:lnTo>
                  <a:lnTo>
                    <a:pt x="f145" y="f426"/>
                  </a:lnTo>
                  <a:close/>
                  <a:moveTo>
                    <a:pt x="f146" y="f425"/>
                  </a:moveTo>
                  <a:lnTo>
                    <a:pt x="f147" y="f425"/>
                  </a:lnTo>
                  <a:lnTo>
                    <a:pt x="f148" y="f426"/>
                  </a:lnTo>
                  <a:lnTo>
                    <a:pt x="f148" y="f427"/>
                  </a:lnTo>
                  <a:lnTo>
                    <a:pt x="f147" y="f428"/>
                  </a:lnTo>
                  <a:lnTo>
                    <a:pt x="f146" y="f428"/>
                  </a:lnTo>
                  <a:lnTo>
                    <a:pt x="f149" y="f427"/>
                  </a:lnTo>
                  <a:lnTo>
                    <a:pt x="f149" y="f426"/>
                  </a:lnTo>
                  <a:close/>
                  <a:moveTo>
                    <a:pt x="f150" y="f425"/>
                  </a:moveTo>
                  <a:lnTo>
                    <a:pt x="f151" y="f425"/>
                  </a:lnTo>
                  <a:lnTo>
                    <a:pt x="f152" y="f426"/>
                  </a:lnTo>
                  <a:lnTo>
                    <a:pt x="f152" y="f427"/>
                  </a:lnTo>
                  <a:lnTo>
                    <a:pt x="f151" y="f428"/>
                  </a:lnTo>
                  <a:lnTo>
                    <a:pt x="f150" y="f428"/>
                  </a:lnTo>
                  <a:lnTo>
                    <a:pt x="f153" y="f427"/>
                  </a:lnTo>
                  <a:lnTo>
                    <a:pt x="f153" y="f426"/>
                  </a:lnTo>
                  <a:close/>
                  <a:moveTo>
                    <a:pt x="f154" y="f425"/>
                  </a:moveTo>
                  <a:lnTo>
                    <a:pt x="f155" y="f425"/>
                  </a:lnTo>
                  <a:lnTo>
                    <a:pt x="f156" y="f426"/>
                  </a:lnTo>
                  <a:lnTo>
                    <a:pt x="f156" y="f427"/>
                  </a:lnTo>
                  <a:lnTo>
                    <a:pt x="f155" y="f428"/>
                  </a:lnTo>
                  <a:lnTo>
                    <a:pt x="f154" y="f428"/>
                  </a:lnTo>
                  <a:lnTo>
                    <a:pt x="f157" y="f427"/>
                  </a:lnTo>
                  <a:lnTo>
                    <a:pt x="f157" y="f426"/>
                  </a:lnTo>
                  <a:close/>
                  <a:moveTo>
                    <a:pt x="f158" y="f425"/>
                  </a:moveTo>
                  <a:lnTo>
                    <a:pt x="f159" y="f425"/>
                  </a:lnTo>
                  <a:lnTo>
                    <a:pt x="f160" y="f426"/>
                  </a:lnTo>
                  <a:lnTo>
                    <a:pt x="f160" y="f427"/>
                  </a:lnTo>
                  <a:lnTo>
                    <a:pt x="f159" y="f428"/>
                  </a:lnTo>
                  <a:lnTo>
                    <a:pt x="f158" y="f428"/>
                  </a:lnTo>
                  <a:lnTo>
                    <a:pt x="f161" y="f427"/>
                  </a:lnTo>
                  <a:lnTo>
                    <a:pt x="f161" y="f426"/>
                  </a:lnTo>
                  <a:close/>
                  <a:moveTo>
                    <a:pt x="f429" y="f425"/>
                  </a:moveTo>
                  <a:lnTo>
                    <a:pt x="f398" y="f425"/>
                  </a:lnTo>
                  <a:lnTo>
                    <a:pt x="f399" y="f426"/>
                  </a:lnTo>
                  <a:lnTo>
                    <a:pt x="f399" y="f427"/>
                  </a:lnTo>
                  <a:lnTo>
                    <a:pt x="f398" y="f428"/>
                  </a:lnTo>
                  <a:lnTo>
                    <a:pt x="f429" y="f428"/>
                  </a:lnTo>
                  <a:lnTo>
                    <a:pt x="f400" y="f427"/>
                  </a:lnTo>
                  <a:lnTo>
                    <a:pt x="f400" y="f426"/>
                  </a:lnTo>
                  <a:close/>
                  <a:moveTo>
                    <a:pt x="f430" y="f425"/>
                  </a:moveTo>
                  <a:lnTo>
                    <a:pt x="f401" y="f425"/>
                  </a:lnTo>
                  <a:lnTo>
                    <a:pt x="f402" y="f426"/>
                  </a:lnTo>
                  <a:lnTo>
                    <a:pt x="f402" y="f427"/>
                  </a:lnTo>
                  <a:lnTo>
                    <a:pt x="f401" y="f428"/>
                  </a:lnTo>
                  <a:lnTo>
                    <a:pt x="f430" y="f428"/>
                  </a:lnTo>
                  <a:lnTo>
                    <a:pt x="f431" y="f427"/>
                  </a:lnTo>
                  <a:lnTo>
                    <a:pt x="f431" y="f426"/>
                  </a:lnTo>
                  <a:close/>
                  <a:moveTo>
                    <a:pt x="f432" y="f425"/>
                  </a:moveTo>
                  <a:lnTo>
                    <a:pt x="f433" y="f425"/>
                  </a:lnTo>
                  <a:lnTo>
                    <a:pt x="f434" y="f426"/>
                  </a:lnTo>
                  <a:lnTo>
                    <a:pt x="f434" y="f427"/>
                  </a:lnTo>
                  <a:lnTo>
                    <a:pt x="f433" y="f428"/>
                  </a:lnTo>
                  <a:lnTo>
                    <a:pt x="f432" y="f428"/>
                  </a:lnTo>
                  <a:lnTo>
                    <a:pt x="f435" y="f427"/>
                  </a:lnTo>
                  <a:lnTo>
                    <a:pt x="f435" y="f426"/>
                  </a:lnTo>
                  <a:close/>
                  <a:moveTo>
                    <a:pt x="f406" y="f425"/>
                  </a:moveTo>
                  <a:lnTo>
                    <a:pt x="f436" y="f425"/>
                  </a:lnTo>
                  <a:lnTo>
                    <a:pt x="f437" y="f426"/>
                  </a:lnTo>
                  <a:lnTo>
                    <a:pt x="f437" y="f427"/>
                  </a:lnTo>
                  <a:lnTo>
                    <a:pt x="f436" y="f428"/>
                  </a:lnTo>
                  <a:lnTo>
                    <a:pt x="f406" y="f428"/>
                  </a:lnTo>
                  <a:lnTo>
                    <a:pt x="f438" y="f427"/>
                  </a:lnTo>
                  <a:lnTo>
                    <a:pt x="f438" y="f426"/>
                  </a:lnTo>
                  <a:close/>
                  <a:moveTo>
                    <a:pt x="f35" y="f439"/>
                  </a:moveTo>
                  <a:lnTo>
                    <a:pt x="f37" y="f439"/>
                  </a:lnTo>
                  <a:lnTo>
                    <a:pt x="f6" y="f440"/>
                  </a:lnTo>
                  <a:lnTo>
                    <a:pt x="f6" y="f441"/>
                  </a:lnTo>
                  <a:lnTo>
                    <a:pt x="f37" y="f442"/>
                  </a:lnTo>
                  <a:lnTo>
                    <a:pt x="f35" y="f442"/>
                  </a:lnTo>
                  <a:lnTo>
                    <a:pt x="f41" y="f441"/>
                  </a:lnTo>
                  <a:lnTo>
                    <a:pt x="f41" y="f440"/>
                  </a:lnTo>
                  <a:close/>
                  <a:moveTo>
                    <a:pt x="f42" y="f439"/>
                  </a:moveTo>
                  <a:lnTo>
                    <a:pt x="f43" y="f439"/>
                  </a:lnTo>
                  <a:lnTo>
                    <a:pt x="f44" y="f440"/>
                  </a:lnTo>
                  <a:lnTo>
                    <a:pt x="f44" y="f441"/>
                  </a:lnTo>
                  <a:lnTo>
                    <a:pt x="f43" y="f442"/>
                  </a:lnTo>
                  <a:lnTo>
                    <a:pt x="f42" y="f442"/>
                  </a:lnTo>
                  <a:lnTo>
                    <a:pt x="f45" y="f441"/>
                  </a:lnTo>
                  <a:lnTo>
                    <a:pt x="f45" y="f440"/>
                  </a:lnTo>
                  <a:close/>
                  <a:moveTo>
                    <a:pt x="f46" y="f439"/>
                  </a:moveTo>
                  <a:lnTo>
                    <a:pt x="f47" y="f439"/>
                  </a:lnTo>
                  <a:lnTo>
                    <a:pt x="f48" y="f440"/>
                  </a:lnTo>
                  <a:lnTo>
                    <a:pt x="f48" y="f441"/>
                  </a:lnTo>
                  <a:lnTo>
                    <a:pt x="f47" y="f442"/>
                  </a:lnTo>
                  <a:lnTo>
                    <a:pt x="f46" y="f442"/>
                  </a:lnTo>
                  <a:lnTo>
                    <a:pt x="f49" y="f441"/>
                  </a:lnTo>
                  <a:lnTo>
                    <a:pt x="f49" y="f440"/>
                  </a:lnTo>
                  <a:close/>
                  <a:moveTo>
                    <a:pt x="f50" y="f439"/>
                  </a:moveTo>
                  <a:lnTo>
                    <a:pt x="f51" y="f439"/>
                  </a:lnTo>
                  <a:lnTo>
                    <a:pt x="f52" y="f440"/>
                  </a:lnTo>
                  <a:lnTo>
                    <a:pt x="f52" y="f441"/>
                  </a:lnTo>
                  <a:lnTo>
                    <a:pt x="f51" y="f442"/>
                  </a:lnTo>
                  <a:lnTo>
                    <a:pt x="f50" y="f442"/>
                  </a:lnTo>
                  <a:lnTo>
                    <a:pt x="f53" y="f441"/>
                  </a:lnTo>
                  <a:lnTo>
                    <a:pt x="f53" y="f440"/>
                  </a:lnTo>
                  <a:close/>
                  <a:moveTo>
                    <a:pt x="f54" y="f439"/>
                  </a:moveTo>
                  <a:lnTo>
                    <a:pt x="f55" y="f439"/>
                  </a:lnTo>
                  <a:lnTo>
                    <a:pt x="f56" y="f440"/>
                  </a:lnTo>
                  <a:lnTo>
                    <a:pt x="f56" y="f441"/>
                  </a:lnTo>
                  <a:lnTo>
                    <a:pt x="f55" y="f442"/>
                  </a:lnTo>
                  <a:lnTo>
                    <a:pt x="f54" y="f442"/>
                  </a:lnTo>
                  <a:lnTo>
                    <a:pt x="f57" y="f441"/>
                  </a:lnTo>
                  <a:lnTo>
                    <a:pt x="f57" y="f440"/>
                  </a:lnTo>
                  <a:close/>
                  <a:moveTo>
                    <a:pt x="f58" y="f439"/>
                  </a:moveTo>
                  <a:lnTo>
                    <a:pt x="f59" y="f439"/>
                  </a:lnTo>
                  <a:lnTo>
                    <a:pt x="f60" y="f440"/>
                  </a:lnTo>
                  <a:lnTo>
                    <a:pt x="f60" y="f441"/>
                  </a:lnTo>
                  <a:lnTo>
                    <a:pt x="f59" y="f442"/>
                  </a:lnTo>
                  <a:lnTo>
                    <a:pt x="f58" y="f442"/>
                  </a:lnTo>
                  <a:lnTo>
                    <a:pt x="f61" y="f441"/>
                  </a:lnTo>
                  <a:lnTo>
                    <a:pt x="f61" y="f440"/>
                  </a:lnTo>
                  <a:close/>
                  <a:moveTo>
                    <a:pt x="f62" y="f439"/>
                  </a:moveTo>
                  <a:lnTo>
                    <a:pt x="f63" y="f439"/>
                  </a:lnTo>
                  <a:lnTo>
                    <a:pt x="f64" y="f440"/>
                  </a:lnTo>
                  <a:lnTo>
                    <a:pt x="f64" y="f441"/>
                  </a:lnTo>
                  <a:lnTo>
                    <a:pt x="f63" y="f442"/>
                  </a:lnTo>
                  <a:lnTo>
                    <a:pt x="f62" y="f442"/>
                  </a:lnTo>
                  <a:lnTo>
                    <a:pt x="f65" y="f441"/>
                  </a:lnTo>
                  <a:lnTo>
                    <a:pt x="f65" y="f440"/>
                  </a:lnTo>
                  <a:close/>
                  <a:moveTo>
                    <a:pt x="f66" y="f439"/>
                  </a:moveTo>
                  <a:lnTo>
                    <a:pt x="f67" y="f439"/>
                  </a:lnTo>
                  <a:lnTo>
                    <a:pt x="f68" y="f440"/>
                  </a:lnTo>
                  <a:lnTo>
                    <a:pt x="f68" y="f441"/>
                  </a:lnTo>
                  <a:lnTo>
                    <a:pt x="f67" y="f442"/>
                  </a:lnTo>
                  <a:lnTo>
                    <a:pt x="f66" y="f442"/>
                  </a:lnTo>
                  <a:lnTo>
                    <a:pt x="f69" y="f441"/>
                  </a:lnTo>
                  <a:lnTo>
                    <a:pt x="f69" y="f440"/>
                  </a:lnTo>
                  <a:close/>
                  <a:moveTo>
                    <a:pt x="f70" y="f439"/>
                  </a:moveTo>
                  <a:lnTo>
                    <a:pt x="f71" y="f439"/>
                  </a:lnTo>
                  <a:lnTo>
                    <a:pt x="f72" y="f440"/>
                  </a:lnTo>
                  <a:lnTo>
                    <a:pt x="f72" y="f441"/>
                  </a:lnTo>
                  <a:lnTo>
                    <a:pt x="f71" y="f442"/>
                  </a:lnTo>
                  <a:lnTo>
                    <a:pt x="f70" y="f442"/>
                  </a:lnTo>
                  <a:lnTo>
                    <a:pt x="f73" y="f441"/>
                  </a:lnTo>
                  <a:lnTo>
                    <a:pt x="f73" y="f440"/>
                  </a:lnTo>
                  <a:close/>
                  <a:moveTo>
                    <a:pt x="f74" y="f439"/>
                  </a:moveTo>
                  <a:lnTo>
                    <a:pt x="f75" y="f439"/>
                  </a:lnTo>
                  <a:lnTo>
                    <a:pt x="f76" y="f440"/>
                  </a:lnTo>
                  <a:lnTo>
                    <a:pt x="f76" y="f441"/>
                  </a:lnTo>
                  <a:lnTo>
                    <a:pt x="f75" y="f442"/>
                  </a:lnTo>
                  <a:lnTo>
                    <a:pt x="f74" y="f442"/>
                  </a:lnTo>
                  <a:lnTo>
                    <a:pt x="f77" y="f441"/>
                  </a:lnTo>
                  <a:lnTo>
                    <a:pt x="f77" y="f440"/>
                  </a:lnTo>
                  <a:close/>
                  <a:moveTo>
                    <a:pt x="f78" y="f439"/>
                  </a:moveTo>
                  <a:lnTo>
                    <a:pt x="f79" y="f439"/>
                  </a:lnTo>
                  <a:lnTo>
                    <a:pt x="f80" y="f440"/>
                  </a:lnTo>
                  <a:lnTo>
                    <a:pt x="f80" y="f441"/>
                  </a:lnTo>
                  <a:lnTo>
                    <a:pt x="f79" y="f442"/>
                  </a:lnTo>
                  <a:lnTo>
                    <a:pt x="f78" y="f442"/>
                  </a:lnTo>
                  <a:lnTo>
                    <a:pt x="f81" y="f441"/>
                  </a:lnTo>
                  <a:lnTo>
                    <a:pt x="f81" y="f440"/>
                  </a:lnTo>
                  <a:close/>
                  <a:moveTo>
                    <a:pt x="f82" y="f439"/>
                  </a:moveTo>
                  <a:lnTo>
                    <a:pt x="f83" y="f439"/>
                  </a:lnTo>
                  <a:lnTo>
                    <a:pt x="f84" y="f440"/>
                  </a:lnTo>
                  <a:lnTo>
                    <a:pt x="f84" y="f441"/>
                  </a:lnTo>
                  <a:lnTo>
                    <a:pt x="f83" y="f442"/>
                  </a:lnTo>
                  <a:lnTo>
                    <a:pt x="f82" y="f442"/>
                  </a:lnTo>
                  <a:lnTo>
                    <a:pt x="f85" y="f441"/>
                  </a:lnTo>
                  <a:lnTo>
                    <a:pt x="f85" y="f440"/>
                  </a:lnTo>
                  <a:close/>
                  <a:moveTo>
                    <a:pt x="f86" y="f439"/>
                  </a:moveTo>
                  <a:lnTo>
                    <a:pt x="f87" y="f439"/>
                  </a:lnTo>
                  <a:lnTo>
                    <a:pt x="f88" y="f440"/>
                  </a:lnTo>
                  <a:lnTo>
                    <a:pt x="f88" y="f441"/>
                  </a:lnTo>
                  <a:lnTo>
                    <a:pt x="f87" y="f442"/>
                  </a:lnTo>
                  <a:lnTo>
                    <a:pt x="f86" y="f442"/>
                  </a:lnTo>
                  <a:lnTo>
                    <a:pt x="f89" y="f441"/>
                  </a:lnTo>
                  <a:lnTo>
                    <a:pt x="f89" y="f440"/>
                  </a:lnTo>
                  <a:close/>
                  <a:moveTo>
                    <a:pt x="f90" y="f439"/>
                  </a:moveTo>
                  <a:lnTo>
                    <a:pt x="f91" y="f439"/>
                  </a:lnTo>
                  <a:lnTo>
                    <a:pt x="f92" y="f440"/>
                  </a:lnTo>
                  <a:lnTo>
                    <a:pt x="f92" y="f441"/>
                  </a:lnTo>
                  <a:lnTo>
                    <a:pt x="f91" y="f442"/>
                  </a:lnTo>
                  <a:lnTo>
                    <a:pt x="f90" y="f442"/>
                  </a:lnTo>
                  <a:lnTo>
                    <a:pt x="f93" y="f441"/>
                  </a:lnTo>
                  <a:lnTo>
                    <a:pt x="f93" y="f440"/>
                  </a:lnTo>
                  <a:close/>
                  <a:moveTo>
                    <a:pt x="f94" y="f439"/>
                  </a:moveTo>
                  <a:lnTo>
                    <a:pt x="f95" y="f439"/>
                  </a:lnTo>
                  <a:lnTo>
                    <a:pt x="f96" y="f440"/>
                  </a:lnTo>
                  <a:lnTo>
                    <a:pt x="f96" y="f441"/>
                  </a:lnTo>
                  <a:lnTo>
                    <a:pt x="f95" y="f442"/>
                  </a:lnTo>
                  <a:lnTo>
                    <a:pt x="f94" y="f442"/>
                  </a:lnTo>
                  <a:lnTo>
                    <a:pt x="f97" y="f441"/>
                  </a:lnTo>
                  <a:lnTo>
                    <a:pt x="f97" y="f440"/>
                  </a:lnTo>
                  <a:close/>
                  <a:moveTo>
                    <a:pt x="f98" y="f439"/>
                  </a:moveTo>
                  <a:lnTo>
                    <a:pt x="f99" y="f439"/>
                  </a:lnTo>
                  <a:lnTo>
                    <a:pt x="f100" y="f440"/>
                  </a:lnTo>
                  <a:lnTo>
                    <a:pt x="f100" y="f441"/>
                  </a:lnTo>
                  <a:lnTo>
                    <a:pt x="f99" y="f442"/>
                  </a:lnTo>
                  <a:lnTo>
                    <a:pt x="f98" y="f442"/>
                  </a:lnTo>
                  <a:lnTo>
                    <a:pt x="f101" y="f441"/>
                  </a:lnTo>
                  <a:lnTo>
                    <a:pt x="f101" y="f440"/>
                  </a:lnTo>
                  <a:close/>
                  <a:moveTo>
                    <a:pt x="f102" y="f439"/>
                  </a:moveTo>
                  <a:lnTo>
                    <a:pt x="f103" y="f439"/>
                  </a:lnTo>
                  <a:lnTo>
                    <a:pt x="f104" y="f440"/>
                  </a:lnTo>
                  <a:lnTo>
                    <a:pt x="f104" y="f441"/>
                  </a:lnTo>
                  <a:lnTo>
                    <a:pt x="f103" y="f442"/>
                  </a:lnTo>
                  <a:lnTo>
                    <a:pt x="f102" y="f442"/>
                  </a:lnTo>
                  <a:lnTo>
                    <a:pt x="f105" y="f441"/>
                  </a:lnTo>
                  <a:lnTo>
                    <a:pt x="f105" y="f440"/>
                  </a:lnTo>
                  <a:close/>
                  <a:moveTo>
                    <a:pt x="f106" y="f439"/>
                  </a:moveTo>
                  <a:lnTo>
                    <a:pt x="f107" y="f439"/>
                  </a:lnTo>
                  <a:lnTo>
                    <a:pt x="f108" y="f440"/>
                  </a:lnTo>
                  <a:lnTo>
                    <a:pt x="f108" y="f441"/>
                  </a:lnTo>
                  <a:lnTo>
                    <a:pt x="f107" y="f442"/>
                  </a:lnTo>
                  <a:lnTo>
                    <a:pt x="f106" y="f442"/>
                  </a:lnTo>
                  <a:lnTo>
                    <a:pt x="f109" y="f441"/>
                  </a:lnTo>
                  <a:lnTo>
                    <a:pt x="f109" y="f440"/>
                  </a:lnTo>
                  <a:close/>
                  <a:moveTo>
                    <a:pt x="f110" y="f439"/>
                  </a:moveTo>
                  <a:lnTo>
                    <a:pt x="f111" y="f439"/>
                  </a:lnTo>
                  <a:lnTo>
                    <a:pt x="f112" y="f440"/>
                  </a:lnTo>
                  <a:lnTo>
                    <a:pt x="f112" y="f441"/>
                  </a:lnTo>
                  <a:lnTo>
                    <a:pt x="f111" y="f442"/>
                  </a:lnTo>
                  <a:lnTo>
                    <a:pt x="f110" y="f442"/>
                  </a:lnTo>
                  <a:lnTo>
                    <a:pt x="f113" y="f441"/>
                  </a:lnTo>
                  <a:lnTo>
                    <a:pt x="f113" y="f440"/>
                  </a:lnTo>
                  <a:close/>
                  <a:moveTo>
                    <a:pt x="f114" y="f439"/>
                  </a:moveTo>
                  <a:lnTo>
                    <a:pt x="f115" y="f439"/>
                  </a:lnTo>
                  <a:lnTo>
                    <a:pt x="f116" y="f440"/>
                  </a:lnTo>
                  <a:lnTo>
                    <a:pt x="f116" y="f441"/>
                  </a:lnTo>
                  <a:lnTo>
                    <a:pt x="f115" y="f442"/>
                  </a:lnTo>
                  <a:lnTo>
                    <a:pt x="f114" y="f442"/>
                  </a:lnTo>
                  <a:lnTo>
                    <a:pt x="f117" y="f441"/>
                  </a:lnTo>
                  <a:lnTo>
                    <a:pt x="f117" y="f440"/>
                  </a:lnTo>
                  <a:close/>
                  <a:moveTo>
                    <a:pt x="f118" y="f439"/>
                  </a:moveTo>
                  <a:lnTo>
                    <a:pt x="f119" y="f439"/>
                  </a:lnTo>
                  <a:lnTo>
                    <a:pt x="f120" y="f440"/>
                  </a:lnTo>
                  <a:lnTo>
                    <a:pt x="f120" y="f441"/>
                  </a:lnTo>
                  <a:lnTo>
                    <a:pt x="f119" y="f442"/>
                  </a:lnTo>
                  <a:lnTo>
                    <a:pt x="f118" y="f442"/>
                  </a:lnTo>
                  <a:lnTo>
                    <a:pt x="f121" y="f441"/>
                  </a:lnTo>
                  <a:lnTo>
                    <a:pt x="f121" y="f440"/>
                  </a:lnTo>
                  <a:close/>
                  <a:moveTo>
                    <a:pt x="f122" y="f439"/>
                  </a:moveTo>
                  <a:lnTo>
                    <a:pt x="f123" y="f439"/>
                  </a:lnTo>
                  <a:lnTo>
                    <a:pt x="f124" y="f440"/>
                  </a:lnTo>
                  <a:lnTo>
                    <a:pt x="f124" y="f441"/>
                  </a:lnTo>
                  <a:lnTo>
                    <a:pt x="f123" y="f442"/>
                  </a:lnTo>
                  <a:lnTo>
                    <a:pt x="f122" y="f442"/>
                  </a:lnTo>
                  <a:lnTo>
                    <a:pt x="f125" y="f441"/>
                  </a:lnTo>
                  <a:lnTo>
                    <a:pt x="f125" y="f440"/>
                  </a:lnTo>
                  <a:close/>
                  <a:moveTo>
                    <a:pt x="f126" y="f439"/>
                  </a:moveTo>
                  <a:lnTo>
                    <a:pt x="f127" y="f439"/>
                  </a:lnTo>
                  <a:lnTo>
                    <a:pt x="f128" y="f440"/>
                  </a:lnTo>
                  <a:lnTo>
                    <a:pt x="f128" y="f441"/>
                  </a:lnTo>
                  <a:lnTo>
                    <a:pt x="f127" y="f442"/>
                  </a:lnTo>
                  <a:lnTo>
                    <a:pt x="f126" y="f442"/>
                  </a:lnTo>
                  <a:lnTo>
                    <a:pt x="f129" y="f441"/>
                  </a:lnTo>
                  <a:lnTo>
                    <a:pt x="f129" y="f440"/>
                  </a:lnTo>
                  <a:close/>
                  <a:moveTo>
                    <a:pt x="f130" y="f439"/>
                  </a:moveTo>
                  <a:lnTo>
                    <a:pt x="f131" y="f439"/>
                  </a:lnTo>
                  <a:lnTo>
                    <a:pt x="f132" y="f440"/>
                  </a:lnTo>
                  <a:lnTo>
                    <a:pt x="f132" y="f441"/>
                  </a:lnTo>
                  <a:lnTo>
                    <a:pt x="f131" y="f442"/>
                  </a:lnTo>
                  <a:lnTo>
                    <a:pt x="f130" y="f442"/>
                  </a:lnTo>
                  <a:lnTo>
                    <a:pt x="f133" y="f441"/>
                  </a:lnTo>
                  <a:lnTo>
                    <a:pt x="f133" y="f440"/>
                  </a:lnTo>
                  <a:close/>
                  <a:moveTo>
                    <a:pt x="f134" y="f439"/>
                  </a:moveTo>
                  <a:lnTo>
                    <a:pt x="f135" y="f439"/>
                  </a:lnTo>
                  <a:lnTo>
                    <a:pt x="f136" y="f440"/>
                  </a:lnTo>
                  <a:lnTo>
                    <a:pt x="f136" y="f441"/>
                  </a:lnTo>
                  <a:lnTo>
                    <a:pt x="f135" y="f442"/>
                  </a:lnTo>
                  <a:lnTo>
                    <a:pt x="f134" y="f442"/>
                  </a:lnTo>
                  <a:lnTo>
                    <a:pt x="f137" y="f441"/>
                  </a:lnTo>
                  <a:lnTo>
                    <a:pt x="f137" y="f440"/>
                  </a:lnTo>
                  <a:close/>
                  <a:moveTo>
                    <a:pt x="f138" y="f439"/>
                  </a:moveTo>
                  <a:lnTo>
                    <a:pt x="f139" y="f439"/>
                  </a:lnTo>
                  <a:lnTo>
                    <a:pt x="f140" y="f440"/>
                  </a:lnTo>
                  <a:lnTo>
                    <a:pt x="f140" y="f441"/>
                  </a:lnTo>
                  <a:lnTo>
                    <a:pt x="f139" y="f442"/>
                  </a:lnTo>
                  <a:lnTo>
                    <a:pt x="f138" y="f442"/>
                  </a:lnTo>
                  <a:lnTo>
                    <a:pt x="f141" y="f441"/>
                  </a:lnTo>
                  <a:lnTo>
                    <a:pt x="f141" y="f440"/>
                  </a:lnTo>
                  <a:close/>
                  <a:moveTo>
                    <a:pt x="f142" y="f439"/>
                  </a:moveTo>
                  <a:lnTo>
                    <a:pt x="f143" y="f439"/>
                  </a:lnTo>
                  <a:lnTo>
                    <a:pt x="f144" y="f440"/>
                  </a:lnTo>
                  <a:lnTo>
                    <a:pt x="f144" y="f441"/>
                  </a:lnTo>
                  <a:lnTo>
                    <a:pt x="f143" y="f442"/>
                  </a:lnTo>
                  <a:lnTo>
                    <a:pt x="f142" y="f442"/>
                  </a:lnTo>
                  <a:lnTo>
                    <a:pt x="f145" y="f441"/>
                  </a:lnTo>
                  <a:lnTo>
                    <a:pt x="f145" y="f440"/>
                  </a:lnTo>
                  <a:close/>
                  <a:moveTo>
                    <a:pt x="f146" y="f439"/>
                  </a:moveTo>
                  <a:lnTo>
                    <a:pt x="f147" y="f439"/>
                  </a:lnTo>
                  <a:lnTo>
                    <a:pt x="f148" y="f440"/>
                  </a:lnTo>
                  <a:lnTo>
                    <a:pt x="f148" y="f441"/>
                  </a:lnTo>
                  <a:lnTo>
                    <a:pt x="f147" y="f442"/>
                  </a:lnTo>
                  <a:lnTo>
                    <a:pt x="f146" y="f442"/>
                  </a:lnTo>
                  <a:lnTo>
                    <a:pt x="f149" y="f441"/>
                  </a:lnTo>
                  <a:lnTo>
                    <a:pt x="f149" y="f440"/>
                  </a:lnTo>
                  <a:close/>
                  <a:moveTo>
                    <a:pt x="f150" y="f439"/>
                  </a:moveTo>
                  <a:lnTo>
                    <a:pt x="f151" y="f439"/>
                  </a:lnTo>
                  <a:lnTo>
                    <a:pt x="f152" y="f440"/>
                  </a:lnTo>
                  <a:lnTo>
                    <a:pt x="f152" y="f441"/>
                  </a:lnTo>
                  <a:lnTo>
                    <a:pt x="f151" y="f442"/>
                  </a:lnTo>
                  <a:lnTo>
                    <a:pt x="f150" y="f442"/>
                  </a:lnTo>
                  <a:lnTo>
                    <a:pt x="f153" y="f441"/>
                  </a:lnTo>
                  <a:lnTo>
                    <a:pt x="f153" y="f440"/>
                  </a:lnTo>
                  <a:close/>
                  <a:moveTo>
                    <a:pt x="f154" y="f439"/>
                  </a:moveTo>
                  <a:lnTo>
                    <a:pt x="f155" y="f439"/>
                  </a:lnTo>
                  <a:lnTo>
                    <a:pt x="f156" y="f440"/>
                  </a:lnTo>
                  <a:lnTo>
                    <a:pt x="f156" y="f441"/>
                  </a:lnTo>
                  <a:lnTo>
                    <a:pt x="f155" y="f442"/>
                  </a:lnTo>
                  <a:lnTo>
                    <a:pt x="f154" y="f442"/>
                  </a:lnTo>
                  <a:lnTo>
                    <a:pt x="f157" y="f441"/>
                  </a:lnTo>
                  <a:lnTo>
                    <a:pt x="f157" y="f440"/>
                  </a:lnTo>
                  <a:close/>
                  <a:moveTo>
                    <a:pt x="f158" y="f439"/>
                  </a:moveTo>
                  <a:lnTo>
                    <a:pt x="f159" y="f439"/>
                  </a:lnTo>
                  <a:lnTo>
                    <a:pt x="f160" y="f440"/>
                  </a:lnTo>
                  <a:lnTo>
                    <a:pt x="f160" y="f441"/>
                  </a:lnTo>
                  <a:lnTo>
                    <a:pt x="f159" y="f442"/>
                  </a:lnTo>
                  <a:lnTo>
                    <a:pt x="f158" y="f442"/>
                  </a:lnTo>
                  <a:lnTo>
                    <a:pt x="f161" y="f441"/>
                  </a:lnTo>
                  <a:lnTo>
                    <a:pt x="f161" y="f440"/>
                  </a:lnTo>
                  <a:close/>
                  <a:moveTo>
                    <a:pt x="f323" y="f439"/>
                  </a:moveTo>
                  <a:lnTo>
                    <a:pt x="f295" y="f439"/>
                  </a:lnTo>
                  <a:lnTo>
                    <a:pt x="f410" y="f440"/>
                  </a:lnTo>
                  <a:lnTo>
                    <a:pt x="f410" y="f441"/>
                  </a:lnTo>
                  <a:lnTo>
                    <a:pt x="f295" y="f442"/>
                  </a:lnTo>
                  <a:lnTo>
                    <a:pt x="f323" y="f442"/>
                  </a:lnTo>
                  <a:lnTo>
                    <a:pt x="f381" y="f441"/>
                  </a:lnTo>
                  <a:lnTo>
                    <a:pt x="f381" y="f440"/>
                  </a:lnTo>
                  <a:close/>
                  <a:moveTo>
                    <a:pt x="f414" y="f439"/>
                  </a:moveTo>
                  <a:lnTo>
                    <a:pt x="f382" y="f439"/>
                  </a:lnTo>
                  <a:lnTo>
                    <a:pt x="f329" y="f440"/>
                  </a:lnTo>
                  <a:lnTo>
                    <a:pt x="f329" y="f441"/>
                  </a:lnTo>
                  <a:lnTo>
                    <a:pt x="f382" y="f442"/>
                  </a:lnTo>
                  <a:lnTo>
                    <a:pt x="f414" y="f442"/>
                  </a:lnTo>
                  <a:lnTo>
                    <a:pt x="f299" y="f441"/>
                  </a:lnTo>
                  <a:lnTo>
                    <a:pt x="f299" y="f440"/>
                  </a:lnTo>
                  <a:close/>
                  <a:moveTo>
                    <a:pt x="f443" y="f439"/>
                  </a:moveTo>
                  <a:lnTo>
                    <a:pt x="f415" y="f439"/>
                  </a:lnTo>
                  <a:lnTo>
                    <a:pt x="f444" y="f440"/>
                  </a:lnTo>
                  <a:lnTo>
                    <a:pt x="f444" y="f441"/>
                  </a:lnTo>
                  <a:lnTo>
                    <a:pt x="f415" y="f442"/>
                  </a:lnTo>
                  <a:lnTo>
                    <a:pt x="f443" y="f442"/>
                  </a:lnTo>
                  <a:lnTo>
                    <a:pt x="f445" y="f441"/>
                  </a:lnTo>
                  <a:lnTo>
                    <a:pt x="f445" y="f440"/>
                  </a:lnTo>
                  <a:close/>
                  <a:moveTo>
                    <a:pt x="f418" y="f439"/>
                  </a:moveTo>
                  <a:lnTo>
                    <a:pt x="f446" y="f439"/>
                  </a:lnTo>
                  <a:lnTo>
                    <a:pt x="f447" y="f440"/>
                  </a:lnTo>
                  <a:lnTo>
                    <a:pt x="f447" y="f441"/>
                  </a:lnTo>
                  <a:lnTo>
                    <a:pt x="f446" y="f442"/>
                  </a:lnTo>
                  <a:lnTo>
                    <a:pt x="f418" y="f442"/>
                  </a:lnTo>
                  <a:lnTo>
                    <a:pt x="f448" y="f441"/>
                  </a:lnTo>
                  <a:lnTo>
                    <a:pt x="f448" y="f440"/>
                  </a:lnTo>
                  <a:close/>
                  <a:moveTo>
                    <a:pt x="f449" y="f439"/>
                  </a:moveTo>
                  <a:lnTo>
                    <a:pt x="f420" y="f439"/>
                  </a:lnTo>
                  <a:lnTo>
                    <a:pt x="f421" y="f440"/>
                  </a:lnTo>
                  <a:lnTo>
                    <a:pt x="f421" y="f441"/>
                  </a:lnTo>
                  <a:lnTo>
                    <a:pt x="f420" y="f442"/>
                  </a:lnTo>
                  <a:lnTo>
                    <a:pt x="f449" y="f442"/>
                  </a:lnTo>
                  <a:lnTo>
                    <a:pt x="f450" y="f441"/>
                  </a:lnTo>
                  <a:lnTo>
                    <a:pt x="f450" y="f440"/>
                  </a:lnTo>
                  <a:close/>
                  <a:moveTo>
                    <a:pt x="f422" y="f439"/>
                  </a:moveTo>
                  <a:lnTo>
                    <a:pt x="f451" y="f439"/>
                  </a:lnTo>
                  <a:lnTo>
                    <a:pt x="f452" y="f440"/>
                  </a:lnTo>
                  <a:lnTo>
                    <a:pt x="f452" y="f441"/>
                  </a:lnTo>
                  <a:lnTo>
                    <a:pt x="f451" y="f442"/>
                  </a:lnTo>
                  <a:lnTo>
                    <a:pt x="f422" y="f442"/>
                  </a:lnTo>
                  <a:lnTo>
                    <a:pt x="f424" y="f441"/>
                  </a:lnTo>
                  <a:lnTo>
                    <a:pt x="f424" y="f440"/>
                  </a:lnTo>
                  <a:close/>
                  <a:moveTo>
                    <a:pt x="f429" y="f439"/>
                  </a:moveTo>
                  <a:lnTo>
                    <a:pt x="f453" y="f439"/>
                  </a:lnTo>
                  <a:lnTo>
                    <a:pt x="f454" y="f440"/>
                  </a:lnTo>
                  <a:lnTo>
                    <a:pt x="f454" y="f441"/>
                  </a:lnTo>
                  <a:lnTo>
                    <a:pt x="f453" y="f442"/>
                  </a:lnTo>
                  <a:lnTo>
                    <a:pt x="f429" y="f442"/>
                  </a:lnTo>
                  <a:lnTo>
                    <a:pt x="f455" y="f441"/>
                  </a:lnTo>
                  <a:lnTo>
                    <a:pt x="f455" y="f440"/>
                  </a:lnTo>
                  <a:close/>
                  <a:moveTo>
                    <a:pt x="f456" y="f439"/>
                  </a:moveTo>
                  <a:lnTo>
                    <a:pt x="f457" y="f439"/>
                  </a:lnTo>
                  <a:lnTo>
                    <a:pt x="f458" y="f440"/>
                  </a:lnTo>
                  <a:lnTo>
                    <a:pt x="f458" y="f441"/>
                  </a:lnTo>
                  <a:lnTo>
                    <a:pt x="f457" y="f442"/>
                  </a:lnTo>
                  <a:lnTo>
                    <a:pt x="f456" y="f442"/>
                  </a:lnTo>
                  <a:lnTo>
                    <a:pt x="f459" y="f441"/>
                  </a:lnTo>
                  <a:lnTo>
                    <a:pt x="f459" y="f440"/>
                  </a:lnTo>
                  <a:close/>
                  <a:moveTo>
                    <a:pt x="f432" y="f439"/>
                  </a:moveTo>
                  <a:lnTo>
                    <a:pt x="f460" y="f439"/>
                  </a:lnTo>
                  <a:lnTo>
                    <a:pt x="f461" y="f440"/>
                  </a:lnTo>
                  <a:lnTo>
                    <a:pt x="f461" y="f441"/>
                  </a:lnTo>
                  <a:lnTo>
                    <a:pt x="f460" y="f442"/>
                  </a:lnTo>
                  <a:lnTo>
                    <a:pt x="f432" y="f442"/>
                  </a:lnTo>
                  <a:lnTo>
                    <a:pt x="f435" y="f441"/>
                  </a:lnTo>
                  <a:lnTo>
                    <a:pt x="f435" y="f440"/>
                  </a:lnTo>
                  <a:close/>
                  <a:moveTo>
                    <a:pt x="f462" y="f439"/>
                  </a:moveTo>
                  <a:lnTo>
                    <a:pt x="f436" y="f439"/>
                  </a:lnTo>
                  <a:lnTo>
                    <a:pt x="f463" y="f440"/>
                  </a:lnTo>
                  <a:lnTo>
                    <a:pt x="f463" y="f441"/>
                  </a:lnTo>
                  <a:lnTo>
                    <a:pt x="f436" y="f442"/>
                  </a:lnTo>
                  <a:lnTo>
                    <a:pt x="f462" y="f442"/>
                  </a:lnTo>
                  <a:lnTo>
                    <a:pt x="f438" y="f441"/>
                  </a:lnTo>
                  <a:lnTo>
                    <a:pt x="f438" y="f440"/>
                  </a:lnTo>
                  <a:close/>
                  <a:moveTo>
                    <a:pt x="f464" y="f465"/>
                  </a:moveTo>
                  <a:lnTo>
                    <a:pt x="f466" y="f465"/>
                  </a:lnTo>
                  <a:lnTo>
                    <a:pt x="f410" y="f467"/>
                  </a:lnTo>
                  <a:lnTo>
                    <a:pt x="f410" y="f468"/>
                  </a:lnTo>
                  <a:lnTo>
                    <a:pt x="f466" y="f469"/>
                  </a:lnTo>
                  <a:lnTo>
                    <a:pt x="f464" y="f469"/>
                  </a:lnTo>
                  <a:lnTo>
                    <a:pt x="f381" y="f468"/>
                  </a:lnTo>
                  <a:lnTo>
                    <a:pt x="f381" y="f467"/>
                  </a:lnTo>
                  <a:close/>
                  <a:moveTo>
                    <a:pt x="f414" y="f465"/>
                  </a:moveTo>
                  <a:lnTo>
                    <a:pt x="f382" y="f465"/>
                  </a:lnTo>
                  <a:lnTo>
                    <a:pt x="f329" y="f467"/>
                  </a:lnTo>
                  <a:lnTo>
                    <a:pt x="f329" y="f468"/>
                  </a:lnTo>
                  <a:lnTo>
                    <a:pt x="f382" y="f469"/>
                  </a:lnTo>
                  <a:lnTo>
                    <a:pt x="f414" y="f469"/>
                  </a:lnTo>
                  <a:lnTo>
                    <a:pt x="f470" y="f468"/>
                  </a:lnTo>
                  <a:lnTo>
                    <a:pt x="f470" y="f467"/>
                  </a:lnTo>
                  <a:close/>
                  <a:moveTo>
                    <a:pt x="f471" y="f465"/>
                  </a:moveTo>
                  <a:lnTo>
                    <a:pt x="f472" y="f465"/>
                  </a:lnTo>
                  <a:lnTo>
                    <a:pt x="f444" y="f467"/>
                  </a:lnTo>
                  <a:lnTo>
                    <a:pt x="f444" y="f468"/>
                  </a:lnTo>
                  <a:lnTo>
                    <a:pt x="f472" y="f469"/>
                  </a:lnTo>
                  <a:lnTo>
                    <a:pt x="f471" y="f469"/>
                  </a:lnTo>
                  <a:lnTo>
                    <a:pt x="f445" y="f468"/>
                  </a:lnTo>
                  <a:lnTo>
                    <a:pt x="f445" y="f467"/>
                  </a:lnTo>
                  <a:close/>
                  <a:moveTo>
                    <a:pt x="f473" y="f465"/>
                  </a:moveTo>
                  <a:lnTo>
                    <a:pt x="f446" y="f465"/>
                  </a:lnTo>
                  <a:lnTo>
                    <a:pt x="f447" y="f467"/>
                  </a:lnTo>
                  <a:lnTo>
                    <a:pt x="f447" y="f468"/>
                  </a:lnTo>
                  <a:lnTo>
                    <a:pt x="f446" y="f469"/>
                  </a:lnTo>
                  <a:lnTo>
                    <a:pt x="f473" y="f469"/>
                  </a:lnTo>
                  <a:lnTo>
                    <a:pt x="f474" y="f468"/>
                  </a:lnTo>
                  <a:lnTo>
                    <a:pt x="f474" y="f467"/>
                  </a:lnTo>
                  <a:close/>
                  <a:moveTo>
                    <a:pt x="f475" y="f465"/>
                  </a:moveTo>
                  <a:lnTo>
                    <a:pt x="f476" y="f465"/>
                  </a:lnTo>
                  <a:lnTo>
                    <a:pt x="f477" y="f467"/>
                  </a:lnTo>
                  <a:lnTo>
                    <a:pt x="f477" y="f468"/>
                  </a:lnTo>
                  <a:lnTo>
                    <a:pt x="f476" y="f469"/>
                  </a:lnTo>
                  <a:lnTo>
                    <a:pt x="f475" y="f469"/>
                  </a:lnTo>
                  <a:lnTo>
                    <a:pt x="f450" y="f468"/>
                  </a:lnTo>
                  <a:lnTo>
                    <a:pt x="f450" y="f467"/>
                  </a:lnTo>
                  <a:close/>
                  <a:moveTo>
                    <a:pt x="f478" y="f465"/>
                  </a:moveTo>
                  <a:lnTo>
                    <a:pt x="f451" y="f465"/>
                  </a:lnTo>
                  <a:lnTo>
                    <a:pt x="f479" y="f467"/>
                  </a:lnTo>
                  <a:lnTo>
                    <a:pt x="f479" y="f468"/>
                  </a:lnTo>
                  <a:lnTo>
                    <a:pt x="f451" y="f469"/>
                  </a:lnTo>
                  <a:lnTo>
                    <a:pt x="f478" y="f469"/>
                  </a:lnTo>
                  <a:lnTo>
                    <a:pt x="f480" y="f468"/>
                  </a:lnTo>
                  <a:lnTo>
                    <a:pt x="f480" y="f467"/>
                  </a:lnTo>
                  <a:close/>
                  <a:moveTo>
                    <a:pt x="f35" y="f481"/>
                  </a:moveTo>
                  <a:lnTo>
                    <a:pt x="f37" y="f481"/>
                  </a:lnTo>
                  <a:lnTo>
                    <a:pt x="f6" y="f482"/>
                  </a:lnTo>
                  <a:lnTo>
                    <a:pt x="f6" y="f136"/>
                  </a:lnTo>
                  <a:lnTo>
                    <a:pt x="f37" y="f483"/>
                  </a:lnTo>
                  <a:lnTo>
                    <a:pt x="f35" y="f483"/>
                  </a:lnTo>
                  <a:lnTo>
                    <a:pt x="f41" y="f136"/>
                  </a:lnTo>
                  <a:lnTo>
                    <a:pt x="f41" y="f482"/>
                  </a:lnTo>
                  <a:close/>
                  <a:moveTo>
                    <a:pt x="f42" y="f481"/>
                  </a:moveTo>
                  <a:lnTo>
                    <a:pt x="f43" y="f481"/>
                  </a:lnTo>
                  <a:lnTo>
                    <a:pt x="f44" y="f482"/>
                  </a:lnTo>
                  <a:lnTo>
                    <a:pt x="f44" y="f136"/>
                  </a:lnTo>
                  <a:lnTo>
                    <a:pt x="f43" y="f483"/>
                  </a:lnTo>
                  <a:lnTo>
                    <a:pt x="f42" y="f483"/>
                  </a:lnTo>
                  <a:lnTo>
                    <a:pt x="f45" y="f136"/>
                  </a:lnTo>
                  <a:lnTo>
                    <a:pt x="f45" y="f482"/>
                  </a:lnTo>
                  <a:close/>
                  <a:moveTo>
                    <a:pt x="f46" y="f481"/>
                  </a:moveTo>
                  <a:lnTo>
                    <a:pt x="f47" y="f481"/>
                  </a:lnTo>
                  <a:lnTo>
                    <a:pt x="f48" y="f482"/>
                  </a:lnTo>
                  <a:lnTo>
                    <a:pt x="f48" y="f136"/>
                  </a:lnTo>
                  <a:lnTo>
                    <a:pt x="f47" y="f483"/>
                  </a:lnTo>
                  <a:lnTo>
                    <a:pt x="f46" y="f483"/>
                  </a:lnTo>
                  <a:lnTo>
                    <a:pt x="f49" y="f136"/>
                  </a:lnTo>
                  <a:lnTo>
                    <a:pt x="f49" y="f482"/>
                  </a:lnTo>
                  <a:close/>
                  <a:moveTo>
                    <a:pt x="f50" y="f481"/>
                  </a:moveTo>
                  <a:lnTo>
                    <a:pt x="f51" y="f481"/>
                  </a:lnTo>
                  <a:lnTo>
                    <a:pt x="f52" y="f482"/>
                  </a:lnTo>
                  <a:lnTo>
                    <a:pt x="f52" y="f136"/>
                  </a:lnTo>
                  <a:lnTo>
                    <a:pt x="f51" y="f483"/>
                  </a:lnTo>
                  <a:lnTo>
                    <a:pt x="f50" y="f483"/>
                  </a:lnTo>
                  <a:lnTo>
                    <a:pt x="f53" y="f136"/>
                  </a:lnTo>
                  <a:lnTo>
                    <a:pt x="f53" y="f482"/>
                  </a:lnTo>
                  <a:close/>
                  <a:moveTo>
                    <a:pt x="f54" y="f481"/>
                  </a:moveTo>
                  <a:lnTo>
                    <a:pt x="f55" y="f481"/>
                  </a:lnTo>
                  <a:lnTo>
                    <a:pt x="f56" y="f482"/>
                  </a:lnTo>
                  <a:lnTo>
                    <a:pt x="f56" y="f136"/>
                  </a:lnTo>
                  <a:lnTo>
                    <a:pt x="f55" y="f483"/>
                  </a:lnTo>
                  <a:lnTo>
                    <a:pt x="f54" y="f483"/>
                  </a:lnTo>
                  <a:lnTo>
                    <a:pt x="f57" y="f136"/>
                  </a:lnTo>
                  <a:lnTo>
                    <a:pt x="f57" y="f482"/>
                  </a:lnTo>
                  <a:close/>
                  <a:moveTo>
                    <a:pt x="f58" y="f481"/>
                  </a:moveTo>
                  <a:lnTo>
                    <a:pt x="f59" y="f481"/>
                  </a:lnTo>
                  <a:lnTo>
                    <a:pt x="f60" y="f482"/>
                  </a:lnTo>
                  <a:lnTo>
                    <a:pt x="f60" y="f136"/>
                  </a:lnTo>
                  <a:lnTo>
                    <a:pt x="f59" y="f483"/>
                  </a:lnTo>
                  <a:lnTo>
                    <a:pt x="f58" y="f483"/>
                  </a:lnTo>
                  <a:lnTo>
                    <a:pt x="f61" y="f136"/>
                  </a:lnTo>
                  <a:lnTo>
                    <a:pt x="f61" y="f482"/>
                  </a:lnTo>
                  <a:close/>
                  <a:moveTo>
                    <a:pt x="f62" y="f481"/>
                  </a:moveTo>
                  <a:lnTo>
                    <a:pt x="f63" y="f481"/>
                  </a:lnTo>
                  <a:lnTo>
                    <a:pt x="f64" y="f482"/>
                  </a:lnTo>
                  <a:lnTo>
                    <a:pt x="f64" y="f136"/>
                  </a:lnTo>
                  <a:lnTo>
                    <a:pt x="f63" y="f483"/>
                  </a:lnTo>
                  <a:lnTo>
                    <a:pt x="f62" y="f483"/>
                  </a:lnTo>
                  <a:lnTo>
                    <a:pt x="f65" y="f136"/>
                  </a:lnTo>
                  <a:lnTo>
                    <a:pt x="f65" y="f482"/>
                  </a:lnTo>
                  <a:close/>
                  <a:moveTo>
                    <a:pt x="f66" y="f481"/>
                  </a:moveTo>
                  <a:lnTo>
                    <a:pt x="f67" y="f481"/>
                  </a:lnTo>
                  <a:lnTo>
                    <a:pt x="f68" y="f482"/>
                  </a:lnTo>
                  <a:lnTo>
                    <a:pt x="f68" y="f136"/>
                  </a:lnTo>
                  <a:lnTo>
                    <a:pt x="f67" y="f483"/>
                  </a:lnTo>
                  <a:lnTo>
                    <a:pt x="f66" y="f483"/>
                  </a:lnTo>
                  <a:lnTo>
                    <a:pt x="f69" y="f136"/>
                  </a:lnTo>
                  <a:lnTo>
                    <a:pt x="f69" y="f482"/>
                  </a:lnTo>
                  <a:close/>
                  <a:moveTo>
                    <a:pt x="f70" y="f481"/>
                  </a:moveTo>
                  <a:lnTo>
                    <a:pt x="f71" y="f481"/>
                  </a:lnTo>
                  <a:lnTo>
                    <a:pt x="f72" y="f482"/>
                  </a:lnTo>
                  <a:lnTo>
                    <a:pt x="f72" y="f136"/>
                  </a:lnTo>
                  <a:lnTo>
                    <a:pt x="f71" y="f483"/>
                  </a:lnTo>
                  <a:lnTo>
                    <a:pt x="f70" y="f483"/>
                  </a:lnTo>
                  <a:lnTo>
                    <a:pt x="f73" y="f136"/>
                  </a:lnTo>
                  <a:lnTo>
                    <a:pt x="f73" y="f482"/>
                  </a:lnTo>
                  <a:close/>
                  <a:moveTo>
                    <a:pt x="f74" y="f481"/>
                  </a:moveTo>
                  <a:lnTo>
                    <a:pt x="f75" y="f481"/>
                  </a:lnTo>
                  <a:lnTo>
                    <a:pt x="f76" y="f482"/>
                  </a:lnTo>
                  <a:lnTo>
                    <a:pt x="f76" y="f136"/>
                  </a:lnTo>
                  <a:lnTo>
                    <a:pt x="f75" y="f483"/>
                  </a:lnTo>
                  <a:lnTo>
                    <a:pt x="f74" y="f483"/>
                  </a:lnTo>
                  <a:lnTo>
                    <a:pt x="f77" y="f136"/>
                  </a:lnTo>
                  <a:lnTo>
                    <a:pt x="f77" y="f482"/>
                  </a:lnTo>
                  <a:close/>
                  <a:moveTo>
                    <a:pt x="f78" y="f481"/>
                  </a:moveTo>
                  <a:lnTo>
                    <a:pt x="f79" y="f481"/>
                  </a:lnTo>
                  <a:lnTo>
                    <a:pt x="f80" y="f482"/>
                  </a:lnTo>
                  <a:lnTo>
                    <a:pt x="f80" y="f136"/>
                  </a:lnTo>
                  <a:lnTo>
                    <a:pt x="f79" y="f483"/>
                  </a:lnTo>
                  <a:lnTo>
                    <a:pt x="f78" y="f483"/>
                  </a:lnTo>
                  <a:lnTo>
                    <a:pt x="f81" y="f136"/>
                  </a:lnTo>
                  <a:lnTo>
                    <a:pt x="f81" y="f482"/>
                  </a:lnTo>
                  <a:close/>
                  <a:moveTo>
                    <a:pt x="f82" y="f481"/>
                  </a:moveTo>
                  <a:lnTo>
                    <a:pt x="f83" y="f481"/>
                  </a:lnTo>
                  <a:lnTo>
                    <a:pt x="f84" y="f482"/>
                  </a:lnTo>
                  <a:lnTo>
                    <a:pt x="f84" y="f136"/>
                  </a:lnTo>
                  <a:lnTo>
                    <a:pt x="f83" y="f483"/>
                  </a:lnTo>
                  <a:lnTo>
                    <a:pt x="f82" y="f483"/>
                  </a:lnTo>
                  <a:lnTo>
                    <a:pt x="f85" y="f136"/>
                  </a:lnTo>
                  <a:lnTo>
                    <a:pt x="f85" y="f482"/>
                  </a:lnTo>
                  <a:close/>
                  <a:moveTo>
                    <a:pt x="f86" y="f481"/>
                  </a:moveTo>
                  <a:lnTo>
                    <a:pt x="f87" y="f481"/>
                  </a:lnTo>
                  <a:lnTo>
                    <a:pt x="f88" y="f482"/>
                  </a:lnTo>
                  <a:lnTo>
                    <a:pt x="f88" y="f136"/>
                  </a:lnTo>
                  <a:lnTo>
                    <a:pt x="f87" y="f483"/>
                  </a:lnTo>
                  <a:lnTo>
                    <a:pt x="f86" y="f483"/>
                  </a:lnTo>
                  <a:lnTo>
                    <a:pt x="f89" y="f136"/>
                  </a:lnTo>
                  <a:lnTo>
                    <a:pt x="f89" y="f482"/>
                  </a:lnTo>
                  <a:close/>
                  <a:moveTo>
                    <a:pt x="f90" y="f481"/>
                  </a:moveTo>
                  <a:lnTo>
                    <a:pt x="f91" y="f481"/>
                  </a:lnTo>
                  <a:lnTo>
                    <a:pt x="f92" y="f482"/>
                  </a:lnTo>
                  <a:lnTo>
                    <a:pt x="f92" y="f136"/>
                  </a:lnTo>
                  <a:lnTo>
                    <a:pt x="f91" y="f483"/>
                  </a:lnTo>
                  <a:lnTo>
                    <a:pt x="f90" y="f483"/>
                  </a:lnTo>
                  <a:lnTo>
                    <a:pt x="f93" y="f136"/>
                  </a:lnTo>
                  <a:lnTo>
                    <a:pt x="f93" y="f482"/>
                  </a:lnTo>
                  <a:close/>
                  <a:moveTo>
                    <a:pt x="f94" y="f481"/>
                  </a:moveTo>
                  <a:lnTo>
                    <a:pt x="f95" y="f481"/>
                  </a:lnTo>
                  <a:lnTo>
                    <a:pt x="f96" y="f482"/>
                  </a:lnTo>
                  <a:lnTo>
                    <a:pt x="f96" y="f136"/>
                  </a:lnTo>
                  <a:lnTo>
                    <a:pt x="f95" y="f483"/>
                  </a:lnTo>
                  <a:lnTo>
                    <a:pt x="f94" y="f483"/>
                  </a:lnTo>
                  <a:lnTo>
                    <a:pt x="f97" y="f136"/>
                  </a:lnTo>
                  <a:lnTo>
                    <a:pt x="f97" y="f482"/>
                  </a:lnTo>
                  <a:close/>
                  <a:moveTo>
                    <a:pt x="f98" y="f481"/>
                  </a:moveTo>
                  <a:lnTo>
                    <a:pt x="f99" y="f481"/>
                  </a:lnTo>
                  <a:lnTo>
                    <a:pt x="f100" y="f482"/>
                  </a:lnTo>
                  <a:lnTo>
                    <a:pt x="f100" y="f136"/>
                  </a:lnTo>
                  <a:lnTo>
                    <a:pt x="f99" y="f483"/>
                  </a:lnTo>
                  <a:lnTo>
                    <a:pt x="f98" y="f483"/>
                  </a:lnTo>
                  <a:lnTo>
                    <a:pt x="f101" y="f136"/>
                  </a:lnTo>
                  <a:lnTo>
                    <a:pt x="f101" y="f482"/>
                  </a:lnTo>
                  <a:close/>
                  <a:moveTo>
                    <a:pt x="f102" y="f481"/>
                  </a:moveTo>
                  <a:lnTo>
                    <a:pt x="f103" y="f481"/>
                  </a:lnTo>
                  <a:lnTo>
                    <a:pt x="f104" y="f482"/>
                  </a:lnTo>
                  <a:lnTo>
                    <a:pt x="f104" y="f136"/>
                  </a:lnTo>
                  <a:lnTo>
                    <a:pt x="f103" y="f483"/>
                  </a:lnTo>
                  <a:lnTo>
                    <a:pt x="f102" y="f483"/>
                  </a:lnTo>
                  <a:lnTo>
                    <a:pt x="f105" y="f136"/>
                  </a:lnTo>
                  <a:lnTo>
                    <a:pt x="f105" y="f482"/>
                  </a:lnTo>
                  <a:close/>
                  <a:moveTo>
                    <a:pt x="f106" y="f481"/>
                  </a:moveTo>
                  <a:lnTo>
                    <a:pt x="f107" y="f481"/>
                  </a:lnTo>
                  <a:lnTo>
                    <a:pt x="f108" y="f482"/>
                  </a:lnTo>
                  <a:lnTo>
                    <a:pt x="f108" y="f136"/>
                  </a:lnTo>
                  <a:lnTo>
                    <a:pt x="f107" y="f483"/>
                  </a:lnTo>
                  <a:lnTo>
                    <a:pt x="f106" y="f483"/>
                  </a:lnTo>
                  <a:lnTo>
                    <a:pt x="f109" y="f136"/>
                  </a:lnTo>
                  <a:lnTo>
                    <a:pt x="f109" y="f482"/>
                  </a:lnTo>
                  <a:close/>
                  <a:moveTo>
                    <a:pt x="f110" y="f481"/>
                  </a:moveTo>
                  <a:lnTo>
                    <a:pt x="f111" y="f481"/>
                  </a:lnTo>
                  <a:lnTo>
                    <a:pt x="f112" y="f482"/>
                  </a:lnTo>
                  <a:lnTo>
                    <a:pt x="f112" y="f136"/>
                  </a:lnTo>
                  <a:lnTo>
                    <a:pt x="f111" y="f483"/>
                  </a:lnTo>
                  <a:lnTo>
                    <a:pt x="f110" y="f483"/>
                  </a:lnTo>
                  <a:lnTo>
                    <a:pt x="f113" y="f136"/>
                  </a:lnTo>
                  <a:lnTo>
                    <a:pt x="f113" y="f482"/>
                  </a:lnTo>
                  <a:close/>
                  <a:moveTo>
                    <a:pt x="f114" y="f481"/>
                  </a:moveTo>
                  <a:lnTo>
                    <a:pt x="f115" y="f481"/>
                  </a:lnTo>
                  <a:lnTo>
                    <a:pt x="f116" y="f482"/>
                  </a:lnTo>
                  <a:lnTo>
                    <a:pt x="f116" y="f136"/>
                  </a:lnTo>
                  <a:lnTo>
                    <a:pt x="f115" y="f483"/>
                  </a:lnTo>
                  <a:lnTo>
                    <a:pt x="f114" y="f483"/>
                  </a:lnTo>
                  <a:lnTo>
                    <a:pt x="f117" y="f136"/>
                  </a:lnTo>
                  <a:lnTo>
                    <a:pt x="f117" y="f482"/>
                  </a:lnTo>
                  <a:close/>
                  <a:moveTo>
                    <a:pt x="f118" y="f481"/>
                  </a:moveTo>
                  <a:lnTo>
                    <a:pt x="f119" y="f481"/>
                  </a:lnTo>
                  <a:lnTo>
                    <a:pt x="f120" y="f482"/>
                  </a:lnTo>
                  <a:lnTo>
                    <a:pt x="f120" y="f136"/>
                  </a:lnTo>
                  <a:lnTo>
                    <a:pt x="f119" y="f483"/>
                  </a:lnTo>
                  <a:lnTo>
                    <a:pt x="f118" y="f483"/>
                  </a:lnTo>
                  <a:lnTo>
                    <a:pt x="f121" y="f136"/>
                  </a:lnTo>
                  <a:lnTo>
                    <a:pt x="f121" y="f482"/>
                  </a:lnTo>
                  <a:close/>
                  <a:moveTo>
                    <a:pt x="f122" y="f481"/>
                  </a:moveTo>
                  <a:lnTo>
                    <a:pt x="f123" y="f481"/>
                  </a:lnTo>
                  <a:lnTo>
                    <a:pt x="f124" y="f482"/>
                  </a:lnTo>
                  <a:lnTo>
                    <a:pt x="f124" y="f136"/>
                  </a:lnTo>
                  <a:lnTo>
                    <a:pt x="f123" y="f483"/>
                  </a:lnTo>
                  <a:lnTo>
                    <a:pt x="f122" y="f483"/>
                  </a:lnTo>
                  <a:lnTo>
                    <a:pt x="f125" y="f136"/>
                  </a:lnTo>
                  <a:lnTo>
                    <a:pt x="f125" y="f482"/>
                  </a:lnTo>
                  <a:close/>
                  <a:moveTo>
                    <a:pt x="f126" y="f481"/>
                  </a:moveTo>
                  <a:lnTo>
                    <a:pt x="f127" y="f481"/>
                  </a:lnTo>
                  <a:lnTo>
                    <a:pt x="f128" y="f482"/>
                  </a:lnTo>
                  <a:lnTo>
                    <a:pt x="f128" y="f136"/>
                  </a:lnTo>
                  <a:lnTo>
                    <a:pt x="f127" y="f483"/>
                  </a:lnTo>
                  <a:lnTo>
                    <a:pt x="f126" y="f483"/>
                  </a:lnTo>
                  <a:lnTo>
                    <a:pt x="f129" y="f136"/>
                  </a:lnTo>
                  <a:lnTo>
                    <a:pt x="f129" y="f482"/>
                  </a:lnTo>
                  <a:close/>
                  <a:moveTo>
                    <a:pt x="f130" y="f481"/>
                  </a:moveTo>
                  <a:lnTo>
                    <a:pt x="f131" y="f481"/>
                  </a:lnTo>
                  <a:lnTo>
                    <a:pt x="f132" y="f482"/>
                  </a:lnTo>
                  <a:lnTo>
                    <a:pt x="f132" y="f136"/>
                  </a:lnTo>
                  <a:lnTo>
                    <a:pt x="f131" y="f483"/>
                  </a:lnTo>
                  <a:lnTo>
                    <a:pt x="f130" y="f483"/>
                  </a:lnTo>
                  <a:lnTo>
                    <a:pt x="f133" y="f136"/>
                  </a:lnTo>
                  <a:lnTo>
                    <a:pt x="f133" y="f482"/>
                  </a:lnTo>
                  <a:close/>
                  <a:moveTo>
                    <a:pt x="f134" y="f481"/>
                  </a:moveTo>
                  <a:lnTo>
                    <a:pt x="f135" y="f481"/>
                  </a:lnTo>
                  <a:lnTo>
                    <a:pt x="f136" y="f482"/>
                  </a:lnTo>
                  <a:lnTo>
                    <a:pt x="f136" y="f136"/>
                  </a:lnTo>
                  <a:lnTo>
                    <a:pt x="f135" y="f483"/>
                  </a:lnTo>
                  <a:lnTo>
                    <a:pt x="f134" y="f483"/>
                  </a:lnTo>
                  <a:lnTo>
                    <a:pt x="f137" y="f136"/>
                  </a:lnTo>
                  <a:lnTo>
                    <a:pt x="f137" y="f482"/>
                  </a:lnTo>
                  <a:close/>
                  <a:moveTo>
                    <a:pt x="f138" y="f481"/>
                  </a:moveTo>
                  <a:lnTo>
                    <a:pt x="f139" y="f481"/>
                  </a:lnTo>
                  <a:lnTo>
                    <a:pt x="f140" y="f482"/>
                  </a:lnTo>
                  <a:lnTo>
                    <a:pt x="f140" y="f136"/>
                  </a:lnTo>
                  <a:lnTo>
                    <a:pt x="f139" y="f483"/>
                  </a:lnTo>
                  <a:lnTo>
                    <a:pt x="f138" y="f483"/>
                  </a:lnTo>
                  <a:lnTo>
                    <a:pt x="f141" y="f136"/>
                  </a:lnTo>
                  <a:lnTo>
                    <a:pt x="f141" y="f482"/>
                  </a:lnTo>
                  <a:close/>
                  <a:moveTo>
                    <a:pt x="f142" y="f481"/>
                  </a:moveTo>
                  <a:lnTo>
                    <a:pt x="f143" y="f481"/>
                  </a:lnTo>
                  <a:lnTo>
                    <a:pt x="f144" y="f482"/>
                  </a:lnTo>
                  <a:lnTo>
                    <a:pt x="f144" y="f136"/>
                  </a:lnTo>
                  <a:lnTo>
                    <a:pt x="f143" y="f483"/>
                  </a:lnTo>
                  <a:lnTo>
                    <a:pt x="f142" y="f483"/>
                  </a:lnTo>
                  <a:lnTo>
                    <a:pt x="f145" y="f136"/>
                  </a:lnTo>
                  <a:lnTo>
                    <a:pt x="f145" y="f482"/>
                  </a:lnTo>
                  <a:close/>
                  <a:moveTo>
                    <a:pt x="f146" y="f481"/>
                  </a:moveTo>
                  <a:lnTo>
                    <a:pt x="f147" y="f481"/>
                  </a:lnTo>
                  <a:lnTo>
                    <a:pt x="f148" y="f482"/>
                  </a:lnTo>
                  <a:lnTo>
                    <a:pt x="f148" y="f136"/>
                  </a:lnTo>
                  <a:lnTo>
                    <a:pt x="f147" y="f483"/>
                  </a:lnTo>
                  <a:lnTo>
                    <a:pt x="f146" y="f483"/>
                  </a:lnTo>
                  <a:lnTo>
                    <a:pt x="f149" y="f136"/>
                  </a:lnTo>
                  <a:lnTo>
                    <a:pt x="f149" y="f482"/>
                  </a:lnTo>
                  <a:close/>
                  <a:moveTo>
                    <a:pt x="f150" y="f481"/>
                  </a:moveTo>
                  <a:lnTo>
                    <a:pt x="f151" y="f481"/>
                  </a:lnTo>
                  <a:lnTo>
                    <a:pt x="f152" y="f482"/>
                  </a:lnTo>
                  <a:lnTo>
                    <a:pt x="f152" y="f136"/>
                  </a:lnTo>
                  <a:lnTo>
                    <a:pt x="f151" y="f483"/>
                  </a:lnTo>
                  <a:lnTo>
                    <a:pt x="f150" y="f483"/>
                  </a:lnTo>
                  <a:lnTo>
                    <a:pt x="f153" y="f136"/>
                  </a:lnTo>
                  <a:lnTo>
                    <a:pt x="f153" y="f482"/>
                  </a:lnTo>
                  <a:close/>
                  <a:moveTo>
                    <a:pt x="f154" y="f481"/>
                  </a:moveTo>
                  <a:lnTo>
                    <a:pt x="f155" y="f481"/>
                  </a:lnTo>
                  <a:lnTo>
                    <a:pt x="f156" y="f482"/>
                  </a:lnTo>
                  <a:lnTo>
                    <a:pt x="f156" y="f136"/>
                  </a:lnTo>
                  <a:lnTo>
                    <a:pt x="f155" y="f483"/>
                  </a:lnTo>
                  <a:lnTo>
                    <a:pt x="f154" y="f483"/>
                  </a:lnTo>
                  <a:lnTo>
                    <a:pt x="f157" y="f136"/>
                  </a:lnTo>
                  <a:lnTo>
                    <a:pt x="f157" y="f482"/>
                  </a:lnTo>
                  <a:close/>
                  <a:moveTo>
                    <a:pt x="f158" y="f481"/>
                  </a:moveTo>
                  <a:lnTo>
                    <a:pt x="f159" y="f481"/>
                  </a:lnTo>
                  <a:lnTo>
                    <a:pt x="f160" y="f482"/>
                  </a:lnTo>
                  <a:lnTo>
                    <a:pt x="f160" y="f136"/>
                  </a:lnTo>
                  <a:lnTo>
                    <a:pt x="f159" y="f483"/>
                  </a:lnTo>
                  <a:lnTo>
                    <a:pt x="f158" y="f483"/>
                  </a:lnTo>
                  <a:lnTo>
                    <a:pt x="f161" y="f136"/>
                  </a:lnTo>
                  <a:lnTo>
                    <a:pt x="f161" y="f482"/>
                  </a:lnTo>
                  <a:close/>
                  <a:moveTo>
                    <a:pt x="f484" y="f481"/>
                  </a:moveTo>
                  <a:lnTo>
                    <a:pt x="f453" y="f481"/>
                  </a:lnTo>
                  <a:lnTo>
                    <a:pt x="f485" y="f482"/>
                  </a:lnTo>
                  <a:lnTo>
                    <a:pt x="f485" y="f136"/>
                  </a:lnTo>
                  <a:lnTo>
                    <a:pt x="f453" y="f483"/>
                  </a:lnTo>
                  <a:lnTo>
                    <a:pt x="f484" y="f483"/>
                  </a:lnTo>
                  <a:lnTo>
                    <a:pt x="f486" y="f136"/>
                  </a:lnTo>
                  <a:lnTo>
                    <a:pt x="f486" y="f482"/>
                  </a:lnTo>
                  <a:close/>
                  <a:moveTo>
                    <a:pt x="f487" y="f481"/>
                  </a:moveTo>
                  <a:lnTo>
                    <a:pt x="f488" y="f481"/>
                  </a:lnTo>
                  <a:lnTo>
                    <a:pt x="f458" y="f482"/>
                  </a:lnTo>
                  <a:lnTo>
                    <a:pt x="f458" y="f136"/>
                  </a:lnTo>
                  <a:lnTo>
                    <a:pt x="f488" y="f483"/>
                  </a:lnTo>
                  <a:lnTo>
                    <a:pt x="f487" y="f483"/>
                  </a:lnTo>
                  <a:lnTo>
                    <a:pt x="f489" y="f136"/>
                  </a:lnTo>
                  <a:lnTo>
                    <a:pt x="f489" y="f482"/>
                  </a:lnTo>
                  <a:close/>
                  <a:moveTo>
                    <a:pt x="f490" y="f481"/>
                  </a:moveTo>
                  <a:lnTo>
                    <a:pt x="f460" y="f481"/>
                  </a:lnTo>
                  <a:lnTo>
                    <a:pt x="f461" y="f482"/>
                  </a:lnTo>
                  <a:lnTo>
                    <a:pt x="f461" y="f136"/>
                  </a:lnTo>
                  <a:lnTo>
                    <a:pt x="f460" y="f483"/>
                  </a:lnTo>
                  <a:lnTo>
                    <a:pt x="f490" y="f483"/>
                  </a:lnTo>
                  <a:lnTo>
                    <a:pt x="f491" y="f136"/>
                  </a:lnTo>
                  <a:lnTo>
                    <a:pt x="f491" y="f482"/>
                  </a:lnTo>
                  <a:close/>
                  <a:moveTo>
                    <a:pt x="f492" y="f481"/>
                  </a:moveTo>
                  <a:lnTo>
                    <a:pt x="f493" y="f481"/>
                  </a:lnTo>
                  <a:lnTo>
                    <a:pt x="f463" y="f482"/>
                  </a:lnTo>
                  <a:lnTo>
                    <a:pt x="f463" y="f136"/>
                  </a:lnTo>
                  <a:lnTo>
                    <a:pt x="f493" y="f483"/>
                  </a:lnTo>
                  <a:lnTo>
                    <a:pt x="f492" y="f483"/>
                  </a:lnTo>
                  <a:lnTo>
                    <a:pt x="f494" y="f136"/>
                  </a:lnTo>
                  <a:lnTo>
                    <a:pt x="f494" y="f482"/>
                  </a:lnTo>
                  <a:close/>
                  <a:moveTo>
                    <a:pt x="f464" y="f495"/>
                  </a:moveTo>
                  <a:lnTo>
                    <a:pt x="f466" y="f495"/>
                  </a:lnTo>
                  <a:lnTo>
                    <a:pt x="f410" y="f496"/>
                  </a:lnTo>
                  <a:lnTo>
                    <a:pt x="f410" y="f497"/>
                  </a:lnTo>
                  <a:lnTo>
                    <a:pt x="f466" y="f498"/>
                  </a:lnTo>
                  <a:lnTo>
                    <a:pt x="f464" y="f498"/>
                  </a:lnTo>
                  <a:lnTo>
                    <a:pt x="f381" y="f497"/>
                  </a:lnTo>
                  <a:lnTo>
                    <a:pt x="f381" y="f496"/>
                  </a:lnTo>
                  <a:close/>
                  <a:moveTo>
                    <a:pt x="f414" y="f495"/>
                  </a:moveTo>
                  <a:lnTo>
                    <a:pt x="f382" y="f495"/>
                  </a:lnTo>
                  <a:lnTo>
                    <a:pt x="f499" y="f496"/>
                  </a:lnTo>
                  <a:lnTo>
                    <a:pt x="f499" y="f497"/>
                  </a:lnTo>
                  <a:lnTo>
                    <a:pt x="f382" y="f498"/>
                  </a:lnTo>
                  <a:lnTo>
                    <a:pt x="f414" y="f498"/>
                  </a:lnTo>
                  <a:lnTo>
                    <a:pt x="f470" y="f497"/>
                  </a:lnTo>
                  <a:lnTo>
                    <a:pt x="f470" y="f496"/>
                  </a:lnTo>
                  <a:close/>
                  <a:moveTo>
                    <a:pt x="f471" y="f495"/>
                  </a:moveTo>
                  <a:lnTo>
                    <a:pt x="f472" y="f495"/>
                  </a:lnTo>
                  <a:lnTo>
                    <a:pt x="f500" y="f496"/>
                  </a:lnTo>
                  <a:lnTo>
                    <a:pt x="f500" y="f497"/>
                  </a:lnTo>
                  <a:lnTo>
                    <a:pt x="f472" y="f498"/>
                  </a:lnTo>
                  <a:lnTo>
                    <a:pt x="f471" y="f498"/>
                  </a:lnTo>
                  <a:lnTo>
                    <a:pt x="f501" y="f497"/>
                  </a:lnTo>
                  <a:lnTo>
                    <a:pt x="f501" y="f496"/>
                  </a:lnTo>
                  <a:close/>
                  <a:moveTo>
                    <a:pt x="f473" y="f495"/>
                  </a:moveTo>
                  <a:lnTo>
                    <a:pt x="f502" y="f495"/>
                  </a:lnTo>
                  <a:lnTo>
                    <a:pt x="f503" y="f496"/>
                  </a:lnTo>
                  <a:lnTo>
                    <a:pt x="f503" y="f497"/>
                  </a:lnTo>
                  <a:lnTo>
                    <a:pt x="f502" y="f498"/>
                  </a:lnTo>
                  <a:lnTo>
                    <a:pt x="f473" y="f498"/>
                  </a:lnTo>
                  <a:lnTo>
                    <a:pt x="f474" y="f497"/>
                  </a:lnTo>
                  <a:lnTo>
                    <a:pt x="f474" y="f496"/>
                  </a:lnTo>
                  <a:close/>
                  <a:moveTo>
                    <a:pt x="f475" y="f495"/>
                  </a:moveTo>
                  <a:lnTo>
                    <a:pt x="f504" y="f495"/>
                  </a:lnTo>
                  <a:lnTo>
                    <a:pt x="f477" y="f496"/>
                  </a:lnTo>
                  <a:lnTo>
                    <a:pt x="f477" y="f497"/>
                  </a:lnTo>
                  <a:lnTo>
                    <a:pt x="f504" y="f498"/>
                  </a:lnTo>
                  <a:lnTo>
                    <a:pt x="f475" y="f498"/>
                  </a:lnTo>
                  <a:lnTo>
                    <a:pt x="f505" y="f497"/>
                  </a:lnTo>
                  <a:lnTo>
                    <a:pt x="f505" y="f496"/>
                  </a:lnTo>
                  <a:close/>
                  <a:moveTo>
                    <a:pt x="f506" y="f495"/>
                  </a:moveTo>
                  <a:lnTo>
                    <a:pt x="f507" y="f495"/>
                  </a:lnTo>
                  <a:lnTo>
                    <a:pt x="f479" y="f496"/>
                  </a:lnTo>
                  <a:lnTo>
                    <a:pt x="f479" y="f497"/>
                  </a:lnTo>
                  <a:lnTo>
                    <a:pt x="f507" y="f498"/>
                  </a:lnTo>
                  <a:lnTo>
                    <a:pt x="f506" y="f498"/>
                  </a:lnTo>
                  <a:lnTo>
                    <a:pt x="f508" y="f497"/>
                  </a:lnTo>
                  <a:lnTo>
                    <a:pt x="f508" y="f496"/>
                  </a:lnTo>
                  <a:close/>
                  <a:moveTo>
                    <a:pt x="f35" y="f509"/>
                  </a:moveTo>
                  <a:lnTo>
                    <a:pt x="f37" y="f509"/>
                  </a:lnTo>
                  <a:lnTo>
                    <a:pt x="f6" y="f510"/>
                  </a:lnTo>
                  <a:lnTo>
                    <a:pt x="f6" y="f511"/>
                  </a:lnTo>
                  <a:lnTo>
                    <a:pt x="f37" y="f512"/>
                  </a:lnTo>
                  <a:lnTo>
                    <a:pt x="f35" y="f512"/>
                  </a:lnTo>
                  <a:lnTo>
                    <a:pt x="f41" y="f511"/>
                  </a:lnTo>
                  <a:lnTo>
                    <a:pt x="f41" y="f510"/>
                  </a:lnTo>
                  <a:close/>
                  <a:moveTo>
                    <a:pt x="f42" y="f509"/>
                  </a:moveTo>
                  <a:lnTo>
                    <a:pt x="f43" y="f509"/>
                  </a:lnTo>
                  <a:lnTo>
                    <a:pt x="f44" y="f510"/>
                  </a:lnTo>
                  <a:lnTo>
                    <a:pt x="f44" y="f511"/>
                  </a:lnTo>
                  <a:lnTo>
                    <a:pt x="f43" y="f512"/>
                  </a:lnTo>
                  <a:lnTo>
                    <a:pt x="f42" y="f512"/>
                  </a:lnTo>
                  <a:lnTo>
                    <a:pt x="f45" y="f511"/>
                  </a:lnTo>
                  <a:lnTo>
                    <a:pt x="f45" y="f510"/>
                  </a:lnTo>
                  <a:close/>
                  <a:moveTo>
                    <a:pt x="f46" y="f509"/>
                  </a:moveTo>
                  <a:lnTo>
                    <a:pt x="f47" y="f509"/>
                  </a:lnTo>
                  <a:lnTo>
                    <a:pt x="f48" y="f510"/>
                  </a:lnTo>
                  <a:lnTo>
                    <a:pt x="f48" y="f511"/>
                  </a:lnTo>
                  <a:lnTo>
                    <a:pt x="f47" y="f512"/>
                  </a:lnTo>
                  <a:lnTo>
                    <a:pt x="f46" y="f512"/>
                  </a:lnTo>
                  <a:lnTo>
                    <a:pt x="f49" y="f511"/>
                  </a:lnTo>
                  <a:lnTo>
                    <a:pt x="f49" y="f510"/>
                  </a:lnTo>
                  <a:close/>
                  <a:moveTo>
                    <a:pt x="f50" y="f509"/>
                  </a:moveTo>
                  <a:lnTo>
                    <a:pt x="f51" y="f509"/>
                  </a:lnTo>
                  <a:lnTo>
                    <a:pt x="f52" y="f510"/>
                  </a:lnTo>
                  <a:lnTo>
                    <a:pt x="f52" y="f511"/>
                  </a:lnTo>
                  <a:lnTo>
                    <a:pt x="f51" y="f512"/>
                  </a:lnTo>
                  <a:lnTo>
                    <a:pt x="f50" y="f512"/>
                  </a:lnTo>
                  <a:lnTo>
                    <a:pt x="f53" y="f511"/>
                  </a:lnTo>
                  <a:lnTo>
                    <a:pt x="f53" y="f510"/>
                  </a:lnTo>
                  <a:close/>
                  <a:moveTo>
                    <a:pt x="f54" y="f509"/>
                  </a:moveTo>
                  <a:lnTo>
                    <a:pt x="f55" y="f509"/>
                  </a:lnTo>
                  <a:lnTo>
                    <a:pt x="f56" y="f510"/>
                  </a:lnTo>
                  <a:lnTo>
                    <a:pt x="f56" y="f511"/>
                  </a:lnTo>
                  <a:lnTo>
                    <a:pt x="f55" y="f512"/>
                  </a:lnTo>
                  <a:lnTo>
                    <a:pt x="f54" y="f512"/>
                  </a:lnTo>
                  <a:lnTo>
                    <a:pt x="f57" y="f511"/>
                  </a:lnTo>
                  <a:lnTo>
                    <a:pt x="f57" y="f510"/>
                  </a:lnTo>
                  <a:close/>
                  <a:moveTo>
                    <a:pt x="f58" y="f509"/>
                  </a:moveTo>
                  <a:lnTo>
                    <a:pt x="f59" y="f509"/>
                  </a:lnTo>
                  <a:lnTo>
                    <a:pt x="f60" y="f510"/>
                  </a:lnTo>
                  <a:lnTo>
                    <a:pt x="f60" y="f511"/>
                  </a:lnTo>
                  <a:lnTo>
                    <a:pt x="f59" y="f512"/>
                  </a:lnTo>
                  <a:lnTo>
                    <a:pt x="f58" y="f512"/>
                  </a:lnTo>
                  <a:lnTo>
                    <a:pt x="f61" y="f511"/>
                  </a:lnTo>
                  <a:lnTo>
                    <a:pt x="f61" y="f510"/>
                  </a:lnTo>
                  <a:close/>
                  <a:moveTo>
                    <a:pt x="f62" y="f509"/>
                  </a:moveTo>
                  <a:lnTo>
                    <a:pt x="f63" y="f509"/>
                  </a:lnTo>
                  <a:lnTo>
                    <a:pt x="f64" y="f510"/>
                  </a:lnTo>
                  <a:lnTo>
                    <a:pt x="f64" y="f511"/>
                  </a:lnTo>
                  <a:lnTo>
                    <a:pt x="f63" y="f512"/>
                  </a:lnTo>
                  <a:lnTo>
                    <a:pt x="f62" y="f512"/>
                  </a:lnTo>
                  <a:lnTo>
                    <a:pt x="f65" y="f511"/>
                  </a:lnTo>
                  <a:lnTo>
                    <a:pt x="f65" y="f510"/>
                  </a:lnTo>
                  <a:close/>
                  <a:moveTo>
                    <a:pt x="f66" y="f509"/>
                  </a:moveTo>
                  <a:lnTo>
                    <a:pt x="f67" y="f509"/>
                  </a:lnTo>
                  <a:lnTo>
                    <a:pt x="f68" y="f510"/>
                  </a:lnTo>
                  <a:lnTo>
                    <a:pt x="f68" y="f511"/>
                  </a:lnTo>
                  <a:lnTo>
                    <a:pt x="f67" y="f512"/>
                  </a:lnTo>
                  <a:lnTo>
                    <a:pt x="f66" y="f512"/>
                  </a:lnTo>
                  <a:lnTo>
                    <a:pt x="f69" y="f511"/>
                  </a:lnTo>
                  <a:lnTo>
                    <a:pt x="f69" y="f510"/>
                  </a:lnTo>
                  <a:close/>
                  <a:moveTo>
                    <a:pt x="f70" y="f509"/>
                  </a:moveTo>
                  <a:lnTo>
                    <a:pt x="f71" y="f509"/>
                  </a:lnTo>
                  <a:lnTo>
                    <a:pt x="f72" y="f510"/>
                  </a:lnTo>
                  <a:lnTo>
                    <a:pt x="f72" y="f511"/>
                  </a:lnTo>
                  <a:lnTo>
                    <a:pt x="f71" y="f512"/>
                  </a:lnTo>
                  <a:lnTo>
                    <a:pt x="f70" y="f512"/>
                  </a:lnTo>
                  <a:lnTo>
                    <a:pt x="f73" y="f511"/>
                  </a:lnTo>
                  <a:lnTo>
                    <a:pt x="f73" y="f510"/>
                  </a:lnTo>
                  <a:close/>
                  <a:moveTo>
                    <a:pt x="f74" y="f509"/>
                  </a:moveTo>
                  <a:lnTo>
                    <a:pt x="f75" y="f509"/>
                  </a:lnTo>
                  <a:lnTo>
                    <a:pt x="f76" y="f510"/>
                  </a:lnTo>
                  <a:lnTo>
                    <a:pt x="f76" y="f511"/>
                  </a:lnTo>
                  <a:lnTo>
                    <a:pt x="f75" y="f512"/>
                  </a:lnTo>
                  <a:lnTo>
                    <a:pt x="f74" y="f512"/>
                  </a:lnTo>
                  <a:lnTo>
                    <a:pt x="f77" y="f511"/>
                  </a:lnTo>
                  <a:lnTo>
                    <a:pt x="f77" y="f510"/>
                  </a:lnTo>
                  <a:close/>
                  <a:moveTo>
                    <a:pt x="f78" y="f509"/>
                  </a:moveTo>
                  <a:lnTo>
                    <a:pt x="f79" y="f509"/>
                  </a:lnTo>
                  <a:lnTo>
                    <a:pt x="f80" y="f510"/>
                  </a:lnTo>
                  <a:lnTo>
                    <a:pt x="f80" y="f511"/>
                  </a:lnTo>
                  <a:lnTo>
                    <a:pt x="f79" y="f512"/>
                  </a:lnTo>
                  <a:lnTo>
                    <a:pt x="f78" y="f512"/>
                  </a:lnTo>
                  <a:lnTo>
                    <a:pt x="f81" y="f511"/>
                  </a:lnTo>
                  <a:lnTo>
                    <a:pt x="f81" y="f510"/>
                  </a:lnTo>
                  <a:close/>
                  <a:moveTo>
                    <a:pt x="f82" y="f509"/>
                  </a:moveTo>
                  <a:lnTo>
                    <a:pt x="f83" y="f509"/>
                  </a:lnTo>
                  <a:lnTo>
                    <a:pt x="f84" y="f510"/>
                  </a:lnTo>
                  <a:lnTo>
                    <a:pt x="f84" y="f511"/>
                  </a:lnTo>
                  <a:lnTo>
                    <a:pt x="f83" y="f512"/>
                  </a:lnTo>
                  <a:lnTo>
                    <a:pt x="f82" y="f512"/>
                  </a:lnTo>
                  <a:lnTo>
                    <a:pt x="f85" y="f511"/>
                  </a:lnTo>
                  <a:lnTo>
                    <a:pt x="f85" y="f510"/>
                  </a:lnTo>
                  <a:close/>
                  <a:moveTo>
                    <a:pt x="f86" y="f509"/>
                  </a:moveTo>
                  <a:lnTo>
                    <a:pt x="f87" y="f509"/>
                  </a:lnTo>
                  <a:lnTo>
                    <a:pt x="f88" y="f510"/>
                  </a:lnTo>
                  <a:lnTo>
                    <a:pt x="f88" y="f511"/>
                  </a:lnTo>
                  <a:lnTo>
                    <a:pt x="f87" y="f512"/>
                  </a:lnTo>
                  <a:lnTo>
                    <a:pt x="f86" y="f512"/>
                  </a:lnTo>
                  <a:lnTo>
                    <a:pt x="f89" y="f511"/>
                  </a:lnTo>
                  <a:lnTo>
                    <a:pt x="f89" y="f510"/>
                  </a:lnTo>
                  <a:close/>
                  <a:moveTo>
                    <a:pt x="f90" y="f509"/>
                  </a:moveTo>
                  <a:lnTo>
                    <a:pt x="f91" y="f509"/>
                  </a:lnTo>
                  <a:lnTo>
                    <a:pt x="f92" y="f510"/>
                  </a:lnTo>
                  <a:lnTo>
                    <a:pt x="f92" y="f511"/>
                  </a:lnTo>
                  <a:lnTo>
                    <a:pt x="f91" y="f512"/>
                  </a:lnTo>
                  <a:lnTo>
                    <a:pt x="f90" y="f512"/>
                  </a:lnTo>
                  <a:lnTo>
                    <a:pt x="f93" y="f511"/>
                  </a:lnTo>
                  <a:lnTo>
                    <a:pt x="f93" y="f510"/>
                  </a:lnTo>
                  <a:close/>
                  <a:moveTo>
                    <a:pt x="f94" y="f509"/>
                  </a:moveTo>
                  <a:lnTo>
                    <a:pt x="f95" y="f509"/>
                  </a:lnTo>
                  <a:lnTo>
                    <a:pt x="f96" y="f510"/>
                  </a:lnTo>
                  <a:lnTo>
                    <a:pt x="f96" y="f511"/>
                  </a:lnTo>
                  <a:lnTo>
                    <a:pt x="f95" y="f512"/>
                  </a:lnTo>
                  <a:lnTo>
                    <a:pt x="f94" y="f512"/>
                  </a:lnTo>
                  <a:lnTo>
                    <a:pt x="f97" y="f511"/>
                  </a:lnTo>
                  <a:lnTo>
                    <a:pt x="f97" y="f510"/>
                  </a:lnTo>
                  <a:close/>
                  <a:moveTo>
                    <a:pt x="f98" y="f509"/>
                  </a:moveTo>
                  <a:lnTo>
                    <a:pt x="f99" y="f509"/>
                  </a:lnTo>
                  <a:lnTo>
                    <a:pt x="f100" y="f510"/>
                  </a:lnTo>
                  <a:lnTo>
                    <a:pt x="f100" y="f511"/>
                  </a:lnTo>
                  <a:lnTo>
                    <a:pt x="f99" y="f512"/>
                  </a:lnTo>
                  <a:lnTo>
                    <a:pt x="f98" y="f512"/>
                  </a:lnTo>
                  <a:lnTo>
                    <a:pt x="f101" y="f511"/>
                  </a:lnTo>
                  <a:lnTo>
                    <a:pt x="f101" y="f510"/>
                  </a:lnTo>
                  <a:close/>
                  <a:moveTo>
                    <a:pt x="f102" y="f509"/>
                  </a:moveTo>
                  <a:lnTo>
                    <a:pt x="f103" y="f509"/>
                  </a:lnTo>
                  <a:lnTo>
                    <a:pt x="f104" y="f510"/>
                  </a:lnTo>
                  <a:lnTo>
                    <a:pt x="f104" y="f511"/>
                  </a:lnTo>
                  <a:lnTo>
                    <a:pt x="f103" y="f512"/>
                  </a:lnTo>
                  <a:lnTo>
                    <a:pt x="f102" y="f512"/>
                  </a:lnTo>
                  <a:lnTo>
                    <a:pt x="f105" y="f511"/>
                  </a:lnTo>
                  <a:lnTo>
                    <a:pt x="f105" y="f510"/>
                  </a:lnTo>
                  <a:close/>
                  <a:moveTo>
                    <a:pt x="f106" y="f509"/>
                  </a:moveTo>
                  <a:lnTo>
                    <a:pt x="f107" y="f509"/>
                  </a:lnTo>
                  <a:lnTo>
                    <a:pt x="f108" y="f510"/>
                  </a:lnTo>
                  <a:lnTo>
                    <a:pt x="f108" y="f511"/>
                  </a:lnTo>
                  <a:lnTo>
                    <a:pt x="f107" y="f512"/>
                  </a:lnTo>
                  <a:lnTo>
                    <a:pt x="f106" y="f512"/>
                  </a:lnTo>
                  <a:lnTo>
                    <a:pt x="f109" y="f511"/>
                  </a:lnTo>
                  <a:lnTo>
                    <a:pt x="f109" y="f510"/>
                  </a:lnTo>
                  <a:close/>
                  <a:moveTo>
                    <a:pt x="f110" y="f509"/>
                  </a:moveTo>
                  <a:lnTo>
                    <a:pt x="f111" y="f509"/>
                  </a:lnTo>
                  <a:lnTo>
                    <a:pt x="f112" y="f510"/>
                  </a:lnTo>
                  <a:lnTo>
                    <a:pt x="f112" y="f511"/>
                  </a:lnTo>
                  <a:lnTo>
                    <a:pt x="f111" y="f512"/>
                  </a:lnTo>
                  <a:lnTo>
                    <a:pt x="f110" y="f512"/>
                  </a:lnTo>
                  <a:lnTo>
                    <a:pt x="f113" y="f511"/>
                  </a:lnTo>
                  <a:lnTo>
                    <a:pt x="f113" y="f510"/>
                  </a:lnTo>
                  <a:close/>
                  <a:moveTo>
                    <a:pt x="f114" y="f509"/>
                  </a:moveTo>
                  <a:lnTo>
                    <a:pt x="f115" y="f509"/>
                  </a:lnTo>
                  <a:lnTo>
                    <a:pt x="f116" y="f510"/>
                  </a:lnTo>
                  <a:lnTo>
                    <a:pt x="f116" y="f511"/>
                  </a:lnTo>
                  <a:lnTo>
                    <a:pt x="f115" y="f512"/>
                  </a:lnTo>
                  <a:lnTo>
                    <a:pt x="f114" y="f512"/>
                  </a:lnTo>
                  <a:lnTo>
                    <a:pt x="f117" y="f511"/>
                  </a:lnTo>
                  <a:lnTo>
                    <a:pt x="f117" y="f510"/>
                  </a:lnTo>
                  <a:close/>
                  <a:moveTo>
                    <a:pt x="f118" y="f509"/>
                  </a:moveTo>
                  <a:lnTo>
                    <a:pt x="f119" y="f509"/>
                  </a:lnTo>
                  <a:lnTo>
                    <a:pt x="f120" y="f510"/>
                  </a:lnTo>
                  <a:lnTo>
                    <a:pt x="f120" y="f511"/>
                  </a:lnTo>
                  <a:lnTo>
                    <a:pt x="f119" y="f512"/>
                  </a:lnTo>
                  <a:lnTo>
                    <a:pt x="f118" y="f512"/>
                  </a:lnTo>
                  <a:lnTo>
                    <a:pt x="f121" y="f511"/>
                  </a:lnTo>
                  <a:lnTo>
                    <a:pt x="f121" y="f510"/>
                  </a:lnTo>
                  <a:close/>
                  <a:moveTo>
                    <a:pt x="f122" y="f509"/>
                  </a:moveTo>
                  <a:lnTo>
                    <a:pt x="f123" y="f509"/>
                  </a:lnTo>
                  <a:lnTo>
                    <a:pt x="f124" y="f510"/>
                  </a:lnTo>
                  <a:lnTo>
                    <a:pt x="f124" y="f511"/>
                  </a:lnTo>
                  <a:lnTo>
                    <a:pt x="f123" y="f512"/>
                  </a:lnTo>
                  <a:lnTo>
                    <a:pt x="f122" y="f512"/>
                  </a:lnTo>
                  <a:lnTo>
                    <a:pt x="f125" y="f511"/>
                  </a:lnTo>
                  <a:lnTo>
                    <a:pt x="f125" y="f510"/>
                  </a:lnTo>
                  <a:close/>
                  <a:moveTo>
                    <a:pt x="f126" y="f509"/>
                  </a:moveTo>
                  <a:lnTo>
                    <a:pt x="f127" y="f509"/>
                  </a:lnTo>
                  <a:lnTo>
                    <a:pt x="f128" y="f510"/>
                  </a:lnTo>
                  <a:lnTo>
                    <a:pt x="f128" y="f511"/>
                  </a:lnTo>
                  <a:lnTo>
                    <a:pt x="f127" y="f512"/>
                  </a:lnTo>
                  <a:lnTo>
                    <a:pt x="f126" y="f512"/>
                  </a:lnTo>
                  <a:lnTo>
                    <a:pt x="f129" y="f511"/>
                  </a:lnTo>
                  <a:lnTo>
                    <a:pt x="f129" y="f510"/>
                  </a:lnTo>
                  <a:close/>
                  <a:moveTo>
                    <a:pt x="f130" y="f509"/>
                  </a:moveTo>
                  <a:lnTo>
                    <a:pt x="f131" y="f509"/>
                  </a:lnTo>
                  <a:lnTo>
                    <a:pt x="f132" y="f510"/>
                  </a:lnTo>
                  <a:lnTo>
                    <a:pt x="f132" y="f511"/>
                  </a:lnTo>
                  <a:lnTo>
                    <a:pt x="f131" y="f512"/>
                  </a:lnTo>
                  <a:lnTo>
                    <a:pt x="f130" y="f512"/>
                  </a:lnTo>
                  <a:lnTo>
                    <a:pt x="f133" y="f511"/>
                  </a:lnTo>
                  <a:lnTo>
                    <a:pt x="f133" y="f510"/>
                  </a:lnTo>
                  <a:close/>
                  <a:moveTo>
                    <a:pt x="f134" y="f509"/>
                  </a:moveTo>
                  <a:lnTo>
                    <a:pt x="f135" y="f509"/>
                  </a:lnTo>
                  <a:lnTo>
                    <a:pt x="f136" y="f510"/>
                  </a:lnTo>
                  <a:lnTo>
                    <a:pt x="f136" y="f511"/>
                  </a:lnTo>
                  <a:lnTo>
                    <a:pt x="f135" y="f512"/>
                  </a:lnTo>
                  <a:lnTo>
                    <a:pt x="f134" y="f512"/>
                  </a:lnTo>
                  <a:lnTo>
                    <a:pt x="f137" y="f511"/>
                  </a:lnTo>
                  <a:lnTo>
                    <a:pt x="f137" y="f510"/>
                  </a:lnTo>
                  <a:close/>
                  <a:moveTo>
                    <a:pt x="f138" y="f509"/>
                  </a:moveTo>
                  <a:lnTo>
                    <a:pt x="f139" y="f509"/>
                  </a:lnTo>
                  <a:lnTo>
                    <a:pt x="f140" y="f510"/>
                  </a:lnTo>
                  <a:lnTo>
                    <a:pt x="f140" y="f511"/>
                  </a:lnTo>
                  <a:lnTo>
                    <a:pt x="f139" y="f512"/>
                  </a:lnTo>
                  <a:lnTo>
                    <a:pt x="f138" y="f512"/>
                  </a:lnTo>
                  <a:lnTo>
                    <a:pt x="f141" y="f511"/>
                  </a:lnTo>
                  <a:lnTo>
                    <a:pt x="f141" y="f510"/>
                  </a:lnTo>
                  <a:close/>
                  <a:moveTo>
                    <a:pt x="f142" y="f509"/>
                  </a:moveTo>
                  <a:lnTo>
                    <a:pt x="f143" y="f509"/>
                  </a:lnTo>
                  <a:lnTo>
                    <a:pt x="f144" y="f510"/>
                  </a:lnTo>
                  <a:lnTo>
                    <a:pt x="f144" y="f511"/>
                  </a:lnTo>
                  <a:lnTo>
                    <a:pt x="f143" y="f512"/>
                  </a:lnTo>
                  <a:lnTo>
                    <a:pt x="f142" y="f512"/>
                  </a:lnTo>
                  <a:lnTo>
                    <a:pt x="f145" y="f511"/>
                  </a:lnTo>
                  <a:lnTo>
                    <a:pt x="f145" y="f510"/>
                  </a:lnTo>
                  <a:close/>
                  <a:moveTo>
                    <a:pt x="f146" y="f509"/>
                  </a:moveTo>
                  <a:lnTo>
                    <a:pt x="f147" y="f509"/>
                  </a:lnTo>
                  <a:lnTo>
                    <a:pt x="f148" y="f510"/>
                  </a:lnTo>
                  <a:lnTo>
                    <a:pt x="f148" y="f511"/>
                  </a:lnTo>
                  <a:lnTo>
                    <a:pt x="f147" y="f512"/>
                  </a:lnTo>
                  <a:lnTo>
                    <a:pt x="f146" y="f512"/>
                  </a:lnTo>
                  <a:lnTo>
                    <a:pt x="f149" y="f511"/>
                  </a:lnTo>
                  <a:lnTo>
                    <a:pt x="f149" y="f510"/>
                  </a:lnTo>
                  <a:close/>
                  <a:moveTo>
                    <a:pt x="f150" y="f509"/>
                  </a:moveTo>
                  <a:lnTo>
                    <a:pt x="f151" y="f509"/>
                  </a:lnTo>
                  <a:lnTo>
                    <a:pt x="f152" y="f510"/>
                  </a:lnTo>
                  <a:lnTo>
                    <a:pt x="f152" y="f511"/>
                  </a:lnTo>
                  <a:lnTo>
                    <a:pt x="f151" y="f512"/>
                  </a:lnTo>
                  <a:lnTo>
                    <a:pt x="f150" y="f512"/>
                  </a:lnTo>
                  <a:lnTo>
                    <a:pt x="f153" y="f511"/>
                  </a:lnTo>
                  <a:lnTo>
                    <a:pt x="f153" y="f510"/>
                  </a:lnTo>
                  <a:close/>
                  <a:moveTo>
                    <a:pt x="f154" y="f509"/>
                  </a:moveTo>
                  <a:lnTo>
                    <a:pt x="f155" y="f509"/>
                  </a:lnTo>
                  <a:lnTo>
                    <a:pt x="f156" y="f510"/>
                  </a:lnTo>
                  <a:lnTo>
                    <a:pt x="f156" y="f511"/>
                  </a:lnTo>
                  <a:lnTo>
                    <a:pt x="f155" y="f512"/>
                  </a:lnTo>
                  <a:lnTo>
                    <a:pt x="f154" y="f512"/>
                  </a:lnTo>
                  <a:lnTo>
                    <a:pt x="f157" y="f511"/>
                  </a:lnTo>
                  <a:lnTo>
                    <a:pt x="f157" y="f510"/>
                  </a:lnTo>
                  <a:close/>
                  <a:moveTo>
                    <a:pt x="f158" y="f509"/>
                  </a:moveTo>
                  <a:lnTo>
                    <a:pt x="f159" y="f509"/>
                  </a:lnTo>
                  <a:lnTo>
                    <a:pt x="f160" y="f510"/>
                  </a:lnTo>
                  <a:lnTo>
                    <a:pt x="f160" y="f511"/>
                  </a:lnTo>
                  <a:lnTo>
                    <a:pt x="f159" y="f512"/>
                  </a:lnTo>
                  <a:lnTo>
                    <a:pt x="f158" y="f512"/>
                  </a:lnTo>
                  <a:lnTo>
                    <a:pt x="f161" y="f511"/>
                  </a:lnTo>
                  <a:lnTo>
                    <a:pt x="f161" y="f510"/>
                  </a:lnTo>
                  <a:close/>
                  <a:moveTo>
                    <a:pt x="f484" y="f509"/>
                  </a:moveTo>
                  <a:lnTo>
                    <a:pt x="f513" y="f509"/>
                  </a:lnTo>
                  <a:lnTo>
                    <a:pt x="f514" y="f510"/>
                  </a:lnTo>
                  <a:lnTo>
                    <a:pt x="f514" y="f511"/>
                  </a:lnTo>
                  <a:lnTo>
                    <a:pt x="f513" y="f512"/>
                  </a:lnTo>
                  <a:lnTo>
                    <a:pt x="f484" y="f512"/>
                  </a:lnTo>
                  <a:lnTo>
                    <a:pt x="f515" y="f511"/>
                  </a:lnTo>
                  <a:lnTo>
                    <a:pt x="f515" y="f510"/>
                  </a:lnTo>
                  <a:close/>
                  <a:moveTo>
                    <a:pt x="f487" y="f509"/>
                  </a:moveTo>
                  <a:lnTo>
                    <a:pt x="f516" y="f509"/>
                  </a:lnTo>
                  <a:lnTo>
                    <a:pt x="f517" y="f510"/>
                  </a:lnTo>
                  <a:lnTo>
                    <a:pt x="f517" y="f511"/>
                  </a:lnTo>
                  <a:lnTo>
                    <a:pt x="f516" y="f512"/>
                  </a:lnTo>
                  <a:lnTo>
                    <a:pt x="f487" y="f512"/>
                  </a:lnTo>
                  <a:lnTo>
                    <a:pt x="f489" y="f511"/>
                  </a:lnTo>
                  <a:lnTo>
                    <a:pt x="f489" y="f510"/>
                  </a:lnTo>
                  <a:close/>
                  <a:moveTo>
                    <a:pt x="f518" y="f509"/>
                  </a:moveTo>
                  <a:lnTo>
                    <a:pt x="f519" y="f509"/>
                  </a:lnTo>
                  <a:lnTo>
                    <a:pt x="f520" y="f510"/>
                  </a:lnTo>
                  <a:lnTo>
                    <a:pt x="f520" y="f511"/>
                  </a:lnTo>
                  <a:lnTo>
                    <a:pt x="f519" y="f512"/>
                  </a:lnTo>
                  <a:lnTo>
                    <a:pt x="f518" y="f512"/>
                  </a:lnTo>
                  <a:lnTo>
                    <a:pt x="f491" y="f511"/>
                  </a:lnTo>
                  <a:lnTo>
                    <a:pt x="f491" y="f510"/>
                  </a:lnTo>
                  <a:close/>
                  <a:moveTo>
                    <a:pt x="f492" y="f509"/>
                  </a:moveTo>
                  <a:lnTo>
                    <a:pt x="f521" y="f509"/>
                  </a:lnTo>
                  <a:lnTo>
                    <a:pt x="f522" y="f510"/>
                  </a:lnTo>
                  <a:lnTo>
                    <a:pt x="f522" y="f511"/>
                  </a:lnTo>
                  <a:lnTo>
                    <a:pt x="f521" y="f512"/>
                  </a:lnTo>
                  <a:lnTo>
                    <a:pt x="f492" y="f512"/>
                  </a:lnTo>
                  <a:lnTo>
                    <a:pt x="f494" y="f511"/>
                  </a:lnTo>
                  <a:lnTo>
                    <a:pt x="f494" y="f510"/>
                  </a:lnTo>
                  <a:close/>
                  <a:moveTo>
                    <a:pt x="f35" y="f523"/>
                  </a:moveTo>
                  <a:lnTo>
                    <a:pt x="f37" y="f523"/>
                  </a:lnTo>
                  <a:lnTo>
                    <a:pt x="f6" y="f524"/>
                  </a:lnTo>
                  <a:lnTo>
                    <a:pt x="f6" y="f525"/>
                  </a:lnTo>
                  <a:lnTo>
                    <a:pt x="f37" y="f526"/>
                  </a:lnTo>
                  <a:lnTo>
                    <a:pt x="f35" y="f526"/>
                  </a:lnTo>
                  <a:lnTo>
                    <a:pt x="f41" y="f525"/>
                  </a:lnTo>
                  <a:lnTo>
                    <a:pt x="f41" y="f524"/>
                  </a:lnTo>
                  <a:close/>
                  <a:moveTo>
                    <a:pt x="f42" y="f523"/>
                  </a:moveTo>
                  <a:lnTo>
                    <a:pt x="f43" y="f523"/>
                  </a:lnTo>
                  <a:lnTo>
                    <a:pt x="f44" y="f524"/>
                  </a:lnTo>
                  <a:lnTo>
                    <a:pt x="f44" y="f525"/>
                  </a:lnTo>
                  <a:lnTo>
                    <a:pt x="f43" y="f526"/>
                  </a:lnTo>
                  <a:lnTo>
                    <a:pt x="f42" y="f526"/>
                  </a:lnTo>
                  <a:lnTo>
                    <a:pt x="f45" y="f525"/>
                  </a:lnTo>
                  <a:lnTo>
                    <a:pt x="f45" y="f524"/>
                  </a:lnTo>
                  <a:close/>
                  <a:moveTo>
                    <a:pt x="f46" y="f523"/>
                  </a:moveTo>
                  <a:lnTo>
                    <a:pt x="f47" y="f523"/>
                  </a:lnTo>
                  <a:lnTo>
                    <a:pt x="f48" y="f524"/>
                  </a:lnTo>
                  <a:lnTo>
                    <a:pt x="f48" y="f525"/>
                  </a:lnTo>
                  <a:lnTo>
                    <a:pt x="f47" y="f526"/>
                  </a:lnTo>
                  <a:lnTo>
                    <a:pt x="f46" y="f526"/>
                  </a:lnTo>
                  <a:lnTo>
                    <a:pt x="f49" y="f525"/>
                  </a:lnTo>
                  <a:lnTo>
                    <a:pt x="f49" y="f524"/>
                  </a:lnTo>
                  <a:close/>
                  <a:moveTo>
                    <a:pt x="f50" y="f523"/>
                  </a:moveTo>
                  <a:lnTo>
                    <a:pt x="f51" y="f523"/>
                  </a:lnTo>
                  <a:lnTo>
                    <a:pt x="f52" y="f524"/>
                  </a:lnTo>
                  <a:lnTo>
                    <a:pt x="f52" y="f525"/>
                  </a:lnTo>
                  <a:lnTo>
                    <a:pt x="f51" y="f526"/>
                  </a:lnTo>
                  <a:lnTo>
                    <a:pt x="f50" y="f526"/>
                  </a:lnTo>
                  <a:lnTo>
                    <a:pt x="f53" y="f525"/>
                  </a:lnTo>
                  <a:lnTo>
                    <a:pt x="f53" y="f524"/>
                  </a:lnTo>
                  <a:close/>
                  <a:moveTo>
                    <a:pt x="f54" y="f523"/>
                  </a:moveTo>
                  <a:lnTo>
                    <a:pt x="f55" y="f523"/>
                  </a:lnTo>
                  <a:lnTo>
                    <a:pt x="f56" y="f524"/>
                  </a:lnTo>
                  <a:lnTo>
                    <a:pt x="f56" y="f525"/>
                  </a:lnTo>
                  <a:lnTo>
                    <a:pt x="f55" y="f526"/>
                  </a:lnTo>
                  <a:lnTo>
                    <a:pt x="f54" y="f526"/>
                  </a:lnTo>
                  <a:lnTo>
                    <a:pt x="f57" y="f525"/>
                  </a:lnTo>
                  <a:lnTo>
                    <a:pt x="f57" y="f524"/>
                  </a:lnTo>
                  <a:close/>
                  <a:moveTo>
                    <a:pt x="f58" y="f523"/>
                  </a:moveTo>
                  <a:lnTo>
                    <a:pt x="f59" y="f523"/>
                  </a:lnTo>
                  <a:lnTo>
                    <a:pt x="f60" y="f524"/>
                  </a:lnTo>
                  <a:lnTo>
                    <a:pt x="f60" y="f525"/>
                  </a:lnTo>
                  <a:lnTo>
                    <a:pt x="f59" y="f526"/>
                  </a:lnTo>
                  <a:lnTo>
                    <a:pt x="f58" y="f526"/>
                  </a:lnTo>
                  <a:lnTo>
                    <a:pt x="f61" y="f525"/>
                  </a:lnTo>
                  <a:lnTo>
                    <a:pt x="f61" y="f524"/>
                  </a:lnTo>
                  <a:close/>
                  <a:moveTo>
                    <a:pt x="f62" y="f523"/>
                  </a:moveTo>
                  <a:lnTo>
                    <a:pt x="f63" y="f523"/>
                  </a:lnTo>
                  <a:lnTo>
                    <a:pt x="f64" y="f524"/>
                  </a:lnTo>
                  <a:lnTo>
                    <a:pt x="f64" y="f525"/>
                  </a:lnTo>
                  <a:lnTo>
                    <a:pt x="f63" y="f526"/>
                  </a:lnTo>
                  <a:lnTo>
                    <a:pt x="f62" y="f526"/>
                  </a:lnTo>
                  <a:lnTo>
                    <a:pt x="f65" y="f525"/>
                  </a:lnTo>
                  <a:lnTo>
                    <a:pt x="f65" y="f524"/>
                  </a:lnTo>
                  <a:close/>
                  <a:moveTo>
                    <a:pt x="f66" y="f523"/>
                  </a:moveTo>
                  <a:lnTo>
                    <a:pt x="f67" y="f523"/>
                  </a:lnTo>
                  <a:lnTo>
                    <a:pt x="f68" y="f524"/>
                  </a:lnTo>
                  <a:lnTo>
                    <a:pt x="f68" y="f525"/>
                  </a:lnTo>
                  <a:lnTo>
                    <a:pt x="f67" y="f526"/>
                  </a:lnTo>
                  <a:lnTo>
                    <a:pt x="f66" y="f526"/>
                  </a:lnTo>
                  <a:lnTo>
                    <a:pt x="f69" y="f525"/>
                  </a:lnTo>
                  <a:lnTo>
                    <a:pt x="f69" y="f524"/>
                  </a:lnTo>
                  <a:close/>
                  <a:moveTo>
                    <a:pt x="f70" y="f523"/>
                  </a:moveTo>
                  <a:lnTo>
                    <a:pt x="f71" y="f523"/>
                  </a:lnTo>
                  <a:lnTo>
                    <a:pt x="f72" y="f524"/>
                  </a:lnTo>
                  <a:lnTo>
                    <a:pt x="f72" y="f525"/>
                  </a:lnTo>
                  <a:lnTo>
                    <a:pt x="f71" y="f526"/>
                  </a:lnTo>
                  <a:lnTo>
                    <a:pt x="f70" y="f526"/>
                  </a:lnTo>
                  <a:lnTo>
                    <a:pt x="f73" y="f525"/>
                  </a:lnTo>
                  <a:lnTo>
                    <a:pt x="f73" y="f524"/>
                  </a:lnTo>
                  <a:close/>
                  <a:moveTo>
                    <a:pt x="f74" y="f523"/>
                  </a:moveTo>
                  <a:lnTo>
                    <a:pt x="f75" y="f523"/>
                  </a:lnTo>
                  <a:lnTo>
                    <a:pt x="f76" y="f524"/>
                  </a:lnTo>
                  <a:lnTo>
                    <a:pt x="f76" y="f525"/>
                  </a:lnTo>
                  <a:lnTo>
                    <a:pt x="f75" y="f526"/>
                  </a:lnTo>
                  <a:lnTo>
                    <a:pt x="f74" y="f526"/>
                  </a:lnTo>
                  <a:lnTo>
                    <a:pt x="f77" y="f525"/>
                  </a:lnTo>
                  <a:lnTo>
                    <a:pt x="f77" y="f524"/>
                  </a:lnTo>
                  <a:close/>
                  <a:moveTo>
                    <a:pt x="f78" y="f523"/>
                  </a:moveTo>
                  <a:lnTo>
                    <a:pt x="f79" y="f523"/>
                  </a:lnTo>
                  <a:lnTo>
                    <a:pt x="f80" y="f524"/>
                  </a:lnTo>
                  <a:lnTo>
                    <a:pt x="f80" y="f525"/>
                  </a:lnTo>
                  <a:lnTo>
                    <a:pt x="f79" y="f526"/>
                  </a:lnTo>
                  <a:lnTo>
                    <a:pt x="f78" y="f526"/>
                  </a:lnTo>
                  <a:lnTo>
                    <a:pt x="f81" y="f525"/>
                  </a:lnTo>
                  <a:lnTo>
                    <a:pt x="f81" y="f524"/>
                  </a:lnTo>
                  <a:close/>
                  <a:moveTo>
                    <a:pt x="f82" y="f523"/>
                  </a:moveTo>
                  <a:lnTo>
                    <a:pt x="f83" y="f523"/>
                  </a:lnTo>
                  <a:lnTo>
                    <a:pt x="f84" y="f524"/>
                  </a:lnTo>
                  <a:lnTo>
                    <a:pt x="f84" y="f525"/>
                  </a:lnTo>
                  <a:lnTo>
                    <a:pt x="f83" y="f526"/>
                  </a:lnTo>
                  <a:lnTo>
                    <a:pt x="f82" y="f526"/>
                  </a:lnTo>
                  <a:lnTo>
                    <a:pt x="f85" y="f525"/>
                  </a:lnTo>
                  <a:lnTo>
                    <a:pt x="f85" y="f524"/>
                  </a:lnTo>
                  <a:close/>
                  <a:moveTo>
                    <a:pt x="f86" y="f523"/>
                  </a:moveTo>
                  <a:lnTo>
                    <a:pt x="f87" y="f523"/>
                  </a:lnTo>
                  <a:lnTo>
                    <a:pt x="f88" y="f524"/>
                  </a:lnTo>
                  <a:lnTo>
                    <a:pt x="f88" y="f525"/>
                  </a:lnTo>
                  <a:lnTo>
                    <a:pt x="f87" y="f526"/>
                  </a:lnTo>
                  <a:lnTo>
                    <a:pt x="f86" y="f526"/>
                  </a:lnTo>
                  <a:lnTo>
                    <a:pt x="f89" y="f525"/>
                  </a:lnTo>
                  <a:lnTo>
                    <a:pt x="f89" y="f524"/>
                  </a:lnTo>
                  <a:close/>
                  <a:moveTo>
                    <a:pt x="f90" y="f523"/>
                  </a:moveTo>
                  <a:lnTo>
                    <a:pt x="f91" y="f523"/>
                  </a:lnTo>
                  <a:lnTo>
                    <a:pt x="f92" y="f524"/>
                  </a:lnTo>
                  <a:lnTo>
                    <a:pt x="f92" y="f525"/>
                  </a:lnTo>
                  <a:lnTo>
                    <a:pt x="f91" y="f526"/>
                  </a:lnTo>
                  <a:lnTo>
                    <a:pt x="f90" y="f526"/>
                  </a:lnTo>
                  <a:lnTo>
                    <a:pt x="f93" y="f525"/>
                  </a:lnTo>
                  <a:lnTo>
                    <a:pt x="f93" y="f524"/>
                  </a:lnTo>
                  <a:close/>
                  <a:moveTo>
                    <a:pt x="f94" y="f523"/>
                  </a:moveTo>
                  <a:lnTo>
                    <a:pt x="f95" y="f523"/>
                  </a:lnTo>
                  <a:lnTo>
                    <a:pt x="f96" y="f524"/>
                  </a:lnTo>
                  <a:lnTo>
                    <a:pt x="f96" y="f525"/>
                  </a:lnTo>
                  <a:lnTo>
                    <a:pt x="f95" y="f526"/>
                  </a:lnTo>
                  <a:lnTo>
                    <a:pt x="f94" y="f526"/>
                  </a:lnTo>
                  <a:lnTo>
                    <a:pt x="f97" y="f525"/>
                  </a:lnTo>
                  <a:lnTo>
                    <a:pt x="f97" y="f524"/>
                  </a:lnTo>
                  <a:close/>
                  <a:moveTo>
                    <a:pt x="f98" y="f523"/>
                  </a:moveTo>
                  <a:lnTo>
                    <a:pt x="f99" y="f523"/>
                  </a:lnTo>
                  <a:lnTo>
                    <a:pt x="f100" y="f524"/>
                  </a:lnTo>
                  <a:lnTo>
                    <a:pt x="f100" y="f525"/>
                  </a:lnTo>
                  <a:lnTo>
                    <a:pt x="f99" y="f526"/>
                  </a:lnTo>
                  <a:lnTo>
                    <a:pt x="f98" y="f526"/>
                  </a:lnTo>
                  <a:lnTo>
                    <a:pt x="f101" y="f525"/>
                  </a:lnTo>
                  <a:lnTo>
                    <a:pt x="f101" y="f524"/>
                  </a:lnTo>
                  <a:close/>
                  <a:moveTo>
                    <a:pt x="f102" y="f523"/>
                  </a:moveTo>
                  <a:lnTo>
                    <a:pt x="f103" y="f523"/>
                  </a:lnTo>
                  <a:lnTo>
                    <a:pt x="f104" y="f524"/>
                  </a:lnTo>
                  <a:lnTo>
                    <a:pt x="f104" y="f525"/>
                  </a:lnTo>
                  <a:lnTo>
                    <a:pt x="f103" y="f526"/>
                  </a:lnTo>
                  <a:lnTo>
                    <a:pt x="f102" y="f526"/>
                  </a:lnTo>
                  <a:lnTo>
                    <a:pt x="f105" y="f525"/>
                  </a:lnTo>
                  <a:lnTo>
                    <a:pt x="f105" y="f524"/>
                  </a:lnTo>
                  <a:close/>
                  <a:moveTo>
                    <a:pt x="f106" y="f523"/>
                  </a:moveTo>
                  <a:lnTo>
                    <a:pt x="f107" y="f523"/>
                  </a:lnTo>
                  <a:lnTo>
                    <a:pt x="f108" y="f524"/>
                  </a:lnTo>
                  <a:lnTo>
                    <a:pt x="f108" y="f525"/>
                  </a:lnTo>
                  <a:lnTo>
                    <a:pt x="f107" y="f526"/>
                  </a:lnTo>
                  <a:lnTo>
                    <a:pt x="f106" y="f526"/>
                  </a:lnTo>
                  <a:lnTo>
                    <a:pt x="f109" y="f525"/>
                  </a:lnTo>
                  <a:lnTo>
                    <a:pt x="f109" y="f524"/>
                  </a:lnTo>
                  <a:close/>
                  <a:moveTo>
                    <a:pt x="f110" y="f523"/>
                  </a:moveTo>
                  <a:lnTo>
                    <a:pt x="f111" y="f523"/>
                  </a:lnTo>
                  <a:lnTo>
                    <a:pt x="f112" y="f524"/>
                  </a:lnTo>
                  <a:lnTo>
                    <a:pt x="f112" y="f525"/>
                  </a:lnTo>
                  <a:lnTo>
                    <a:pt x="f111" y="f526"/>
                  </a:lnTo>
                  <a:lnTo>
                    <a:pt x="f110" y="f526"/>
                  </a:lnTo>
                  <a:lnTo>
                    <a:pt x="f113" y="f525"/>
                  </a:lnTo>
                  <a:lnTo>
                    <a:pt x="f113" y="f524"/>
                  </a:lnTo>
                  <a:close/>
                  <a:moveTo>
                    <a:pt x="f114" y="f523"/>
                  </a:moveTo>
                  <a:lnTo>
                    <a:pt x="f115" y="f523"/>
                  </a:lnTo>
                  <a:lnTo>
                    <a:pt x="f116" y="f524"/>
                  </a:lnTo>
                  <a:lnTo>
                    <a:pt x="f116" y="f525"/>
                  </a:lnTo>
                  <a:lnTo>
                    <a:pt x="f115" y="f526"/>
                  </a:lnTo>
                  <a:lnTo>
                    <a:pt x="f114" y="f526"/>
                  </a:lnTo>
                  <a:lnTo>
                    <a:pt x="f117" y="f525"/>
                  </a:lnTo>
                  <a:lnTo>
                    <a:pt x="f117" y="f524"/>
                  </a:lnTo>
                  <a:close/>
                  <a:moveTo>
                    <a:pt x="f118" y="f523"/>
                  </a:moveTo>
                  <a:lnTo>
                    <a:pt x="f119" y="f523"/>
                  </a:lnTo>
                  <a:lnTo>
                    <a:pt x="f120" y="f524"/>
                  </a:lnTo>
                  <a:lnTo>
                    <a:pt x="f120" y="f525"/>
                  </a:lnTo>
                  <a:lnTo>
                    <a:pt x="f119" y="f526"/>
                  </a:lnTo>
                  <a:lnTo>
                    <a:pt x="f118" y="f526"/>
                  </a:lnTo>
                  <a:lnTo>
                    <a:pt x="f121" y="f525"/>
                  </a:lnTo>
                  <a:lnTo>
                    <a:pt x="f121" y="f524"/>
                  </a:lnTo>
                  <a:close/>
                  <a:moveTo>
                    <a:pt x="f122" y="f523"/>
                  </a:moveTo>
                  <a:lnTo>
                    <a:pt x="f123" y="f523"/>
                  </a:lnTo>
                  <a:lnTo>
                    <a:pt x="f124" y="f524"/>
                  </a:lnTo>
                  <a:lnTo>
                    <a:pt x="f124" y="f525"/>
                  </a:lnTo>
                  <a:lnTo>
                    <a:pt x="f123" y="f526"/>
                  </a:lnTo>
                  <a:lnTo>
                    <a:pt x="f122" y="f526"/>
                  </a:lnTo>
                  <a:lnTo>
                    <a:pt x="f125" y="f525"/>
                  </a:lnTo>
                  <a:lnTo>
                    <a:pt x="f125" y="f524"/>
                  </a:lnTo>
                  <a:close/>
                  <a:moveTo>
                    <a:pt x="f126" y="f523"/>
                  </a:moveTo>
                  <a:lnTo>
                    <a:pt x="f127" y="f523"/>
                  </a:lnTo>
                  <a:lnTo>
                    <a:pt x="f128" y="f524"/>
                  </a:lnTo>
                  <a:lnTo>
                    <a:pt x="f128" y="f525"/>
                  </a:lnTo>
                  <a:lnTo>
                    <a:pt x="f127" y="f526"/>
                  </a:lnTo>
                  <a:lnTo>
                    <a:pt x="f126" y="f526"/>
                  </a:lnTo>
                  <a:lnTo>
                    <a:pt x="f129" y="f525"/>
                  </a:lnTo>
                  <a:lnTo>
                    <a:pt x="f129" y="f524"/>
                  </a:lnTo>
                  <a:close/>
                  <a:moveTo>
                    <a:pt x="f130" y="f523"/>
                  </a:moveTo>
                  <a:lnTo>
                    <a:pt x="f131" y="f523"/>
                  </a:lnTo>
                  <a:lnTo>
                    <a:pt x="f132" y="f524"/>
                  </a:lnTo>
                  <a:lnTo>
                    <a:pt x="f132" y="f525"/>
                  </a:lnTo>
                  <a:lnTo>
                    <a:pt x="f131" y="f526"/>
                  </a:lnTo>
                  <a:lnTo>
                    <a:pt x="f130" y="f526"/>
                  </a:lnTo>
                  <a:lnTo>
                    <a:pt x="f133" y="f525"/>
                  </a:lnTo>
                  <a:lnTo>
                    <a:pt x="f133" y="f524"/>
                  </a:lnTo>
                  <a:close/>
                  <a:moveTo>
                    <a:pt x="f134" y="f523"/>
                  </a:moveTo>
                  <a:lnTo>
                    <a:pt x="f135" y="f523"/>
                  </a:lnTo>
                  <a:lnTo>
                    <a:pt x="f136" y="f524"/>
                  </a:lnTo>
                  <a:lnTo>
                    <a:pt x="f136" y="f525"/>
                  </a:lnTo>
                  <a:lnTo>
                    <a:pt x="f135" y="f526"/>
                  </a:lnTo>
                  <a:lnTo>
                    <a:pt x="f134" y="f526"/>
                  </a:lnTo>
                  <a:lnTo>
                    <a:pt x="f137" y="f525"/>
                  </a:lnTo>
                  <a:lnTo>
                    <a:pt x="f137" y="f524"/>
                  </a:lnTo>
                  <a:close/>
                  <a:moveTo>
                    <a:pt x="f138" y="f523"/>
                  </a:moveTo>
                  <a:lnTo>
                    <a:pt x="f139" y="f523"/>
                  </a:lnTo>
                  <a:lnTo>
                    <a:pt x="f140" y="f524"/>
                  </a:lnTo>
                  <a:lnTo>
                    <a:pt x="f140" y="f525"/>
                  </a:lnTo>
                  <a:lnTo>
                    <a:pt x="f139" y="f526"/>
                  </a:lnTo>
                  <a:lnTo>
                    <a:pt x="f138" y="f526"/>
                  </a:lnTo>
                  <a:lnTo>
                    <a:pt x="f141" y="f525"/>
                  </a:lnTo>
                  <a:lnTo>
                    <a:pt x="f141" y="f524"/>
                  </a:lnTo>
                  <a:close/>
                  <a:moveTo>
                    <a:pt x="f142" y="f523"/>
                  </a:moveTo>
                  <a:lnTo>
                    <a:pt x="f143" y="f523"/>
                  </a:lnTo>
                  <a:lnTo>
                    <a:pt x="f144" y="f524"/>
                  </a:lnTo>
                  <a:lnTo>
                    <a:pt x="f144" y="f525"/>
                  </a:lnTo>
                  <a:lnTo>
                    <a:pt x="f143" y="f526"/>
                  </a:lnTo>
                  <a:lnTo>
                    <a:pt x="f142" y="f526"/>
                  </a:lnTo>
                  <a:lnTo>
                    <a:pt x="f145" y="f525"/>
                  </a:lnTo>
                  <a:lnTo>
                    <a:pt x="f145" y="f524"/>
                  </a:lnTo>
                  <a:close/>
                  <a:moveTo>
                    <a:pt x="f146" y="f523"/>
                  </a:moveTo>
                  <a:lnTo>
                    <a:pt x="f147" y="f523"/>
                  </a:lnTo>
                  <a:lnTo>
                    <a:pt x="f148" y="f524"/>
                  </a:lnTo>
                  <a:lnTo>
                    <a:pt x="f148" y="f525"/>
                  </a:lnTo>
                  <a:lnTo>
                    <a:pt x="f147" y="f526"/>
                  </a:lnTo>
                  <a:lnTo>
                    <a:pt x="f146" y="f526"/>
                  </a:lnTo>
                  <a:lnTo>
                    <a:pt x="f149" y="f525"/>
                  </a:lnTo>
                  <a:lnTo>
                    <a:pt x="f149" y="f524"/>
                  </a:lnTo>
                  <a:close/>
                  <a:moveTo>
                    <a:pt x="f150" y="f523"/>
                  </a:moveTo>
                  <a:lnTo>
                    <a:pt x="f151" y="f523"/>
                  </a:lnTo>
                  <a:lnTo>
                    <a:pt x="f152" y="f524"/>
                  </a:lnTo>
                  <a:lnTo>
                    <a:pt x="f152" y="f525"/>
                  </a:lnTo>
                  <a:lnTo>
                    <a:pt x="f151" y="f526"/>
                  </a:lnTo>
                  <a:lnTo>
                    <a:pt x="f150" y="f526"/>
                  </a:lnTo>
                  <a:lnTo>
                    <a:pt x="f153" y="f525"/>
                  </a:lnTo>
                  <a:lnTo>
                    <a:pt x="f153" y="f524"/>
                  </a:lnTo>
                  <a:close/>
                  <a:moveTo>
                    <a:pt x="f154" y="f523"/>
                  </a:moveTo>
                  <a:lnTo>
                    <a:pt x="f155" y="f523"/>
                  </a:lnTo>
                  <a:lnTo>
                    <a:pt x="f156" y="f524"/>
                  </a:lnTo>
                  <a:lnTo>
                    <a:pt x="f156" y="f525"/>
                  </a:lnTo>
                  <a:lnTo>
                    <a:pt x="f155" y="f526"/>
                  </a:lnTo>
                  <a:lnTo>
                    <a:pt x="f154" y="f526"/>
                  </a:lnTo>
                  <a:lnTo>
                    <a:pt x="f157" y="f525"/>
                  </a:lnTo>
                  <a:lnTo>
                    <a:pt x="f157" y="f524"/>
                  </a:lnTo>
                  <a:close/>
                  <a:moveTo>
                    <a:pt x="f158" y="f523"/>
                  </a:moveTo>
                  <a:lnTo>
                    <a:pt x="f159" y="f523"/>
                  </a:lnTo>
                  <a:lnTo>
                    <a:pt x="f160" y="f524"/>
                  </a:lnTo>
                  <a:lnTo>
                    <a:pt x="f160" y="f525"/>
                  </a:lnTo>
                  <a:lnTo>
                    <a:pt x="f159" y="f526"/>
                  </a:lnTo>
                  <a:lnTo>
                    <a:pt x="f158" y="f526"/>
                  </a:lnTo>
                  <a:lnTo>
                    <a:pt x="f161" y="f525"/>
                  </a:lnTo>
                  <a:lnTo>
                    <a:pt x="f161" y="f524"/>
                  </a:lnTo>
                  <a:close/>
                  <a:moveTo>
                    <a:pt x="f464" y="f523"/>
                  </a:moveTo>
                  <a:lnTo>
                    <a:pt x="f466" y="f523"/>
                  </a:lnTo>
                  <a:lnTo>
                    <a:pt x="f410" y="f524"/>
                  </a:lnTo>
                  <a:lnTo>
                    <a:pt x="f410" y="f525"/>
                  </a:lnTo>
                  <a:lnTo>
                    <a:pt x="f466" y="f526"/>
                  </a:lnTo>
                  <a:lnTo>
                    <a:pt x="f464" y="f526"/>
                  </a:lnTo>
                  <a:lnTo>
                    <a:pt x="f527" y="f525"/>
                  </a:lnTo>
                  <a:lnTo>
                    <a:pt x="f527" y="f524"/>
                  </a:lnTo>
                  <a:close/>
                  <a:moveTo>
                    <a:pt x="f414" y="f523"/>
                  </a:moveTo>
                  <a:lnTo>
                    <a:pt x="f528" y="f523"/>
                  </a:lnTo>
                  <a:lnTo>
                    <a:pt x="f499" y="f524"/>
                  </a:lnTo>
                  <a:lnTo>
                    <a:pt x="f499" y="f525"/>
                  </a:lnTo>
                  <a:lnTo>
                    <a:pt x="f528" y="f526"/>
                  </a:lnTo>
                  <a:lnTo>
                    <a:pt x="f414" y="f526"/>
                  </a:lnTo>
                  <a:lnTo>
                    <a:pt x="f470" y="f525"/>
                  </a:lnTo>
                  <a:lnTo>
                    <a:pt x="f470" y="f524"/>
                  </a:lnTo>
                  <a:close/>
                  <a:moveTo>
                    <a:pt x="f529" y="f523"/>
                  </a:moveTo>
                  <a:lnTo>
                    <a:pt x="f530" y="f523"/>
                  </a:lnTo>
                  <a:lnTo>
                    <a:pt x="f500" y="f524"/>
                  </a:lnTo>
                  <a:lnTo>
                    <a:pt x="f500" y="f525"/>
                  </a:lnTo>
                  <a:lnTo>
                    <a:pt x="f530" y="f526"/>
                  </a:lnTo>
                  <a:lnTo>
                    <a:pt x="f529" y="f526"/>
                  </a:lnTo>
                  <a:lnTo>
                    <a:pt x="f531" y="f525"/>
                  </a:lnTo>
                  <a:lnTo>
                    <a:pt x="f531" y="f524"/>
                  </a:lnTo>
                  <a:close/>
                  <a:moveTo>
                    <a:pt x="f532" y="f523"/>
                  </a:moveTo>
                  <a:lnTo>
                    <a:pt x="f502" y="f523"/>
                  </a:lnTo>
                  <a:lnTo>
                    <a:pt x="f533" y="f524"/>
                  </a:lnTo>
                  <a:lnTo>
                    <a:pt x="f533" y="f525"/>
                  </a:lnTo>
                  <a:lnTo>
                    <a:pt x="f502" y="f526"/>
                  </a:lnTo>
                  <a:lnTo>
                    <a:pt x="f532" y="f526"/>
                  </a:lnTo>
                  <a:lnTo>
                    <a:pt x="f534" y="f525"/>
                  </a:lnTo>
                  <a:lnTo>
                    <a:pt x="f534" y="f524"/>
                  </a:lnTo>
                  <a:close/>
                  <a:moveTo>
                    <a:pt x="f535" y="f523"/>
                  </a:moveTo>
                  <a:lnTo>
                    <a:pt x="f504" y="f523"/>
                  </a:lnTo>
                  <a:lnTo>
                    <a:pt x="f536" y="f524"/>
                  </a:lnTo>
                  <a:lnTo>
                    <a:pt x="f536" y="f525"/>
                  </a:lnTo>
                  <a:lnTo>
                    <a:pt x="f504" y="f526"/>
                  </a:lnTo>
                  <a:lnTo>
                    <a:pt x="f535" y="f526"/>
                  </a:lnTo>
                  <a:lnTo>
                    <a:pt x="f505" y="f525"/>
                  </a:lnTo>
                  <a:lnTo>
                    <a:pt x="f505" y="f524"/>
                  </a:lnTo>
                  <a:close/>
                  <a:moveTo>
                    <a:pt x="f506" y="f523"/>
                  </a:moveTo>
                  <a:lnTo>
                    <a:pt x="f537" y="f523"/>
                  </a:lnTo>
                  <a:lnTo>
                    <a:pt x="f538" y="f524"/>
                  </a:lnTo>
                  <a:lnTo>
                    <a:pt x="f538" y="f525"/>
                  </a:lnTo>
                  <a:lnTo>
                    <a:pt x="f537" y="f526"/>
                  </a:lnTo>
                  <a:lnTo>
                    <a:pt x="f506" y="f526"/>
                  </a:lnTo>
                  <a:lnTo>
                    <a:pt x="f508" y="f525"/>
                  </a:lnTo>
                  <a:lnTo>
                    <a:pt x="f508" y="f524"/>
                  </a:lnTo>
                  <a:close/>
                  <a:moveTo>
                    <a:pt x="f539" y="f523"/>
                  </a:moveTo>
                  <a:lnTo>
                    <a:pt x="f513" y="f523"/>
                  </a:lnTo>
                  <a:lnTo>
                    <a:pt x="f514" y="f524"/>
                  </a:lnTo>
                  <a:lnTo>
                    <a:pt x="f514" y="f525"/>
                  </a:lnTo>
                  <a:lnTo>
                    <a:pt x="f513" y="f526"/>
                  </a:lnTo>
                  <a:lnTo>
                    <a:pt x="f539" y="f526"/>
                  </a:lnTo>
                  <a:lnTo>
                    <a:pt x="f540" y="f525"/>
                  </a:lnTo>
                  <a:lnTo>
                    <a:pt x="f540" y="f524"/>
                  </a:lnTo>
                  <a:close/>
                  <a:moveTo>
                    <a:pt x="f541" y="f523"/>
                  </a:moveTo>
                  <a:lnTo>
                    <a:pt x="f516" y="f523"/>
                  </a:lnTo>
                  <a:lnTo>
                    <a:pt x="f517" y="f524"/>
                  </a:lnTo>
                  <a:lnTo>
                    <a:pt x="f517" y="f525"/>
                  </a:lnTo>
                  <a:lnTo>
                    <a:pt x="f516" y="f526"/>
                  </a:lnTo>
                  <a:lnTo>
                    <a:pt x="f541" y="f526"/>
                  </a:lnTo>
                  <a:lnTo>
                    <a:pt x="f542" y="f525"/>
                  </a:lnTo>
                  <a:lnTo>
                    <a:pt x="f542" y="f524"/>
                  </a:lnTo>
                  <a:close/>
                  <a:moveTo>
                    <a:pt x="f518" y="f523"/>
                  </a:moveTo>
                  <a:lnTo>
                    <a:pt x="f543" y="f523"/>
                  </a:lnTo>
                  <a:lnTo>
                    <a:pt x="f544" y="f524"/>
                  </a:lnTo>
                  <a:lnTo>
                    <a:pt x="f544" y="f525"/>
                  </a:lnTo>
                  <a:lnTo>
                    <a:pt x="f543" y="f526"/>
                  </a:lnTo>
                  <a:lnTo>
                    <a:pt x="f518" y="f526"/>
                  </a:lnTo>
                  <a:lnTo>
                    <a:pt x="f545" y="f525"/>
                  </a:lnTo>
                  <a:lnTo>
                    <a:pt x="f545" y="f524"/>
                  </a:lnTo>
                  <a:close/>
                  <a:moveTo>
                    <a:pt x="f546" y="f523"/>
                  </a:moveTo>
                  <a:lnTo>
                    <a:pt x="f521" y="f523"/>
                  </a:lnTo>
                  <a:lnTo>
                    <a:pt x="f522" y="f524"/>
                  </a:lnTo>
                  <a:lnTo>
                    <a:pt x="f522" y="f525"/>
                  </a:lnTo>
                  <a:lnTo>
                    <a:pt x="f521" y="f526"/>
                  </a:lnTo>
                  <a:lnTo>
                    <a:pt x="f546" y="f526"/>
                  </a:lnTo>
                  <a:lnTo>
                    <a:pt x="f547" y="f525"/>
                  </a:lnTo>
                  <a:lnTo>
                    <a:pt x="f547" y="f524"/>
                  </a:lnTo>
                  <a:close/>
                  <a:moveTo>
                    <a:pt x="f464" y="f548"/>
                  </a:moveTo>
                  <a:lnTo>
                    <a:pt x="f466" y="f548"/>
                  </a:lnTo>
                  <a:lnTo>
                    <a:pt x="f549" y="f550"/>
                  </a:lnTo>
                  <a:lnTo>
                    <a:pt x="f549" y="f551"/>
                  </a:lnTo>
                  <a:lnTo>
                    <a:pt x="f466" y="f552"/>
                  </a:lnTo>
                  <a:lnTo>
                    <a:pt x="f464" y="f552"/>
                  </a:lnTo>
                  <a:lnTo>
                    <a:pt x="f527" y="f551"/>
                  </a:lnTo>
                  <a:lnTo>
                    <a:pt x="f527" y="f550"/>
                  </a:lnTo>
                  <a:close/>
                  <a:moveTo>
                    <a:pt x="f553" y="f548"/>
                  </a:moveTo>
                  <a:lnTo>
                    <a:pt x="f528" y="f548"/>
                  </a:lnTo>
                  <a:lnTo>
                    <a:pt x="f499" y="f550"/>
                  </a:lnTo>
                  <a:lnTo>
                    <a:pt x="f499" y="f551"/>
                  </a:lnTo>
                  <a:lnTo>
                    <a:pt x="f528" y="f552"/>
                  </a:lnTo>
                  <a:lnTo>
                    <a:pt x="f553" y="f552"/>
                  </a:lnTo>
                  <a:lnTo>
                    <a:pt x="f470" y="f551"/>
                  </a:lnTo>
                  <a:lnTo>
                    <a:pt x="f470" y="f550"/>
                  </a:lnTo>
                  <a:close/>
                  <a:moveTo>
                    <a:pt x="f554" y="f548"/>
                  </a:moveTo>
                  <a:lnTo>
                    <a:pt x="f555" y="f548"/>
                  </a:lnTo>
                  <a:lnTo>
                    <a:pt x="f556" y="f550"/>
                  </a:lnTo>
                  <a:lnTo>
                    <a:pt x="f556" y="f551"/>
                  </a:lnTo>
                  <a:lnTo>
                    <a:pt x="f555" y="f552"/>
                  </a:lnTo>
                  <a:lnTo>
                    <a:pt x="f554" y="f552"/>
                  </a:lnTo>
                  <a:lnTo>
                    <a:pt x="f531" y="f551"/>
                  </a:lnTo>
                  <a:lnTo>
                    <a:pt x="f531" y="f550"/>
                  </a:lnTo>
                  <a:close/>
                  <a:moveTo>
                    <a:pt x="f557" y="f548"/>
                  </a:moveTo>
                  <a:lnTo>
                    <a:pt x="f558" y="f548"/>
                  </a:lnTo>
                  <a:lnTo>
                    <a:pt x="f533" y="f550"/>
                  </a:lnTo>
                  <a:lnTo>
                    <a:pt x="f533" y="f551"/>
                  </a:lnTo>
                  <a:lnTo>
                    <a:pt x="f558" y="f552"/>
                  </a:lnTo>
                  <a:lnTo>
                    <a:pt x="f557" y="f552"/>
                  </a:lnTo>
                  <a:lnTo>
                    <a:pt x="f534" y="f551"/>
                  </a:lnTo>
                  <a:lnTo>
                    <a:pt x="f534" y="f550"/>
                  </a:lnTo>
                  <a:close/>
                  <a:moveTo>
                    <a:pt x="f535" y="f548"/>
                  </a:moveTo>
                  <a:lnTo>
                    <a:pt x="f559" y="f548"/>
                  </a:lnTo>
                  <a:lnTo>
                    <a:pt x="f536" y="f550"/>
                  </a:lnTo>
                  <a:lnTo>
                    <a:pt x="f536" y="f551"/>
                  </a:lnTo>
                  <a:lnTo>
                    <a:pt x="f559" y="f552"/>
                  </a:lnTo>
                  <a:lnTo>
                    <a:pt x="f535" y="f552"/>
                  </a:lnTo>
                  <a:lnTo>
                    <a:pt x="f560" y="f551"/>
                  </a:lnTo>
                  <a:lnTo>
                    <a:pt x="f560" y="f550"/>
                  </a:lnTo>
                  <a:close/>
                  <a:moveTo>
                    <a:pt x="f561" y="f548"/>
                  </a:moveTo>
                  <a:lnTo>
                    <a:pt x="f537" y="f548"/>
                  </a:lnTo>
                  <a:lnTo>
                    <a:pt x="f562" y="f550"/>
                  </a:lnTo>
                  <a:lnTo>
                    <a:pt x="f562" y="f551"/>
                  </a:lnTo>
                  <a:lnTo>
                    <a:pt x="f537" y="f552"/>
                  </a:lnTo>
                  <a:lnTo>
                    <a:pt x="f561" y="f552"/>
                  </a:lnTo>
                  <a:lnTo>
                    <a:pt x="f563" y="f551"/>
                  </a:lnTo>
                  <a:lnTo>
                    <a:pt x="f563" y="f550"/>
                  </a:lnTo>
                  <a:close/>
                  <a:moveTo>
                    <a:pt x="f35" y="f564"/>
                  </a:moveTo>
                  <a:lnTo>
                    <a:pt x="f37" y="f564"/>
                  </a:lnTo>
                  <a:lnTo>
                    <a:pt x="f6" y="f565"/>
                  </a:lnTo>
                  <a:lnTo>
                    <a:pt x="f6" y="f566"/>
                  </a:lnTo>
                  <a:lnTo>
                    <a:pt x="f37" y="f567"/>
                  </a:lnTo>
                  <a:lnTo>
                    <a:pt x="f35" y="f567"/>
                  </a:lnTo>
                  <a:lnTo>
                    <a:pt x="f41" y="f566"/>
                  </a:lnTo>
                  <a:lnTo>
                    <a:pt x="f41" y="f565"/>
                  </a:lnTo>
                  <a:close/>
                  <a:moveTo>
                    <a:pt x="f42" y="f564"/>
                  </a:moveTo>
                  <a:lnTo>
                    <a:pt x="f43" y="f564"/>
                  </a:lnTo>
                  <a:lnTo>
                    <a:pt x="f44" y="f565"/>
                  </a:lnTo>
                  <a:lnTo>
                    <a:pt x="f44" y="f566"/>
                  </a:lnTo>
                  <a:lnTo>
                    <a:pt x="f43" y="f567"/>
                  </a:lnTo>
                  <a:lnTo>
                    <a:pt x="f42" y="f567"/>
                  </a:lnTo>
                  <a:lnTo>
                    <a:pt x="f45" y="f566"/>
                  </a:lnTo>
                  <a:lnTo>
                    <a:pt x="f45" y="f565"/>
                  </a:lnTo>
                  <a:close/>
                  <a:moveTo>
                    <a:pt x="f46" y="f564"/>
                  </a:moveTo>
                  <a:lnTo>
                    <a:pt x="f47" y="f564"/>
                  </a:lnTo>
                  <a:lnTo>
                    <a:pt x="f48" y="f565"/>
                  </a:lnTo>
                  <a:lnTo>
                    <a:pt x="f48" y="f566"/>
                  </a:lnTo>
                  <a:lnTo>
                    <a:pt x="f47" y="f567"/>
                  </a:lnTo>
                  <a:lnTo>
                    <a:pt x="f46" y="f567"/>
                  </a:lnTo>
                  <a:lnTo>
                    <a:pt x="f49" y="f566"/>
                  </a:lnTo>
                  <a:lnTo>
                    <a:pt x="f49" y="f565"/>
                  </a:lnTo>
                  <a:close/>
                  <a:moveTo>
                    <a:pt x="f50" y="f564"/>
                  </a:moveTo>
                  <a:lnTo>
                    <a:pt x="f51" y="f564"/>
                  </a:lnTo>
                  <a:lnTo>
                    <a:pt x="f52" y="f565"/>
                  </a:lnTo>
                  <a:lnTo>
                    <a:pt x="f52" y="f566"/>
                  </a:lnTo>
                  <a:lnTo>
                    <a:pt x="f51" y="f567"/>
                  </a:lnTo>
                  <a:lnTo>
                    <a:pt x="f50" y="f567"/>
                  </a:lnTo>
                  <a:lnTo>
                    <a:pt x="f53" y="f566"/>
                  </a:lnTo>
                  <a:lnTo>
                    <a:pt x="f53" y="f565"/>
                  </a:lnTo>
                  <a:close/>
                  <a:moveTo>
                    <a:pt x="f54" y="f564"/>
                  </a:moveTo>
                  <a:lnTo>
                    <a:pt x="f55" y="f564"/>
                  </a:lnTo>
                  <a:lnTo>
                    <a:pt x="f56" y="f565"/>
                  </a:lnTo>
                  <a:lnTo>
                    <a:pt x="f56" y="f566"/>
                  </a:lnTo>
                  <a:lnTo>
                    <a:pt x="f55" y="f567"/>
                  </a:lnTo>
                  <a:lnTo>
                    <a:pt x="f54" y="f567"/>
                  </a:lnTo>
                  <a:lnTo>
                    <a:pt x="f57" y="f566"/>
                  </a:lnTo>
                  <a:lnTo>
                    <a:pt x="f57" y="f565"/>
                  </a:lnTo>
                  <a:close/>
                  <a:moveTo>
                    <a:pt x="f58" y="f564"/>
                  </a:moveTo>
                  <a:lnTo>
                    <a:pt x="f59" y="f564"/>
                  </a:lnTo>
                  <a:lnTo>
                    <a:pt x="f60" y="f565"/>
                  </a:lnTo>
                  <a:lnTo>
                    <a:pt x="f60" y="f566"/>
                  </a:lnTo>
                  <a:lnTo>
                    <a:pt x="f59" y="f567"/>
                  </a:lnTo>
                  <a:lnTo>
                    <a:pt x="f58" y="f567"/>
                  </a:lnTo>
                  <a:lnTo>
                    <a:pt x="f61" y="f566"/>
                  </a:lnTo>
                  <a:lnTo>
                    <a:pt x="f61" y="f565"/>
                  </a:lnTo>
                  <a:close/>
                  <a:moveTo>
                    <a:pt x="f62" y="f564"/>
                  </a:moveTo>
                  <a:lnTo>
                    <a:pt x="f63" y="f564"/>
                  </a:lnTo>
                  <a:lnTo>
                    <a:pt x="f64" y="f565"/>
                  </a:lnTo>
                  <a:lnTo>
                    <a:pt x="f64" y="f566"/>
                  </a:lnTo>
                  <a:lnTo>
                    <a:pt x="f63" y="f567"/>
                  </a:lnTo>
                  <a:lnTo>
                    <a:pt x="f62" y="f567"/>
                  </a:lnTo>
                  <a:lnTo>
                    <a:pt x="f65" y="f566"/>
                  </a:lnTo>
                  <a:lnTo>
                    <a:pt x="f65" y="f565"/>
                  </a:lnTo>
                  <a:close/>
                  <a:moveTo>
                    <a:pt x="f66" y="f564"/>
                  </a:moveTo>
                  <a:lnTo>
                    <a:pt x="f67" y="f564"/>
                  </a:lnTo>
                  <a:lnTo>
                    <a:pt x="f68" y="f565"/>
                  </a:lnTo>
                  <a:lnTo>
                    <a:pt x="f68" y="f566"/>
                  </a:lnTo>
                  <a:lnTo>
                    <a:pt x="f67" y="f567"/>
                  </a:lnTo>
                  <a:lnTo>
                    <a:pt x="f66" y="f567"/>
                  </a:lnTo>
                  <a:lnTo>
                    <a:pt x="f69" y="f566"/>
                  </a:lnTo>
                  <a:lnTo>
                    <a:pt x="f69" y="f565"/>
                  </a:lnTo>
                  <a:close/>
                  <a:moveTo>
                    <a:pt x="f70" y="f564"/>
                  </a:moveTo>
                  <a:lnTo>
                    <a:pt x="f71" y="f564"/>
                  </a:lnTo>
                  <a:lnTo>
                    <a:pt x="f72" y="f565"/>
                  </a:lnTo>
                  <a:lnTo>
                    <a:pt x="f72" y="f566"/>
                  </a:lnTo>
                  <a:lnTo>
                    <a:pt x="f71" y="f567"/>
                  </a:lnTo>
                  <a:lnTo>
                    <a:pt x="f70" y="f567"/>
                  </a:lnTo>
                  <a:lnTo>
                    <a:pt x="f73" y="f566"/>
                  </a:lnTo>
                  <a:lnTo>
                    <a:pt x="f73" y="f565"/>
                  </a:lnTo>
                  <a:close/>
                  <a:moveTo>
                    <a:pt x="f74" y="f564"/>
                  </a:moveTo>
                  <a:lnTo>
                    <a:pt x="f75" y="f564"/>
                  </a:lnTo>
                  <a:lnTo>
                    <a:pt x="f76" y="f565"/>
                  </a:lnTo>
                  <a:lnTo>
                    <a:pt x="f76" y="f566"/>
                  </a:lnTo>
                  <a:lnTo>
                    <a:pt x="f75" y="f567"/>
                  </a:lnTo>
                  <a:lnTo>
                    <a:pt x="f74" y="f567"/>
                  </a:lnTo>
                  <a:lnTo>
                    <a:pt x="f77" y="f566"/>
                  </a:lnTo>
                  <a:lnTo>
                    <a:pt x="f77" y="f565"/>
                  </a:lnTo>
                  <a:close/>
                  <a:moveTo>
                    <a:pt x="f78" y="f564"/>
                  </a:moveTo>
                  <a:lnTo>
                    <a:pt x="f79" y="f564"/>
                  </a:lnTo>
                  <a:lnTo>
                    <a:pt x="f80" y="f565"/>
                  </a:lnTo>
                  <a:lnTo>
                    <a:pt x="f80" y="f566"/>
                  </a:lnTo>
                  <a:lnTo>
                    <a:pt x="f79" y="f567"/>
                  </a:lnTo>
                  <a:lnTo>
                    <a:pt x="f78" y="f567"/>
                  </a:lnTo>
                  <a:lnTo>
                    <a:pt x="f81" y="f566"/>
                  </a:lnTo>
                  <a:lnTo>
                    <a:pt x="f81" y="f565"/>
                  </a:lnTo>
                  <a:close/>
                  <a:moveTo>
                    <a:pt x="f82" y="f564"/>
                  </a:moveTo>
                  <a:lnTo>
                    <a:pt x="f83" y="f564"/>
                  </a:lnTo>
                  <a:lnTo>
                    <a:pt x="f84" y="f565"/>
                  </a:lnTo>
                  <a:lnTo>
                    <a:pt x="f84" y="f566"/>
                  </a:lnTo>
                  <a:lnTo>
                    <a:pt x="f83" y="f567"/>
                  </a:lnTo>
                  <a:lnTo>
                    <a:pt x="f82" y="f567"/>
                  </a:lnTo>
                  <a:lnTo>
                    <a:pt x="f85" y="f566"/>
                  </a:lnTo>
                  <a:lnTo>
                    <a:pt x="f85" y="f565"/>
                  </a:lnTo>
                  <a:close/>
                  <a:moveTo>
                    <a:pt x="f86" y="f564"/>
                  </a:moveTo>
                  <a:lnTo>
                    <a:pt x="f87" y="f564"/>
                  </a:lnTo>
                  <a:lnTo>
                    <a:pt x="f88" y="f565"/>
                  </a:lnTo>
                  <a:lnTo>
                    <a:pt x="f88" y="f566"/>
                  </a:lnTo>
                  <a:lnTo>
                    <a:pt x="f87" y="f567"/>
                  </a:lnTo>
                  <a:lnTo>
                    <a:pt x="f86" y="f567"/>
                  </a:lnTo>
                  <a:lnTo>
                    <a:pt x="f89" y="f566"/>
                  </a:lnTo>
                  <a:lnTo>
                    <a:pt x="f89" y="f565"/>
                  </a:lnTo>
                  <a:close/>
                  <a:moveTo>
                    <a:pt x="f90" y="f564"/>
                  </a:moveTo>
                  <a:lnTo>
                    <a:pt x="f91" y="f564"/>
                  </a:lnTo>
                  <a:lnTo>
                    <a:pt x="f92" y="f565"/>
                  </a:lnTo>
                  <a:lnTo>
                    <a:pt x="f92" y="f566"/>
                  </a:lnTo>
                  <a:lnTo>
                    <a:pt x="f91" y="f567"/>
                  </a:lnTo>
                  <a:lnTo>
                    <a:pt x="f90" y="f567"/>
                  </a:lnTo>
                  <a:lnTo>
                    <a:pt x="f93" y="f566"/>
                  </a:lnTo>
                  <a:lnTo>
                    <a:pt x="f93" y="f565"/>
                  </a:lnTo>
                  <a:close/>
                  <a:moveTo>
                    <a:pt x="f94" y="f564"/>
                  </a:moveTo>
                  <a:lnTo>
                    <a:pt x="f95" y="f564"/>
                  </a:lnTo>
                  <a:lnTo>
                    <a:pt x="f96" y="f565"/>
                  </a:lnTo>
                  <a:lnTo>
                    <a:pt x="f96" y="f566"/>
                  </a:lnTo>
                  <a:lnTo>
                    <a:pt x="f95" y="f567"/>
                  </a:lnTo>
                  <a:lnTo>
                    <a:pt x="f94" y="f567"/>
                  </a:lnTo>
                  <a:lnTo>
                    <a:pt x="f97" y="f566"/>
                  </a:lnTo>
                  <a:lnTo>
                    <a:pt x="f97" y="f565"/>
                  </a:lnTo>
                  <a:close/>
                  <a:moveTo>
                    <a:pt x="f98" y="f564"/>
                  </a:moveTo>
                  <a:lnTo>
                    <a:pt x="f99" y="f564"/>
                  </a:lnTo>
                  <a:lnTo>
                    <a:pt x="f100" y="f565"/>
                  </a:lnTo>
                  <a:lnTo>
                    <a:pt x="f100" y="f566"/>
                  </a:lnTo>
                  <a:lnTo>
                    <a:pt x="f99" y="f567"/>
                  </a:lnTo>
                  <a:lnTo>
                    <a:pt x="f98" y="f567"/>
                  </a:lnTo>
                  <a:lnTo>
                    <a:pt x="f101" y="f566"/>
                  </a:lnTo>
                  <a:lnTo>
                    <a:pt x="f101" y="f565"/>
                  </a:lnTo>
                  <a:close/>
                  <a:moveTo>
                    <a:pt x="f102" y="f564"/>
                  </a:moveTo>
                  <a:lnTo>
                    <a:pt x="f103" y="f564"/>
                  </a:lnTo>
                  <a:lnTo>
                    <a:pt x="f104" y="f565"/>
                  </a:lnTo>
                  <a:lnTo>
                    <a:pt x="f104" y="f566"/>
                  </a:lnTo>
                  <a:lnTo>
                    <a:pt x="f103" y="f567"/>
                  </a:lnTo>
                  <a:lnTo>
                    <a:pt x="f102" y="f567"/>
                  </a:lnTo>
                  <a:lnTo>
                    <a:pt x="f105" y="f566"/>
                  </a:lnTo>
                  <a:lnTo>
                    <a:pt x="f105" y="f565"/>
                  </a:lnTo>
                  <a:close/>
                  <a:moveTo>
                    <a:pt x="f106" y="f564"/>
                  </a:moveTo>
                  <a:lnTo>
                    <a:pt x="f107" y="f564"/>
                  </a:lnTo>
                  <a:lnTo>
                    <a:pt x="f108" y="f565"/>
                  </a:lnTo>
                  <a:lnTo>
                    <a:pt x="f108" y="f566"/>
                  </a:lnTo>
                  <a:lnTo>
                    <a:pt x="f107" y="f567"/>
                  </a:lnTo>
                  <a:lnTo>
                    <a:pt x="f106" y="f567"/>
                  </a:lnTo>
                  <a:lnTo>
                    <a:pt x="f109" y="f566"/>
                  </a:lnTo>
                  <a:lnTo>
                    <a:pt x="f109" y="f565"/>
                  </a:lnTo>
                  <a:close/>
                  <a:moveTo>
                    <a:pt x="f110" y="f564"/>
                  </a:moveTo>
                  <a:lnTo>
                    <a:pt x="f111" y="f564"/>
                  </a:lnTo>
                  <a:lnTo>
                    <a:pt x="f112" y="f565"/>
                  </a:lnTo>
                  <a:lnTo>
                    <a:pt x="f112" y="f566"/>
                  </a:lnTo>
                  <a:lnTo>
                    <a:pt x="f111" y="f567"/>
                  </a:lnTo>
                  <a:lnTo>
                    <a:pt x="f110" y="f567"/>
                  </a:lnTo>
                  <a:lnTo>
                    <a:pt x="f113" y="f566"/>
                  </a:lnTo>
                  <a:lnTo>
                    <a:pt x="f113" y="f565"/>
                  </a:lnTo>
                  <a:close/>
                  <a:moveTo>
                    <a:pt x="f114" y="f564"/>
                  </a:moveTo>
                  <a:lnTo>
                    <a:pt x="f115" y="f564"/>
                  </a:lnTo>
                  <a:lnTo>
                    <a:pt x="f116" y="f565"/>
                  </a:lnTo>
                  <a:lnTo>
                    <a:pt x="f116" y="f566"/>
                  </a:lnTo>
                  <a:lnTo>
                    <a:pt x="f115" y="f567"/>
                  </a:lnTo>
                  <a:lnTo>
                    <a:pt x="f114" y="f567"/>
                  </a:lnTo>
                  <a:lnTo>
                    <a:pt x="f117" y="f566"/>
                  </a:lnTo>
                  <a:lnTo>
                    <a:pt x="f117" y="f565"/>
                  </a:lnTo>
                  <a:close/>
                  <a:moveTo>
                    <a:pt x="f118" y="f564"/>
                  </a:moveTo>
                  <a:lnTo>
                    <a:pt x="f119" y="f564"/>
                  </a:lnTo>
                  <a:lnTo>
                    <a:pt x="f120" y="f565"/>
                  </a:lnTo>
                  <a:lnTo>
                    <a:pt x="f120" y="f566"/>
                  </a:lnTo>
                  <a:lnTo>
                    <a:pt x="f119" y="f567"/>
                  </a:lnTo>
                  <a:lnTo>
                    <a:pt x="f118" y="f567"/>
                  </a:lnTo>
                  <a:lnTo>
                    <a:pt x="f121" y="f566"/>
                  </a:lnTo>
                  <a:lnTo>
                    <a:pt x="f121" y="f565"/>
                  </a:lnTo>
                  <a:close/>
                  <a:moveTo>
                    <a:pt x="f122" y="f564"/>
                  </a:moveTo>
                  <a:lnTo>
                    <a:pt x="f123" y="f564"/>
                  </a:lnTo>
                  <a:lnTo>
                    <a:pt x="f124" y="f565"/>
                  </a:lnTo>
                  <a:lnTo>
                    <a:pt x="f124" y="f566"/>
                  </a:lnTo>
                  <a:lnTo>
                    <a:pt x="f123" y="f567"/>
                  </a:lnTo>
                  <a:lnTo>
                    <a:pt x="f122" y="f567"/>
                  </a:lnTo>
                  <a:lnTo>
                    <a:pt x="f125" y="f566"/>
                  </a:lnTo>
                  <a:lnTo>
                    <a:pt x="f125" y="f565"/>
                  </a:lnTo>
                  <a:close/>
                  <a:moveTo>
                    <a:pt x="f126" y="f564"/>
                  </a:moveTo>
                  <a:lnTo>
                    <a:pt x="f127" y="f564"/>
                  </a:lnTo>
                  <a:lnTo>
                    <a:pt x="f128" y="f565"/>
                  </a:lnTo>
                  <a:lnTo>
                    <a:pt x="f128" y="f566"/>
                  </a:lnTo>
                  <a:lnTo>
                    <a:pt x="f127" y="f567"/>
                  </a:lnTo>
                  <a:lnTo>
                    <a:pt x="f126" y="f567"/>
                  </a:lnTo>
                  <a:lnTo>
                    <a:pt x="f129" y="f566"/>
                  </a:lnTo>
                  <a:lnTo>
                    <a:pt x="f129" y="f565"/>
                  </a:lnTo>
                  <a:close/>
                  <a:moveTo>
                    <a:pt x="f130" y="f564"/>
                  </a:moveTo>
                  <a:lnTo>
                    <a:pt x="f131" y="f564"/>
                  </a:lnTo>
                  <a:lnTo>
                    <a:pt x="f132" y="f565"/>
                  </a:lnTo>
                  <a:lnTo>
                    <a:pt x="f132" y="f566"/>
                  </a:lnTo>
                  <a:lnTo>
                    <a:pt x="f131" y="f567"/>
                  </a:lnTo>
                  <a:lnTo>
                    <a:pt x="f130" y="f567"/>
                  </a:lnTo>
                  <a:lnTo>
                    <a:pt x="f133" y="f566"/>
                  </a:lnTo>
                  <a:lnTo>
                    <a:pt x="f133" y="f565"/>
                  </a:lnTo>
                  <a:close/>
                  <a:moveTo>
                    <a:pt x="f134" y="f564"/>
                  </a:moveTo>
                  <a:lnTo>
                    <a:pt x="f135" y="f564"/>
                  </a:lnTo>
                  <a:lnTo>
                    <a:pt x="f136" y="f565"/>
                  </a:lnTo>
                  <a:lnTo>
                    <a:pt x="f136" y="f566"/>
                  </a:lnTo>
                  <a:lnTo>
                    <a:pt x="f135" y="f567"/>
                  </a:lnTo>
                  <a:lnTo>
                    <a:pt x="f134" y="f567"/>
                  </a:lnTo>
                  <a:lnTo>
                    <a:pt x="f137" y="f566"/>
                  </a:lnTo>
                  <a:lnTo>
                    <a:pt x="f137" y="f565"/>
                  </a:lnTo>
                  <a:close/>
                  <a:moveTo>
                    <a:pt x="f138" y="f564"/>
                  </a:moveTo>
                  <a:lnTo>
                    <a:pt x="f139" y="f564"/>
                  </a:lnTo>
                  <a:lnTo>
                    <a:pt x="f140" y="f565"/>
                  </a:lnTo>
                  <a:lnTo>
                    <a:pt x="f140" y="f566"/>
                  </a:lnTo>
                  <a:lnTo>
                    <a:pt x="f139" y="f567"/>
                  </a:lnTo>
                  <a:lnTo>
                    <a:pt x="f138" y="f567"/>
                  </a:lnTo>
                  <a:lnTo>
                    <a:pt x="f141" y="f566"/>
                  </a:lnTo>
                  <a:lnTo>
                    <a:pt x="f141" y="f565"/>
                  </a:lnTo>
                  <a:close/>
                  <a:moveTo>
                    <a:pt x="f142" y="f564"/>
                  </a:moveTo>
                  <a:lnTo>
                    <a:pt x="f143" y="f564"/>
                  </a:lnTo>
                  <a:lnTo>
                    <a:pt x="f144" y="f565"/>
                  </a:lnTo>
                  <a:lnTo>
                    <a:pt x="f144" y="f566"/>
                  </a:lnTo>
                  <a:lnTo>
                    <a:pt x="f143" y="f567"/>
                  </a:lnTo>
                  <a:lnTo>
                    <a:pt x="f142" y="f567"/>
                  </a:lnTo>
                  <a:lnTo>
                    <a:pt x="f145" y="f566"/>
                  </a:lnTo>
                  <a:lnTo>
                    <a:pt x="f145" y="f565"/>
                  </a:lnTo>
                  <a:close/>
                  <a:moveTo>
                    <a:pt x="f146" y="f564"/>
                  </a:moveTo>
                  <a:lnTo>
                    <a:pt x="f147" y="f564"/>
                  </a:lnTo>
                  <a:lnTo>
                    <a:pt x="f148" y="f565"/>
                  </a:lnTo>
                  <a:lnTo>
                    <a:pt x="f148" y="f566"/>
                  </a:lnTo>
                  <a:lnTo>
                    <a:pt x="f147" y="f567"/>
                  </a:lnTo>
                  <a:lnTo>
                    <a:pt x="f146" y="f567"/>
                  </a:lnTo>
                  <a:lnTo>
                    <a:pt x="f149" y="f566"/>
                  </a:lnTo>
                  <a:lnTo>
                    <a:pt x="f149" y="f565"/>
                  </a:lnTo>
                  <a:close/>
                  <a:moveTo>
                    <a:pt x="f150" y="f564"/>
                  </a:moveTo>
                  <a:lnTo>
                    <a:pt x="f151" y="f564"/>
                  </a:lnTo>
                  <a:lnTo>
                    <a:pt x="f152" y="f565"/>
                  </a:lnTo>
                  <a:lnTo>
                    <a:pt x="f152" y="f566"/>
                  </a:lnTo>
                  <a:lnTo>
                    <a:pt x="f151" y="f567"/>
                  </a:lnTo>
                  <a:lnTo>
                    <a:pt x="f150" y="f567"/>
                  </a:lnTo>
                  <a:lnTo>
                    <a:pt x="f153" y="f566"/>
                  </a:lnTo>
                  <a:lnTo>
                    <a:pt x="f153" y="f565"/>
                  </a:lnTo>
                  <a:close/>
                  <a:moveTo>
                    <a:pt x="f154" y="f564"/>
                  </a:moveTo>
                  <a:lnTo>
                    <a:pt x="f155" y="f564"/>
                  </a:lnTo>
                  <a:lnTo>
                    <a:pt x="f156" y="f565"/>
                  </a:lnTo>
                  <a:lnTo>
                    <a:pt x="f156" y="f566"/>
                  </a:lnTo>
                  <a:lnTo>
                    <a:pt x="f155" y="f567"/>
                  </a:lnTo>
                  <a:lnTo>
                    <a:pt x="f154" y="f567"/>
                  </a:lnTo>
                  <a:lnTo>
                    <a:pt x="f157" y="f566"/>
                  </a:lnTo>
                  <a:lnTo>
                    <a:pt x="f157" y="f565"/>
                  </a:lnTo>
                  <a:close/>
                  <a:moveTo>
                    <a:pt x="f158" y="f564"/>
                  </a:moveTo>
                  <a:lnTo>
                    <a:pt x="f159" y="f564"/>
                  </a:lnTo>
                  <a:lnTo>
                    <a:pt x="f160" y="f565"/>
                  </a:lnTo>
                  <a:lnTo>
                    <a:pt x="f160" y="f566"/>
                  </a:lnTo>
                  <a:lnTo>
                    <a:pt x="f159" y="f567"/>
                  </a:lnTo>
                  <a:lnTo>
                    <a:pt x="f158" y="f567"/>
                  </a:lnTo>
                  <a:lnTo>
                    <a:pt x="f161" y="f566"/>
                  </a:lnTo>
                  <a:lnTo>
                    <a:pt x="f161" y="f565"/>
                  </a:lnTo>
                  <a:close/>
                  <a:moveTo>
                    <a:pt x="f568" y="f564"/>
                  </a:moveTo>
                  <a:lnTo>
                    <a:pt x="f569" y="f564"/>
                  </a:lnTo>
                  <a:lnTo>
                    <a:pt x="f570" y="f565"/>
                  </a:lnTo>
                  <a:lnTo>
                    <a:pt x="f570" y="f566"/>
                  </a:lnTo>
                  <a:lnTo>
                    <a:pt x="f569" y="f567"/>
                  </a:lnTo>
                  <a:lnTo>
                    <a:pt x="f568" y="f567"/>
                  </a:lnTo>
                  <a:lnTo>
                    <a:pt x="f540" y="f566"/>
                  </a:lnTo>
                  <a:lnTo>
                    <a:pt x="f540" y="f565"/>
                  </a:lnTo>
                  <a:close/>
                  <a:moveTo>
                    <a:pt x="f571" y="f564"/>
                  </a:moveTo>
                  <a:lnTo>
                    <a:pt x="f572" y="f564"/>
                  </a:lnTo>
                  <a:lnTo>
                    <a:pt x="f573" y="f565"/>
                  </a:lnTo>
                  <a:lnTo>
                    <a:pt x="f573" y="f566"/>
                  </a:lnTo>
                  <a:lnTo>
                    <a:pt x="f572" y="f567"/>
                  </a:lnTo>
                  <a:lnTo>
                    <a:pt x="f571" y="f567"/>
                  </a:lnTo>
                  <a:lnTo>
                    <a:pt x="f574" y="f566"/>
                  </a:lnTo>
                  <a:lnTo>
                    <a:pt x="f574" y="f565"/>
                  </a:lnTo>
                  <a:close/>
                  <a:moveTo>
                    <a:pt x="f575" y="f564"/>
                  </a:moveTo>
                  <a:lnTo>
                    <a:pt x="f543" y="f564"/>
                  </a:lnTo>
                  <a:lnTo>
                    <a:pt x="f544" y="f565"/>
                  </a:lnTo>
                  <a:lnTo>
                    <a:pt x="f544" y="f566"/>
                  </a:lnTo>
                  <a:lnTo>
                    <a:pt x="f543" y="f567"/>
                  </a:lnTo>
                  <a:lnTo>
                    <a:pt x="f575" y="f567"/>
                  </a:lnTo>
                  <a:lnTo>
                    <a:pt x="f576" y="f566"/>
                  </a:lnTo>
                  <a:lnTo>
                    <a:pt x="f576" y="f565"/>
                  </a:lnTo>
                  <a:close/>
                  <a:moveTo>
                    <a:pt x="f546" y="f564"/>
                  </a:moveTo>
                  <a:lnTo>
                    <a:pt x="f577" y="f564"/>
                  </a:lnTo>
                  <a:lnTo>
                    <a:pt x="f578" y="f565"/>
                  </a:lnTo>
                  <a:lnTo>
                    <a:pt x="f578" y="f566"/>
                  </a:lnTo>
                  <a:lnTo>
                    <a:pt x="f577" y="f567"/>
                  </a:lnTo>
                  <a:lnTo>
                    <a:pt x="f546" y="f567"/>
                  </a:lnTo>
                  <a:lnTo>
                    <a:pt x="f579" y="f566"/>
                  </a:lnTo>
                  <a:lnTo>
                    <a:pt x="f579" y="f565"/>
                  </a:lnTo>
                  <a:close/>
                  <a:moveTo>
                    <a:pt x="f464" y="f580"/>
                  </a:moveTo>
                  <a:lnTo>
                    <a:pt x="f581" y="f580"/>
                  </a:lnTo>
                  <a:lnTo>
                    <a:pt x="f549" y="f582"/>
                  </a:lnTo>
                  <a:lnTo>
                    <a:pt x="f549" y="f583"/>
                  </a:lnTo>
                  <a:lnTo>
                    <a:pt x="f581" y="f584"/>
                  </a:lnTo>
                  <a:lnTo>
                    <a:pt x="f464" y="f584"/>
                  </a:lnTo>
                  <a:lnTo>
                    <a:pt x="f527" y="f583"/>
                  </a:lnTo>
                  <a:lnTo>
                    <a:pt x="f527" y="f582"/>
                  </a:lnTo>
                  <a:close/>
                  <a:moveTo>
                    <a:pt x="f553" y="f580"/>
                  </a:moveTo>
                  <a:lnTo>
                    <a:pt x="f528" y="f580"/>
                  </a:lnTo>
                  <a:lnTo>
                    <a:pt x="f499" y="f582"/>
                  </a:lnTo>
                  <a:lnTo>
                    <a:pt x="f499" y="f583"/>
                  </a:lnTo>
                  <a:lnTo>
                    <a:pt x="f528" y="f584"/>
                  </a:lnTo>
                  <a:lnTo>
                    <a:pt x="f553" y="f584"/>
                  </a:lnTo>
                  <a:lnTo>
                    <a:pt x="f470" y="f583"/>
                  </a:lnTo>
                  <a:lnTo>
                    <a:pt x="f470" y="f582"/>
                  </a:lnTo>
                  <a:close/>
                  <a:moveTo>
                    <a:pt x="f554" y="f580"/>
                  </a:moveTo>
                  <a:lnTo>
                    <a:pt x="f555" y="f580"/>
                  </a:lnTo>
                  <a:lnTo>
                    <a:pt x="f585" y="f582"/>
                  </a:lnTo>
                  <a:lnTo>
                    <a:pt x="f585" y="f583"/>
                  </a:lnTo>
                  <a:lnTo>
                    <a:pt x="f555" y="f584"/>
                  </a:lnTo>
                  <a:lnTo>
                    <a:pt x="f554" y="f584"/>
                  </a:lnTo>
                  <a:lnTo>
                    <a:pt x="f586" y="f583"/>
                  </a:lnTo>
                  <a:lnTo>
                    <a:pt x="f586" y="f582"/>
                  </a:lnTo>
                  <a:close/>
                  <a:moveTo>
                    <a:pt x="f557" y="f580"/>
                  </a:moveTo>
                  <a:lnTo>
                    <a:pt x="f558" y="f580"/>
                  </a:lnTo>
                  <a:lnTo>
                    <a:pt x="f587" y="f582"/>
                  </a:lnTo>
                  <a:lnTo>
                    <a:pt x="f587" y="f583"/>
                  </a:lnTo>
                  <a:lnTo>
                    <a:pt x="f558" y="f584"/>
                  </a:lnTo>
                  <a:lnTo>
                    <a:pt x="f557" y="f584"/>
                  </a:lnTo>
                  <a:lnTo>
                    <a:pt x="f588" y="f583"/>
                  </a:lnTo>
                  <a:lnTo>
                    <a:pt x="f588" y="f582"/>
                  </a:lnTo>
                  <a:close/>
                  <a:moveTo>
                    <a:pt x="f589" y="f580"/>
                  </a:moveTo>
                  <a:lnTo>
                    <a:pt x="f559" y="f580"/>
                  </a:lnTo>
                  <a:lnTo>
                    <a:pt x="f590" y="f582"/>
                  </a:lnTo>
                  <a:lnTo>
                    <a:pt x="f590" y="f583"/>
                  </a:lnTo>
                  <a:lnTo>
                    <a:pt x="f559" y="f584"/>
                  </a:lnTo>
                  <a:lnTo>
                    <a:pt x="f589" y="f584"/>
                  </a:lnTo>
                  <a:lnTo>
                    <a:pt x="f560" y="f583"/>
                  </a:lnTo>
                  <a:lnTo>
                    <a:pt x="f560" y="f582"/>
                  </a:lnTo>
                  <a:close/>
                  <a:moveTo>
                    <a:pt x="f591" y="f580"/>
                  </a:moveTo>
                  <a:lnTo>
                    <a:pt x="f592" y="f580"/>
                  </a:lnTo>
                  <a:lnTo>
                    <a:pt x="f562" y="f582"/>
                  </a:lnTo>
                  <a:lnTo>
                    <a:pt x="f562" y="f583"/>
                  </a:lnTo>
                  <a:lnTo>
                    <a:pt x="f592" y="f584"/>
                  </a:lnTo>
                  <a:lnTo>
                    <a:pt x="f591" y="f584"/>
                  </a:lnTo>
                  <a:lnTo>
                    <a:pt x="f563" y="f583"/>
                  </a:lnTo>
                  <a:lnTo>
                    <a:pt x="f563" y="f582"/>
                  </a:lnTo>
                  <a:close/>
                  <a:moveTo>
                    <a:pt x="f35" y="f593"/>
                  </a:moveTo>
                  <a:lnTo>
                    <a:pt x="f37" y="f593"/>
                  </a:lnTo>
                  <a:lnTo>
                    <a:pt x="f6" y="f594"/>
                  </a:lnTo>
                  <a:lnTo>
                    <a:pt x="f6" y="f595"/>
                  </a:lnTo>
                  <a:lnTo>
                    <a:pt x="f37" y="f596"/>
                  </a:lnTo>
                  <a:lnTo>
                    <a:pt x="f35" y="f596"/>
                  </a:lnTo>
                  <a:lnTo>
                    <a:pt x="f41" y="f595"/>
                  </a:lnTo>
                  <a:lnTo>
                    <a:pt x="f41" y="f594"/>
                  </a:lnTo>
                  <a:close/>
                  <a:moveTo>
                    <a:pt x="f42" y="f593"/>
                  </a:moveTo>
                  <a:lnTo>
                    <a:pt x="f43" y="f593"/>
                  </a:lnTo>
                  <a:lnTo>
                    <a:pt x="f44" y="f594"/>
                  </a:lnTo>
                  <a:lnTo>
                    <a:pt x="f44" y="f595"/>
                  </a:lnTo>
                  <a:lnTo>
                    <a:pt x="f43" y="f596"/>
                  </a:lnTo>
                  <a:lnTo>
                    <a:pt x="f42" y="f596"/>
                  </a:lnTo>
                  <a:lnTo>
                    <a:pt x="f45" y="f595"/>
                  </a:lnTo>
                  <a:lnTo>
                    <a:pt x="f45" y="f594"/>
                  </a:lnTo>
                  <a:close/>
                  <a:moveTo>
                    <a:pt x="f46" y="f593"/>
                  </a:moveTo>
                  <a:lnTo>
                    <a:pt x="f47" y="f593"/>
                  </a:lnTo>
                  <a:lnTo>
                    <a:pt x="f48" y="f594"/>
                  </a:lnTo>
                  <a:lnTo>
                    <a:pt x="f48" y="f595"/>
                  </a:lnTo>
                  <a:lnTo>
                    <a:pt x="f47" y="f596"/>
                  </a:lnTo>
                  <a:lnTo>
                    <a:pt x="f46" y="f596"/>
                  </a:lnTo>
                  <a:lnTo>
                    <a:pt x="f49" y="f595"/>
                  </a:lnTo>
                  <a:lnTo>
                    <a:pt x="f49" y="f594"/>
                  </a:lnTo>
                  <a:close/>
                  <a:moveTo>
                    <a:pt x="f50" y="f593"/>
                  </a:moveTo>
                  <a:lnTo>
                    <a:pt x="f51" y="f593"/>
                  </a:lnTo>
                  <a:lnTo>
                    <a:pt x="f52" y="f594"/>
                  </a:lnTo>
                  <a:lnTo>
                    <a:pt x="f52" y="f595"/>
                  </a:lnTo>
                  <a:lnTo>
                    <a:pt x="f51" y="f596"/>
                  </a:lnTo>
                  <a:lnTo>
                    <a:pt x="f50" y="f596"/>
                  </a:lnTo>
                  <a:lnTo>
                    <a:pt x="f53" y="f595"/>
                  </a:lnTo>
                  <a:lnTo>
                    <a:pt x="f53" y="f594"/>
                  </a:lnTo>
                  <a:close/>
                  <a:moveTo>
                    <a:pt x="f54" y="f593"/>
                  </a:moveTo>
                  <a:lnTo>
                    <a:pt x="f55" y="f593"/>
                  </a:lnTo>
                  <a:lnTo>
                    <a:pt x="f56" y="f594"/>
                  </a:lnTo>
                  <a:lnTo>
                    <a:pt x="f56" y="f595"/>
                  </a:lnTo>
                  <a:lnTo>
                    <a:pt x="f55" y="f596"/>
                  </a:lnTo>
                  <a:lnTo>
                    <a:pt x="f54" y="f596"/>
                  </a:lnTo>
                  <a:lnTo>
                    <a:pt x="f57" y="f595"/>
                  </a:lnTo>
                  <a:lnTo>
                    <a:pt x="f57" y="f594"/>
                  </a:lnTo>
                  <a:close/>
                  <a:moveTo>
                    <a:pt x="f58" y="f593"/>
                  </a:moveTo>
                  <a:lnTo>
                    <a:pt x="f59" y="f593"/>
                  </a:lnTo>
                  <a:lnTo>
                    <a:pt x="f60" y="f594"/>
                  </a:lnTo>
                  <a:lnTo>
                    <a:pt x="f60" y="f595"/>
                  </a:lnTo>
                  <a:lnTo>
                    <a:pt x="f59" y="f596"/>
                  </a:lnTo>
                  <a:lnTo>
                    <a:pt x="f58" y="f596"/>
                  </a:lnTo>
                  <a:lnTo>
                    <a:pt x="f61" y="f595"/>
                  </a:lnTo>
                  <a:lnTo>
                    <a:pt x="f61" y="f594"/>
                  </a:lnTo>
                  <a:close/>
                  <a:moveTo>
                    <a:pt x="f62" y="f593"/>
                  </a:moveTo>
                  <a:lnTo>
                    <a:pt x="f63" y="f593"/>
                  </a:lnTo>
                  <a:lnTo>
                    <a:pt x="f64" y="f594"/>
                  </a:lnTo>
                  <a:lnTo>
                    <a:pt x="f64" y="f595"/>
                  </a:lnTo>
                  <a:lnTo>
                    <a:pt x="f63" y="f596"/>
                  </a:lnTo>
                  <a:lnTo>
                    <a:pt x="f62" y="f596"/>
                  </a:lnTo>
                  <a:lnTo>
                    <a:pt x="f65" y="f595"/>
                  </a:lnTo>
                  <a:lnTo>
                    <a:pt x="f65" y="f594"/>
                  </a:lnTo>
                  <a:close/>
                  <a:moveTo>
                    <a:pt x="f66" y="f593"/>
                  </a:moveTo>
                  <a:lnTo>
                    <a:pt x="f67" y="f593"/>
                  </a:lnTo>
                  <a:lnTo>
                    <a:pt x="f68" y="f594"/>
                  </a:lnTo>
                  <a:lnTo>
                    <a:pt x="f68" y="f595"/>
                  </a:lnTo>
                  <a:lnTo>
                    <a:pt x="f67" y="f596"/>
                  </a:lnTo>
                  <a:lnTo>
                    <a:pt x="f66" y="f596"/>
                  </a:lnTo>
                  <a:lnTo>
                    <a:pt x="f69" y="f595"/>
                  </a:lnTo>
                  <a:lnTo>
                    <a:pt x="f69" y="f594"/>
                  </a:lnTo>
                  <a:close/>
                  <a:moveTo>
                    <a:pt x="f70" y="f593"/>
                  </a:moveTo>
                  <a:lnTo>
                    <a:pt x="f71" y="f593"/>
                  </a:lnTo>
                  <a:lnTo>
                    <a:pt x="f72" y="f594"/>
                  </a:lnTo>
                  <a:lnTo>
                    <a:pt x="f72" y="f595"/>
                  </a:lnTo>
                  <a:lnTo>
                    <a:pt x="f71" y="f596"/>
                  </a:lnTo>
                  <a:lnTo>
                    <a:pt x="f70" y="f596"/>
                  </a:lnTo>
                  <a:lnTo>
                    <a:pt x="f73" y="f595"/>
                  </a:lnTo>
                  <a:lnTo>
                    <a:pt x="f73" y="f594"/>
                  </a:lnTo>
                  <a:close/>
                  <a:moveTo>
                    <a:pt x="f74" y="f593"/>
                  </a:moveTo>
                  <a:lnTo>
                    <a:pt x="f75" y="f593"/>
                  </a:lnTo>
                  <a:lnTo>
                    <a:pt x="f76" y="f594"/>
                  </a:lnTo>
                  <a:lnTo>
                    <a:pt x="f76" y="f595"/>
                  </a:lnTo>
                  <a:lnTo>
                    <a:pt x="f75" y="f596"/>
                  </a:lnTo>
                  <a:lnTo>
                    <a:pt x="f74" y="f596"/>
                  </a:lnTo>
                  <a:lnTo>
                    <a:pt x="f77" y="f595"/>
                  </a:lnTo>
                  <a:lnTo>
                    <a:pt x="f77" y="f594"/>
                  </a:lnTo>
                  <a:close/>
                  <a:moveTo>
                    <a:pt x="f78" y="f593"/>
                  </a:moveTo>
                  <a:lnTo>
                    <a:pt x="f79" y="f593"/>
                  </a:lnTo>
                  <a:lnTo>
                    <a:pt x="f80" y="f594"/>
                  </a:lnTo>
                  <a:lnTo>
                    <a:pt x="f80" y="f595"/>
                  </a:lnTo>
                  <a:lnTo>
                    <a:pt x="f79" y="f596"/>
                  </a:lnTo>
                  <a:lnTo>
                    <a:pt x="f78" y="f596"/>
                  </a:lnTo>
                  <a:lnTo>
                    <a:pt x="f81" y="f595"/>
                  </a:lnTo>
                  <a:lnTo>
                    <a:pt x="f81" y="f594"/>
                  </a:lnTo>
                  <a:close/>
                  <a:moveTo>
                    <a:pt x="f82" y="f593"/>
                  </a:moveTo>
                  <a:lnTo>
                    <a:pt x="f83" y="f593"/>
                  </a:lnTo>
                  <a:lnTo>
                    <a:pt x="f84" y="f594"/>
                  </a:lnTo>
                  <a:lnTo>
                    <a:pt x="f84" y="f595"/>
                  </a:lnTo>
                  <a:lnTo>
                    <a:pt x="f83" y="f596"/>
                  </a:lnTo>
                  <a:lnTo>
                    <a:pt x="f82" y="f596"/>
                  </a:lnTo>
                  <a:lnTo>
                    <a:pt x="f85" y="f595"/>
                  </a:lnTo>
                  <a:lnTo>
                    <a:pt x="f85" y="f594"/>
                  </a:lnTo>
                  <a:close/>
                  <a:moveTo>
                    <a:pt x="f86" y="f593"/>
                  </a:moveTo>
                  <a:lnTo>
                    <a:pt x="f87" y="f593"/>
                  </a:lnTo>
                  <a:lnTo>
                    <a:pt x="f88" y="f594"/>
                  </a:lnTo>
                  <a:lnTo>
                    <a:pt x="f88" y="f595"/>
                  </a:lnTo>
                  <a:lnTo>
                    <a:pt x="f87" y="f596"/>
                  </a:lnTo>
                  <a:lnTo>
                    <a:pt x="f86" y="f596"/>
                  </a:lnTo>
                  <a:lnTo>
                    <a:pt x="f89" y="f595"/>
                  </a:lnTo>
                  <a:lnTo>
                    <a:pt x="f89" y="f594"/>
                  </a:lnTo>
                  <a:close/>
                  <a:moveTo>
                    <a:pt x="f90" y="f593"/>
                  </a:moveTo>
                  <a:lnTo>
                    <a:pt x="f91" y="f593"/>
                  </a:lnTo>
                  <a:lnTo>
                    <a:pt x="f92" y="f594"/>
                  </a:lnTo>
                  <a:lnTo>
                    <a:pt x="f92" y="f595"/>
                  </a:lnTo>
                  <a:lnTo>
                    <a:pt x="f91" y="f596"/>
                  </a:lnTo>
                  <a:lnTo>
                    <a:pt x="f90" y="f596"/>
                  </a:lnTo>
                  <a:lnTo>
                    <a:pt x="f93" y="f595"/>
                  </a:lnTo>
                  <a:lnTo>
                    <a:pt x="f93" y="f594"/>
                  </a:lnTo>
                  <a:close/>
                  <a:moveTo>
                    <a:pt x="f94" y="f593"/>
                  </a:moveTo>
                  <a:lnTo>
                    <a:pt x="f95" y="f593"/>
                  </a:lnTo>
                  <a:lnTo>
                    <a:pt x="f96" y="f594"/>
                  </a:lnTo>
                  <a:lnTo>
                    <a:pt x="f96" y="f595"/>
                  </a:lnTo>
                  <a:lnTo>
                    <a:pt x="f95" y="f596"/>
                  </a:lnTo>
                  <a:lnTo>
                    <a:pt x="f94" y="f596"/>
                  </a:lnTo>
                  <a:lnTo>
                    <a:pt x="f97" y="f595"/>
                  </a:lnTo>
                  <a:lnTo>
                    <a:pt x="f97" y="f594"/>
                  </a:lnTo>
                  <a:close/>
                  <a:moveTo>
                    <a:pt x="f98" y="f593"/>
                  </a:moveTo>
                  <a:lnTo>
                    <a:pt x="f99" y="f593"/>
                  </a:lnTo>
                  <a:lnTo>
                    <a:pt x="f100" y="f594"/>
                  </a:lnTo>
                  <a:lnTo>
                    <a:pt x="f100" y="f595"/>
                  </a:lnTo>
                  <a:lnTo>
                    <a:pt x="f99" y="f596"/>
                  </a:lnTo>
                  <a:lnTo>
                    <a:pt x="f98" y="f596"/>
                  </a:lnTo>
                  <a:lnTo>
                    <a:pt x="f101" y="f595"/>
                  </a:lnTo>
                  <a:lnTo>
                    <a:pt x="f101" y="f594"/>
                  </a:lnTo>
                  <a:close/>
                  <a:moveTo>
                    <a:pt x="f102" y="f593"/>
                  </a:moveTo>
                  <a:lnTo>
                    <a:pt x="f103" y="f593"/>
                  </a:lnTo>
                  <a:lnTo>
                    <a:pt x="f104" y="f594"/>
                  </a:lnTo>
                  <a:lnTo>
                    <a:pt x="f104" y="f595"/>
                  </a:lnTo>
                  <a:lnTo>
                    <a:pt x="f103" y="f596"/>
                  </a:lnTo>
                  <a:lnTo>
                    <a:pt x="f102" y="f596"/>
                  </a:lnTo>
                  <a:lnTo>
                    <a:pt x="f105" y="f595"/>
                  </a:lnTo>
                  <a:lnTo>
                    <a:pt x="f105" y="f594"/>
                  </a:lnTo>
                  <a:close/>
                  <a:moveTo>
                    <a:pt x="f106" y="f593"/>
                  </a:moveTo>
                  <a:lnTo>
                    <a:pt x="f107" y="f593"/>
                  </a:lnTo>
                  <a:lnTo>
                    <a:pt x="f108" y="f594"/>
                  </a:lnTo>
                  <a:lnTo>
                    <a:pt x="f108" y="f595"/>
                  </a:lnTo>
                  <a:lnTo>
                    <a:pt x="f107" y="f596"/>
                  </a:lnTo>
                  <a:lnTo>
                    <a:pt x="f106" y="f596"/>
                  </a:lnTo>
                  <a:lnTo>
                    <a:pt x="f109" y="f595"/>
                  </a:lnTo>
                  <a:lnTo>
                    <a:pt x="f109" y="f594"/>
                  </a:lnTo>
                  <a:close/>
                  <a:moveTo>
                    <a:pt x="f110" y="f593"/>
                  </a:moveTo>
                  <a:lnTo>
                    <a:pt x="f111" y="f593"/>
                  </a:lnTo>
                  <a:lnTo>
                    <a:pt x="f112" y="f594"/>
                  </a:lnTo>
                  <a:lnTo>
                    <a:pt x="f112" y="f595"/>
                  </a:lnTo>
                  <a:lnTo>
                    <a:pt x="f111" y="f596"/>
                  </a:lnTo>
                  <a:lnTo>
                    <a:pt x="f110" y="f596"/>
                  </a:lnTo>
                  <a:lnTo>
                    <a:pt x="f113" y="f595"/>
                  </a:lnTo>
                  <a:lnTo>
                    <a:pt x="f113" y="f594"/>
                  </a:lnTo>
                  <a:close/>
                  <a:moveTo>
                    <a:pt x="f114" y="f593"/>
                  </a:moveTo>
                  <a:lnTo>
                    <a:pt x="f115" y="f593"/>
                  </a:lnTo>
                  <a:lnTo>
                    <a:pt x="f116" y="f594"/>
                  </a:lnTo>
                  <a:lnTo>
                    <a:pt x="f116" y="f595"/>
                  </a:lnTo>
                  <a:lnTo>
                    <a:pt x="f115" y="f596"/>
                  </a:lnTo>
                  <a:lnTo>
                    <a:pt x="f114" y="f596"/>
                  </a:lnTo>
                  <a:lnTo>
                    <a:pt x="f117" y="f595"/>
                  </a:lnTo>
                  <a:lnTo>
                    <a:pt x="f117" y="f594"/>
                  </a:lnTo>
                  <a:close/>
                  <a:moveTo>
                    <a:pt x="f118" y="f593"/>
                  </a:moveTo>
                  <a:lnTo>
                    <a:pt x="f119" y="f593"/>
                  </a:lnTo>
                  <a:lnTo>
                    <a:pt x="f120" y="f594"/>
                  </a:lnTo>
                  <a:lnTo>
                    <a:pt x="f120" y="f595"/>
                  </a:lnTo>
                  <a:lnTo>
                    <a:pt x="f119" y="f596"/>
                  </a:lnTo>
                  <a:lnTo>
                    <a:pt x="f118" y="f596"/>
                  </a:lnTo>
                  <a:lnTo>
                    <a:pt x="f121" y="f595"/>
                  </a:lnTo>
                  <a:lnTo>
                    <a:pt x="f121" y="f594"/>
                  </a:lnTo>
                  <a:close/>
                  <a:moveTo>
                    <a:pt x="f122" y="f593"/>
                  </a:moveTo>
                  <a:lnTo>
                    <a:pt x="f123" y="f593"/>
                  </a:lnTo>
                  <a:lnTo>
                    <a:pt x="f124" y="f594"/>
                  </a:lnTo>
                  <a:lnTo>
                    <a:pt x="f124" y="f595"/>
                  </a:lnTo>
                  <a:lnTo>
                    <a:pt x="f123" y="f596"/>
                  </a:lnTo>
                  <a:lnTo>
                    <a:pt x="f122" y="f596"/>
                  </a:lnTo>
                  <a:lnTo>
                    <a:pt x="f125" y="f595"/>
                  </a:lnTo>
                  <a:lnTo>
                    <a:pt x="f125" y="f594"/>
                  </a:lnTo>
                  <a:close/>
                  <a:moveTo>
                    <a:pt x="f126" y="f593"/>
                  </a:moveTo>
                  <a:lnTo>
                    <a:pt x="f127" y="f593"/>
                  </a:lnTo>
                  <a:lnTo>
                    <a:pt x="f128" y="f594"/>
                  </a:lnTo>
                  <a:lnTo>
                    <a:pt x="f128" y="f595"/>
                  </a:lnTo>
                  <a:lnTo>
                    <a:pt x="f127" y="f596"/>
                  </a:lnTo>
                  <a:lnTo>
                    <a:pt x="f126" y="f596"/>
                  </a:lnTo>
                  <a:lnTo>
                    <a:pt x="f129" y="f595"/>
                  </a:lnTo>
                  <a:lnTo>
                    <a:pt x="f129" y="f594"/>
                  </a:lnTo>
                  <a:close/>
                  <a:moveTo>
                    <a:pt x="f130" y="f593"/>
                  </a:moveTo>
                  <a:lnTo>
                    <a:pt x="f131" y="f593"/>
                  </a:lnTo>
                  <a:lnTo>
                    <a:pt x="f132" y="f594"/>
                  </a:lnTo>
                  <a:lnTo>
                    <a:pt x="f132" y="f595"/>
                  </a:lnTo>
                  <a:lnTo>
                    <a:pt x="f131" y="f596"/>
                  </a:lnTo>
                  <a:lnTo>
                    <a:pt x="f130" y="f596"/>
                  </a:lnTo>
                  <a:lnTo>
                    <a:pt x="f133" y="f595"/>
                  </a:lnTo>
                  <a:lnTo>
                    <a:pt x="f133" y="f594"/>
                  </a:lnTo>
                  <a:close/>
                  <a:moveTo>
                    <a:pt x="f134" y="f593"/>
                  </a:moveTo>
                  <a:lnTo>
                    <a:pt x="f135" y="f593"/>
                  </a:lnTo>
                  <a:lnTo>
                    <a:pt x="f136" y="f594"/>
                  </a:lnTo>
                  <a:lnTo>
                    <a:pt x="f136" y="f595"/>
                  </a:lnTo>
                  <a:lnTo>
                    <a:pt x="f135" y="f596"/>
                  </a:lnTo>
                  <a:lnTo>
                    <a:pt x="f134" y="f596"/>
                  </a:lnTo>
                  <a:lnTo>
                    <a:pt x="f137" y="f595"/>
                  </a:lnTo>
                  <a:lnTo>
                    <a:pt x="f137" y="f594"/>
                  </a:lnTo>
                  <a:close/>
                  <a:moveTo>
                    <a:pt x="f138" y="f593"/>
                  </a:moveTo>
                  <a:lnTo>
                    <a:pt x="f139" y="f593"/>
                  </a:lnTo>
                  <a:lnTo>
                    <a:pt x="f140" y="f594"/>
                  </a:lnTo>
                  <a:lnTo>
                    <a:pt x="f140" y="f595"/>
                  </a:lnTo>
                  <a:lnTo>
                    <a:pt x="f139" y="f596"/>
                  </a:lnTo>
                  <a:lnTo>
                    <a:pt x="f138" y="f596"/>
                  </a:lnTo>
                  <a:lnTo>
                    <a:pt x="f141" y="f595"/>
                  </a:lnTo>
                  <a:lnTo>
                    <a:pt x="f141" y="f594"/>
                  </a:lnTo>
                  <a:close/>
                  <a:moveTo>
                    <a:pt x="f142" y="f593"/>
                  </a:moveTo>
                  <a:lnTo>
                    <a:pt x="f143" y="f593"/>
                  </a:lnTo>
                  <a:lnTo>
                    <a:pt x="f144" y="f594"/>
                  </a:lnTo>
                  <a:lnTo>
                    <a:pt x="f144" y="f595"/>
                  </a:lnTo>
                  <a:lnTo>
                    <a:pt x="f143" y="f596"/>
                  </a:lnTo>
                  <a:lnTo>
                    <a:pt x="f142" y="f596"/>
                  </a:lnTo>
                  <a:lnTo>
                    <a:pt x="f145" y="f595"/>
                  </a:lnTo>
                  <a:lnTo>
                    <a:pt x="f145" y="f594"/>
                  </a:lnTo>
                  <a:close/>
                  <a:moveTo>
                    <a:pt x="f146" y="f593"/>
                  </a:moveTo>
                  <a:lnTo>
                    <a:pt x="f147" y="f593"/>
                  </a:lnTo>
                  <a:lnTo>
                    <a:pt x="f148" y="f594"/>
                  </a:lnTo>
                  <a:lnTo>
                    <a:pt x="f148" y="f595"/>
                  </a:lnTo>
                  <a:lnTo>
                    <a:pt x="f147" y="f596"/>
                  </a:lnTo>
                  <a:lnTo>
                    <a:pt x="f146" y="f596"/>
                  </a:lnTo>
                  <a:lnTo>
                    <a:pt x="f149" y="f595"/>
                  </a:lnTo>
                  <a:lnTo>
                    <a:pt x="f149" y="f594"/>
                  </a:lnTo>
                  <a:close/>
                  <a:moveTo>
                    <a:pt x="f150" y="f593"/>
                  </a:moveTo>
                  <a:lnTo>
                    <a:pt x="f151" y="f593"/>
                  </a:lnTo>
                  <a:lnTo>
                    <a:pt x="f152" y="f594"/>
                  </a:lnTo>
                  <a:lnTo>
                    <a:pt x="f152" y="f595"/>
                  </a:lnTo>
                  <a:lnTo>
                    <a:pt x="f151" y="f596"/>
                  </a:lnTo>
                  <a:lnTo>
                    <a:pt x="f150" y="f596"/>
                  </a:lnTo>
                  <a:lnTo>
                    <a:pt x="f153" y="f595"/>
                  </a:lnTo>
                  <a:lnTo>
                    <a:pt x="f153" y="f594"/>
                  </a:lnTo>
                  <a:close/>
                  <a:moveTo>
                    <a:pt x="f154" y="f593"/>
                  </a:moveTo>
                  <a:lnTo>
                    <a:pt x="f155" y="f593"/>
                  </a:lnTo>
                  <a:lnTo>
                    <a:pt x="f156" y="f594"/>
                  </a:lnTo>
                  <a:lnTo>
                    <a:pt x="f156" y="f595"/>
                  </a:lnTo>
                  <a:lnTo>
                    <a:pt x="f155" y="f596"/>
                  </a:lnTo>
                  <a:lnTo>
                    <a:pt x="f154" y="f596"/>
                  </a:lnTo>
                  <a:lnTo>
                    <a:pt x="f157" y="f595"/>
                  </a:lnTo>
                  <a:lnTo>
                    <a:pt x="f157" y="f594"/>
                  </a:lnTo>
                  <a:close/>
                  <a:moveTo>
                    <a:pt x="f158" y="f593"/>
                  </a:moveTo>
                  <a:lnTo>
                    <a:pt x="f159" y="f593"/>
                  </a:lnTo>
                  <a:lnTo>
                    <a:pt x="f160" y="f594"/>
                  </a:lnTo>
                  <a:lnTo>
                    <a:pt x="f160" y="f595"/>
                  </a:lnTo>
                  <a:lnTo>
                    <a:pt x="f159" y="f596"/>
                  </a:lnTo>
                  <a:lnTo>
                    <a:pt x="f158" y="f596"/>
                  </a:lnTo>
                  <a:lnTo>
                    <a:pt x="f161" y="f595"/>
                  </a:lnTo>
                  <a:lnTo>
                    <a:pt x="f161" y="f594"/>
                  </a:lnTo>
                  <a:close/>
                  <a:moveTo>
                    <a:pt x="f597" y="f593"/>
                  </a:moveTo>
                  <a:lnTo>
                    <a:pt x="f598" y="f593"/>
                  </a:lnTo>
                  <a:lnTo>
                    <a:pt x="f599" y="f594"/>
                  </a:lnTo>
                  <a:lnTo>
                    <a:pt x="f599" y="f595"/>
                  </a:lnTo>
                  <a:lnTo>
                    <a:pt x="f598" y="f596"/>
                  </a:lnTo>
                  <a:lnTo>
                    <a:pt x="f597" y="f596"/>
                  </a:lnTo>
                  <a:lnTo>
                    <a:pt x="f600" y="f595"/>
                  </a:lnTo>
                  <a:lnTo>
                    <a:pt x="f600" y="f594"/>
                  </a:lnTo>
                  <a:close/>
                  <a:moveTo>
                    <a:pt x="f571" y="f593"/>
                  </a:moveTo>
                  <a:lnTo>
                    <a:pt x="f601" y="f593"/>
                  </a:lnTo>
                  <a:lnTo>
                    <a:pt x="f602" y="f594"/>
                  </a:lnTo>
                  <a:lnTo>
                    <a:pt x="f602" y="f595"/>
                  </a:lnTo>
                  <a:lnTo>
                    <a:pt x="f601" y="f596"/>
                  </a:lnTo>
                  <a:lnTo>
                    <a:pt x="f571" y="f596"/>
                  </a:lnTo>
                  <a:lnTo>
                    <a:pt x="f574" y="f595"/>
                  </a:lnTo>
                  <a:lnTo>
                    <a:pt x="f574" y="f594"/>
                  </a:lnTo>
                  <a:close/>
                  <a:moveTo>
                    <a:pt x="f603" y="f593"/>
                  </a:moveTo>
                  <a:lnTo>
                    <a:pt x="f604" y="f593"/>
                  </a:lnTo>
                  <a:lnTo>
                    <a:pt x="f605" y="f594"/>
                  </a:lnTo>
                  <a:lnTo>
                    <a:pt x="f605" y="f595"/>
                  </a:lnTo>
                  <a:lnTo>
                    <a:pt x="f604" y="f596"/>
                  </a:lnTo>
                  <a:lnTo>
                    <a:pt x="f603" y="f596"/>
                  </a:lnTo>
                  <a:lnTo>
                    <a:pt x="f606" y="f595"/>
                  </a:lnTo>
                  <a:lnTo>
                    <a:pt x="f606" y="f594"/>
                  </a:lnTo>
                  <a:close/>
                  <a:moveTo>
                    <a:pt x="f607" y="f593"/>
                  </a:moveTo>
                  <a:lnTo>
                    <a:pt x="f608" y="f593"/>
                  </a:lnTo>
                  <a:lnTo>
                    <a:pt x="f578" y="f594"/>
                  </a:lnTo>
                  <a:lnTo>
                    <a:pt x="f578" y="f595"/>
                  </a:lnTo>
                  <a:lnTo>
                    <a:pt x="f608" y="f596"/>
                  </a:lnTo>
                  <a:lnTo>
                    <a:pt x="f607" y="f596"/>
                  </a:lnTo>
                  <a:lnTo>
                    <a:pt x="f609" y="f595"/>
                  </a:lnTo>
                  <a:lnTo>
                    <a:pt x="f609" y="f594"/>
                  </a:lnTo>
                  <a:close/>
                  <a:moveTo>
                    <a:pt x="f35" y="f610"/>
                  </a:moveTo>
                  <a:lnTo>
                    <a:pt x="f37" y="f610"/>
                  </a:lnTo>
                  <a:lnTo>
                    <a:pt x="f6" y="f611"/>
                  </a:lnTo>
                  <a:lnTo>
                    <a:pt x="f6" y="f612"/>
                  </a:lnTo>
                  <a:lnTo>
                    <a:pt x="f37" y="f613"/>
                  </a:lnTo>
                  <a:lnTo>
                    <a:pt x="f35" y="f613"/>
                  </a:lnTo>
                  <a:lnTo>
                    <a:pt x="f41" y="f612"/>
                  </a:lnTo>
                  <a:lnTo>
                    <a:pt x="f41" y="f611"/>
                  </a:lnTo>
                  <a:close/>
                  <a:moveTo>
                    <a:pt x="f42" y="f610"/>
                  </a:moveTo>
                  <a:lnTo>
                    <a:pt x="f43" y="f610"/>
                  </a:lnTo>
                  <a:lnTo>
                    <a:pt x="f44" y="f611"/>
                  </a:lnTo>
                  <a:lnTo>
                    <a:pt x="f44" y="f612"/>
                  </a:lnTo>
                  <a:lnTo>
                    <a:pt x="f43" y="f613"/>
                  </a:lnTo>
                  <a:lnTo>
                    <a:pt x="f42" y="f613"/>
                  </a:lnTo>
                  <a:lnTo>
                    <a:pt x="f45" y="f612"/>
                  </a:lnTo>
                  <a:lnTo>
                    <a:pt x="f45" y="f611"/>
                  </a:lnTo>
                  <a:close/>
                  <a:moveTo>
                    <a:pt x="f46" y="f610"/>
                  </a:moveTo>
                  <a:lnTo>
                    <a:pt x="f47" y="f610"/>
                  </a:lnTo>
                  <a:lnTo>
                    <a:pt x="f48" y="f611"/>
                  </a:lnTo>
                  <a:lnTo>
                    <a:pt x="f48" y="f612"/>
                  </a:lnTo>
                  <a:lnTo>
                    <a:pt x="f47" y="f613"/>
                  </a:lnTo>
                  <a:lnTo>
                    <a:pt x="f46" y="f613"/>
                  </a:lnTo>
                  <a:lnTo>
                    <a:pt x="f49" y="f612"/>
                  </a:lnTo>
                  <a:lnTo>
                    <a:pt x="f49" y="f611"/>
                  </a:lnTo>
                  <a:close/>
                  <a:moveTo>
                    <a:pt x="f50" y="f610"/>
                  </a:moveTo>
                  <a:lnTo>
                    <a:pt x="f51" y="f610"/>
                  </a:lnTo>
                  <a:lnTo>
                    <a:pt x="f52" y="f611"/>
                  </a:lnTo>
                  <a:lnTo>
                    <a:pt x="f52" y="f612"/>
                  </a:lnTo>
                  <a:lnTo>
                    <a:pt x="f51" y="f613"/>
                  </a:lnTo>
                  <a:lnTo>
                    <a:pt x="f50" y="f613"/>
                  </a:lnTo>
                  <a:lnTo>
                    <a:pt x="f53" y="f612"/>
                  </a:lnTo>
                  <a:lnTo>
                    <a:pt x="f53" y="f611"/>
                  </a:lnTo>
                  <a:close/>
                  <a:moveTo>
                    <a:pt x="f54" y="f610"/>
                  </a:moveTo>
                  <a:lnTo>
                    <a:pt x="f55" y="f610"/>
                  </a:lnTo>
                  <a:lnTo>
                    <a:pt x="f56" y="f611"/>
                  </a:lnTo>
                  <a:lnTo>
                    <a:pt x="f56" y="f612"/>
                  </a:lnTo>
                  <a:lnTo>
                    <a:pt x="f55" y="f613"/>
                  </a:lnTo>
                  <a:lnTo>
                    <a:pt x="f54" y="f613"/>
                  </a:lnTo>
                  <a:lnTo>
                    <a:pt x="f57" y="f612"/>
                  </a:lnTo>
                  <a:lnTo>
                    <a:pt x="f57" y="f611"/>
                  </a:lnTo>
                  <a:close/>
                  <a:moveTo>
                    <a:pt x="f58" y="f610"/>
                  </a:moveTo>
                  <a:lnTo>
                    <a:pt x="f59" y="f610"/>
                  </a:lnTo>
                  <a:lnTo>
                    <a:pt x="f60" y="f611"/>
                  </a:lnTo>
                  <a:lnTo>
                    <a:pt x="f60" y="f612"/>
                  </a:lnTo>
                  <a:lnTo>
                    <a:pt x="f59" y="f613"/>
                  </a:lnTo>
                  <a:lnTo>
                    <a:pt x="f58" y="f613"/>
                  </a:lnTo>
                  <a:lnTo>
                    <a:pt x="f61" y="f612"/>
                  </a:lnTo>
                  <a:lnTo>
                    <a:pt x="f61" y="f611"/>
                  </a:lnTo>
                  <a:close/>
                  <a:moveTo>
                    <a:pt x="f62" y="f610"/>
                  </a:moveTo>
                  <a:lnTo>
                    <a:pt x="f63" y="f610"/>
                  </a:lnTo>
                  <a:lnTo>
                    <a:pt x="f64" y="f611"/>
                  </a:lnTo>
                  <a:lnTo>
                    <a:pt x="f64" y="f612"/>
                  </a:lnTo>
                  <a:lnTo>
                    <a:pt x="f63" y="f613"/>
                  </a:lnTo>
                  <a:lnTo>
                    <a:pt x="f62" y="f613"/>
                  </a:lnTo>
                  <a:lnTo>
                    <a:pt x="f65" y="f612"/>
                  </a:lnTo>
                  <a:lnTo>
                    <a:pt x="f65" y="f611"/>
                  </a:lnTo>
                  <a:close/>
                  <a:moveTo>
                    <a:pt x="f66" y="f610"/>
                  </a:moveTo>
                  <a:lnTo>
                    <a:pt x="f67" y="f610"/>
                  </a:lnTo>
                  <a:lnTo>
                    <a:pt x="f68" y="f611"/>
                  </a:lnTo>
                  <a:lnTo>
                    <a:pt x="f68" y="f612"/>
                  </a:lnTo>
                  <a:lnTo>
                    <a:pt x="f67" y="f613"/>
                  </a:lnTo>
                  <a:lnTo>
                    <a:pt x="f66" y="f613"/>
                  </a:lnTo>
                  <a:lnTo>
                    <a:pt x="f69" y="f612"/>
                  </a:lnTo>
                  <a:lnTo>
                    <a:pt x="f69" y="f611"/>
                  </a:lnTo>
                  <a:close/>
                  <a:moveTo>
                    <a:pt x="f70" y="f610"/>
                  </a:moveTo>
                  <a:lnTo>
                    <a:pt x="f71" y="f610"/>
                  </a:lnTo>
                  <a:lnTo>
                    <a:pt x="f72" y="f611"/>
                  </a:lnTo>
                  <a:lnTo>
                    <a:pt x="f72" y="f612"/>
                  </a:lnTo>
                  <a:lnTo>
                    <a:pt x="f71" y="f613"/>
                  </a:lnTo>
                  <a:lnTo>
                    <a:pt x="f70" y="f613"/>
                  </a:lnTo>
                  <a:lnTo>
                    <a:pt x="f73" y="f612"/>
                  </a:lnTo>
                  <a:lnTo>
                    <a:pt x="f73" y="f611"/>
                  </a:lnTo>
                  <a:close/>
                  <a:moveTo>
                    <a:pt x="f74" y="f610"/>
                  </a:moveTo>
                  <a:lnTo>
                    <a:pt x="f75" y="f610"/>
                  </a:lnTo>
                  <a:lnTo>
                    <a:pt x="f76" y="f611"/>
                  </a:lnTo>
                  <a:lnTo>
                    <a:pt x="f76" y="f612"/>
                  </a:lnTo>
                  <a:lnTo>
                    <a:pt x="f75" y="f613"/>
                  </a:lnTo>
                  <a:lnTo>
                    <a:pt x="f74" y="f613"/>
                  </a:lnTo>
                  <a:lnTo>
                    <a:pt x="f77" y="f612"/>
                  </a:lnTo>
                  <a:lnTo>
                    <a:pt x="f77" y="f611"/>
                  </a:lnTo>
                  <a:close/>
                  <a:moveTo>
                    <a:pt x="f78" y="f610"/>
                  </a:moveTo>
                  <a:lnTo>
                    <a:pt x="f79" y="f610"/>
                  </a:lnTo>
                  <a:lnTo>
                    <a:pt x="f80" y="f611"/>
                  </a:lnTo>
                  <a:lnTo>
                    <a:pt x="f80" y="f612"/>
                  </a:lnTo>
                  <a:lnTo>
                    <a:pt x="f79" y="f613"/>
                  </a:lnTo>
                  <a:lnTo>
                    <a:pt x="f78" y="f613"/>
                  </a:lnTo>
                  <a:lnTo>
                    <a:pt x="f81" y="f612"/>
                  </a:lnTo>
                  <a:lnTo>
                    <a:pt x="f81" y="f611"/>
                  </a:lnTo>
                  <a:close/>
                  <a:moveTo>
                    <a:pt x="f82" y="f610"/>
                  </a:moveTo>
                  <a:lnTo>
                    <a:pt x="f83" y="f610"/>
                  </a:lnTo>
                  <a:lnTo>
                    <a:pt x="f84" y="f611"/>
                  </a:lnTo>
                  <a:lnTo>
                    <a:pt x="f84" y="f612"/>
                  </a:lnTo>
                  <a:lnTo>
                    <a:pt x="f83" y="f613"/>
                  </a:lnTo>
                  <a:lnTo>
                    <a:pt x="f82" y="f613"/>
                  </a:lnTo>
                  <a:lnTo>
                    <a:pt x="f85" y="f612"/>
                  </a:lnTo>
                  <a:lnTo>
                    <a:pt x="f85" y="f611"/>
                  </a:lnTo>
                  <a:close/>
                  <a:moveTo>
                    <a:pt x="f86" y="f610"/>
                  </a:moveTo>
                  <a:lnTo>
                    <a:pt x="f87" y="f610"/>
                  </a:lnTo>
                  <a:lnTo>
                    <a:pt x="f88" y="f611"/>
                  </a:lnTo>
                  <a:lnTo>
                    <a:pt x="f88" y="f612"/>
                  </a:lnTo>
                  <a:lnTo>
                    <a:pt x="f87" y="f613"/>
                  </a:lnTo>
                  <a:lnTo>
                    <a:pt x="f86" y="f613"/>
                  </a:lnTo>
                  <a:lnTo>
                    <a:pt x="f89" y="f612"/>
                  </a:lnTo>
                  <a:lnTo>
                    <a:pt x="f89" y="f611"/>
                  </a:lnTo>
                  <a:close/>
                  <a:moveTo>
                    <a:pt x="f90" y="f610"/>
                  </a:moveTo>
                  <a:lnTo>
                    <a:pt x="f91" y="f610"/>
                  </a:lnTo>
                  <a:lnTo>
                    <a:pt x="f92" y="f611"/>
                  </a:lnTo>
                  <a:lnTo>
                    <a:pt x="f92" y="f612"/>
                  </a:lnTo>
                  <a:lnTo>
                    <a:pt x="f91" y="f613"/>
                  </a:lnTo>
                  <a:lnTo>
                    <a:pt x="f90" y="f613"/>
                  </a:lnTo>
                  <a:lnTo>
                    <a:pt x="f93" y="f612"/>
                  </a:lnTo>
                  <a:lnTo>
                    <a:pt x="f93" y="f611"/>
                  </a:lnTo>
                  <a:close/>
                  <a:moveTo>
                    <a:pt x="f94" y="f610"/>
                  </a:moveTo>
                  <a:lnTo>
                    <a:pt x="f95" y="f610"/>
                  </a:lnTo>
                  <a:lnTo>
                    <a:pt x="f96" y="f611"/>
                  </a:lnTo>
                  <a:lnTo>
                    <a:pt x="f96" y="f612"/>
                  </a:lnTo>
                  <a:lnTo>
                    <a:pt x="f95" y="f613"/>
                  </a:lnTo>
                  <a:lnTo>
                    <a:pt x="f94" y="f613"/>
                  </a:lnTo>
                  <a:lnTo>
                    <a:pt x="f97" y="f612"/>
                  </a:lnTo>
                  <a:lnTo>
                    <a:pt x="f97" y="f611"/>
                  </a:lnTo>
                  <a:close/>
                  <a:moveTo>
                    <a:pt x="f98" y="f610"/>
                  </a:moveTo>
                  <a:lnTo>
                    <a:pt x="f99" y="f610"/>
                  </a:lnTo>
                  <a:lnTo>
                    <a:pt x="f100" y="f611"/>
                  </a:lnTo>
                  <a:lnTo>
                    <a:pt x="f100" y="f612"/>
                  </a:lnTo>
                  <a:lnTo>
                    <a:pt x="f99" y="f613"/>
                  </a:lnTo>
                  <a:lnTo>
                    <a:pt x="f98" y="f613"/>
                  </a:lnTo>
                  <a:lnTo>
                    <a:pt x="f101" y="f612"/>
                  </a:lnTo>
                  <a:lnTo>
                    <a:pt x="f101" y="f611"/>
                  </a:lnTo>
                  <a:close/>
                  <a:moveTo>
                    <a:pt x="f102" y="f610"/>
                  </a:moveTo>
                  <a:lnTo>
                    <a:pt x="f103" y="f610"/>
                  </a:lnTo>
                  <a:lnTo>
                    <a:pt x="f104" y="f611"/>
                  </a:lnTo>
                  <a:lnTo>
                    <a:pt x="f104" y="f612"/>
                  </a:lnTo>
                  <a:lnTo>
                    <a:pt x="f103" y="f613"/>
                  </a:lnTo>
                  <a:lnTo>
                    <a:pt x="f102" y="f613"/>
                  </a:lnTo>
                  <a:lnTo>
                    <a:pt x="f105" y="f612"/>
                  </a:lnTo>
                  <a:lnTo>
                    <a:pt x="f105" y="f611"/>
                  </a:lnTo>
                  <a:close/>
                  <a:moveTo>
                    <a:pt x="f106" y="f610"/>
                  </a:moveTo>
                  <a:lnTo>
                    <a:pt x="f107" y="f610"/>
                  </a:lnTo>
                  <a:lnTo>
                    <a:pt x="f108" y="f611"/>
                  </a:lnTo>
                  <a:lnTo>
                    <a:pt x="f108" y="f612"/>
                  </a:lnTo>
                  <a:lnTo>
                    <a:pt x="f107" y="f613"/>
                  </a:lnTo>
                  <a:lnTo>
                    <a:pt x="f106" y="f613"/>
                  </a:lnTo>
                  <a:lnTo>
                    <a:pt x="f109" y="f612"/>
                  </a:lnTo>
                  <a:lnTo>
                    <a:pt x="f109" y="f611"/>
                  </a:lnTo>
                  <a:close/>
                  <a:moveTo>
                    <a:pt x="f110" y="f610"/>
                  </a:moveTo>
                  <a:lnTo>
                    <a:pt x="f111" y="f610"/>
                  </a:lnTo>
                  <a:lnTo>
                    <a:pt x="f112" y="f611"/>
                  </a:lnTo>
                  <a:lnTo>
                    <a:pt x="f112" y="f612"/>
                  </a:lnTo>
                  <a:lnTo>
                    <a:pt x="f111" y="f613"/>
                  </a:lnTo>
                  <a:lnTo>
                    <a:pt x="f110" y="f613"/>
                  </a:lnTo>
                  <a:lnTo>
                    <a:pt x="f113" y="f612"/>
                  </a:lnTo>
                  <a:lnTo>
                    <a:pt x="f113" y="f611"/>
                  </a:lnTo>
                  <a:close/>
                  <a:moveTo>
                    <a:pt x="f114" y="f610"/>
                  </a:moveTo>
                  <a:lnTo>
                    <a:pt x="f115" y="f610"/>
                  </a:lnTo>
                  <a:lnTo>
                    <a:pt x="f116" y="f611"/>
                  </a:lnTo>
                  <a:lnTo>
                    <a:pt x="f116" y="f612"/>
                  </a:lnTo>
                  <a:lnTo>
                    <a:pt x="f115" y="f613"/>
                  </a:lnTo>
                  <a:lnTo>
                    <a:pt x="f114" y="f613"/>
                  </a:lnTo>
                  <a:lnTo>
                    <a:pt x="f117" y="f612"/>
                  </a:lnTo>
                  <a:lnTo>
                    <a:pt x="f117" y="f611"/>
                  </a:lnTo>
                  <a:close/>
                  <a:moveTo>
                    <a:pt x="f118" y="f610"/>
                  </a:moveTo>
                  <a:lnTo>
                    <a:pt x="f119" y="f610"/>
                  </a:lnTo>
                  <a:lnTo>
                    <a:pt x="f120" y="f611"/>
                  </a:lnTo>
                  <a:lnTo>
                    <a:pt x="f120" y="f612"/>
                  </a:lnTo>
                  <a:lnTo>
                    <a:pt x="f119" y="f613"/>
                  </a:lnTo>
                  <a:lnTo>
                    <a:pt x="f118" y="f613"/>
                  </a:lnTo>
                  <a:lnTo>
                    <a:pt x="f121" y="f612"/>
                  </a:lnTo>
                  <a:lnTo>
                    <a:pt x="f121" y="f611"/>
                  </a:lnTo>
                  <a:close/>
                  <a:moveTo>
                    <a:pt x="f122" y="f610"/>
                  </a:moveTo>
                  <a:lnTo>
                    <a:pt x="f123" y="f610"/>
                  </a:lnTo>
                  <a:lnTo>
                    <a:pt x="f124" y="f611"/>
                  </a:lnTo>
                  <a:lnTo>
                    <a:pt x="f124" y="f612"/>
                  </a:lnTo>
                  <a:lnTo>
                    <a:pt x="f123" y="f613"/>
                  </a:lnTo>
                  <a:lnTo>
                    <a:pt x="f122" y="f613"/>
                  </a:lnTo>
                  <a:lnTo>
                    <a:pt x="f125" y="f612"/>
                  </a:lnTo>
                  <a:lnTo>
                    <a:pt x="f125" y="f611"/>
                  </a:lnTo>
                  <a:close/>
                  <a:moveTo>
                    <a:pt x="f126" y="f610"/>
                  </a:moveTo>
                  <a:lnTo>
                    <a:pt x="f127" y="f610"/>
                  </a:lnTo>
                  <a:lnTo>
                    <a:pt x="f128" y="f611"/>
                  </a:lnTo>
                  <a:lnTo>
                    <a:pt x="f128" y="f612"/>
                  </a:lnTo>
                  <a:lnTo>
                    <a:pt x="f127" y="f613"/>
                  </a:lnTo>
                  <a:lnTo>
                    <a:pt x="f126" y="f613"/>
                  </a:lnTo>
                  <a:lnTo>
                    <a:pt x="f129" y="f612"/>
                  </a:lnTo>
                  <a:lnTo>
                    <a:pt x="f129" y="f611"/>
                  </a:lnTo>
                  <a:close/>
                  <a:moveTo>
                    <a:pt x="f130" y="f610"/>
                  </a:moveTo>
                  <a:lnTo>
                    <a:pt x="f131" y="f610"/>
                  </a:lnTo>
                  <a:lnTo>
                    <a:pt x="f132" y="f611"/>
                  </a:lnTo>
                  <a:lnTo>
                    <a:pt x="f132" y="f612"/>
                  </a:lnTo>
                  <a:lnTo>
                    <a:pt x="f131" y="f613"/>
                  </a:lnTo>
                  <a:lnTo>
                    <a:pt x="f130" y="f613"/>
                  </a:lnTo>
                  <a:lnTo>
                    <a:pt x="f133" y="f612"/>
                  </a:lnTo>
                  <a:lnTo>
                    <a:pt x="f133" y="f611"/>
                  </a:lnTo>
                  <a:close/>
                  <a:moveTo>
                    <a:pt x="f134" y="f610"/>
                  </a:moveTo>
                  <a:lnTo>
                    <a:pt x="f135" y="f610"/>
                  </a:lnTo>
                  <a:lnTo>
                    <a:pt x="f136" y="f611"/>
                  </a:lnTo>
                  <a:lnTo>
                    <a:pt x="f136" y="f612"/>
                  </a:lnTo>
                  <a:lnTo>
                    <a:pt x="f135" y="f613"/>
                  </a:lnTo>
                  <a:lnTo>
                    <a:pt x="f134" y="f613"/>
                  </a:lnTo>
                  <a:lnTo>
                    <a:pt x="f137" y="f612"/>
                  </a:lnTo>
                  <a:lnTo>
                    <a:pt x="f137" y="f611"/>
                  </a:lnTo>
                  <a:close/>
                  <a:moveTo>
                    <a:pt x="f138" y="f610"/>
                  </a:moveTo>
                  <a:lnTo>
                    <a:pt x="f139" y="f610"/>
                  </a:lnTo>
                  <a:lnTo>
                    <a:pt x="f140" y="f611"/>
                  </a:lnTo>
                  <a:lnTo>
                    <a:pt x="f140" y="f612"/>
                  </a:lnTo>
                  <a:lnTo>
                    <a:pt x="f139" y="f613"/>
                  </a:lnTo>
                  <a:lnTo>
                    <a:pt x="f138" y="f613"/>
                  </a:lnTo>
                  <a:lnTo>
                    <a:pt x="f141" y="f612"/>
                  </a:lnTo>
                  <a:lnTo>
                    <a:pt x="f141" y="f611"/>
                  </a:lnTo>
                  <a:close/>
                  <a:moveTo>
                    <a:pt x="f142" y="f610"/>
                  </a:moveTo>
                  <a:lnTo>
                    <a:pt x="f143" y="f610"/>
                  </a:lnTo>
                  <a:lnTo>
                    <a:pt x="f144" y="f611"/>
                  </a:lnTo>
                  <a:lnTo>
                    <a:pt x="f144" y="f612"/>
                  </a:lnTo>
                  <a:lnTo>
                    <a:pt x="f143" y="f613"/>
                  </a:lnTo>
                  <a:lnTo>
                    <a:pt x="f142" y="f613"/>
                  </a:lnTo>
                  <a:lnTo>
                    <a:pt x="f145" y="f612"/>
                  </a:lnTo>
                  <a:lnTo>
                    <a:pt x="f145" y="f611"/>
                  </a:lnTo>
                  <a:close/>
                  <a:moveTo>
                    <a:pt x="f146" y="f610"/>
                  </a:moveTo>
                  <a:lnTo>
                    <a:pt x="f147" y="f610"/>
                  </a:lnTo>
                  <a:lnTo>
                    <a:pt x="f148" y="f611"/>
                  </a:lnTo>
                  <a:lnTo>
                    <a:pt x="f148" y="f612"/>
                  </a:lnTo>
                  <a:lnTo>
                    <a:pt x="f147" y="f613"/>
                  </a:lnTo>
                  <a:lnTo>
                    <a:pt x="f146" y="f613"/>
                  </a:lnTo>
                  <a:lnTo>
                    <a:pt x="f149" y="f612"/>
                  </a:lnTo>
                  <a:lnTo>
                    <a:pt x="f149" y="f611"/>
                  </a:lnTo>
                  <a:close/>
                  <a:moveTo>
                    <a:pt x="f150" y="f610"/>
                  </a:moveTo>
                  <a:lnTo>
                    <a:pt x="f151" y="f610"/>
                  </a:lnTo>
                  <a:lnTo>
                    <a:pt x="f152" y="f611"/>
                  </a:lnTo>
                  <a:lnTo>
                    <a:pt x="f152" y="f612"/>
                  </a:lnTo>
                  <a:lnTo>
                    <a:pt x="f151" y="f613"/>
                  </a:lnTo>
                  <a:lnTo>
                    <a:pt x="f150" y="f613"/>
                  </a:lnTo>
                  <a:lnTo>
                    <a:pt x="f153" y="f612"/>
                  </a:lnTo>
                  <a:lnTo>
                    <a:pt x="f153" y="f611"/>
                  </a:lnTo>
                  <a:close/>
                  <a:moveTo>
                    <a:pt x="f154" y="f610"/>
                  </a:moveTo>
                  <a:lnTo>
                    <a:pt x="f155" y="f610"/>
                  </a:lnTo>
                  <a:lnTo>
                    <a:pt x="f156" y="f611"/>
                  </a:lnTo>
                  <a:lnTo>
                    <a:pt x="f156" y="f612"/>
                  </a:lnTo>
                  <a:lnTo>
                    <a:pt x="f155" y="f613"/>
                  </a:lnTo>
                  <a:lnTo>
                    <a:pt x="f154" y="f613"/>
                  </a:lnTo>
                  <a:lnTo>
                    <a:pt x="f157" y="f612"/>
                  </a:lnTo>
                  <a:lnTo>
                    <a:pt x="f157" y="f611"/>
                  </a:lnTo>
                  <a:close/>
                  <a:moveTo>
                    <a:pt x="f158" y="f610"/>
                  </a:moveTo>
                  <a:lnTo>
                    <a:pt x="f159" y="f610"/>
                  </a:lnTo>
                  <a:lnTo>
                    <a:pt x="f160" y="f611"/>
                  </a:lnTo>
                  <a:lnTo>
                    <a:pt x="f160" y="f612"/>
                  </a:lnTo>
                  <a:lnTo>
                    <a:pt x="f159" y="f613"/>
                  </a:lnTo>
                  <a:lnTo>
                    <a:pt x="f158" y="f613"/>
                  </a:lnTo>
                  <a:lnTo>
                    <a:pt x="f161" y="f612"/>
                  </a:lnTo>
                  <a:lnTo>
                    <a:pt x="f161" y="f611"/>
                  </a:lnTo>
                  <a:close/>
                  <a:moveTo>
                    <a:pt x="f614" y="f610"/>
                  </a:moveTo>
                  <a:lnTo>
                    <a:pt x="f581" y="f610"/>
                  </a:lnTo>
                  <a:lnTo>
                    <a:pt x="f549" y="f611"/>
                  </a:lnTo>
                  <a:lnTo>
                    <a:pt x="f549" y="f612"/>
                  </a:lnTo>
                  <a:lnTo>
                    <a:pt x="f581" y="f613"/>
                  </a:lnTo>
                  <a:lnTo>
                    <a:pt x="f614" y="f613"/>
                  </a:lnTo>
                  <a:lnTo>
                    <a:pt x="f527" y="f612"/>
                  </a:lnTo>
                  <a:lnTo>
                    <a:pt x="f527" y="f611"/>
                  </a:lnTo>
                  <a:close/>
                  <a:moveTo>
                    <a:pt x="f553" y="f610"/>
                  </a:moveTo>
                  <a:lnTo>
                    <a:pt x="f528" y="f610"/>
                  </a:lnTo>
                  <a:lnTo>
                    <a:pt x="f499" y="f611"/>
                  </a:lnTo>
                  <a:lnTo>
                    <a:pt x="f499" y="f612"/>
                  </a:lnTo>
                  <a:lnTo>
                    <a:pt x="f528" y="f613"/>
                  </a:lnTo>
                  <a:lnTo>
                    <a:pt x="f553" y="f613"/>
                  </a:lnTo>
                  <a:lnTo>
                    <a:pt x="f615" y="f612"/>
                  </a:lnTo>
                  <a:lnTo>
                    <a:pt x="f615" y="f611"/>
                  </a:lnTo>
                  <a:close/>
                  <a:moveTo>
                    <a:pt x="f616" y="f610"/>
                  </a:moveTo>
                  <a:lnTo>
                    <a:pt x="f617" y="f610"/>
                  </a:lnTo>
                  <a:lnTo>
                    <a:pt x="f585" y="f611"/>
                  </a:lnTo>
                  <a:lnTo>
                    <a:pt x="f585" y="f612"/>
                  </a:lnTo>
                  <a:lnTo>
                    <a:pt x="f617" y="f613"/>
                  </a:lnTo>
                  <a:lnTo>
                    <a:pt x="f616" y="f613"/>
                  </a:lnTo>
                  <a:lnTo>
                    <a:pt x="f586" y="f612"/>
                  </a:lnTo>
                  <a:lnTo>
                    <a:pt x="f586" y="f611"/>
                  </a:lnTo>
                  <a:close/>
                  <a:moveTo>
                    <a:pt x="f618" y="f610"/>
                  </a:moveTo>
                  <a:lnTo>
                    <a:pt x="f619" y="f610"/>
                  </a:lnTo>
                  <a:lnTo>
                    <a:pt x="f587" y="f611"/>
                  </a:lnTo>
                  <a:lnTo>
                    <a:pt x="f587" y="f612"/>
                  </a:lnTo>
                  <a:lnTo>
                    <a:pt x="f619" y="f613"/>
                  </a:lnTo>
                  <a:lnTo>
                    <a:pt x="f618" y="f613"/>
                  </a:lnTo>
                  <a:lnTo>
                    <a:pt x="f588" y="f612"/>
                  </a:lnTo>
                  <a:lnTo>
                    <a:pt x="f588" y="f611"/>
                  </a:lnTo>
                  <a:close/>
                  <a:moveTo>
                    <a:pt x="f620" y="f610"/>
                  </a:moveTo>
                  <a:lnTo>
                    <a:pt x="f621" y="f610"/>
                  </a:lnTo>
                  <a:lnTo>
                    <a:pt x="f590" y="f611"/>
                  </a:lnTo>
                  <a:lnTo>
                    <a:pt x="f590" y="f612"/>
                  </a:lnTo>
                  <a:lnTo>
                    <a:pt x="f621" y="f613"/>
                  </a:lnTo>
                  <a:lnTo>
                    <a:pt x="f620" y="f613"/>
                  </a:lnTo>
                  <a:lnTo>
                    <a:pt x="f622" y="f612"/>
                  </a:lnTo>
                  <a:lnTo>
                    <a:pt x="f622" y="f611"/>
                  </a:lnTo>
                  <a:close/>
                  <a:moveTo>
                    <a:pt x="f591" y="f610"/>
                  </a:moveTo>
                  <a:lnTo>
                    <a:pt x="f623" y="f610"/>
                  </a:lnTo>
                  <a:lnTo>
                    <a:pt x="f624" y="f611"/>
                  </a:lnTo>
                  <a:lnTo>
                    <a:pt x="f624" y="f612"/>
                  </a:lnTo>
                  <a:lnTo>
                    <a:pt x="f623" y="f613"/>
                  </a:lnTo>
                  <a:lnTo>
                    <a:pt x="f591" y="f613"/>
                  </a:lnTo>
                  <a:lnTo>
                    <a:pt x="f625" y="f612"/>
                  </a:lnTo>
                  <a:lnTo>
                    <a:pt x="f625" y="f611"/>
                  </a:lnTo>
                  <a:close/>
                  <a:moveTo>
                    <a:pt x="f626" y="f610"/>
                  </a:moveTo>
                  <a:lnTo>
                    <a:pt x="f598" y="f610"/>
                  </a:lnTo>
                  <a:lnTo>
                    <a:pt x="f599" y="f611"/>
                  </a:lnTo>
                  <a:lnTo>
                    <a:pt x="f599" y="f612"/>
                  </a:lnTo>
                  <a:lnTo>
                    <a:pt x="f598" y="f613"/>
                  </a:lnTo>
                  <a:lnTo>
                    <a:pt x="f626" y="f613"/>
                  </a:lnTo>
                  <a:lnTo>
                    <a:pt x="f627" y="f612"/>
                  </a:lnTo>
                  <a:lnTo>
                    <a:pt x="f627" y="f611"/>
                  </a:lnTo>
                  <a:close/>
                  <a:moveTo>
                    <a:pt x="f628" y="f610"/>
                  </a:moveTo>
                  <a:lnTo>
                    <a:pt x="f601" y="f610"/>
                  </a:lnTo>
                  <a:lnTo>
                    <a:pt x="f602" y="f611"/>
                  </a:lnTo>
                  <a:lnTo>
                    <a:pt x="f602" y="f612"/>
                  </a:lnTo>
                  <a:lnTo>
                    <a:pt x="f601" y="f613"/>
                  </a:lnTo>
                  <a:lnTo>
                    <a:pt x="f628" y="f613"/>
                  </a:lnTo>
                  <a:lnTo>
                    <a:pt x="f629" y="f612"/>
                  </a:lnTo>
                  <a:lnTo>
                    <a:pt x="f629" y="f611"/>
                  </a:lnTo>
                  <a:close/>
                  <a:moveTo>
                    <a:pt x="f630" y="f610"/>
                  </a:moveTo>
                  <a:lnTo>
                    <a:pt x="f631" y="f610"/>
                  </a:lnTo>
                  <a:lnTo>
                    <a:pt x="f632" y="f611"/>
                  </a:lnTo>
                  <a:lnTo>
                    <a:pt x="f632" y="f612"/>
                  </a:lnTo>
                  <a:lnTo>
                    <a:pt x="f631" y="f613"/>
                  </a:lnTo>
                  <a:lnTo>
                    <a:pt x="f630" y="f613"/>
                  </a:lnTo>
                  <a:lnTo>
                    <a:pt x="f633" y="f612"/>
                  </a:lnTo>
                  <a:lnTo>
                    <a:pt x="f633" y="f611"/>
                  </a:lnTo>
                  <a:close/>
                  <a:moveTo>
                    <a:pt x="f607" y="f610"/>
                  </a:moveTo>
                  <a:lnTo>
                    <a:pt x="f634" y="f610"/>
                  </a:lnTo>
                  <a:lnTo>
                    <a:pt x="f635" y="f611"/>
                  </a:lnTo>
                  <a:lnTo>
                    <a:pt x="f635" y="f612"/>
                  </a:lnTo>
                  <a:lnTo>
                    <a:pt x="f634" y="f613"/>
                  </a:lnTo>
                  <a:lnTo>
                    <a:pt x="f607" y="f613"/>
                  </a:lnTo>
                  <a:lnTo>
                    <a:pt x="f609" y="f612"/>
                  </a:lnTo>
                  <a:lnTo>
                    <a:pt x="f609" y="f611"/>
                  </a:lnTo>
                  <a:close/>
                  <a:moveTo>
                    <a:pt x="f614" y="f636"/>
                  </a:moveTo>
                  <a:lnTo>
                    <a:pt x="f581" y="f636"/>
                  </a:lnTo>
                  <a:lnTo>
                    <a:pt x="f549" y="f637"/>
                  </a:lnTo>
                  <a:lnTo>
                    <a:pt x="f549" y="f638"/>
                  </a:lnTo>
                  <a:lnTo>
                    <a:pt x="f581" y="f639"/>
                  </a:lnTo>
                  <a:lnTo>
                    <a:pt x="f614" y="f639"/>
                  </a:lnTo>
                  <a:lnTo>
                    <a:pt x="f527" y="f638"/>
                  </a:lnTo>
                  <a:lnTo>
                    <a:pt x="f527" y="f637"/>
                  </a:lnTo>
                  <a:close/>
                  <a:moveTo>
                    <a:pt x="f553" y="f636"/>
                  </a:moveTo>
                  <a:lnTo>
                    <a:pt x="f528" y="f636"/>
                  </a:lnTo>
                  <a:lnTo>
                    <a:pt x="f640" y="f637"/>
                  </a:lnTo>
                  <a:lnTo>
                    <a:pt x="f640" y="f638"/>
                  </a:lnTo>
                  <a:lnTo>
                    <a:pt x="f528" y="f639"/>
                  </a:lnTo>
                  <a:lnTo>
                    <a:pt x="f553" y="f639"/>
                  </a:lnTo>
                  <a:lnTo>
                    <a:pt x="f615" y="f638"/>
                  </a:lnTo>
                  <a:lnTo>
                    <a:pt x="f615" y="f637"/>
                  </a:lnTo>
                  <a:close/>
                  <a:moveTo>
                    <a:pt x="f616" y="f636"/>
                  </a:moveTo>
                  <a:lnTo>
                    <a:pt x="f641" y="f636"/>
                  </a:lnTo>
                  <a:lnTo>
                    <a:pt x="f642" y="f637"/>
                  </a:lnTo>
                  <a:lnTo>
                    <a:pt x="f642" y="f638"/>
                  </a:lnTo>
                  <a:lnTo>
                    <a:pt x="f641" y="f639"/>
                  </a:lnTo>
                  <a:lnTo>
                    <a:pt x="f616" y="f639"/>
                  </a:lnTo>
                  <a:lnTo>
                    <a:pt x="f643" y="f638"/>
                  </a:lnTo>
                  <a:lnTo>
                    <a:pt x="f643" y="f637"/>
                  </a:lnTo>
                  <a:close/>
                  <a:moveTo>
                    <a:pt x="f618" y="f636"/>
                  </a:moveTo>
                  <a:lnTo>
                    <a:pt x="f619" y="f636"/>
                  </a:lnTo>
                  <a:lnTo>
                    <a:pt x="f644" y="f637"/>
                  </a:lnTo>
                  <a:lnTo>
                    <a:pt x="f644" y="f638"/>
                  </a:lnTo>
                  <a:lnTo>
                    <a:pt x="f619" y="f639"/>
                  </a:lnTo>
                  <a:lnTo>
                    <a:pt x="f618" y="f639"/>
                  </a:lnTo>
                  <a:lnTo>
                    <a:pt x="f645" y="f638"/>
                  </a:lnTo>
                  <a:lnTo>
                    <a:pt x="f645" y="f637"/>
                  </a:lnTo>
                  <a:close/>
                  <a:moveTo>
                    <a:pt x="f620" y="f636"/>
                  </a:moveTo>
                  <a:lnTo>
                    <a:pt x="f646" y="f636"/>
                  </a:lnTo>
                  <a:lnTo>
                    <a:pt x="f647" y="f637"/>
                  </a:lnTo>
                  <a:lnTo>
                    <a:pt x="f647" y="f638"/>
                  </a:lnTo>
                  <a:lnTo>
                    <a:pt x="f646" y="f639"/>
                  </a:lnTo>
                  <a:lnTo>
                    <a:pt x="f620" y="f639"/>
                  </a:lnTo>
                  <a:lnTo>
                    <a:pt x="f648" y="f638"/>
                  </a:lnTo>
                  <a:lnTo>
                    <a:pt x="f648" y="f637"/>
                  </a:lnTo>
                  <a:close/>
                  <a:moveTo>
                    <a:pt x="f649" y="f636"/>
                  </a:moveTo>
                  <a:lnTo>
                    <a:pt x="f623" y="f636"/>
                  </a:lnTo>
                  <a:lnTo>
                    <a:pt x="f624" y="f637"/>
                  </a:lnTo>
                  <a:lnTo>
                    <a:pt x="f624" y="f638"/>
                  </a:lnTo>
                  <a:lnTo>
                    <a:pt x="f623" y="f639"/>
                  </a:lnTo>
                  <a:lnTo>
                    <a:pt x="f649" y="f639"/>
                  </a:lnTo>
                  <a:lnTo>
                    <a:pt x="f625" y="f638"/>
                  </a:lnTo>
                  <a:lnTo>
                    <a:pt x="f625" y="f637"/>
                  </a:lnTo>
                  <a:close/>
                  <a:moveTo>
                    <a:pt x="f35" y="f650"/>
                  </a:moveTo>
                  <a:lnTo>
                    <a:pt x="f37" y="f650"/>
                  </a:lnTo>
                  <a:lnTo>
                    <a:pt x="f6" y="f651"/>
                  </a:lnTo>
                  <a:lnTo>
                    <a:pt x="f6" y="f652"/>
                  </a:lnTo>
                  <a:lnTo>
                    <a:pt x="f37" y="f653"/>
                  </a:lnTo>
                  <a:lnTo>
                    <a:pt x="f35" y="f653"/>
                  </a:lnTo>
                  <a:lnTo>
                    <a:pt x="f41" y="f652"/>
                  </a:lnTo>
                  <a:lnTo>
                    <a:pt x="f41" y="f651"/>
                  </a:lnTo>
                  <a:close/>
                  <a:moveTo>
                    <a:pt x="f42" y="f650"/>
                  </a:moveTo>
                  <a:lnTo>
                    <a:pt x="f43" y="f650"/>
                  </a:lnTo>
                  <a:lnTo>
                    <a:pt x="f44" y="f651"/>
                  </a:lnTo>
                  <a:lnTo>
                    <a:pt x="f44" y="f652"/>
                  </a:lnTo>
                  <a:lnTo>
                    <a:pt x="f43" y="f653"/>
                  </a:lnTo>
                  <a:lnTo>
                    <a:pt x="f42" y="f653"/>
                  </a:lnTo>
                  <a:lnTo>
                    <a:pt x="f45" y="f652"/>
                  </a:lnTo>
                  <a:lnTo>
                    <a:pt x="f45" y="f651"/>
                  </a:lnTo>
                  <a:close/>
                  <a:moveTo>
                    <a:pt x="f46" y="f650"/>
                  </a:moveTo>
                  <a:lnTo>
                    <a:pt x="f47" y="f650"/>
                  </a:lnTo>
                  <a:lnTo>
                    <a:pt x="f48" y="f651"/>
                  </a:lnTo>
                  <a:lnTo>
                    <a:pt x="f48" y="f652"/>
                  </a:lnTo>
                  <a:lnTo>
                    <a:pt x="f47" y="f653"/>
                  </a:lnTo>
                  <a:lnTo>
                    <a:pt x="f46" y="f653"/>
                  </a:lnTo>
                  <a:lnTo>
                    <a:pt x="f49" y="f652"/>
                  </a:lnTo>
                  <a:lnTo>
                    <a:pt x="f49" y="f651"/>
                  </a:lnTo>
                  <a:close/>
                  <a:moveTo>
                    <a:pt x="f50" y="f650"/>
                  </a:moveTo>
                  <a:lnTo>
                    <a:pt x="f51" y="f650"/>
                  </a:lnTo>
                  <a:lnTo>
                    <a:pt x="f52" y="f651"/>
                  </a:lnTo>
                  <a:lnTo>
                    <a:pt x="f52" y="f652"/>
                  </a:lnTo>
                  <a:lnTo>
                    <a:pt x="f51" y="f653"/>
                  </a:lnTo>
                  <a:lnTo>
                    <a:pt x="f50" y="f653"/>
                  </a:lnTo>
                  <a:lnTo>
                    <a:pt x="f53" y="f652"/>
                  </a:lnTo>
                  <a:lnTo>
                    <a:pt x="f53" y="f651"/>
                  </a:lnTo>
                  <a:close/>
                  <a:moveTo>
                    <a:pt x="f54" y="f650"/>
                  </a:moveTo>
                  <a:lnTo>
                    <a:pt x="f55" y="f650"/>
                  </a:lnTo>
                  <a:lnTo>
                    <a:pt x="f56" y="f651"/>
                  </a:lnTo>
                  <a:lnTo>
                    <a:pt x="f56" y="f652"/>
                  </a:lnTo>
                  <a:lnTo>
                    <a:pt x="f55" y="f653"/>
                  </a:lnTo>
                  <a:lnTo>
                    <a:pt x="f54" y="f653"/>
                  </a:lnTo>
                  <a:lnTo>
                    <a:pt x="f57" y="f652"/>
                  </a:lnTo>
                  <a:lnTo>
                    <a:pt x="f57" y="f651"/>
                  </a:lnTo>
                  <a:close/>
                  <a:moveTo>
                    <a:pt x="f58" y="f650"/>
                  </a:moveTo>
                  <a:lnTo>
                    <a:pt x="f59" y="f650"/>
                  </a:lnTo>
                  <a:lnTo>
                    <a:pt x="f60" y="f651"/>
                  </a:lnTo>
                  <a:lnTo>
                    <a:pt x="f60" y="f652"/>
                  </a:lnTo>
                  <a:lnTo>
                    <a:pt x="f59" y="f653"/>
                  </a:lnTo>
                  <a:lnTo>
                    <a:pt x="f58" y="f653"/>
                  </a:lnTo>
                  <a:lnTo>
                    <a:pt x="f61" y="f652"/>
                  </a:lnTo>
                  <a:lnTo>
                    <a:pt x="f61" y="f651"/>
                  </a:lnTo>
                  <a:close/>
                  <a:moveTo>
                    <a:pt x="f62" y="f650"/>
                  </a:moveTo>
                  <a:lnTo>
                    <a:pt x="f63" y="f650"/>
                  </a:lnTo>
                  <a:lnTo>
                    <a:pt x="f64" y="f651"/>
                  </a:lnTo>
                  <a:lnTo>
                    <a:pt x="f64" y="f652"/>
                  </a:lnTo>
                  <a:lnTo>
                    <a:pt x="f63" y="f653"/>
                  </a:lnTo>
                  <a:lnTo>
                    <a:pt x="f62" y="f653"/>
                  </a:lnTo>
                  <a:lnTo>
                    <a:pt x="f65" y="f652"/>
                  </a:lnTo>
                  <a:lnTo>
                    <a:pt x="f65" y="f651"/>
                  </a:lnTo>
                  <a:close/>
                  <a:moveTo>
                    <a:pt x="f66" y="f650"/>
                  </a:moveTo>
                  <a:lnTo>
                    <a:pt x="f67" y="f650"/>
                  </a:lnTo>
                  <a:lnTo>
                    <a:pt x="f68" y="f651"/>
                  </a:lnTo>
                  <a:lnTo>
                    <a:pt x="f68" y="f652"/>
                  </a:lnTo>
                  <a:lnTo>
                    <a:pt x="f67" y="f653"/>
                  </a:lnTo>
                  <a:lnTo>
                    <a:pt x="f66" y="f653"/>
                  </a:lnTo>
                  <a:lnTo>
                    <a:pt x="f69" y="f652"/>
                  </a:lnTo>
                  <a:lnTo>
                    <a:pt x="f69" y="f651"/>
                  </a:lnTo>
                  <a:close/>
                  <a:moveTo>
                    <a:pt x="f70" y="f650"/>
                  </a:moveTo>
                  <a:lnTo>
                    <a:pt x="f71" y="f650"/>
                  </a:lnTo>
                  <a:lnTo>
                    <a:pt x="f72" y="f651"/>
                  </a:lnTo>
                  <a:lnTo>
                    <a:pt x="f72" y="f652"/>
                  </a:lnTo>
                  <a:lnTo>
                    <a:pt x="f71" y="f653"/>
                  </a:lnTo>
                  <a:lnTo>
                    <a:pt x="f70" y="f653"/>
                  </a:lnTo>
                  <a:lnTo>
                    <a:pt x="f73" y="f652"/>
                  </a:lnTo>
                  <a:lnTo>
                    <a:pt x="f73" y="f651"/>
                  </a:lnTo>
                  <a:close/>
                  <a:moveTo>
                    <a:pt x="f74" y="f650"/>
                  </a:moveTo>
                  <a:lnTo>
                    <a:pt x="f75" y="f650"/>
                  </a:lnTo>
                  <a:lnTo>
                    <a:pt x="f76" y="f651"/>
                  </a:lnTo>
                  <a:lnTo>
                    <a:pt x="f76" y="f652"/>
                  </a:lnTo>
                  <a:lnTo>
                    <a:pt x="f75" y="f653"/>
                  </a:lnTo>
                  <a:lnTo>
                    <a:pt x="f74" y="f653"/>
                  </a:lnTo>
                  <a:lnTo>
                    <a:pt x="f77" y="f652"/>
                  </a:lnTo>
                  <a:lnTo>
                    <a:pt x="f77" y="f651"/>
                  </a:lnTo>
                  <a:close/>
                  <a:moveTo>
                    <a:pt x="f78" y="f650"/>
                  </a:moveTo>
                  <a:lnTo>
                    <a:pt x="f79" y="f650"/>
                  </a:lnTo>
                  <a:lnTo>
                    <a:pt x="f80" y="f651"/>
                  </a:lnTo>
                  <a:lnTo>
                    <a:pt x="f80" y="f652"/>
                  </a:lnTo>
                  <a:lnTo>
                    <a:pt x="f79" y="f653"/>
                  </a:lnTo>
                  <a:lnTo>
                    <a:pt x="f78" y="f653"/>
                  </a:lnTo>
                  <a:lnTo>
                    <a:pt x="f81" y="f652"/>
                  </a:lnTo>
                  <a:lnTo>
                    <a:pt x="f81" y="f651"/>
                  </a:lnTo>
                  <a:close/>
                  <a:moveTo>
                    <a:pt x="f82" y="f650"/>
                  </a:moveTo>
                  <a:lnTo>
                    <a:pt x="f83" y="f650"/>
                  </a:lnTo>
                  <a:lnTo>
                    <a:pt x="f84" y="f651"/>
                  </a:lnTo>
                  <a:lnTo>
                    <a:pt x="f84" y="f652"/>
                  </a:lnTo>
                  <a:lnTo>
                    <a:pt x="f83" y="f653"/>
                  </a:lnTo>
                  <a:lnTo>
                    <a:pt x="f82" y="f653"/>
                  </a:lnTo>
                  <a:lnTo>
                    <a:pt x="f85" y="f652"/>
                  </a:lnTo>
                  <a:lnTo>
                    <a:pt x="f85" y="f651"/>
                  </a:lnTo>
                  <a:close/>
                  <a:moveTo>
                    <a:pt x="f86" y="f650"/>
                  </a:moveTo>
                  <a:lnTo>
                    <a:pt x="f87" y="f650"/>
                  </a:lnTo>
                  <a:lnTo>
                    <a:pt x="f88" y="f651"/>
                  </a:lnTo>
                  <a:lnTo>
                    <a:pt x="f88" y="f652"/>
                  </a:lnTo>
                  <a:lnTo>
                    <a:pt x="f87" y="f653"/>
                  </a:lnTo>
                  <a:lnTo>
                    <a:pt x="f86" y="f653"/>
                  </a:lnTo>
                  <a:lnTo>
                    <a:pt x="f89" y="f652"/>
                  </a:lnTo>
                  <a:lnTo>
                    <a:pt x="f89" y="f651"/>
                  </a:lnTo>
                  <a:close/>
                  <a:moveTo>
                    <a:pt x="f90" y="f650"/>
                  </a:moveTo>
                  <a:lnTo>
                    <a:pt x="f91" y="f650"/>
                  </a:lnTo>
                  <a:lnTo>
                    <a:pt x="f92" y="f651"/>
                  </a:lnTo>
                  <a:lnTo>
                    <a:pt x="f92" y="f652"/>
                  </a:lnTo>
                  <a:lnTo>
                    <a:pt x="f91" y="f653"/>
                  </a:lnTo>
                  <a:lnTo>
                    <a:pt x="f90" y="f653"/>
                  </a:lnTo>
                  <a:lnTo>
                    <a:pt x="f93" y="f652"/>
                  </a:lnTo>
                  <a:lnTo>
                    <a:pt x="f93" y="f651"/>
                  </a:lnTo>
                  <a:close/>
                  <a:moveTo>
                    <a:pt x="f94" y="f650"/>
                  </a:moveTo>
                  <a:lnTo>
                    <a:pt x="f95" y="f650"/>
                  </a:lnTo>
                  <a:lnTo>
                    <a:pt x="f96" y="f651"/>
                  </a:lnTo>
                  <a:lnTo>
                    <a:pt x="f96" y="f652"/>
                  </a:lnTo>
                  <a:lnTo>
                    <a:pt x="f95" y="f653"/>
                  </a:lnTo>
                  <a:lnTo>
                    <a:pt x="f94" y="f653"/>
                  </a:lnTo>
                  <a:lnTo>
                    <a:pt x="f97" y="f652"/>
                  </a:lnTo>
                  <a:lnTo>
                    <a:pt x="f97" y="f651"/>
                  </a:lnTo>
                  <a:close/>
                  <a:moveTo>
                    <a:pt x="f98" y="f650"/>
                  </a:moveTo>
                  <a:lnTo>
                    <a:pt x="f99" y="f650"/>
                  </a:lnTo>
                  <a:lnTo>
                    <a:pt x="f100" y="f651"/>
                  </a:lnTo>
                  <a:lnTo>
                    <a:pt x="f100" y="f652"/>
                  </a:lnTo>
                  <a:lnTo>
                    <a:pt x="f99" y="f653"/>
                  </a:lnTo>
                  <a:lnTo>
                    <a:pt x="f98" y="f653"/>
                  </a:lnTo>
                  <a:lnTo>
                    <a:pt x="f101" y="f652"/>
                  </a:lnTo>
                  <a:lnTo>
                    <a:pt x="f101" y="f651"/>
                  </a:lnTo>
                  <a:close/>
                  <a:moveTo>
                    <a:pt x="f102" y="f650"/>
                  </a:moveTo>
                  <a:lnTo>
                    <a:pt x="f103" y="f650"/>
                  </a:lnTo>
                  <a:lnTo>
                    <a:pt x="f104" y="f651"/>
                  </a:lnTo>
                  <a:lnTo>
                    <a:pt x="f104" y="f652"/>
                  </a:lnTo>
                  <a:lnTo>
                    <a:pt x="f103" y="f653"/>
                  </a:lnTo>
                  <a:lnTo>
                    <a:pt x="f102" y="f653"/>
                  </a:lnTo>
                  <a:lnTo>
                    <a:pt x="f105" y="f652"/>
                  </a:lnTo>
                  <a:lnTo>
                    <a:pt x="f105" y="f651"/>
                  </a:lnTo>
                  <a:close/>
                  <a:moveTo>
                    <a:pt x="f106" y="f650"/>
                  </a:moveTo>
                  <a:lnTo>
                    <a:pt x="f107" y="f650"/>
                  </a:lnTo>
                  <a:lnTo>
                    <a:pt x="f108" y="f651"/>
                  </a:lnTo>
                  <a:lnTo>
                    <a:pt x="f108" y="f652"/>
                  </a:lnTo>
                  <a:lnTo>
                    <a:pt x="f107" y="f653"/>
                  </a:lnTo>
                  <a:lnTo>
                    <a:pt x="f106" y="f653"/>
                  </a:lnTo>
                  <a:lnTo>
                    <a:pt x="f109" y="f652"/>
                  </a:lnTo>
                  <a:lnTo>
                    <a:pt x="f109" y="f651"/>
                  </a:lnTo>
                  <a:close/>
                  <a:moveTo>
                    <a:pt x="f110" y="f650"/>
                  </a:moveTo>
                  <a:lnTo>
                    <a:pt x="f111" y="f650"/>
                  </a:lnTo>
                  <a:lnTo>
                    <a:pt x="f112" y="f651"/>
                  </a:lnTo>
                  <a:lnTo>
                    <a:pt x="f112" y="f652"/>
                  </a:lnTo>
                  <a:lnTo>
                    <a:pt x="f111" y="f653"/>
                  </a:lnTo>
                  <a:lnTo>
                    <a:pt x="f110" y="f653"/>
                  </a:lnTo>
                  <a:lnTo>
                    <a:pt x="f113" y="f652"/>
                  </a:lnTo>
                  <a:lnTo>
                    <a:pt x="f113" y="f651"/>
                  </a:lnTo>
                  <a:close/>
                  <a:moveTo>
                    <a:pt x="f114" y="f650"/>
                  </a:moveTo>
                  <a:lnTo>
                    <a:pt x="f115" y="f650"/>
                  </a:lnTo>
                  <a:lnTo>
                    <a:pt x="f116" y="f651"/>
                  </a:lnTo>
                  <a:lnTo>
                    <a:pt x="f116" y="f652"/>
                  </a:lnTo>
                  <a:lnTo>
                    <a:pt x="f115" y="f653"/>
                  </a:lnTo>
                  <a:lnTo>
                    <a:pt x="f114" y="f653"/>
                  </a:lnTo>
                  <a:lnTo>
                    <a:pt x="f117" y="f652"/>
                  </a:lnTo>
                  <a:lnTo>
                    <a:pt x="f117" y="f651"/>
                  </a:lnTo>
                  <a:close/>
                  <a:moveTo>
                    <a:pt x="f118" y="f650"/>
                  </a:moveTo>
                  <a:lnTo>
                    <a:pt x="f119" y="f650"/>
                  </a:lnTo>
                  <a:lnTo>
                    <a:pt x="f120" y="f651"/>
                  </a:lnTo>
                  <a:lnTo>
                    <a:pt x="f120" y="f652"/>
                  </a:lnTo>
                  <a:lnTo>
                    <a:pt x="f119" y="f653"/>
                  </a:lnTo>
                  <a:lnTo>
                    <a:pt x="f118" y="f653"/>
                  </a:lnTo>
                  <a:lnTo>
                    <a:pt x="f121" y="f652"/>
                  </a:lnTo>
                  <a:lnTo>
                    <a:pt x="f121" y="f651"/>
                  </a:lnTo>
                  <a:close/>
                  <a:moveTo>
                    <a:pt x="f122" y="f650"/>
                  </a:moveTo>
                  <a:lnTo>
                    <a:pt x="f123" y="f650"/>
                  </a:lnTo>
                  <a:lnTo>
                    <a:pt x="f124" y="f651"/>
                  </a:lnTo>
                  <a:lnTo>
                    <a:pt x="f124" y="f652"/>
                  </a:lnTo>
                  <a:lnTo>
                    <a:pt x="f123" y="f653"/>
                  </a:lnTo>
                  <a:lnTo>
                    <a:pt x="f122" y="f653"/>
                  </a:lnTo>
                  <a:lnTo>
                    <a:pt x="f125" y="f652"/>
                  </a:lnTo>
                  <a:lnTo>
                    <a:pt x="f125" y="f651"/>
                  </a:lnTo>
                  <a:close/>
                  <a:moveTo>
                    <a:pt x="f126" y="f650"/>
                  </a:moveTo>
                  <a:lnTo>
                    <a:pt x="f127" y="f650"/>
                  </a:lnTo>
                  <a:lnTo>
                    <a:pt x="f128" y="f651"/>
                  </a:lnTo>
                  <a:lnTo>
                    <a:pt x="f128" y="f652"/>
                  </a:lnTo>
                  <a:lnTo>
                    <a:pt x="f127" y="f653"/>
                  </a:lnTo>
                  <a:lnTo>
                    <a:pt x="f126" y="f653"/>
                  </a:lnTo>
                  <a:lnTo>
                    <a:pt x="f129" y="f652"/>
                  </a:lnTo>
                  <a:lnTo>
                    <a:pt x="f129" y="f651"/>
                  </a:lnTo>
                  <a:close/>
                  <a:moveTo>
                    <a:pt x="f130" y="f650"/>
                  </a:moveTo>
                  <a:lnTo>
                    <a:pt x="f131" y="f650"/>
                  </a:lnTo>
                  <a:lnTo>
                    <a:pt x="f132" y="f651"/>
                  </a:lnTo>
                  <a:lnTo>
                    <a:pt x="f132" y="f652"/>
                  </a:lnTo>
                  <a:lnTo>
                    <a:pt x="f131" y="f653"/>
                  </a:lnTo>
                  <a:lnTo>
                    <a:pt x="f130" y="f653"/>
                  </a:lnTo>
                  <a:lnTo>
                    <a:pt x="f133" y="f652"/>
                  </a:lnTo>
                  <a:lnTo>
                    <a:pt x="f133" y="f651"/>
                  </a:lnTo>
                  <a:close/>
                  <a:moveTo>
                    <a:pt x="f134" y="f650"/>
                  </a:moveTo>
                  <a:lnTo>
                    <a:pt x="f135" y="f650"/>
                  </a:lnTo>
                  <a:lnTo>
                    <a:pt x="f136" y="f651"/>
                  </a:lnTo>
                  <a:lnTo>
                    <a:pt x="f136" y="f652"/>
                  </a:lnTo>
                  <a:lnTo>
                    <a:pt x="f135" y="f653"/>
                  </a:lnTo>
                  <a:lnTo>
                    <a:pt x="f134" y="f653"/>
                  </a:lnTo>
                  <a:lnTo>
                    <a:pt x="f137" y="f652"/>
                  </a:lnTo>
                  <a:lnTo>
                    <a:pt x="f137" y="f651"/>
                  </a:lnTo>
                  <a:close/>
                  <a:moveTo>
                    <a:pt x="f138" y="f650"/>
                  </a:moveTo>
                  <a:lnTo>
                    <a:pt x="f139" y="f650"/>
                  </a:lnTo>
                  <a:lnTo>
                    <a:pt x="f140" y="f651"/>
                  </a:lnTo>
                  <a:lnTo>
                    <a:pt x="f140" y="f652"/>
                  </a:lnTo>
                  <a:lnTo>
                    <a:pt x="f139" y="f653"/>
                  </a:lnTo>
                  <a:lnTo>
                    <a:pt x="f138" y="f653"/>
                  </a:lnTo>
                  <a:lnTo>
                    <a:pt x="f141" y="f652"/>
                  </a:lnTo>
                  <a:lnTo>
                    <a:pt x="f141" y="f651"/>
                  </a:lnTo>
                  <a:close/>
                  <a:moveTo>
                    <a:pt x="f142" y="f650"/>
                  </a:moveTo>
                  <a:lnTo>
                    <a:pt x="f143" y="f650"/>
                  </a:lnTo>
                  <a:lnTo>
                    <a:pt x="f144" y="f651"/>
                  </a:lnTo>
                  <a:lnTo>
                    <a:pt x="f144" y="f652"/>
                  </a:lnTo>
                  <a:lnTo>
                    <a:pt x="f143" y="f653"/>
                  </a:lnTo>
                  <a:lnTo>
                    <a:pt x="f142" y="f653"/>
                  </a:lnTo>
                  <a:lnTo>
                    <a:pt x="f145" y="f652"/>
                  </a:lnTo>
                  <a:lnTo>
                    <a:pt x="f145" y="f651"/>
                  </a:lnTo>
                  <a:close/>
                  <a:moveTo>
                    <a:pt x="f146" y="f650"/>
                  </a:moveTo>
                  <a:lnTo>
                    <a:pt x="f147" y="f650"/>
                  </a:lnTo>
                  <a:lnTo>
                    <a:pt x="f148" y="f651"/>
                  </a:lnTo>
                  <a:lnTo>
                    <a:pt x="f148" y="f652"/>
                  </a:lnTo>
                  <a:lnTo>
                    <a:pt x="f147" y="f653"/>
                  </a:lnTo>
                  <a:lnTo>
                    <a:pt x="f146" y="f653"/>
                  </a:lnTo>
                  <a:lnTo>
                    <a:pt x="f149" y="f652"/>
                  </a:lnTo>
                  <a:lnTo>
                    <a:pt x="f149" y="f651"/>
                  </a:lnTo>
                  <a:close/>
                  <a:moveTo>
                    <a:pt x="f150" y="f650"/>
                  </a:moveTo>
                  <a:lnTo>
                    <a:pt x="f151" y="f650"/>
                  </a:lnTo>
                  <a:lnTo>
                    <a:pt x="f152" y="f651"/>
                  </a:lnTo>
                  <a:lnTo>
                    <a:pt x="f152" y="f652"/>
                  </a:lnTo>
                  <a:lnTo>
                    <a:pt x="f151" y="f653"/>
                  </a:lnTo>
                  <a:lnTo>
                    <a:pt x="f150" y="f653"/>
                  </a:lnTo>
                  <a:lnTo>
                    <a:pt x="f153" y="f652"/>
                  </a:lnTo>
                  <a:lnTo>
                    <a:pt x="f153" y="f651"/>
                  </a:lnTo>
                  <a:close/>
                  <a:moveTo>
                    <a:pt x="f154" y="f650"/>
                  </a:moveTo>
                  <a:lnTo>
                    <a:pt x="f155" y="f650"/>
                  </a:lnTo>
                  <a:lnTo>
                    <a:pt x="f156" y="f651"/>
                  </a:lnTo>
                  <a:lnTo>
                    <a:pt x="f156" y="f652"/>
                  </a:lnTo>
                  <a:lnTo>
                    <a:pt x="f155" y="f653"/>
                  </a:lnTo>
                  <a:lnTo>
                    <a:pt x="f154" y="f653"/>
                  </a:lnTo>
                  <a:lnTo>
                    <a:pt x="f157" y="f652"/>
                  </a:lnTo>
                  <a:lnTo>
                    <a:pt x="f157" y="f651"/>
                  </a:lnTo>
                  <a:close/>
                  <a:moveTo>
                    <a:pt x="f158" y="f650"/>
                  </a:moveTo>
                  <a:lnTo>
                    <a:pt x="f159" y="f650"/>
                  </a:lnTo>
                  <a:lnTo>
                    <a:pt x="f160" y="f651"/>
                  </a:lnTo>
                  <a:lnTo>
                    <a:pt x="f160" y="f652"/>
                  </a:lnTo>
                  <a:lnTo>
                    <a:pt x="f159" y="f653"/>
                  </a:lnTo>
                  <a:lnTo>
                    <a:pt x="f158" y="f653"/>
                  </a:lnTo>
                  <a:lnTo>
                    <a:pt x="f161" y="f652"/>
                  </a:lnTo>
                  <a:lnTo>
                    <a:pt x="f161" y="f651"/>
                  </a:lnTo>
                  <a:close/>
                  <a:moveTo>
                    <a:pt x="f626" y="f650"/>
                  </a:moveTo>
                  <a:lnTo>
                    <a:pt x="f654" y="f650"/>
                  </a:lnTo>
                  <a:lnTo>
                    <a:pt x="f655" y="f651"/>
                  </a:lnTo>
                  <a:lnTo>
                    <a:pt x="f655" y="f652"/>
                  </a:lnTo>
                  <a:lnTo>
                    <a:pt x="f654" y="f653"/>
                  </a:lnTo>
                  <a:lnTo>
                    <a:pt x="f626" y="f653"/>
                  </a:lnTo>
                  <a:lnTo>
                    <a:pt x="f627" y="f652"/>
                  </a:lnTo>
                  <a:lnTo>
                    <a:pt x="f627" y="f651"/>
                  </a:lnTo>
                  <a:close/>
                  <a:moveTo>
                    <a:pt x="f656" y="f650"/>
                  </a:moveTo>
                  <a:lnTo>
                    <a:pt x="f657" y="f650"/>
                  </a:lnTo>
                  <a:lnTo>
                    <a:pt x="f658" y="f651"/>
                  </a:lnTo>
                  <a:lnTo>
                    <a:pt x="f658" y="f652"/>
                  </a:lnTo>
                  <a:lnTo>
                    <a:pt x="f657" y="f653"/>
                  </a:lnTo>
                  <a:lnTo>
                    <a:pt x="f656" y="f653"/>
                  </a:lnTo>
                  <a:lnTo>
                    <a:pt x="f659" y="f652"/>
                  </a:lnTo>
                  <a:lnTo>
                    <a:pt x="f659" y="f651"/>
                  </a:lnTo>
                  <a:close/>
                  <a:moveTo>
                    <a:pt x="f630" y="f650"/>
                  </a:moveTo>
                  <a:lnTo>
                    <a:pt x="f660" y="f650"/>
                  </a:lnTo>
                  <a:lnTo>
                    <a:pt x="f661" y="f651"/>
                  </a:lnTo>
                  <a:lnTo>
                    <a:pt x="f661" y="f652"/>
                  </a:lnTo>
                  <a:lnTo>
                    <a:pt x="f660" y="f653"/>
                  </a:lnTo>
                  <a:lnTo>
                    <a:pt x="f630" y="f653"/>
                  </a:lnTo>
                  <a:lnTo>
                    <a:pt x="f633" y="f652"/>
                  </a:lnTo>
                  <a:lnTo>
                    <a:pt x="f633" y="f651"/>
                  </a:lnTo>
                  <a:close/>
                  <a:moveTo>
                    <a:pt x="f662" y="f650"/>
                  </a:moveTo>
                  <a:lnTo>
                    <a:pt x="f634" y="f650"/>
                  </a:lnTo>
                  <a:lnTo>
                    <a:pt x="f663" y="f651"/>
                  </a:lnTo>
                  <a:lnTo>
                    <a:pt x="f663" y="f652"/>
                  </a:lnTo>
                  <a:lnTo>
                    <a:pt x="f634" y="f653"/>
                  </a:lnTo>
                  <a:lnTo>
                    <a:pt x="f662" y="f653"/>
                  </a:lnTo>
                  <a:lnTo>
                    <a:pt x="f664" y="f652"/>
                  </a:lnTo>
                  <a:lnTo>
                    <a:pt x="f664" y="f651"/>
                  </a:lnTo>
                  <a:close/>
                  <a:moveTo>
                    <a:pt x="f146" y="f665"/>
                  </a:moveTo>
                  <a:lnTo>
                    <a:pt x="f147" y="f665"/>
                  </a:lnTo>
                  <a:lnTo>
                    <a:pt x="f148" y="f666"/>
                  </a:lnTo>
                  <a:lnTo>
                    <a:pt x="f148" y="f667"/>
                  </a:lnTo>
                  <a:lnTo>
                    <a:pt x="f147" y="f668"/>
                  </a:lnTo>
                  <a:lnTo>
                    <a:pt x="f146" y="f668"/>
                  </a:lnTo>
                  <a:lnTo>
                    <a:pt x="f149" y="f667"/>
                  </a:lnTo>
                  <a:lnTo>
                    <a:pt x="f149" y="f666"/>
                  </a:lnTo>
                  <a:close/>
                  <a:moveTo>
                    <a:pt x="f150" y="f665"/>
                  </a:moveTo>
                  <a:lnTo>
                    <a:pt x="f151" y="f665"/>
                  </a:lnTo>
                  <a:lnTo>
                    <a:pt x="f152" y="f666"/>
                  </a:lnTo>
                  <a:lnTo>
                    <a:pt x="f152" y="f667"/>
                  </a:lnTo>
                  <a:lnTo>
                    <a:pt x="f151" y="f668"/>
                  </a:lnTo>
                  <a:lnTo>
                    <a:pt x="f150" y="f668"/>
                  </a:lnTo>
                  <a:lnTo>
                    <a:pt x="f153" y="f667"/>
                  </a:lnTo>
                  <a:lnTo>
                    <a:pt x="f153" y="f666"/>
                  </a:lnTo>
                  <a:close/>
                  <a:moveTo>
                    <a:pt x="f154" y="f665"/>
                  </a:moveTo>
                  <a:lnTo>
                    <a:pt x="f155" y="f665"/>
                  </a:lnTo>
                  <a:lnTo>
                    <a:pt x="f156" y="f666"/>
                  </a:lnTo>
                  <a:lnTo>
                    <a:pt x="f156" y="f667"/>
                  </a:lnTo>
                  <a:lnTo>
                    <a:pt x="f155" y="f669"/>
                  </a:lnTo>
                  <a:lnTo>
                    <a:pt x="f154" y="f669"/>
                  </a:lnTo>
                  <a:lnTo>
                    <a:pt x="f157" y="f667"/>
                  </a:lnTo>
                  <a:lnTo>
                    <a:pt x="f157" y="f666"/>
                  </a:lnTo>
                  <a:close/>
                  <a:moveTo>
                    <a:pt x="f158" y="f665"/>
                  </a:moveTo>
                  <a:lnTo>
                    <a:pt x="f159" y="f665"/>
                  </a:lnTo>
                  <a:lnTo>
                    <a:pt x="f160" y="f666"/>
                  </a:lnTo>
                  <a:lnTo>
                    <a:pt x="f160" y="f667"/>
                  </a:lnTo>
                  <a:lnTo>
                    <a:pt x="f159" y="f669"/>
                  </a:lnTo>
                  <a:lnTo>
                    <a:pt x="f158" y="f669"/>
                  </a:lnTo>
                  <a:lnTo>
                    <a:pt x="f161" y="f667"/>
                  </a:lnTo>
                  <a:lnTo>
                    <a:pt x="f161" y="f666"/>
                  </a:lnTo>
                  <a:close/>
                  <a:moveTo>
                    <a:pt x="f142" y="f670"/>
                  </a:moveTo>
                  <a:lnTo>
                    <a:pt x="f143" y="f670"/>
                  </a:lnTo>
                  <a:lnTo>
                    <a:pt x="f144" y="f666"/>
                  </a:lnTo>
                  <a:lnTo>
                    <a:pt x="f144" y="f667"/>
                  </a:lnTo>
                  <a:lnTo>
                    <a:pt x="f143" y="f668"/>
                  </a:lnTo>
                  <a:lnTo>
                    <a:pt x="f142" y="f668"/>
                  </a:lnTo>
                  <a:lnTo>
                    <a:pt x="f145" y="f667"/>
                  </a:lnTo>
                  <a:lnTo>
                    <a:pt x="f145" y="f666"/>
                  </a:lnTo>
                  <a:close/>
                  <a:moveTo>
                    <a:pt x="f122" y="f671"/>
                  </a:moveTo>
                  <a:lnTo>
                    <a:pt x="f123" y="f671"/>
                  </a:lnTo>
                  <a:lnTo>
                    <a:pt x="f124" y="f672"/>
                  </a:lnTo>
                  <a:lnTo>
                    <a:pt x="f124" y="f673"/>
                  </a:lnTo>
                  <a:lnTo>
                    <a:pt x="f123" y="f674"/>
                  </a:lnTo>
                  <a:lnTo>
                    <a:pt x="f122" y="f674"/>
                  </a:lnTo>
                  <a:lnTo>
                    <a:pt x="f125" y="f673"/>
                  </a:lnTo>
                  <a:lnTo>
                    <a:pt x="f125" y="f672"/>
                  </a:lnTo>
                  <a:close/>
                  <a:moveTo>
                    <a:pt x="f126" y="f671"/>
                  </a:moveTo>
                  <a:lnTo>
                    <a:pt x="f127" y="f671"/>
                  </a:lnTo>
                  <a:lnTo>
                    <a:pt x="f128" y="f672"/>
                  </a:lnTo>
                  <a:lnTo>
                    <a:pt x="f128" y="f675"/>
                  </a:lnTo>
                  <a:lnTo>
                    <a:pt x="f127" y="f674"/>
                  </a:lnTo>
                  <a:lnTo>
                    <a:pt x="f126" y="f674"/>
                  </a:lnTo>
                  <a:lnTo>
                    <a:pt x="f129" y="f675"/>
                  </a:lnTo>
                  <a:lnTo>
                    <a:pt x="f129" y="f672"/>
                  </a:lnTo>
                  <a:close/>
                  <a:moveTo>
                    <a:pt x="f130" y="f671"/>
                  </a:moveTo>
                  <a:lnTo>
                    <a:pt x="f131" y="f671"/>
                  </a:lnTo>
                  <a:lnTo>
                    <a:pt x="f132" y="f672"/>
                  </a:lnTo>
                  <a:lnTo>
                    <a:pt x="f132" y="f675"/>
                  </a:lnTo>
                  <a:lnTo>
                    <a:pt x="f131" y="f674"/>
                  </a:lnTo>
                  <a:lnTo>
                    <a:pt x="f130" y="f674"/>
                  </a:lnTo>
                  <a:lnTo>
                    <a:pt x="f133" y="f675"/>
                  </a:lnTo>
                  <a:lnTo>
                    <a:pt x="f133" y="f672"/>
                  </a:lnTo>
                  <a:close/>
                  <a:moveTo>
                    <a:pt x="f134" y="f671"/>
                  </a:moveTo>
                  <a:lnTo>
                    <a:pt x="f135" y="f671"/>
                  </a:lnTo>
                  <a:lnTo>
                    <a:pt x="f136" y="f672"/>
                  </a:lnTo>
                  <a:lnTo>
                    <a:pt x="f136" y="f675"/>
                  </a:lnTo>
                  <a:lnTo>
                    <a:pt x="f135" y="f674"/>
                  </a:lnTo>
                  <a:lnTo>
                    <a:pt x="f134" y="f674"/>
                  </a:lnTo>
                  <a:lnTo>
                    <a:pt x="f137" y="f675"/>
                  </a:lnTo>
                  <a:lnTo>
                    <a:pt x="f137" y="f672"/>
                  </a:lnTo>
                  <a:close/>
                  <a:moveTo>
                    <a:pt x="f138" y="f671"/>
                  </a:moveTo>
                  <a:lnTo>
                    <a:pt x="f139" y="f671"/>
                  </a:lnTo>
                  <a:lnTo>
                    <a:pt x="f140" y="f672"/>
                  </a:lnTo>
                  <a:lnTo>
                    <a:pt x="f140" y="f675"/>
                  </a:lnTo>
                  <a:lnTo>
                    <a:pt x="f139" y="f674"/>
                  </a:lnTo>
                  <a:lnTo>
                    <a:pt x="f138" y="f674"/>
                  </a:lnTo>
                  <a:lnTo>
                    <a:pt x="f141" y="f675"/>
                  </a:lnTo>
                  <a:lnTo>
                    <a:pt x="f141" y="f672"/>
                  </a:lnTo>
                  <a:close/>
                  <a:moveTo>
                    <a:pt x="f106" y="f676"/>
                  </a:moveTo>
                  <a:lnTo>
                    <a:pt x="f107" y="f676"/>
                  </a:lnTo>
                  <a:lnTo>
                    <a:pt x="f108" y="f677"/>
                  </a:lnTo>
                  <a:lnTo>
                    <a:pt x="f108" y="f678"/>
                  </a:lnTo>
                  <a:lnTo>
                    <a:pt x="f107" y="f679"/>
                  </a:lnTo>
                  <a:lnTo>
                    <a:pt x="f106" y="f679"/>
                  </a:lnTo>
                  <a:lnTo>
                    <a:pt x="f109" y="f678"/>
                  </a:lnTo>
                  <a:lnTo>
                    <a:pt x="f109" y="f677"/>
                  </a:lnTo>
                  <a:close/>
                  <a:moveTo>
                    <a:pt x="f110" y="f676"/>
                  </a:moveTo>
                  <a:lnTo>
                    <a:pt x="f111" y="f676"/>
                  </a:lnTo>
                  <a:lnTo>
                    <a:pt x="f112" y="f677"/>
                  </a:lnTo>
                  <a:lnTo>
                    <a:pt x="f112" y="f678"/>
                  </a:lnTo>
                  <a:lnTo>
                    <a:pt x="f111" y="f679"/>
                  </a:lnTo>
                  <a:lnTo>
                    <a:pt x="f110" y="f679"/>
                  </a:lnTo>
                  <a:lnTo>
                    <a:pt x="f113" y="f678"/>
                  </a:lnTo>
                  <a:lnTo>
                    <a:pt x="f113" y="f677"/>
                  </a:lnTo>
                  <a:close/>
                  <a:moveTo>
                    <a:pt x="f114" y="f676"/>
                  </a:moveTo>
                  <a:lnTo>
                    <a:pt x="f115" y="f676"/>
                  </a:lnTo>
                  <a:lnTo>
                    <a:pt x="f116" y="f677"/>
                  </a:lnTo>
                  <a:lnTo>
                    <a:pt x="f116" y="f678"/>
                  </a:lnTo>
                  <a:lnTo>
                    <a:pt x="f115" y="f680"/>
                  </a:lnTo>
                  <a:lnTo>
                    <a:pt x="f114" y="f680"/>
                  </a:lnTo>
                  <a:lnTo>
                    <a:pt x="f117" y="f678"/>
                  </a:lnTo>
                  <a:lnTo>
                    <a:pt x="f117" y="f677"/>
                  </a:lnTo>
                  <a:close/>
                  <a:moveTo>
                    <a:pt x="f118" y="f676"/>
                  </a:moveTo>
                  <a:lnTo>
                    <a:pt x="f119" y="f676"/>
                  </a:lnTo>
                  <a:lnTo>
                    <a:pt x="f120" y="f677"/>
                  </a:lnTo>
                  <a:lnTo>
                    <a:pt x="f120" y="f678"/>
                  </a:lnTo>
                  <a:lnTo>
                    <a:pt x="f119" y="f680"/>
                  </a:lnTo>
                  <a:lnTo>
                    <a:pt x="f118" y="f680"/>
                  </a:lnTo>
                  <a:lnTo>
                    <a:pt x="f121" y="f678"/>
                  </a:lnTo>
                  <a:lnTo>
                    <a:pt x="f121" y="f677"/>
                  </a:lnTo>
                  <a:close/>
                  <a:moveTo>
                    <a:pt x="f102" y="f681"/>
                  </a:moveTo>
                  <a:lnTo>
                    <a:pt x="f103" y="f681"/>
                  </a:lnTo>
                  <a:lnTo>
                    <a:pt x="f104" y="f677"/>
                  </a:lnTo>
                  <a:lnTo>
                    <a:pt x="f104" y="f682"/>
                  </a:lnTo>
                  <a:lnTo>
                    <a:pt x="f103" y="f679"/>
                  </a:lnTo>
                  <a:lnTo>
                    <a:pt x="f102" y="f679"/>
                  </a:lnTo>
                  <a:lnTo>
                    <a:pt x="f105" y="f682"/>
                  </a:lnTo>
                  <a:lnTo>
                    <a:pt x="f105" y="f677"/>
                  </a:lnTo>
                  <a:close/>
                  <a:moveTo>
                    <a:pt x="f94" y="f683"/>
                  </a:moveTo>
                  <a:lnTo>
                    <a:pt x="f95" y="f683"/>
                  </a:lnTo>
                  <a:lnTo>
                    <a:pt x="f96" y="f684"/>
                  </a:lnTo>
                  <a:lnTo>
                    <a:pt x="f96" y="f685"/>
                  </a:lnTo>
                  <a:lnTo>
                    <a:pt x="f95" y="f686"/>
                  </a:lnTo>
                  <a:lnTo>
                    <a:pt x="f94" y="f686"/>
                  </a:lnTo>
                  <a:lnTo>
                    <a:pt x="f97" y="f685"/>
                  </a:lnTo>
                  <a:lnTo>
                    <a:pt x="f97" y="f684"/>
                  </a:lnTo>
                  <a:close/>
                  <a:moveTo>
                    <a:pt x="f98" y="f683"/>
                  </a:moveTo>
                  <a:lnTo>
                    <a:pt x="f99" y="f683"/>
                  </a:lnTo>
                  <a:lnTo>
                    <a:pt x="f100" y="f684"/>
                  </a:lnTo>
                  <a:lnTo>
                    <a:pt x="f100" y="f685"/>
                  </a:lnTo>
                  <a:lnTo>
                    <a:pt x="f99" y="f686"/>
                  </a:lnTo>
                  <a:lnTo>
                    <a:pt x="f98" y="f686"/>
                  </a:lnTo>
                  <a:lnTo>
                    <a:pt x="f101" y="f685"/>
                  </a:lnTo>
                  <a:lnTo>
                    <a:pt x="f101" y="f684"/>
                  </a:lnTo>
                  <a:close/>
                  <a:moveTo>
                    <a:pt x="f82" y="f687"/>
                  </a:moveTo>
                  <a:lnTo>
                    <a:pt x="f83" y="f687"/>
                  </a:lnTo>
                  <a:lnTo>
                    <a:pt x="f84" y="f684"/>
                  </a:lnTo>
                  <a:lnTo>
                    <a:pt x="f84" y="f688"/>
                  </a:lnTo>
                  <a:lnTo>
                    <a:pt x="f83" y="f686"/>
                  </a:lnTo>
                  <a:lnTo>
                    <a:pt x="f82" y="f686"/>
                  </a:lnTo>
                  <a:lnTo>
                    <a:pt x="f85" y="f688"/>
                  </a:lnTo>
                  <a:lnTo>
                    <a:pt x="f85" y="f684"/>
                  </a:lnTo>
                  <a:close/>
                  <a:moveTo>
                    <a:pt x="f86" y="f687"/>
                  </a:moveTo>
                  <a:lnTo>
                    <a:pt x="f87" y="f687"/>
                  </a:lnTo>
                  <a:lnTo>
                    <a:pt x="f88" y="f684"/>
                  </a:lnTo>
                  <a:lnTo>
                    <a:pt x="f88" y="f685"/>
                  </a:lnTo>
                  <a:lnTo>
                    <a:pt x="f87" y="f686"/>
                  </a:lnTo>
                  <a:lnTo>
                    <a:pt x="f86" y="f686"/>
                  </a:lnTo>
                  <a:lnTo>
                    <a:pt x="f89" y="f685"/>
                  </a:lnTo>
                  <a:lnTo>
                    <a:pt x="f89" y="f684"/>
                  </a:lnTo>
                  <a:close/>
                  <a:moveTo>
                    <a:pt x="f90" y="f687"/>
                  </a:moveTo>
                  <a:lnTo>
                    <a:pt x="f91" y="f687"/>
                  </a:lnTo>
                  <a:lnTo>
                    <a:pt x="f92" y="f684"/>
                  </a:lnTo>
                  <a:lnTo>
                    <a:pt x="f92" y="f685"/>
                  </a:lnTo>
                  <a:lnTo>
                    <a:pt x="f91" y="f686"/>
                  </a:lnTo>
                  <a:lnTo>
                    <a:pt x="f90" y="f686"/>
                  </a:lnTo>
                  <a:lnTo>
                    <a:pt x="f93" y="f685"/>
                  </a:lnTo>
                  <a:lnTo>
                    <a:pt x="f93" y="f684"/>
                  </a:lnTo>
                  <a:close/>
                  <a:moveTo>
                    <a:pt x="f74" y="f689"/>
                  </a:moveTo>
                  <a:lnTo>
                    <a:pt x="f75" y="f689"/>
                  </a:lnTo>
                  <a:lnTo>
                    <a:pt x="f76" y="f690"/>
                  </a:lnTo>
                  <a:lnTo>
                    <a:pt x="f76" y="f691"/>
                  </a:lnTo>
                  <a:lnTo>
                    <a:pt x="f75" y="f692"/>
                  </a:lnTo>
                  <a:lnTo>
                    <a:pt x="f74" y="f692"/>
                  </a:lnTo>
                  <a:lnTo>
                    <a:pt x="f77" y="f691"/>
                  </a:lnTo>
                  <a:lnTo>
                    <a:pt x="f77" y="f690"/>
                  </a:lnTo>
                  <a:close/>
                  <a:moveTo>
                    <a:pt x="f78" y="f689"/>
                  </a:moveTo>
                  <a:lnTo>
                    <a:pt x="f79" y="f689"/>
                  </a:lnTo>
                  <a:lnTo>
                    <a:pt x="f80" y="f690"/>
                  </a:lnTo>
                  <a:lnTo>
                    <a:pt x="f80" y="f691"/>
                  </a:lnTo>
                  <a:lnTo>
                    <a:pt x="f79" y="f692"/>
                  </a:lnTo>
                  <a:lnTo>
                    <a:pt x="f78" y="f692"/>
                  </a:lnTo>
                  <a:lnTo>
                    <a:pt x="f81" y="f691"/>
                  </a:lnTo>
                  <a:lnTo>
                    <a:pt x="f81" y="f690"/>
                  </a:lnTo>
                  <a:close/>
                  <a:moveTo>
                    <a:pt x="f62" y="f693"/>
                  </a:moveTo>
                  <a:lnTo>
                    <a:pt x="f63" y="f693"/>
                  </a:lnTo>
                  <a:lnTo>
                    <a:pt x="f64" y="f690"/>
                  </a:lnTo>
                  <a:lnTo>
                    <a:pt x="f64" y="f694"/>
                  </a:lnTo>
                  <a:lnTo>
                    <a:pt x="f63" y="f695"/>
                  </a:lnTo>
                  <a:lnTo>
                    <a:pt x="f62" y="f695"/>
                  </a:lnTo>
                  <a:lnTo>
                    <a:pt x="f65" y="f694"/>
                  </a:lnTo>
                  <a:lnTo>
                    <a:pt x="f65" y="f690"/>
                  </a:lnTo>
                  <a:close/>
                  <a:moveTo>
                    <a:pt x="f66" y="f693"/>
                  </a:moveTo>
                  <a:lnTo>
                    <a:pt x="f67" y="f693"/>
                  </a:lnTo>
                  <a:lnTo>
                    <a:pt x="f68" y="f690"/>
                  </a:lnTo>
                  <a:lnTo>
                    <a:pt x="f68" y="f691"/>
                  </a:lnTo>
                  <a:lnTo>
                    <a:pt x="f67" y="f695"/>
                  </a:lnTo>
                  <a:lnTo>
                    <a:pt x="f66" y="f695"/>
                  </a:lnTo>
                  <a:lnTo>
                    <a:pt x="f69" y="f691"/>
                  </a:lnTo>
                  <a:lnTo>
                    <a:pt x="f69" y="f690"/>
                  </a:lnTo>
                  <a:close/>
                  <a:moveTo>
                    <a:pt x="f70" y="f693"/>
                  </a:moveTo>
                  <a:lnTo>
                    <a:pt x="f71" y="f693"/>
                  </a:lnTo>
                  <a:lnTo>
                    <a:pt x="f72" y="f690"/>
                  </a:lnTo>
                  <a:lnTo>
                    <a:pt x="f72" y="f691"/>
                  </a:lnTo>
                  <a:lnTo>
                    <a:pt x="f71" y="f695"/>
                  </a:lnTo>
                  <a:lnTo>
                    <a:pt x="f70" y="f695"/>
                  </a:lnTo>
                  <a:lnTo>
                    <a:pt x="f73" y="f691"/>
                  </a:lnTo>
                  <a:lnTo>
                    <a:pt x="f73" y="f690"/>
                  </a:lnTo>
                  <a:close/>
                  <a:moveTo>
                    <a:pt x="f54" y="f696"/>
                  </a:moveTo>
                  <a:lnTo>
                    <a:pt x="f55" y="f696"/>
                  </a:lnTo>
                  <a:lnTo>
                    <a:pt x="f56" y="f697"/>
                  </a:lnTo>
                  <a:lnTo>
                    <a:pt x="f56" y="f698"/>
                  </a:lnTo>
                  <a:lnTo>
                    <a:pt x="f55" y="f699"/>
                  </a:lnTo>
                  <a:lnTo>
                    <a:pt x="f54" y="f699"/>
                  </a:lnTo>
                  <a:lnTo>
                    <a:pt x="f57" y="f698"/>
                  </a:lnTo>
                  <a:lnTo>
                    <a:pt x="f57" y="f697"/>
                  </a:lnTo>
                  <a:close/>
                  <a:moveTo>
                    <a:pt x="f58" y="f696"/>
                  </a:moveTo>
                  <a:lnTo>
                    <a:pt x="f59" y="f696"/>
                  </a:lnTo>
                  <a:lnTo>
                    <a:pt x="f60" y="f697"/>
                  </a:lnTo>
                  <a:lnTo>
                    <a:pt x="f60" y="f698"/>
                  </a:lnTo>
                  <a:lnTo>
                    <a:pt x="f59" y="f699"/>
                  </a:lnTo>
                  <a:lnTo>
                    <a:pt x="f58" y="f699"/>
                  </a:lnTo>
                  <a:lnTo>
                    <a:pt x="f61" y="f698"/>
                  </a:lnTo>
                  <a:lnTo>
                    <a:pt x="f61" y="f697"/>
                  </a:lnTo>
                  <a:close/>
                  <a:moveTo>
                    <a:pt x="f42" y="f700"/>
                  </a:moveTo>
                  <a:lnTo>
                    <a:pt x="f43" y="f700"/>
                  </a:lnTo>
                  <a:lnTo>
                    <a:pt x="f44" y="f701"/>
                  </a:lnTo>
                  <a:lnTo>
                    <a:pt x="f44" y="f698"/>
                  </a:lnTo>
                  <a:lnTo>
                    <a:pt x="f43" y="f699"/>
                  </a:lnTo>
                  <a:lnTo>
                    <a:pt x="f42" y="f699"/>
                  </a:lnTo>
                  <a:lnTo>
                    <a:pt x="f45" y="f698"/>
                  </a:lnTo>
                  <a:lnTo>
                    <a:pt x="f45" y="f701"/>
                  </a:lnTo>
                  <a:close/>
                  <a:moveTo>
                    <a:pt x="f46" y="f700"/>
                  </a:moveTo>
                  <a:lnTo>
                    <a:pt x="f47" y="f700"/>
                  </a:lnTo>
                  <a:lnTo>
                    <a:pt x="f48" y="f697"/>
                  </a:lnTo>
                  <a:lnTo>
                    <a:pt x="f48" y="f698"/>
                  </a:lnTo>
                  <a:lnTo>
                    <a:pt x="f47" y="f699"/>
                  </a:lnTo>
                  <a:lnTo>
                    <a:pt x="f46" y="f699"/>
                  </a:lnTo>
                  <a:lnTo>
                    <a:pt x="f49" y="f698"/>
                  </a:lnTo>
                  <a:lnTo>
                    <a:pt x="f49" y="f697"/>
                  </a:lnTo>
                  <a:close/>
                  <a:moveTo>
                    <a:pt x="f50" y="f700"/>
                  </a:moveTo>
                  <a:lnTo>
                    <a:pt x="f51" y="f700"/>
                  </a:lnTo>
                  <a:lnTo>
                    <a:pt x="f52" y="f697"/>
                  </a:lnTo>
                  <a:lnTo>
                    <a:pt x="f52" y="f698"/>
                  </a:lnTo>
                  <a:lnTo>
                    <a:pt x="f51" y="f699"/>
                  </a:lnTo>
                  <a:lnTo>
                    <a:pt x="f50" y="f699"/>
                  </a:lnTo>
                  <a:lnTo>
                    <a:pt x="f53" y="f698"/>
                  </a:lnTo>
                  <a:lnTo>
                    <a:pt x="f53" y="f697"/>
                  </a:lnTo>
                  <a:close/>
                  <a:moveTo>
                    <a:pt x="f35" y="f702"/>
                  </a:moveTo>
                  <a:lnTo>
                    <a:pt x="f37" y="f702"/>
                  </a:lnTo>
                  <a:lnTo>
                    <a:pt x="f6" y="f703"/>
                  </a:lnTo>
                  <a:lnTo>
                    <a:pt x="f6" y="f704"/>
                  </a:lnTo>
                  <a:lnTo>
                    <a:pt x="f37" y="f705"/>
                  </a:lnTo>
                  <a:lnTo>
                    <a:pt x="f35" y="f705"/>
                  </a:lnTo>
                  <a:lnTo>
                    <a:pt x="f41" y="f704"/>
                  </a:lnTo>
                  <a:lnTo>
                    <a:pt x="f41" y="f703"/>
                  </a:lnTo>
                  <a:close/>
                  <a:moveTo>
                    <a:pt x="f706" y="f707"/>
                  </a:moveTo>
                  <a:lnTo>
                    <a:pt x="f646" y="f707"/>
                  </a:lnTo>
                  <a:lnTo>
                    <a:pt x="f647" y="f708"/>
                  </a:lnTo>
                  <a:lnTo>
                    <a:pt x="f647" y="f709"/>
                  </a:lnTo>
                  <a:lnTo>
                    <a:pt x="f646" y="f710"/>
                  </a:lnTo>
                  <a:lnTo>
                    <a:pt x="f706" y="f710"/>
                  </a:lnTo>
                  <a:lnTo>
                    <a:pt x="f648" y="f709"/>
                  </a:lnTo>
                  <a:lnTo>
                    <a:pt x="f648" y="f708"/>
                  </a:lnTo>
                  <a:close/>
                  <a:moveTo>
                    <a:pt x="f649" y="f707"/>
                  </a:moveTo>
                  <a:lnTo>
                    <a:pt x="f711" y="f707"/>
                  </a:lnTo>
                  <a:lnTo>
                    <a:pt x="f712" y="f708"/>
                  </a:lnTo>
                  <a:lnTo>
                    <a:pt x="f712" y="f709"/>
                  </a:lnTo>
                  <a:lnTo>
                    <a:pt x="f711" y="f710"/>
                  </a:lnTo>
                  <a:lnTo>
                    <a:pt x="f649" y="f710"/>
                  </a:lnTo>
                  <a:lnTo>
                    <a:pt x="f713" y="f709"/>
                  </a:lnTo>
                  <a:lnTo>
                    <a:pt x="f713" y="f708"/>
                  </a:lnTo>
                  <a:close/>
                  <a:moveTo>
                    <a:pt x="f714" y="f707"/>
                  </a:moveTo>
                  <a:lnTo>
                    <a:pt x="f641" y="f707"/>
                  </a:lnTo>
                  <a:lnTo>
                    <a:pt x="f715" y="f716"/>
                  </a:lnTo>
                  <a:lnTo>
                    <a:pt x="f715" y="f717"/>
                  </a:lnTo>
                  <a:lnTo>
                    <a:pt x="f641" y="f718"/>
                  </a:lnTo>
                  <a:lnTo>
                    <a:pt x="f714" y="f718"/>
                  </a:lnTo>
                  <a:lnTo>
                    <a:pt x="f719" y="f717"/>
                  </a:lnTo>
                  <a:lnTo>
                    <a:pt x="f719" y="f716"/>
                  </a:lnTo>
                  <a:close/>
                  <a:moveTo>
                    <a:pt x="f720" y="f707"/>
                  </a:moveTo>
                  <a:lnTo>
                    <a:pt x="f721" y="f707"/>
                  </a:lnTo>
                  <a:lnTo>
                    <a:pt x="f644" y="f716"/>
                  </a:lnTo>
                  <a:lnTo>
                    <a:pt x="f644" y="f709"/>
                  </a:lnTo>
                  <a:lnTo>
                    <a:pt x="f721" y="f718"/>
                  </a:lnTo>
                  <a:lnTo>
                    <a:pt x="f720" y="f718"/>
                  </a:lnTo>
                  <a:lnTo>
                    <a:pt x="f645" y="f709"/>
                  </a:lnTo>
                  <a:lnTo>
                    <a:pt x="f645" y="f716"/>
                  </a:lnTo>
                  <a:close/>
                  <a:moveTo>
                    <a:pt x="f553" y="f722"/>
                  </a:moveTo>
                  <a:lnTo>
                    <a:pt x="f528" y="f722"/>
                  </a:lnTo>
                  <a:lnTo>
                    <a:pt x="f640" y="f723"/>
                  </a:lnTo>
                  <a:lnTo>
                    <a:pt x="f640" y="f724"/>
                  </a:lnTo>
                  <a:lnTo>
                    <a:pt x="f528" y="f725"/>
                  </a:lnTo>
                  <a:lnTo>
                    <a:pt x="f553" y="f725"/>
                  </a:lnTo>
                  <a:lnTo>
                    <a:pt x="f615" y="f724"/>
                  </a:lnTo>
                  <a:lnTo>
                    <a:pt x="f615" y="f723"/>
                  </a:lnTo>
                  <a:close/>
                  <a:moveTo>
                    <a:pt x="f614" y="f726"/>
                  </a:moveTo>
                  <a:lnTo>
                    <a:pt x="f581" y="f726"/>
                  </a:lnTo>
                  <a:lnTo>
                    <a:pt x="f549" y="f727"/>
                  </a:lnTo>
                  <a:lnTo>
                    <a:pt x="f549" y="f728"/>
                  </a:lnTo>
                  <a:lnTo>
                    <a:pt x="f581" y="f729"/>
                  </a:lnTo>
                  <a:lnTo>
                    <a:pt x="f614" y="f729"/>
                  </a:lnTo>
                  <a:lnTo>
                    <a:pt x="f730" y="f728"/>
                  </a:lnTo>
                  <a:lnTo>
                    <a:pt x="f730" y="f727"/>
                  </a:lnTo>
                  <a:close/>
                  <a:moveTo>
                    <a:pt x="f731" y="f732"/>
                  </a:moveTo>
                  <a:lnTo>
                    <a:pt x="f733" y="f732"/>
                  </a:lnTo>
                  <a:lnTo>
                    <a:pt x="f663" y="f734"/>
                  </a:lnTo>
                  <a:lnTo>
                    <a:pt x="f663" y="f735"/>
                  </a:lnTo>
                  <a:lnTo>
                    <a:pt x="f733" y="f736"/>
                  </a:lnTo>
                  <a:lnTo>
                    <a:pt x="f731" y="f736"/>
                  </a:lnTo>
                  <a:lnTo>
                    <a:pt x="f737" y="f735"/>
                  </a:lnTo>
                  <a:lnTo>
                    <a:pt x="f737" y="f734"/>
                  </a:lnTo>
                  <a:close/>
                  <a:moveTo>
                    <a:pt x="f738" y="f732"/>
                  </a:moveTo>
                  <a:lnTo>
                    <a:pt x="f654" y="f732"/>
                  </a:lnTo>
                  <a:lnTo>
                    <a:pt x="f739" y="f734"/>
                  </a:lnTo>
                  <a:lnTo>
                    <a:pt x="f739" y="f740"/>
                  </a:lnTo>
                  <a:lnTo>
                    <a:pt x="f654" y="f736"/>
                  </a:lnTo>
                  <a:lnTo>
                    <a:pt x="f738" y="f736"/>
                  </a:lnTo>
                  <a:lnTo>
                    <a:pt x="f741" y="f740"/>
                  </a:lnTo>
                  <a:lnTo>
                    <a:pt x="f741" y="f734"/>
                  </a:lnTo>
                  <a:close/>
                  <a:moveTo>
                    <a:pt x="f742" y="f732"/>
                  </a:moveTo>
                  <a:lnTo>
                    <a:pt x="f743" y="f732"/>
                  </a:lnTo>
                  <a:lnTo>
                    <a:pt x="f658" y="f734"/>
                  </a:lnTo>
                  <a:lnTo>
                    <a:pt x="f658" y="f735"/>
                  </a:lnTo>
                  <a:lnTo>
                    <a:pt x="f743" y="f736"/>
                  </a:lnTo>
                  <a:lnTo>
                    <a:pt x="f742" y="f736"/>
                  </a:lnTo>
                  <a:lnTo>
                    <a:pt x="f744" y="f735"/>
                  </a:lnTo>
                  <a:lnTo>
                    <a:pt x="f744" y="f734"/>
                  </a:lnTo>
                  <a:close/>
                  <a:moveTo>
                    <a:pt x="f745" y="f732"/>
                  </a:moveTo>
                  <a:lnTo>
                    <a:pt x="f660" y="f732"/>
                  </a:lnTo>
                  <a:lnTo>
                    <a:pt x="f661" y="f734"/>
                  </a:lnTo>
                  <a:lnTo>
                    <a:pt x="f661" y="f735"/>
                  </a:lnTo>
                  <a:lnTo>
                    <a:pt x="f660" y="f736"/>
                  </a:lnTo>
                  <a:lnTo>
                    <a:pt x="f745" y="f736"/>
                  </a:lnTo>
                  <a:lnTo>
                    <a:pt x="f746" y="f735"/>
                  </a:lnTo>
                  <a:lnTo>
                    <a:pt x="f746" y="f734"/>
                  </a:lnTo>
                  <a:close/>
                  <a:moveTo>
                    <a:pt x="f158" y="f747"/>
                  </a:moveTo>
                  <a:lnTo>
                    <a:pt x="f159" y="f747"/>
                  </a:lnTo>
                  <a:lnTo>
                    <a:pt x="f160" y="f748"/>
                  </a:lnTo>
                  <a:lnTo>
                    <a:pt x="f160" y="f749"/>
                  </a:lnTo>
                  <a:lnTo>
                    <a:pt x="f159" y="f750"/>
                  </a:lnTo>
                  <a:lnTo>
                    <a:pt x="f158" y="f750"/>
                  </a:lnTo>
                  <a:lnTo>
                    <a:pt x="f161" y="f749"/>
                  </a:lnTo>
                  <a:lnTo>
                    <a:pt x="f161" y="f748"/>
                  </a:lnTo>
                  <a:close/>
                  <a:moveTo>
                    <a:pt x="f142" y="f751"/>
                  </a:moveTo>
                  <a:lnTo>
                    <a:pt x="f143" y="f751"/>
                  </a:lnTo>
                  <a:lnTo>
                    <a:pt x="f144" y="f752"/>
                  </a:lnTo>
                  <a:lnTo>
                    <a:pt x="f144" y="f749"/>
                  </a:lnTo>
                  <a:lnTo>
                    <a:pt x="f143" y="f750"/>
                  </a:lnTo>
                  <a:lnTo>
                    <a:pt x="f142" y="f750"/>
                  </a:lnTo>
                  <a:lnTo>
                    <a:pt x="f145" y="f749"/>
                  </a:lnTo>
                  <a:lnTo>
                    <a:pt x="f145" y="f752"/>
                  </a:lnTo>
                  <a:close/>
                  <a:moveTo>
                    <a:pt x="f146" y="f751"/>
                  </a:moveTo>
                  <a:lnTo>
                    <a:pt x="f147" y="f751"/>
                  </a:lnTo>
                  <a:lnTo>
                    <a:pt x="f148" y="f748"/>
                  </a:lnTo>
                  <a:lnTo>
                    <a:pt x="f148" y="f749"/>
                  </a:lnTo>
                  <a:lnTo>
                    <a:pt x="f147" y="f750"/>
                  </a:lnTo>
                  <a:lnTo>
                    <a:pt x="f146" y="f750"/>
                  </a:lnTo>
                  <a:lnTo>
                    <a:pt x="f149" y="f749"/>
                  </a:lnTo>
                  <a:lnTo>
                    <a:pt x="f149" y="f748"/>
                  </a:lnTo>
                  <a:close/>
                  <a:moveTo>
                    <a:pt x="f150" y="f751"/>
                  </a:moveTo>
                  <a:lnTo>
                    <a:pt x="f151" y="f751"/>
                  </a:lnTo>
                  <a:lnTo>
                    <a:pt x="f152" y="f748"/>
                  </a:lnTo>
                  <a:lnTo>
                    <a:pt x="f152" y="f749"/>
                  </a:lnTo>
                  <a:lnTo>
                    <a:pt x="f151" y="f750"/>
                  </a:lnTo>
                  <a:lnTo>
                    <a:pt x="f150" y="f750"/>
                  </a:lnTo>
                  <a:lnTo>
                    <a:pt x="f153" y="f749"/>
                  </a:lnTo>
                  <a:lnTo>
                    <a:pt x="f153" y="f748"/>
                  </a:lnTo>
                  <a:close/>
                  <a:moveTo>
                    <a:pt x="f154" y="f751"/>
                  </a:moveTo>
                  <a:lnTo>
                    <a:pt x="f155" y="f751"/>
                  </a:lnTo>
                  <a:lnTo>
                    <a:pt x="f156" y="f748"/>
                  </a:lnTo>
                  <a:lnTo>
                    <a:pt x="f156" y="f749"/>
                  </a:lnTo>
                  <a:lnTo>
                    <a:pt x="f155" y="f750"/>
                  </a:lnTo>
                  <a:lnTo>
                    <a:pt x="f154" y="f750"/>
                  </a:lnTo>
                  <a:lnTo>
                    <a:pt x="f157" y="f749"/>
                  </a:lnTo>
                  <a:lnTo>
                    <a:pt x="f157" y="f748"/>
                  </a:lnTo>
                  <a:close/>
                  <a:moveTo>
                    <a:pt x="f138" y="f753"/>
                  </a:moveTo>
                  <a:lnTo>
                    <a:pt x="f139" y="f753"/>
                  </a:lnTo>
                  <a:lnTo>
                    <a:pt x="f140" y="f754"/>
                  </a:lnTo>
                  <a:lnTo>
                    <a:pt x="f140" y="f755"/>
                  </a:lnTo>
                  <a:lnTo>
                    <a:pt x="f139" y="f756"/>
                  </a:lnTo>
                  <a:lnTo>
                    <a:pt x="f138" y="f756"/>
                  </a:lnTo>
                  <a:lnTo>
                    <a:pt x="f141" y="f755"/>
                  </a:lnTo>
                  <a:lnTo>
                    <a:pt x="f141" y="f754"/>
                  </a:lnTo>
                  <a:close/>
                  <a:moveTo>
                    <a:pt x="f122" y="f757"/>
                  </a:moveTo>
                  <a:lnTo>
                    <a:pt x="f123" y="f757"/>
                  </a:lnTo>
                  <a:lnTo>
                    <a:pt x="f124" y="f758"/>
                  </a:lnTo>
                  <a:lnTo>
                    <a:pt x="f124" y="f755"/>
                  </a:lnTo>
                  <a:lnTo>
                    <a:pt x="f123" y="f756"/>
                  </a:lnTo>
                  <a:lnTo>
                    <a:pt x="f122" y="f756"/>
                  </a:lnTo>
                  <a:lnTo>
                    <a:pt x="f125" y="f755"/>
                  </a:lnTo>
                  <a:lnTo>
                    <a:pt x="f125" y="f758"/>
                  </a:lnTo>
                  <a:close/>
                  <a:moveTo>
                    <a:pt x="f126" y="f757"/>
                  </a:moveTo>
                  <a:lnTo>
                    <a:pt x="f127" y="f757"/>
                  </a:lnTo>
                  <a:lnTo>
                    <a:pt x="f128" y="f759"/>
                  </a:lnTo>
                  <a:lnTo>
                    <a:pt x="f128" y="f755"/>
                  </a:lnTo>
                  <a:lnTo>
                    <a:pt x="f127" y="f756"/>
                  </a:lnTo>
                  <a:lnTo>
                    <a:pt x="f126" y="f756"/>
                  </a:lnTo>
                  <a:lnTo>
                    <a:pt x="f129" y="f755"/>
                  </a:lnTo>
                  <a:lnTo>
                    <a:pt x="f129" y="f759"/>
                  </a:lnTo>
                  <a:close/>
                  <a:moveTo>
                    <a:pt x="f130" y="f757"/>
                  </a:moveTo>
                  <a:lnTo>
                    <a:pt x="f131" y="f757"/>
                  </a:lnTo>
                  <a:lnTo>
                    <a:pt x="f132" y="f759"/>
                  </a:lnTo>
                  <a:lnTo>
                    <a:pt x="f132" y="f755"/>
                  </a:lnTo>
                  <a:lnTo>
                    <a:pt x="f131" y="f756"/>
                  </a:lnTo>
                  <a:lnTo>
                    <a:pt x="f130" y="f756"/>
                  </a:lnTo>
                  <a:lnTo>
                    <a:pt x="f133" y="f755"/>
                  </a:lnTo>
                  <a:lnTo>
                    <a:pt x="f133" y="f759"/>
                  </a:lnTo>
                  <a:close/>
                  <a:moveTo>
                    <a:pt x="f134" y="f757"/>
                  </a:moveTo>
                  <a:lnTo>
                    <a:pt x="f135" y="f757"/>
                  </a:lnTo>
                  <a:lnTo>
                    <a:pt x="f136" y="f759"/>
                  </a:lnTo>
                  <a:lnTo>
                    <a:pt x="f136" y="f755"/>
                  </a:lnTo>
                  <a:lnTo>
                    <a:pt x="f135" y="f756"/>
                  </a:lnTo>
                  <a:lnTo>
                    <a:pt x="f134" y="f756"/>
                  </a:lnTo>
                  <a:lnTo>
                    <a:pt x="f137" y="f755"/>
                  </a:lnTo>
                  <a:lnTo>
                    <a:pt x="f137" y="f759"/>
                  </a:lnTo>
                  <a:close/>
                  <a:moveTo>
                    <a:pt x="f118" y="f760"/>
                  </a:moveTo>
                  <a:lnTo>
                    <a:pt x="f119" y="f760"/>
                  </a:lnTo>
                  <a:lnTo>
                    <a:pt x="f120" y="f761"/>
                  </a:lnTo>
                  <a:lnTo>
                    <a:pt x="f120" y="f762"/>
                  </a:lnTo>
                  <a:lnTo>
                    <a:pt x="f119" y="f763"/>
                  </a:lnTo>
                  <a:lnTo>
                    <a:pt x="f118" y="f763"/>
                  </a:lnTo>
                  <a:lnTo>
                    <a:pt x="f121" y="f762"/>
                  </a:lnTo>
                  <a:lnTo>
                    <a:pt x="f121" y="f761"/>
                  </a:lnTo>
                  <a:close/>
                  <a:moveTo>
                    <a:pt x="f106" y="f764"/>
                  </a:moveTo>
                  <a:lnTo>
                    <a:pt x="f107" y="f764"/>
                  </a:lnTo>
                  <a:lnTo>
                    <a:pt x="f108" y="f761"/>
                  </a:lnTo>
                  <a:lnTo>
                    <a:pt x="f108" y="f765"/>
                  </a:lnTo>
                  <a:lnTo>
                    <a:pt x="f107" y="f763"/>
                  </a:lnTo>
                  <a:lnTo>
                    <a:pt x="f106" y="f763"/>
                  </a:lnTo>
                  <a:lnTo>
                    <a:pt x="f109" y="f765"/>
                  </a:lnTo>
                  <a:lnTo>
                    <a:pt x="f109" y="f761"/>
                  </a:lnTo>
                  <a:close/>
                  <a:moveTo>
                    <a:pt x="f110" y="f764"/>
                  </a:moveTo>
                  <a:lnTo>
                    <a:pt x="f111" y="f764"/>
                  </a:lnTo>
                  <a:lnTo>
                    <a:pt x="f112" y="f761"/>
                  </a:lnTo>
                  <a:lnTo>
                    <a:pt x="f112" y="f762"/>
                  </a:lnTo>
                  <a:lnTo>
                    <a:pt x="f111" y="f763"/>
                  </a:lnTo>
                  <a:lnTo>
                    <a:pt x="f110" y="f763"/>
                  </a:lnTo>
                  <a:lnTo>
                    <a:pt x="f113" y="f762"/>
                  </a:lnTo>
                  <a:lnTo>
                    <a:pt x="f113" y="f761"/>
                  </a:lnTo>
                  <a:close/>
                  <a:moveTo>
                    <a:pt x="f114" y="f764"/>
                  </a:moveTo>
                  <a:lnTo>
                    <a:pt x="f115" y="f764"/>
                  </a:lnTo>
                  <a:lnTo>
                    <a:pt x="f116" y="f761"/>
                  </a:lnTo>
                  <a:lnTo>
                    <a:pt x="f116" y="f762"/>
                  </a:lnTo>
                  <a:lnTo>
                    <a:pt x="f115" y="f763"/>
                  </a:lnTo>
                  <a:lnTo>
                    <a:pt x="f114" y="f763"/>
                  </a:lnTo>
                  <a:lnTo>
                    <a:pt x="f117" y="f762"/>
                  </a:lnTo>
                  <a:lnTo>
                    <a:pt x="f117" y="f761"/>
                  </a:lnTo>
                  <a:close/>
                  <a:moveTo>
                    <a:pt x="f102" y="f766"/>
                  </a:moveTo>
                  <a:lnTo>
                    <a:pt x="f103" y="f766"/>
                  </a:lnTo>
                  <a:lnTo>
                    <a:pt x="f104" y="f767"/>
                  </a:lnTo>
                  <a:lnTo>
                    <a:pt x="f104" y="f765"/>
                  </a:lnTo>
                  <a:lnTo>
                    <a:pt x="f103" y="f763"/>
                  </a:lnTo>
                  <a:lnTo>
                    <a:pt x="f102" y="f763"/>
                  </a:lnTo>
                  <a:lnTo>
                    <a:pt x="f105" y="f765"/>
                  </a:lnTo>
                  <a:lnTo>
                    <a:pt x="f105" y="f767"/>
                  </a:lnTo>
                  <a:close/>
                  <a:moveTo>
                    <a:pt x="f98" y="f768"/>
                  </a:moveTo>
                  <a:lnTo>
                    <a:pt x="f99" y="f768"/>
                  </a:lnTo>
                  <a:lnTo>
                    <a:pt x="f100" y="f769"/>
                  </a:lnTo>
                  <a:lnTo>
                    <a:pt x="f100" y="f770"/>
                  </a:lnTo>
                  <a:lnTo>
                    <a:pt x="f99" y="f771"/>
                  </a:lnTo>
                  <a:lnTo>
                    <a:pt x="f98" y="f771"/>
                  </a:lnTo>
                  <a:lnTo>
                    <a:pt x="f101" y="f770"/>
                  </a:lnTo>
                  <a:lnTo>
                    <a:pt x="f101" y="f769"/>
                  </a:lnTo>
                  <a:close/>
                  <a:moveTo>
                    <a:pt x="f82" y="f768"/>
                  </a:moveTo>
                  <a:lnTo>
                    <a:pt x="f83" y="f768"/>
                  </a:lnTo>
                  <a:lnTo>
                    <a:pt x="f84" y="f772"/>
                  </a:lnTo>
                  <a:lnTo>
                    <a:pt x="f84" y="f773"/>
                  </a:lnTo>
                  <a:lnTo>
                    <a:pt x="f83" y="f771"/>
                  </a:lnTo>
                  <a:lnTo>
                    <a:pt x="f82" y="f771"/>
                  </a:lnTo>
                  <a:lnTo>
                    <a:pt x="f85" y="f773"/>
                  </a:lnTo>
                  <a:lnTo>
                    <a:pt x="f85" y="f772"/>
                  </a:lnTo>
                  <a:close/>
                  <a:moveTo>
                    <a:pt x="f86" y="f768"/>
                  </a:moveTo>
                  <a:lnTo>
                    <a:pt x="f87" y="f768"/>
                  </a:lnTo>
                  <a:lnTo>
                    <a:pt x="f88" y="f774"/>
                  </a:lnTo>
                  <a:lnTo>
                    <a:pt x="f88" y="f773"/>
                  </a:lnTo>
                  <a:lnTo>
                    <a:pt x="f87" y="f771"/>
                  </a:lnTo>
                  <a:lnTo>
                    <a:pt x="f86" y="f771"/>
                  </a:lnTo>
                  <a:lnTo>
                    <a:pt x="f89" y="f773"/>
                  </a:lnTo>
                  <a:lnTo>
                    <a:pt x="f89" y="f774"/>
                  </a:lnTo>
                  <a:close/>
                  <a:moveTo>
                    <a:pt x="f90" y="f768"/>
                  </a:moveTo>
                  <a:lnTo>
                    <a:pt x="f91" y="f768"/>
                  </a:lnTo>
                  <a:lnTo>
                    <a:pt x="f92" y="f774"/>
                  </a:lnTo>
                  <a:lnTo>
                    <a:pt x="f92" y="f770"/>
                  </a:lnTo>
                  <a:lnTo>
                    <a:pt x="f91" y="f771"/>
                  </a:lnTo>
                  <a:lnTo>
                    <a:pt x="f90" y="f771"/>
                  </a:lnTo>
                  <a:lnTo>
                    <a:pt x="f93" y="f770"/>
                  </a:lnTo>
                  <a:lnTo>
                    <a:pt x="f93" y="f774"/>
                  </a:lnTo>
                  <a:close/>
                  <a:moveTo>
                    <a:pt x="f94" y="f768"/>
                  </a:moveTo>
                  <a:lnTo>
                    <a:pt x="f95" y="f768"/>
                  </a:lnTo>
                  <a:lnTo>
                    <a:pt x="f96" y="f774"/>
                  </a:lnTo>
                  <a:lnTo>
                    <a:pt x="f96" y="f770"/>
                  </a:lnTo>
                  <a:lnTo>
                    <a:pt x="f95" y="f771"/>
                  </a:lnTo>
                  <a:lnTo>
                    <a:pt x="f94" y="f771"/>
                  </a:lnTo>
                  <a:lnTo>
                    <a:pt x="f97" y="f770"/>
                  </a:lnTo>
                  <a:lnTo>
                    <a:pt x="f97" y="f774"/>
                  </a:lnTo>
                  <a:close/>
                  <a:moveTo>
                    <a:pt x="f78" y="f775"/>
                  </a:moveTo>
                  <a:lnTo>
                    <a:pt x="f79" y="f775"/>
                  </a:lnTo>
                  <a:lnTo>
                    <a:pt x="f80" y="f776"/>
                  </a:lnTo>
                  <a:lnTo>
                    <a:pt x="f80" y="f777"/>
                  </a:lnTo>
                  <a:lnTo>
                    <a:pt x="f79" y="f778"/>
                  </a:lnTo>
                  <a:lnTo>
                    <a:pt x="f78" y="f778"/>
                  </a:lnTo>
                  <a:lnTo>
                    <a:pt x="f81" y="f777"/>
                  </a:lnTo>
                  <a:lnTo>
                    <a:pt x="f81" y="f776"/>
                  </a:lnTo>
                  <a:close/>
                  <a:moveTo>
                    <a:pt x="f66" y="f775"/>
                  </a:moveTo>
                  <a:lnTo>
                    <a:pt x="f67" y="f775"/>
                  </a:lnTo>
                  <a:lnTo>
                    <a:pt x="f68" y="f779"/>
                  </a:lnTo>
                  <a:lnTo>
                    <a:pt x="f68" y="f780"/>
                  </a:lnTo>
                  <a:lnTo>
                    <a:pt x="f67" y="f778"/>
                  </a:lnTo>
                  <a:lnTo>
                    <a:pt x="f66" y="f778"/>
                  </a:lnTo>
                  <a:lnTo>
                    <a:pt x="f69" y="f780"/>
                  </a:lnTo>
                  <a:lnTo>
                    <a:pt x="f69" y="f779"/>
                  </a:lnTo>
                  <a:close/>
                  <a:moveTo>
                    <a:pt x="f70" y="f775"/>
                  </a:moveTo>
                  <a:lnTo>
                    <a:pt x="f71" y="f775"/>
                  </a:lnTo>
                  <a:lnTo>
                    <a:pt x="f72" y="f779"/>
                  </a:lnTo>
                  <a:lnTo>
                    <a:pt x="f72" y="f777"/>
                  </a:lnTo>
                  <a:lnTo>
                    <a:pt x="f71" y="f778"/>
                  </a:lnTo>
                  <a:lnTo>
                    <a:pt x="f70" y="f778"/>
                  </a:lnTo>
                  <a:lnTo>
                    <a:pt x="f73" y="f777"/>
                  </a:lnTo>
                  <a:lnTo>
                    <a:pt x="f73" y="f779"/>
                  </a:lnTo>
                  <a:close/>
                  <a:moveTo>
                    <a:pt x="f74" y="f775"/>
                  </a:moveTo>
                  <a:lnTo>
                    <a:pt x="f75" y="f775"/>
                  </a:lnTo>
                  <a:lnTo>
                    <a:pt x="f76" y="f779"/>
                  </a:lnTo>
                  <a:lnTo>
                    <a:pt x="f76" y="f777"/>
                  </a:lnTo>
                  <a:lnTo>
                    <a:pt x="f75" y="f778"/>
                  </a:lnTo>
                  <a:lnTo>
                    <a:pt x="f74" y="f778"/>
                  </a:lnTo>
                  <a:lnTo>
                    <a:pt x="f77" y="f777"/>
                  </a:lnTo>
                  <a:lnTo>
                    <a:pt x="f77" y="f779"/>
                  </a:lnTo>
                  <a:close/>
                  <a:moveTo>
                    <a:pt x="f62" y="f781"/>
                  </a:moveTo>
                  <a:lnTo>
                    <a:pt x="f63" y="f781"/>
                  </a:lnTo>
                  <a:lnTo>
                    <a:pt x="f64" y="f779"/>
                  </a:lnTo>
                  <a:lnTo>
                    <a:pt x="f64" y="f780"/>
                  </a:lnTo>
                  <a:lnTo>
                    <a:pt x="f63" y="f778"/>
                  </a:lnTo>
                  <a:lnTo>
                    <a:pt x="f62" y="f778"/>
                  </a:lnTo>
                  <a:lnTo>
                    <a:pt x="f65" y="f780"/>
                  </a:lnTo>
                  <a:lnTo>
                    <a:pt x="f65" y="f779"/>
                  </a:lnTo>
                  <a:close/>
                  <a:moveTo>
                    <a:pt x="f58" y="f782"/>
                  </a:moveTo>
                  <a:lnTo>
                    <a:pt x="f59" y="f782"/>
                  </a:lnTo>
                  <a:lnTo>
                    <a:pt x="f60" y="f783"/>
                  </a:lnTo>
                  <a:lnTo>
                    <a:pt x="f60" y="f784"/>
                  </a:lnTo>
                  <a:lnTo>
                    <a:pt x="f59" y="f785"/>
                  </a:lnTo>
                  <a:lnTo>
                    <a:pt x="f58" y="f785"/>
                  </a:lnTo>
                  <a:lnTo>
                    <a:pt x="f61" y="f784"/>
                  </a:lnTo>
                  <a:lnTo>
                    <a:pt x="f61" y="f783"/>
                  </a:lnTo>
                  <a:close/>
                  <a:moveTo>
                    <a:pt x="f42" y="f782"/>
                  </a:moveTo>
                  <a:lnTo>
                    <a:pt x="f43" y="f782"/>
                  </a:lnTo>
                  <a:lnTo>
                    <a:pt x="f44" y="f786"/>
                  </a:lnTo>
                  <a:lnTo>
                    <a:pt x="f44" y="f787"/>
                  </a:lnTo>
                  <a:lnTo>
                    <a:pt x="f43" y="f785"/>
                  </a:lnTo>
                  <a:lnTo>
                    <a:pt x="f42" y="f785"/>
                  </a:lnTo>
                  <a:lnTo>
                    <a:pt x="f45" y="f787"/>
                  </a:lnTo>
                  <a:lnTo>
                    <a:pt x="f45" y="f786"/>
                  </a:lnTo>
                  <a:close/>
                  <a:moveTo>
                    <a:pt x="f46" y="f782"/>
                  </a:moveTo>
                  <a:lnTo>
                    <a:pt x="f47" y="f782"/>
                  </a:lnTo>
                  <a:lnTo>
                    <a:pt x="f48" y="f786"/>
                  </a:lnTo>
                  <a:lnTo>
                    <a:pt x="f48" y="f787"/>
                  </a:lnTo>
                  <a:lnTo>
                    <a:pt x="f47" y="f785"/>
                  </a:lnTo>
                  <a:lnTo>
                    <a:pt x="f46" y="f785"/>
                  </a:lnTo>
                  <a:lnTo>
                    <a:pt x="f49" y="f787"/>
                  </a:lnTo>
                  <a:lnTo>
                    <a:pt x="f49" y="f786"/>
                  </a:lnTo>
                  <a:close/>
                  <a:moveTo>
                    <a:pt x="f50" y="f782"/>
                  </a:moveTo>
                  <a:lnTo>
                    <a:pt x="f51" y="f782"/>
                  </a:lnTo>
                  <a:lnTo>
                    <a:pt x="f52" y="f786"/>
                  </a:lnTo>
                  <a:lnTo>
                    <a:pt x="f52" y="f784"/>
                  </a:lnTo>
                  <a:lnTo>
                    <a:pt x="f51" y="f785"/>
                  </a:lnTo>
                  <a:lnTo>
                    <a:pt x="f50" y="f785"/>
                  </a:lnTo>
                  <a:lnTo>
                    <a:pt x="f53" y="f784"/>
                  </a:lnTo>
                  <a:lnTo>
                    <a:pt x="f53" y="f786"/>
                  </a:lnTo>
                  <a:close/>
                  <a:moveTo>
                    <a:pt x="f54" y="f782"/>
                  </a:moveTo>
                  <a:lnTo>
                    <a:pt x="f55" y="f782"/>
                  </a:lnTo>
                  <a:lnTo>
                    <a:pt x="f56" y="f786"/>
                  </a:lnTo>
                  <a:lnTo>
                    <a:pt x="f56" y="f784"/>
                  </a:lnTo>
                  <a:lnTo>
                    <a:pt x="f55" y="f785"/>
                  </a:lnTo>
                  <a:lnTo>
                    <a:pt x="f54" y="f785"/>
                  </a:lnTo>
                  <a:lnTo>
                    <a:pt x="f57" y="f784"/>
                  </a:lnTo>
                  <a:lnTo>
                    <a:pt x="f57" y="f786"/>
                  </a:lnTo>
                  <a:close/>
                  <a:moveTo>
                    <a:pt x="f35" y="f788"/>
                  </a:moveTo>
                  <a:lnTo>
                    <a:pt x="f37" y="f788"/>
                  </a:lnTo>
                  <a:lnTo>
                    <a:pt x="f6" y="f789"/>
                  </a:lnTo>
                  <a:lnTo>
                    <a:pt x="f6" y="f790"/>
                  </a:lnTo>
                  <a:lnTo>
                    <a:pt x="f37" y="f791"/>
                  </a:lnTo>
                  <a:lnTo>
                    <a:pt x="f35" y="f791"/>
                  </a:lnTo>
                  <a:lnTo>
                    <a:pt x="f41" y="f790"/>
                  </a:lnTo>
                  <a:lnTo>
                    <a:pt x="f41" y="f789"/>
                  </a:lnTo>
                  <a:close/>
                  <a:moveTo>
                    <a:pt x="f792" y="f793"/>
                  </a:moveTo>
                  <a:lnTo>
                    <a:pt x="f794" y="f793"/>
                  </a:lnTo>
                  <a:lnTo>
                    <a:pt x="f795" y="f796"/>
                  </a:lnTo>
                  <a:lnTo>
                    <a:pt x="f795" y="f797"/>
                  </a:lnTo>
                  <a:lnTo>
                    <a:pt x="f794" y="f798"/>
                  </a:lnTo>
                  <a:lnTo>
                    <a:pt x="f792" y="f798"/>
                  </a:lnTo>
                  <a:lnTo>
                    <a:pt x="f799" y="f797"/>
                  </a:lnTo>
                  <a:lnTo>
                    <a:pt x="f799" y="f796"/>
                  </a:lnTo>
                  <a:close/>
                  <a:moveTo>
                    <a:pt x="f731" y="f793"/>
                  </a:moveTo>
                  <a:lnTo>
                    <a:pt x="f800" y="f793"/>
                  </a:lnTo>
                  <a:lnTo>
                    <a:pt x="f801" y="f796"/>
                  </a:lnTo>
                  <a:lnTo>
                    <a:pt x="f801" y="f797"/>
                  </a:lnTo>
                  <a:lnTo>
                    <a:pt x="f800" y="f798"/>
                  </a:lnTo>
                  <a:lnTo>
                    <a:pt x="f731" y="f798"/>
                  </a:lnTo>
                  <a:lnTo>
                    <a:pt x="f737" y="f797"/>
                  </a:lnTo>
                  <a:lnTo>
                    <a:pt x="f737" y="f796"/>
                  </a:lnTo>
                  <a:close/>
                  <a:moveTo>
                    <a:pt x="f738" y="f793"/>
                  </a:moveTo>
                  <a:lnTo>
                    <a:pt x="f802" y="f793"/>
                  </a:lnTo>
                  <a:lnTo>
                    <a:pt x="f803" y="f804"/>
                  </a:lnTo>
                  <a:lnTo>
                    <a:pt x="f803" y="f797"/>
                  </a:lnTo>
                  <a:lnTo>
                    <a:pt x="f802" y="f805"/>
                  </a:lnTo>
                  <a:lnTo>
                    <a:pt x="f738" y="f805"/>
                  </a:lnTo>
                  <a:lnTo>
                    <a:pt x="f806" y="f797"/>
                  </a:lnTo>
                  <a:lnTo>
                    <a:pt x="f806" y="f804"/>
                  </a:lnTo>
                  <a:close/>
                  <a:moveTo>
                    <a:pt x="f807" y="f793"/>
                  </a:moveTo>
                  <a:lnTo>
                    <a:pt x="f808" y="f793"/>
                  </a:lnTo>
                  <a:lnTo>
                    <a:pt x="f809" y="f804"/>
                  </a:lnTo>
                  <a:lnTo>
                    <a:pt x="f809" y="f797"/>
                  </a:lnTo>
                  <a:lnTo>
                    <a:pt x="f808" y="f805"/>
                  </a:lnTo>
                  <a:lnTo>
                    <a:pt x="f807" y="f805"/>
                  </a:lnTo>
                  <a:lnTo>
                    <a:pt x="f744" y="f797"/>
                  </a:lnTo>
                  <a:lnTo>
                    <a:pt x="f744" y="f804"/>
                  </a:lnTo>
                  <a:close/>
                  <a:moveTo>
                    <a:pt x="f810" y="f811"/>
                  </a:moveTo>
                  <a:lnTo>
                    <a:pt x="f812" y="f811"/>
                  </a:lnTo>
                  <a:lnTo>
                    <a:pt x="f715" y="f813"/>
                  </a:lnTo>
                  <a:lnTo>
                    <a:pt x="f715" y="f814"/>
                  </a:lnTo>
                  <a:lnTo>
                    <a:pt x="f812" y="f815"/>
                  </a:lnTo>
                  <a:lnTo>
                    <a:pt x="f810" y="f815"/>
                  </a:lnTo>
                  <a:lnTo>
                    <a:pt x="f719" y="f814"/>
                  </a:lnTo>
                  <a:lnTo>
                    <a:pt x="f719" y="f813"/>
                  </a:lnTo>
                  <a:close/>
                  <a:moveTo>
                    <a:pt x="f720" y="f811"/>
                  </a:moveTo>
                  <a:lnTo>
                    <a:pt x="f816" y="f811"/>
                  </a:lnTo>
                  <a:lnTo>
                    <a:pt x="f817" y="f813"/>
                  </a:lnTo>
                  <a:lnTo>
                    <a:pt x="f817" y="f814"/>
                  </a:lnTo>
                  <a:lnTo>
                    <a:pt x="f816" y="f818"/>
                  </a:lnTo>
                  <a:lnTo>
                    <a:pt x="f720" y="f818"/>
                  </a:lnTo>
                  <a:lnTo>
                    <a:pt x="f819" y="f814"/>
                  </a:lnTo>
                  <a:lnTo>
                    <a:pt x="f819" y="f813"/>
                  </a:lnTo>
                  <a:close/>
                  <a:moveTo>
                    <a:pt x="f706" y="f811"/>
                  </a:moveTo>
                  <a:lnTo>
                    <a:pt x="f820" y="f811"/>
                  </a:lnTo>
                  <a:lnTo>
                    <a:pt x="f821" y="f813"/>
                  </a:lnTo>
                  <a:lnTo>
                    <a:pt x="f821" y="f814"/>
                  </a:lnTo>
                  <a:lnTo>
                    <a:pt x="f820" y="f818"/>
                  </a:lnTo>
                  <a:lnTo>
                    <a:pt x="f706" y="f818"/>
                  </a:lnTo>
                  <a:lnTo>
                    <a:pt x="f822" y="f814"/>
                  </a:lnTo>
                  <a:lnTo>
                    <a:pt x="f822" y="f813"/>
                  </a:lnTo>
                  <a:close/>
                  <a:moveTo>
                    <a:pt x="f823" y="f811"/>
                  </a:moveTo>
                  <a:lnTo>
                    <a:pt x="f711" y="f811"/>
                  </a:lnTo>
                  <a:lnTo>
                    <a:pt x="f712" y="f813"/>
                  </a:lnTo>
                  <a:lnTo>
                    <a:pt x="f712" y="f814"/>
                  </a:lnTo>
                  <a:lnTo>
                    <a:pt x="f711" y="f818"/>
                  </a:lnTo>
                  <a:lnTo>
                    <a:pt x="f823" y="f818"/>
                  </a:lnTo>
                  <a:lnTo>
                    <a:pt x="f713" y="f814"/>
                  </a:lnTo>
                  <a:lnTo>
                    <a:pt x="f713" y="f813"/>
                  </a:lnTo>
                  <a:close/>
                  <a:moveTo>
                    <a:pt x="f553" y="f824"/>
                  </a:moveTo>
                  <a:lnTo>
                    <a:pt x="f825" y="f824"/>
                  </a:lnTo>
                  <a:lnTo>
                    <a:pt x="f640" y="f826"/>
                  </a:lnTo>
                  <a:lnTo>
                    <a:pt x="f640" y="f827"/>
                  </a:lnTo>
                  <a:lnTo>
                    <a:pt x="f825" y="f828"/>
                  </a:lnTo>
                  <a:lnTo>
                    <a:pt x="f553" y="f828"/>
                  </a:lnTo>
                  <a:lnTo>
                    <a:pt x="f615" y="f827"/>
                  </a:lnTo>
                  <a:lnTo>
                    <a:pt x="f615" y="f826"/>
                  </a:lnTo>
                  <a:close/>
                  <a:moveTo>
                    <a:pt x="f614" y="f829"/>
                  </a:moveTo>
                  <a:lnTo>
                    <a:pt x="f581" y="f829"/>
                  </a:lnTo>
                  <a:lnTo>
                    <a:pt x="f830" y="f831"/>
                  </a:lnTo>
                  <a:lnTo>
                    <a:pt x="f830" y="f832"/>
                  </a:lnTo>
                  <a:lnTo>
                    <a:pt x="f581" y="f833"/>
                  </a:lnTo>
                  <a:lnTo>
                    <a:pt x="f614" y="f833"/>
                  </a:lnTo>
                  <a:lnTo>
                    <a:pt x="f730" y="f832"/>
                  </a:lnTo>
                  <a:lnTo>
                    <a:pt x="f730" y="f831"/>
                  </a:lnTo>
                  <a:close/>
                  <a:moveTo>
                    <a:pt x="f150" y="f834"/>
                  </a:moveTo>
                  <a:lnTo>
                    <a:pt x="f151" y="f834"/>
                  </a:lnTo>
                  <a:lnTo>
                    <a:pt x="f152" y="f835"/>
                  </a:lnTo>
                  <a:lnTo>
                    <a:pt x="f152" y="f836"/>
                  </a:lnTo>
                  <a:lnTo>
                    <a:pt x="f151" y="f837"/>
                  </a:lnTo>
                  <a:lnTo>
                    <a:pt x="f150" y="f837"/>
                  </a:lnTo>
                  <a:lnTo>
                    <a:pt x="f153" y="f836"/>
                  </a:lnTo>
                  <a:lnTo>
                    <a:pt x="f153" y="f835"/>
                  </a:lnTo>
                  <a:close/>
                  <a:moveTo>
                    <a:pt x="f154" y="f834"/>
                  </a:moveTo>
                  <a:lnTo>
                    <a:pt x="f155" y="f834"/>
                  </a:lnTo>
                  <a:lnTo>
                    <a:pt x="f156" y="f835"/>
                  </a:lnTo>
                  <a:lnTo>
                    <a:pt x="f156" y="f836"/>
                  </a:lnTo>
                  <a:lnTo>
                    <a:pt x="f155" y="f837"/>
                  </a:lnTo>
                  <a:lnTo>
                    <a:pt x="f154" y="f837"/>
                  </a:lnTo>
                  <a:lnTo>
                    <a:pt x="f157" y="f836"/>
                  </a:lnTo>
                  <a:lnTo>
                    <a:pt x="f157" y="f835"/>
                  </a:lnTo>
                  <a:close/>
                  <a:moveTo>
                    <a:pt x="f158" y="f834"/>
                  </a:moveTo>
                  <a:lnTo>
                    <a:pt x="f159" y="f834"/>
                  </a:lnTo>
                  <a:lnTo>
                    <a:pt x="f160" y="f835"/>
                  </a:lnTo>
                  <a:lnTo>
                    <a:pt x="f160" y="f836"/>
                  </a:lnTo>
                  <a:lnTo>
                    <a:pt x="f159" y="f837"/>
                  </a:lnTo>
                  <a:lnTo>
                    <a:pt x="f158" y="f837"/>
                  </a:lnTo>
                  <a:lnTo>
                    <a:pt x="f161" y="f836"/>
                  </a:lnTo>
                  <a:lnTo>
                    <a:pt x="f161" y="f835"/>
                  </a:lnTo>
                  <a:close/>
                  <a:moveTo>
                    <a:pt x="f142" y="f838"/>
                  </a:moveTo>
                  <a:lnTo>
                    <a:pt x="f143" y="f838"/>
                  </a:lnTo>
                  <a:lnTo>
                    <a:pt x="f144" y="f839"/>
                  </a:lnTo>
                  <a:lnTo>
                    <a:pt x="f144" y="f836"/>
                  </a:lnTo>
                  <a:lnTo>
                    <a:pt x="f143" y="f840"/>
                  </a:lnTo>
                  <a:lnTo>
                    <a:pt x="f142" y="f840"/>
                  </a:lnTo>
                  <a:lnTo>
                    <a:pt x="f145" y="f836"/>
                  </a:lnTo>
                  <a:lnTo>
                    <a:pt x="f145" y="f839"/>
                  </a:lnTo>
                  <a:close/>
                  <a:moveTo>
                    <a:pt x="f146" y="f838"/>
                  </a:moveTo>
                  <a:lnTo>
                    <a:pt x="f147" y="f838"/>
                  </a:lnTo>
                  <a:lnTo>
                    <a:pt x="f148" y="f839"/>
                  </a:lnTo>
                  <a:lnTo>
                    <a:pt x="f148" y="f836"/>
                  </a:lnTo>
                  <a:lnTo>
                    <a:pt x="f147" y="f837"/>
                  </a:lnTo>
                  <a:lnTo>
                    <a:pt x="f146" y="f837"/>
                  </a:lnTo>
                  <a:lnTo>
                    <a:pt x="f149" y="f836"/>
                  </a:lnTo>
                  <a:lnTo>
                    <a:pt x="f149" y="f839"/>
                  </a:lnTo>
                  <a:close/>
                  <a:moveTo>
                    <a:pt x="f130" y="f841"/>
                  </a:moveTo>
                  <a:lnTo>
                    <a:pt x="f131" y="f841"/>
                  </a:lnTo>
                  <a:lnTo>
                    <a:pt x="f132" y="f842"/>
                  </a:lnTo>
                  <a:lnTo>
                    <a:pt x="f132" y="f843"/>
                  </a:lnTo>
                  <a:lnTo>
                    <a:pt x="f131" y="f844"/>
                  </a:lnTo>
                  <a:lnTo>
                    <a:pt x="f130" y="f844"/>
                  </a:lnTo>
                  <a:lnTo>
                    <a:pt x="f133" y="f843"/>
                  </a:lnTo>
                  <a:lnTo>
                    <a:pt x="f133" y="f842"/>
                  </a:lnTo>
                  <a:close/>
                  <a:moveTo>
                    <a:pt x="f134" y="f841"/>
                  </a:moveTo>
                  <a:lnTo>
                    <a:pt x="f135" y="f841"/>
                  </a:lnTo>
                  <a:lnTo>
                    <a:pt x="f136" y="f842"/>
                  </a:lnTo>
                  <a:lnTo>
                    <a:pt x="f136" y="f843"/>
                  </a:lnTo>
                  <a:lnTo>
                    <a:pt x="f135" y="f844"/>
                  </a:lnTo>
                  <a:lnTo>
                    <a:pt x="f134" y="f844"/>
                  </a:lnTo>
                  <a:lnTo>
                    <a:pt x="f137" y="f843"/>
                  </a:lnTo>
                  <a:lnTo>
                    <a:pt x="f137" y="f842"/>
                  </a:lnTo>
                  <a:close/>
                  <a:moveTo>
                    <a:pt x="f138" y="f841"/>
                  </a:moveTo>
                  <a:lnTo>
                    <a:pt x="f139" y="f841"/>
                  </a:lnTo>
                  <a:lnTo>
                    <a:pt x="f140" y="f842"/>
                  </a:lnTo>
                  <a:lnTo>
                    <a:pt x="f140" y="f843"/>
                  </a:lnTo>
                  <a:lnTo>
                    <a:pt x="f139" y="f844"/>
                  </a:lnTo>
                  <a:lnTo>
                    <a:pt x="f138" y="f844"/>
                  </a:lnTo>
                  <a:lnTo>
                    <a:pt x="f141" y="f843"/>
                  </a:lnTo>
                  <a:lnTo>
                    <a:pt x="f141" y="f842"/>
                  </a:lnTo>
                  <a:close/>
                  <a:moveTo>
                    <a:pt x="f122" y="f845"/>
                  </a:moveTo>
                  <a:lnTo>
                    <a:pt x="f123" y="f845"/>
                  </a:lnTo>
                  <a:lnTo>
                    <a:pt x="f124" y="f846"/>
                  </a:lnTo>
                  <a:lnTo>
                    <a:pt x="f124" y="f843"/>
                  </a:lnTo>
                  <a:lnTo>
                    <a:pt x="f123" y="f847"/>
                  </a:lnTo>
                  <a:lnTo>
                    <a:pt x="f122" y="f847"/>
                  </a:lnTo>
                  <a:lnTo>
                    <a:pt x="f125" y="f843"/>
                  </a:lnTo>
                  <a:lnTo>
                    <a:pt x="f125" y="f846"/>
                  </a:lnTo>
                  <a:close/>
                  <a:moveTo>
                    <a:pt x="f126" y="f845"/>
                  </a:moveTo>
                  <a:lnTo>
                    <a:pt x="f127" y="f845"/>
                  </a:lnTo>
                  <a:lnTo>
                    <a:pt x="f128" y="f846"/>
                  </a:lnTo>
                  <a:lnTo>
                    <a:pt x="f128" y="f843"/>
                  </a:lnTo>
                  <a:lnTo>
                    <a:pt x="f127" y="f844"/>
                  </a:lnTo>
                  <a:lnTo>
                    <a:pt x="f126" y="f844"/>
                  </a:lnTo>
                  <a:lnTo>
                    <a:pt x="f129" y="f843"/>
                  </a:lnTo>
                  <a:lnTo>
                    <a:pt x="f129" y="f846"/>
                  </a:lnTo>
                  <a:close/>
                  <a:moveTo>
                    <a:pt x="f110" y="f848"/>
                  </a:moveTo>
                  <a:lnTo>
                    <a:pt x="f111" y="f848"/>
                  </a:lnTo>
                  <a:lnTo>
                    <a:pt x="f112" y="f849"/>
                  </a:lnTo>
                  <a:lnTo>
                    <a:pt x="f112" y="f850"/>
                  </a:lnTo>
                  <a:lnTo>
                    <a:pt x="f111" y="f851"/>
                  </a:lnTo>
                  <a:lnTo>
                    <a:pt x="f110" y="f851"/>
                  </a:lnTo>
                  <a:lnTo>
                    <a:pt x="f113" y="f850"/>
                  </a:lnTo>
                  <a:lnTo>
                    <a:pt x="f113" y="f849"/>
                  </a:lnTo>
                  <a:close/>
                  <a:moveTo>
                    <a:pt x="f114" y="f848"/>
                  </a:moveTo>
                  <a:lnTo>
                    <a:pt x="f115" y="f848"/>
                  </a:lnTo>
                  <a:lnTo>
                    <a:pt x="f116" y="f849"/>
                  </a:lnTo>
                  <a:lnTo>
                    <a:pt x="f116" y="f850"/>
                  </a:lnTo>
                  <a:lnTo>
                    <a:pt x="f115" y="f851"/>
                  </a:lnTo>
                  <a:lnTo>
                    <a:pt x="f114" y="f851"/>
                  </a:lnTo>
                  <a:lnTo>
                    <a:pt x="f117" y="f850"/>
                  </a:lnTo>
                  <a:lnTo>
                    <a:pt x="f117" y="f849"/>
                  </a:lnTo>
                  <a:close/>
                  <a:moveTo>
                    <a:pt x="f118" y="f848"/>
                  </a:moveTo>
                  <a:lnTo>
                    <a:pt x="f119" y="f848"/>
                  </a:lnTo>
                  <a:lnTo>
                    <a:pt x="f120" y="f849"/>
                  </a:lnTo>
                  <a:lnTo>
                    <a:pt x="f120" y="f850"/>
                  </a:lnTo>
                  <a:lnTo>
                    <a:pt x="f119" y="f851"/>
                  </a:lnTo>
                  <a:lnTo>
                    <a:pt x="f118" y="f851"/>
                  </a:lnTo>
                  <a:lnTo>
                    <a:pt x="f121" y="f850"/>
                  </a:lnTo>
                  <a:lnTo>
                    <a:pt x="f121" y="f849"/>
                  </a:lnTo>
                  <a:close/>
                  <a:moveTo>
                    <a:pt x="f102" y="f852"/>
                  </a:moveTo>
                  <a:lnTo>
                    <a:pt x="f103" y="f852"/>
                  </a:lnTo>
                  <a:lnTo>
                    <a:pt x="f104" y="f853"/>
                  </a:lnTo>
                  <a:lnTo>
                    <a:pt x="f104" y="f850"/>
                  </a:lnTo>
                  <a:lnTo>
                    <a:pt x="f103" y="f851"/>
                  </a:lnTo>
                  <a:lnTo>
                    <a:pt x="f102" y="f851"/>
                  </a:lnTo>
                  <a:lnTo>
                    <a:pt x="f105" y="f850"/>
                  </a:lnTo>
                  <a:lnTo>
                    <a:pt x="f105" y="f853"/>
                  </a:lnTo>
                  <a:close/>
                  <a:moveTo>
                    <a:pt x="f106" y="f852"/>
                  </a:moveTo>
                  <a:lnTo>
                    <a:pt x="f107" y="f852"/>
                  </a:lnTo>
                  <a:lnTo>
                    <a:pt x="f108" y="f853"/>
                  </a:lnTo>
                  <a:lnTo>
                    <a:pt x="f108" y="f850"/>
                  </a:lnTo>
                  <a:lnTo>
                    <a:pt x="f107" y="f851"/>
                  </a:lnTo>
                  <a:lnTo>
                    <a:pt x="f106" y="f851"/>
                  </a:lnTo>
                  <a:lnTo>
                    <a:pt x="f109" y="f850"/>
                  </a:lnTo>
                  <a:lnTo>
                    <a:pt x="f109" y="f853"/>
                  </a:lnTo>
                  <a:close/>
                  <a:moveTo>
                    <a:pt x="f90" y="f854"/>
                  </a:moveTo>
                  <a:lnTo>
                    <a:pt x="f91" y="f854"/>
                  </a:lnTo>
                  <a:lnTo>
                    <a:pt x="f92" y="f855"/>
                  </a:lnTo>
                  <a:lnTo>
                    <a:pt x="f92" y="f856"/>
                  </a:lnTo>
                  <a:lnTo>
                    <a:pt x="f91" y="f857"/>
                  </a:lnTo>
                  <a:lnTo>
                    <a:pt x="f90" y="f857"/>
                  </a:lnTo>
                  <a:lnTo>
                    <a:pt x="f93" y="f856"/>
                  </a:lnTo>
                  <a:lnTo>
                    <a:pt x="f93" y="f855"/>
                  </a:lnTo>
                  <a:close/>
                  <a:moveTo>
                    <a:pt x="f94" y="f854"/>
                  </a:moveTo>
                  <a:lnTo>
                    <a:pt x="f95" y="f854"/>
                  </a:lnTo>
                  <a:lnTo>
                    <a:pt x="f96" y="f855"/>
                  </a:lnTo>
                  <a:lnTo>
                    <a:pt x="f96" y="f858"/>
                  </a:lnTo>
                  <a:lnTo>
                    <a:pt x="f95" y="f857"/>
                  </a:lnTo>
                  <a:lnTo>
                    <a:pt x="f94" y="f857"/>
                  </a:lnTo>
                  <a:lnTo>
                    <a:pt x="f97" y="f858"/>
                  </a:lnTo>
                  <a:lnTo>
                    <a:pt x="f97" y="f855"/>
                  </a:lnTo>
                  <a:close/>
                  <a:moveTo>
                    <a:pt x="f98" y="f854"/>
                  </a:moveTo>
                  <a:lnTo>
                    <a:pt x="f99" y="f854"/>
                  </a:lnTo>
                  <a:lnTo>
                    <a:pt x="f100" y="f855"/>
                  </a:lnTo>
                  <a:lnTo>
                    <a:pt x="f100" y="f858"/>
                  </a:lnTo>
                  <a:lnTo>
                    <a:pt x="f99" y="f859"/>
                  </a:lnTo>
                  <a:lnTo>
                    <a:pt x="f98" y="f859"/>
                  </a:lnTo>
                  <a:lnTo>
                    <a:pt x="f101" y="f858"/>
                  </a:lnTo>
                  <a:lnTo>
                    <a:pt x="f101" y="f855"/>
                  </a:lnTo>
                  <a:close/>
                  <a:moveTo>
                    <a:pt x="f82" y="f860"/>
                  </a:moveTo>
                  <a:lnTo>
                    <a:pt x="f83" y="f860"/>
                  </a:lnTo>
                  <a:lnTo>
                    <a:pt x="f84" y="f855"/>
                  </a:lnTo>
                  <a:lnTo>
                    <a:pt x="f84" y="f856"/>
                  </a:lnTo>
                  <a:lnTo>
                    <a:pt x="f83" y="f857"/>
                  </a:lnTo>
                  <a:lnTo>
                    <a:pt x="f82" y="f857"/>
                  </a:lnTo>
                  <a:lnTo>
                    <a:pt x="f85" y="f856"/>
                  </a:lnTo>
                  <a:lnTo>
                    <a:pt x="f85" y="f855"/>
                  </a:lnTo>
                  <a:close/>
                  <a:moveTo>
                    <a:pt x="f86" y="f860"/>
                  </a:moveTo>
                  <a:lnTo>
                    <a:pt x="f87" y="f860"/>
                  </a:lnTo>
                  <a:lnTo>
                    <a:pt x="f88" y="f855"/>
                  </a:lnTo>
                  <a:lnTo>
                    <a:pt x="f88" y="f856"/>
                  </a:lnTo>
                  <a:lnTo>
                    <a:pt x="f87" y="f857"/>
                  </a:lnTo>
                  <a:lnTo>
                    <a:pt x="f86" y="f857"/>
                  </a:lnTo>
                  <a:lnTo>
                    <a:pt x="f89" y="f856"/>
                  </a:lnTo>
                  <a:lnTo>
                    <a:pt x="f89" y="f855"/>
                  </a:lnTo>
                  <a:close/>
                  <a:moveTo>
                    <a:pt x="f62" y="f861"/>
                  </a:moveTo>
                  <a:lnTo>
                    <a:pt x="f63" y="f861"/>
                  </a:lnTo>
                  <a:lnTo>
                    <a:pt x="f64" y="f862"/>
                  </a:lnTo>
                  <a:lnTo>
                    <a:pt x="f64" y="f863"/>
                  </a:lnTo>
                  <a:lnTo>
                    <a:pt x="f63" y="f864"/>
                  </a:lnTo>
                  <a:lnTo>
                    <a:pt x="f62" y="f864"/>
                  </a:lnTo>
                  <a:lnTo>
                    <a:pt x="f65" y="f863"/>
                  </a:lnTo>
                  <a:lnTo>
                    <a:pt x="f65" y="f862"/>
                  </a:lnTo>
                  <a:close/>
                  <a:moveTo>
                    <a:pt x="f66" y="f861"/>
                  </a:moveTo>
                  <a:lnTo>
                    <a:pt x="f67" y="f861"/>
                  </a:lnTo>
                  <a:lnTo>
                    <a:pt x="f68" y="f862"/>
                  </a:lnTo>
                  <a:lnTo>
                    <a:pt x="f68" y="f863"/>
                  </a:lnTo>
                  <a:lnTo>
                    <a:pt x="f67" y="f864"/>
                  </a:lnTo>
                  <a:lnTo>
                    <a:pt x="f66" y="f864"/>
                  </a:lnTo>
                  <a:lnTo>
                    <a:pt x="f69" y="f863"/>
                  </a:lnTo>
                  <a:lnTo>
                    <a:pt x="f69" y="f862"/>
                  </a:lnTo>
                  <a:close/>
                  <a:moveTo>
                    <a:pt x="f70" y="f861"/>
                  </a:moveTo>
                  <a:lnTo>
                    <a:pt x="f71" y="f861"/>
                  </a:lnTo>
                  <a:lnTo>
                    <a:pt x="f72" y="f862"/>
                  </a:lnTo>
                  <a:lnTo>
                    <a:pt x="f72" y="f863"/>
                  </a:lnTo>
                  <a:lnTo>
                    <a:pt x="f71" y="f864"/>
                  </a:lnTo>
                  <a:lnTo>
                    <a:pt x="f70" y="f864"/>
                  </a:lnTo>
                  <a:lnTo>
                    <a:pt x="f73" y="f863"/>
                  </a:lnTo>
                  <a:lnTo>
                    <a:pt x="f73" y="f862"/>
                  </a:lnTo>
                  <a:close/>
                  <a:moveTo>
                    <a:pt x="f74" y="f861"/>
                  </a:moveTo>
                  <a:lnTo>
                    <a:pt x="f75" y="f861"/>
                  </a:lnTo>
                  <a:lnTo>
                    <a:pt x="f76" y="f862"/>
                  </a:lnTo>
                  <a:lnTo>
                    <a:pt x="f76" y="f865"/>
                  </a:lnTo>
                  <a:lnTo>
                    <a:pt x="f75" y="f864"/>
                  </a:lnTo>
                  <a:lnTo>
                    <a:pt x="f74" y="f864"/>
                  </a:lnTo>
                  <a:lnTo>
                    <a:pt x="f77" y="f865"/>
                  </a:lnTo>
                  <a:lnTo>
                    <a:pt x="f77" y="f862"/>
                  </a:lnTo>
                  <a:close/>
                  <a:moveTo>
                    <a:pt x="f78" y="f861"/>
                  </a:moveTo>
                  <a:lnTo>
                    <a:pt x="f79" y="f861"/>
                  </a:lnTo>
                  <a:lnTo>
                    <a:pt x="f80" y="f862"/>
                  </a:lnTo>
                  <a:lnTo>
                    <a:pt x="f80" y="f865"/>
                  </a:lnTo>
                  <a:lnTo>
                    <a:pt x="f79" y="f866"/>
                  </a:lnTo>
                  <a:lnTo>
                    <a:pt x="f78" y="f866"/>
                  </a:lnTo>
                  <a:lnTo>
                    <a:pt x="f81" y="f865"/>
                  </a:lnTo>
                  <a:lnTo>
                    <a:pt x="f81" y="f862"/>
                  </a:lnTo>
                  <a:close/>
                  <a:moveTo>
                    <a:pt x="f42" y="f867"/>
                  </a:moveTo>
                  <a:lnTo>
                    <a:pt x="f43" y="f867"/>
                  </a:lnTo>
                  <a:lnTo>
                    <a:pt x="f44" y="f868"/>
                  </a:lnTo>
                  <a:lnTo>
                    <a:pt x="f44" y="f869"/>
                  </a:lnTo>
                  <a:lnTo>
                    <a:pt x="f43" y="f870"/>
                  </a:lnTo>
                  <a:lnTo>
                    <a:pt x="f42" y="f870"/>
                  </a:lnTo>
                  <a:lnTo>
                    <a:pt x="f45" y="f869"/>
                  </a:lnTo>
                  <a:lnTo>
                    <a:pt x="f45" y="f868"/>
                  </a:lnTo>
                  <a:close/>
                  <a:moveTo>
                    <a:pt x="f46" y="f867"/>
                  </a:moveTo>
                  <a:lnTo>
                    <a:pt x="f47" y="f867"/>
                  </a:lnTo>
                  <a:lnTo>
                    <a:pt x="f48" y="f868"/>
                  </a:lnTo>
                  <a:lnTo>
                    <a:pt x="f48" y="f869"/>
                  </a:lnTo>
                  <a:lnTo>
                    <a:pt x="f47" y="f871"/>
                  </a:lnTo>
                  <a:lnTo>
                    <a:pt x="f46" y="f871"/>
                  </a:lnTo>
                  <a:lnTo>
                    <a:pt x="f49" y="f869"/>
                  </a:lnTo>
                  <a:lnTo>
                    <a:pt x="f49" y="f868"/>
                  </a:lnTo>
                  <a:close/>
                  <a:moveTo>
                    <a:pt x="f50" y="f867"/>
                  </a:moveTo>
                  <a:lnTo>
                    <a:pt x="f51" y="f867"/>
                  </a:lnTo>
                  <a:lnTo>
                    <a:pt x="f52" y="f872"/>
                  </a:lnTo>
                  <a:lnTo>
                    <a:pt x="f52" y="f869"/>
                  </a:lnTo>
                  <a:lnTo>
                    <a:pt x="f51" y="f871"/>
                  </a:lnTo>
                  <a:lnTo>
                    <a:pt x="f50" y="f871"/>
                  </a:lnTo>
                  <a:lnTo>
                    <a:pt x="f53" y="f869"/>
                  </a:lnTo>
                  <a:lnTo>
                    <a:pt x="f53" y="f872"/>
                  </a:lnTo>
                  <a:close/>
                  <a:moveTo>
                    <a:pt x="f54" y="f867"/>
                  </a:moveTo>
                  <a:lnTo>
                    <a:pt x="f55" y="f867"/>
                  </a:lnTo>
                  <a:lnTo>
                    <a:pt x="f56" y="f872"/>
                  </a:lnTo>
                  <a:lnTo>
                    <a:pt x="f56" y="f873"/>
                  </a:lnTo>
                  <a:lnTo>
                    <a:pt x="f55" y="f871"/>
                  </a:lnTo>
                  <a:lnTo>
                    <a:pt x="f54" y="f871"/>
                  </a:lnTo>
                  <a:lnTo>
                    <a:pt x="f57" y="f873"/>
                  </a:lnTo>
                  <a:lnTo>
                    <a:pt x="f57" y="f872"/>
                  </a:lnTo>
                  <a:close/>
                  <a:moveTo>
                    <a:pt x="f58" y="f867"/>
                  </a:moveTo>
                  <a:lnTo>
                    <a:pt x="f59" y="f867"/>
                  </a:lnTo>
                  <a:lnTo>
                    <a:pt x="f60" y="f872"/>
                  </a:lnTo>
                  <a:lnTo>
                    <a:pt x="f60" y="f873"/>
                  </a:lnTo>
                  <a:lnTo>
                    <a:pt x="f59" y="f871"/>
                  </a:lnTo>
                  <a:lnTo>
                    <a:pt x="f58" y="f871"/>
                  </a:lnTo>
                  <a:lnTo>
                    <a:pt x="f61" y="f873"/>
                  </a:lnTo>
                  <a:lnTo>
                    <a:pt x="f61" y="f872"/>
                  </a:lnTo>
                  <a:close/>
                  <a:moveTo>
                    <a:pt x="f874" y="f875"/>
                  </a:moveTo>
                  <a:lnTo>
                    <a:pt x="f876" y="f875"/>
                  </a:lnTo>
                  <a:lnTo>
                    <a:pt x="f877" y="f878"/>
                  </a:lnTo>
                  <a:lnTo>
                    <a:pt x="f877" y="f879"/>
                  </a:lnTo>
                  <a:lnTo>
                    <a:pt x="f876" y="f880"/>
                  </a:lnTo>
                  <a:lnTo>
                    <a:pt x="f874" y="f880"/>
                  </a:lnTo>
                  <a:lnTo>
                    <a:pt x="f881" y="f879"/>
                  </a:lnTo>
                  <a:lnTo>
                    <a:pt x="f881" y="f878"/>
                  </a:lnTo>
                  <a:close/>
                  <a:moveTo>
                    <a:pt x="f810" y="f882"/>
                  </a:moveTo>
                  <a:lnTo>
                    <a:pt x="f883" y="f882"/>
                  </a:lnTo>
                  <a:lnTo>
                    <a:pt x="f884" y="f878"/>
                  </a:lnTo>
                  <a:lnTo>
                    <a:pt x="f884" y="f879"/>
                  </a:lnTo>
                  <a:lnTo>
                    <a:pt x="f883" y="f880"/>
                  </a:lnTo>
                  <a:lnTo>
                    <a:pt x="f810" y="f880"/>
                  </a:lnTo>
                  <a:lnTo>
                    <a:pt x="f885" y="f879"/>
                  </a:lnTo>
                  <a:lnTo>
                    <a:pt x="f885" y="f878"/>
                  </a:lnTo>
                  <a:close/>
                  <a:moveTo>
                    <a:pt x="f886" y="f882"/>
                  </a:moveTo>
                  <a:lnTo>
                    <a:pt x="f816" y="f882"/>
                  </a:lnTo>
                  <a:lnTo>
                    <a:pt x="f887" y="f878"/>
                  </a:lnTo>
                  <a:lnTo>
                    <a:pt x="f887" y="f879"/>
                  </a:lnTo>
                  <a:lnTo>
                    <a:pt x="f816" y="f880"/>
                  </a:lnTo>
                  <a:lnTo>
                    <a:pt x="f886" y="f880"/>
                  </a:lnTo>
                  <a:lnTo>
                    <a:pt x="f888" y="f879"/>
                  </a:lnTo>
                  <a:lnTo>
                    <a:pt x="f888" y="f878"/>
                  </a:lnTo>
                  <a:close/>
                  <a:moveTo>
                    <a:pt x="f889" y="f882"/>
                  </a:moveTo>
                  <a:lnTo>
                    <a:pt x="f890" y="f882"/>
                  </a:lnTo>
                  <a:lnTo>
                    <a:pt x="f821" y="f878"/>
                  </a:lnTo>
                  <a:lnTo>
                    <a:pt x="f821" y="f879"/>
                  </a:lnTo>
                  <a:lnTo>
                    <a:pt x="f890" y="f880"/>
                  </a:lnTo>
                  <a:lnTo>
                    <a:pt x="f889" y="f880"/>
                  </a:lnTo>
                  <a:lnTo>
                    <a:pt x="f891" y="f879"/>
                  </a:lnTo>
                  <a:lnTo>
                    <a:pt x="f891" y="f878"/>
                  </a:lnTo>
                  <a:close/>
                  <a:moveTo>
                    <a:pt x="f35" y="f892"/>
                  </a:moveTo>
                  <a:lnTo>
                    <a:pt x="f37" y="f892"/>
                  </a:lnTo>
                  <a:lnTo>
                    <a:pt x="f6" y="f893"/>
                  </a:lnTo>
                  <a:lnTo>
                    <a:pt x="f6" y="f894"/>
                  </a:lnTo>
                  <a:lnTo>
                    <a:pt x="f37" y="f895"/>
                  </a:lnTo>
                  <a:lnTo>
                    <a:pt x="f35" y="f895"/>
                  </a:lnTo>
                  <a:lnTo>
                    <a:pt x="f41" y="f894"/>
                  </a:lnTo>
                  <a:lnTo>
                    <a:pt x="f41" y="f893"/>
                  </a:lnTo>
                  <a:close/>
                  <a:moveTo>
                    <a:pt x="f896" y="f897"/>
                  </a:moveTo>
                  <a:lnTo>
                    <a:pt x="f825" y="f897"/>
                  </a:lnTo>
                  <a:lnTo>
                    <a:pt x="f640" y="f898"/>
                  </a:lnTo>
                  <a:lnTo>
                    <a:pt x="f640" y="f899"/>
                  </a:lnTo>
                  <a:lnTo>
                    <a:pt x="f825" y="f900"/>
                  </a:lnTo>
                  <a:lnTo>
                    <a:pt x="f896" y="f900"/>
                  </a:lnTo>
                  <a:lnTo>
                    <a:pt x="f615" y="f899"/>
                  </a:lnTo>
                  <a:lnTo>
                    <a:pt x="f615" y="f898"/>
                  </a:lnTo>
                  <a:close/>
                  <a:moveTo>
                    <a:pt x="f614" y="f901"/>
                  </a:moveTo>
                  <a:lnTo>
                    <a:pt x="f581" y="f901"/>
                  </a:lnTo>
                  <a:lnTo>
                    <a:pt x="f830" y="f902"/>
                  </a:lnTo>
                  <a:lnTo>
                    <a:pt x="f830" y="f903"/>
                  </a:lnTo>
                  <a:lnTo>
                    <a:pt x="f581" y="f904"/>
                  </a:lnTo>
                  <a:lnTo>
                    <a:pt x="f614" y="f904"/>
                  </a:lnTo>
                  <a:lnTo>
                    <a:pt x="f730" y="f903"/>
                  </a:lnTo>
                  <a:lnTo>
                    <a:pt x="f730" y="f902"/>
                  </a:lnTo>
                  <a:close/>
                  <a:moveTo>
                    <a:pt x="f792" y="f905"/>
                  </a:moveTo>
                  <a:lnTo>
                    <a:pt x="f906" y="f905"/>
                  </a:lnTo>
                  <a:lnTo>
                    <a:pt x="f907" y="f908"/>
                  </a:lnTo>
                  <a:lnTo>
                    <a:pt x="f907" y="f812"/>
                  </a:lnTo>
                  <a:lnTo>
                    <a:pt x="f906" y="f909"/>
                  </a:lnTo>
                  <a:lnTo>
                    <a:pt x="f792" y="f909"/>
                  </a:lnTo>
                  <a:lnTo>
                    <a:pt x="f799" y="f812"/>
                  </a:lnTo>
                  <a:lnTo>
                    <a:pt x="f799" y="f908"/>
                  </a:lnTo>
                  <a:close/>
                  <a:moveTo>
                    <a:pt x="f910" y="f905"/>
                  </a:moveTo>
                  <a:lnTo>
                    <a:pt x="f800" y="f905"/>
                  </a:lnTo>
                  <a:lnTo>
                    <a:pt x="f801" y="f908"/>
                  </a:lnTo>
                  <a:lnTo>
                    <a:pt x="f801" y="f812"/>
                  </a:lnTo>
                  <a:lnTo>
                    <a:pt x="f800" y="f909"/>
                  </a:lnTo>
                  <a:lnTo>
                    <a:pt x="f910" y="f909"/>
                  </a:lnTo>
                  <a:lnTo>
                    <a:pt x="f911" y="f812"/>
                  </a:lnTo>
                  <a:lnTo>
                    <a:pt x="f911" y="f908"/>
                  </a:lnTo>
                  <a:close/>
                  <a:moveTo>
                    <a:pt x="f912" y="f905"/>
                  </a:moveTo>
                  <a:lnTo>
                    <a:pt x="f802" y="f905"/>
                  </a:lnTo>
                  <a:lnTo>
                    <a:pt x="f913" y="f908"/>
                  </a:lnTo>
                  <a:lnTo>
                    <a:pt x="f913" y="f812"/>
                  </a:lnTo>
                  <a:lnTo>
                    <a:pt x="f802" y="f909"/>
                  </a:lnTo>
                  <a:lnTo>
                    <a:pt x="f912" y="f909"/>
                  </a:lnTo>
                  <a:lnTo>
                    <a:pt x="f914" y="f812"/>
                  </a:lnTo>
                  <a:lnTo>
                    <a:pt x="f914" y="f908"/>
                  </a:lnTo>
                  <a:close/>
                  <a:moveTo>
                    <a:pt x="f807" y="f905"/>
                  </a:moveTo>
                  <a:lnTo>
                    <a:pt x="f915" y="f905"/>
                  </a:lnTo>
                  <a:lnTo>
                    <a:pt x="f809" y="f908"/>
                  </a:lnTo>
                  <a:lnTo>
                    <a:pt x="f809" y="f812"/>
                  </a:lnTo>
                  <a:lnTo>
                    <a:pt x="f915" y="f909"/>
                  </a:lnTo>
                  <a:lnTo>
                    <a:pt x="f807" y="f909"/>
                  </a:lnTo>
                  <a:lnTo>
                    <a:pt x="f916" y="f812"/>
                  </a:lnTo>
                  <a:lnTo>
                    <a:pt x="f916" y="f908"/>
                  </a:lnTo>
                  <a:close/>
                  <a:moveTo>
                    <a:pt x="f158" y="f917"/>
                  </a:moveTo>
                  <a:lnTo>
                    <a:pt x="f159" y="f917"/>
                  </a:lnTo>
                  <a:lnTo>
                    <a:pt x="f160" y="f918"/>
                  </a:lnTo>
                  <a:lnTo>
                    <a:pt x="f160" y="f919"/>
                  </a:lnTo>
                  <a:lnTo>
                    <a:pt x="f159" y="f920"/>
                  </a:lnTo>
                  <a:lnTo>
                    <a:pt x="f158" y="f920"/>
                  </a:lnTo>
                  <a:lnTo>
                    <a:pt x="f161" y="f919"/>
                  </a:lnTo>
                  <a:lnTo>
                    <a:pt x="f161" y="f918"/>
                  </a:lnTo>
                  <a:close/>
                  <a:moveTo>
                    <a:pt x="f142" y="f921"/>
                  </a:moveTo>
                  <a:lnTo>
                    <a:pt x="f143" y="f921"/>
                  </a:lnTo>
                  <a:lnTo>
                    <a:pt x="f144" y="f918"/>
                  </a:lnTo>
                  <a:lnTo>
                    <a:pt x="f144" y="f922"/>
                  </a:lnTo>
                  <a:lnTo>
                    <a:pt x="f143" y="f920"/>
                  </a:lnTo>
                  <a:lnTo>
                    <a:pt x="f142" y="f920"/>
                  </a:lnTo>
                  <a:lnTo>
                    <a:pt x="f145" y="f922"/>
                  </a:lnTo>
                  <a:lnTo>
                    <a:pt x="f145" y="f918"/>
                  </a:lnTo>
                  <a:close/>
                  <a:moveTo>
                    <a:pt x="f146" y="f921"/>
                  </a:moveTo>
                  <a:lnTo>
                    <a:pt x="f147" y="f921"/>
                  </a:lnTo>
                  <a:lnTo>
                    <a:pt x="f148" y="f918"/>
                  </a:lnTo>
                  <a:lnTo>
                    <a:pt x="f148" y="f919"/>
                  </a:lnTo>
                  <a:lnTo>
                    <a:pt x="f147" y="f920"/>
                  </a:lnTo>
                  <a:lnTo>
                    <a:pt x="f146" y="f920"/>
                  </a:lnTo>
                  <a:lnTo>
                    <a:pt x="f149" y="f919"/>
                  </a:lnTo>
                  <a:lnTo>
                    <a:pt x="f149" y="f918"/>
                  </a:lnTo>
                  <a:close/>
                  <a:moveTo>
                    <a:pt x="f150" y="f921"/>
                  </a:moveTo>
                  <a:lnTo>
                    <a:pt x="f151" y="f921"/>
                  </a:lnTo>
                  <a:lnTo>
                    <a:pt x="f152" y="f918"/>
                  </a:lnTo>
                  <a:lnTo>
                    <a:pt x="f152" y="f919"/>
                  </a:lnTo>
                  <a:lnTo>
                    <a:pt x="f151" y="f920"/>
                  </a:lnTo>
                  <a:lnTo>
                    <a:pt x="f150" y="f920"/>
                  </a:lnTo>
                  <a:lnTo>
                    <a:pt x="f153" y="f919"/>
                  </a:lnTo>
                  <a:lnTo>
                    <a:pt x="f153" y="f918"/>
                  </a:lnTo>
                  <a:close/>
                  <a:moveTo>
                    <a:pt x="f154" y="f921"/>
                  </a:moveTo>
                  <a:lnTo>
                    <a:pt x="f155" y="f921"/>
                  </a:lnTo>
                  <a:lnTo>
                    <a:pt x="f156" y="f918"/>
                  </a:lnTo>
                  <a:lnTo>
                    <a:pt x="f156" y="f919"/>
                  </a:lnTo>
                  <a:lnTo>
                    <a:pt x="f155" y="f920"/>
                  </a:lnTo>
                  <a:lnTo>
                    <a:pt x="f154" y="f920"/>
                  </a:lnTo>
                  <a:lnTo>
                    <a:pt x="f157" y="f919"/>
                  </a:lnTo>
                  <a:lnTo>
                    <a:pt x="f157" y="f918"/>
                  </a:lnTo>
                  <a:close/>
                  <a:moveTo>
                    <a:pt x="f138" y="f923"/>
                  </a:moveTo>
                  <a:lnTo>
                    <a:pt x="f139" y="f923"/>
                  </a:lnTo>
                  <a:lnTo>
                    <a:pt x="f140" y="f924"/>
                  </a:lnTo>
                  <a:lnTo>
                    <a:pt x="f140" y="f925"/>
                  </a:lnTo>
                  <a:lnTo>
                    <a:pt x="f139" y="f926"/>
                  </a:lnTo>
                  <a:lnTo>
                    <a:pt x="f138" y="f926"/>
                  </a:lnTo>
                  <a:lnTo>
                    <a:pt x="f141" y="f925"/>
                  </a:lnTo>
                  <a:lnTo>
                    <a:pt x="f141" y="f924"/>
                  </a:lnTo>
                  <a:close/>
                  <a:moveTo>
                    <a:pt x="f122" y="f923"/>
                  </a:moveTo>
                  <a:lnTo>
                    <a:pt x="f123" y="f923"/>
                  </a:lnTo>
                  <a:lnTo>
                    <a:pt x="f124" y="f924"/>
                  </a:lnTo>
                  <a:lnTo>
                    <a:pt x="f124" y="f925"/>
                  </a:lnTo>
                  <a:lnTo>
                    <a:pt x="f123" y="f926"/>
                  </a:lnTo>
                  <a:lnTo>
                    <a:pt x="f122" y="f926"/>
                  </a:lnTo>
                  <a:lnTo>
                    <a:pt x="f125" y="f925"/>
                  </a:lnTo>
                  <a:lnTo>
                    <a:pt x="f125" y="f924"/>
                  </a:lnTo>
                  <a:close/>
                  <a:moveTo>
                    <a:pt x="f126" y="f923"/>
                  </a:moveTo>
                  <a:lnTo>
                    <a:pt x="f127" y="f923"/>
                  </a:lnTo>
                  <a:lnTo>
                    <a:pt x="f128" y="f924"/>
                  </a:lnTo>
                  <a:lnTo>
                    <a:pt x="f128" y="f925"/>
                  </a:lnTo>
                  <a:lnTo>
                    <a:pt x="f127" y="f926"/>
                  </a:lnTo>
                  <a:lnTo>
                    <a:pt x="f126" y="f926"/>
                  </a:lnTo>
                  <a:lnTo>
                    <a:pt x="f129" y="f925"/>
                  </a:lnTo>
                  <a:lnTo>
                    <a:pt x="f129" y="f924"/>
                  </a:lnTo>
                  <a:close/>
                  <a:moveTo>
                    <a:pt x="f130" y="f923"/>
                  </a:moveTo>
                  <a:lnTo>
                    <a:pt x="f131" y="f923"/>
                  </a:lnTo>
                  <a:lnTo>
                    <a:pt x="f132" y="f924"/>
                  </a:lnTo>
                  <a:lnTo>
                    <a:pt x="f132" y="f925"/>
                  </a:lnTo>
                  <a:lnTo>
                    <a:pt x="f131" y="f926"/>
                  </a:lnTo>
                  <a:lnTo>
                    <a:pt x="f130" y="f926"/>
                  </a:lnTo>
                  <a:lnTo>
                    <a:pt x="f133" y="f925"/>
                  </a:lnTo>
                  <a:lnTo>
                    <a:pt x="f133" y="f924"/>
                  </a:lnTo>
                  <a:close/>
                  <a:moveTo>
                    <a:pt x="f134" y="f923"/>
                  </a:moveTo>
                  <a:lnTo>
                    <a:pt x="f135" y="f923"/>
                  </a:lnTo>
                  <a:lnTo>
                    <a:pt x="f136" y="f924"/>
                  </a:lnTo>
                  <a:lnTo>
                    <a:pt x="f136" y="f925"/>
                  </a:lnTo>
                  <a:lnTo>
                    <a:pt x="f135" y="f926"/>
                  </a:lnTo>
                  <a:lnTo>
                    <a:pt x="f134" y="f926"/>
                  </a:lnTo>
                  <a:lnTo>
                    <a:pt x="f137" y="f925"/>
                  </a:lnTo>
                  <a:lnTo>
                    <a:pt x="f137" y="f924"/>
                  </a:lnTo>
                  <a:close/>
                  <a:moveTo>
                    <a:pt x="f118" y="f927"/>
                  </a:moveTo>
                  <a:lnTo>
                    <a:pt x="f119" y="f927"/>
                  </a:lnTo>
                  <a:lnTo>
                    <a:pt x="f120" y="f928"/>
                  </a:lnTo>
                  <a:lnTo>
                    <a:pt x="f120" y="f929"/>
                  </a:lnTo>
                  <a:lnTo>
                    <a:pt x="f119" y="f930"/>
                  </a:lnTo>
                  <a:lnTo>
                    <a:pt x="f118" y="f930"/>
                  </a:lnTo>
                  <a:lnTo>
                    <a:pt x="f121" y="f929"/>
                  </a:lnTo>
                  <a:lnTo>
                    <a:pt x="f121" y="f928"/>
                  </a:lnTo>
                  <a:close/>
                  <a:moveTo>
                    <a:pt x="f102" y="f931"/>
                  </a:moveTo>
                  <a:lnTo>
                    <a:pt x="f103" y="f931"/>
                  </a:lnTo>
                  <a:lnTo>
                    <a:pt x="f104" y="f928"/>
                  </a:lnTo>
                  <a:lnTo>
                    <a:pt x="f104" y="f932"/>
                  </a:lnTo>
                  <a:lnTo>
                    <a:pt x="f103" y="f933"/>
                  </a:lnTo>
                  <a:lnTo>
                    <a:pt x="f102" y="f933"/>
                  </a:lnTo>
                  <a:lnTo>
                    <a:pt x="f105" y="f932"/>
                  </a:lnTo>
                  <a:lnTo>
                    <a:pt x="f105" y="f928"/>
                  </a:lnTo>
                  <a:close/>
                  <a:moveTo>
                    <a:pt x="f106" y="f931"/>
                  </a:moveTo>
                  <a:lnTo>
                    <a:pt x="f107" y="f931"/>
                  </a:lnTo>
                  <a:lnTo>
                    <a:pt x="f108" y="f928"/>
                  </a:lnTo>
                  <a:lnTo>
                    <a:pt x="f108" y="f929"/>
                  </a:lnTo>
                  <a:lnTo>
                    <a:pt x="f107" y="f933"/>
                  </a:lnTo>
                  <a:lnTo>
                    <a:pt x="f106" y="f933"/>
                  </a:lnTo>
                  <a:lnTo>
                    <a:pt x="f109" y="f929"/>
                  </a:lnTo>
                  <a:lnTo>
                    <a:pt x="f109" y="f928"/>
                  </a:lnTo>
                  <a:close/>
                  <a:moveTo>
                    <a:pt x="f110" y="f931"/>
                  </a:moveTo>
                  <a:lnTo>
                    <a:pt x="f111" y="f931"/>
                  </a:lnTo>
                  <a:lnTo>
                    <a:pt x="f112" y="f928"/>
                  </a:lnTo>
                  <a:lnTo>
                    <a:pt x="f112" y="f929"/>
                  </a:lnTo>
                  <a:lnTo>
                    <a:pt x="f111" y="f930"/>
                  </a:lnTo>
                  <a:lnTo>
                    <a:pt x="f110" y="f930"/>
                  </a:lnTo>
                  <a:lnTo>
                    <a:pt x="f113" y="f929"/>
                  </a:lnTo>
                  <a:lnTo>
                    <a:pt x="f113" y="f928"/>
                  </a:lnTo>
                  <a:close/>
                  <a:moveTo>
                    <a:pt x="f114" y="f931"/>
                  </a:moveTo>
                  <a:lnTo>
                    <a:pt x="f115" y="f931"/>
                  </a:lnTo>
                  <a:lnTo>
                    <a:pt x="f116" y="f928"/>
                  </a:lnTo>
                  <a:lnTo>
                    <a:pt x="f116" y="f929"/>
                  </a:lnTo>
                  <a:lnTo>
                    <a:pt x="f115" y="f930"/>
                  </a:lnTo>
                  <a:lnTo>
                    <a:pt x="f114" y="f930"/>
                  </a:lnTo>
                  <a:lnTo>
                    <a:pt x="f117" y="f929"/>
                  </a:lnTo>
                  <a:lnTo>
                    <a:pt x="f117" y="f928"/>
                  </a:lnTo>
                  <a:close/>
                  <a:moveTo>
                    <a:pt x="f98" y="f934"/>
                  </a:moveTo>
                  <a:lnTo>
                    <a:pt x="f99" y="f934"/>
                  </a:lnTo>
                  <a:lnTo>
                    <a:pt x="f100" y="f935"/>
                  </a:lnTo>
                  <a:lnTo>
                    <a:pt x="f100" y="f936"/>
                  </a:lnTo>
                  <a:lnTo>
                    <a:pt x="f99" y="f937"/>
                  </a:lnTo>
                  <a:lnTo>
                    <a:pt x="f98" y="f937"/>
                  </a:lnTo>
                  <a:lnTo>
                    <a:pt x="f101" y="f936"/>
                  </a:lnTo>
                  <a:lnTo>
                    <a:pt x="f101" y="f935"/>
                  </a:lnTo>
                  <a:close/>
                  <a:moveTo>
                    <a:pt x="f82" y="f938"/>
                  </a:moveTo>
                  <a:lnTo>
                    <a:pt x="f83" y="f938"/>
                  </a:lnTo>
                  <a:lnTo>
                    <a:pt x="f84" y="f935"/>
                  </a:lnTo>
                  <a:lnTo>
                    <a:pt x="f84" y="f939"/>
                  </a:lnTo>
                  <a:lnTo>
                    <a:pt x="f83" y="f937"/>
                  </a:lnTo>
                  <a:lnTo>
                    <a:pt x="f82" y="f937"/>
                  </a:lnTo>
                  <a:lnTo>
                    <a:pt x="f85" y="f939"/>
                  </a:lnTo>
                  <a:lnTo>
                    <a:pt x="f85" y="f935"/>
                  </a:lnTo>
                  <a:close/>
                  <a:moveTo>
                    <a:pt x="f86" y="f938"/>
                  </a:moveTo>
                  <a:lnTo>
                    <a:pt x="f87" y="f938"/>
                  </a:lnTo>
                  <a:lnTo>
                    <a:pt x="f88" y="f935"/>
                  </a:lnTo>
                  <a:lnTo>
                    <a:pt x="f88" y="f936"/>
                  </a:lnTo>
                  <a:lnTo>
                    <a:pt x="f87" y="f937"/>
                  </a:lnTo>
                  <a:lnTo>
                    <a:pt x="f86" y="f937"/>
                  </a:lnTo>
                  <a:lnTo>
                    <a:pt x="f89" y="f936"/>
                  </a:lnTo>
                  <a:lnTo>
                    <a:pt x="f89" y="f935"/>
                  </a:lnTo>
                  <a:close/>
                  <a:moveTo>
                    <a:pt x="f90" y="f938"/>
                  </a:moveTo>
                  <a:lnTo>
                    <a:pt x="f91" y="f938"/>
                  </a:lnTo>
                  <a:lnTo>
                    <a:pt x="f92" y="f935"/>
                  </a:lnTo>
                  <a:lnTo>
                    <a:pt x="f92" y="f936"/>
                  </a:lnTo>
                  <a:lnTo>
                    <a:pt x="f91" y="f937"/>
                  </a:lnTo>
                  <a:lnTo>
                    <a:pt x="f90" y="f937"/>
                  </a:lnTo>
                  <a:lnTo>
                    <a:pt x="f93" y="f936"/>
                  </a:lnTo>
                  <a:lnTo>
                    <a:pt x="f93" y="f935"/>
                  </a:lnTo>
                  <a:close/>
                  <a:moveTo>
                    <a:pt x="f94" y="f938"/>
                  </a:moveTo>
                  <a:lnTo>
                    <a:pt x="f95" y="f938"/>
                  </a:lnTo>
                  <a:lnTo>
                    <a:pt x="f96" y="f935"/>
                  </a:lnTo>
                  <a:lnTo>
                    <a:pt x="f96" y="f936"/>
                  </a:lnTo>
                  <a:lnTo>
                    <a:pt x="f95" y="f937"/>
                  </a:lnTo>
                  <a:lnTo>
                    <a:pt x="f94" y="f937"/>
                  </a:lnTo>
                  <a:lnTo>
                    <a:pt x="f97" y="f936"/>
                  </a:lnTo>
                  <a:lnTo>
                    <a:pt x="f97" y="f935"/>
                  </a:lnTo>
                  <a:close/>
                  <a:moveTo>
                    <a:pt x="f78" y="f940"/>
                  </a:moveTo>
                  <a:lnTo>
                    <a:pt x="f79" y="f940"/>
                  </a:lnTo>
                  <a:lnTo>
                    <a:pt x="f80" y="f941"/>
                  </a:lnTo>
                  <a:lnTo>
                    <a:pt x="f80" y="f942"/>
                  </a:lnTo>
                  <a:lnTo>
                    <a:pt x="f79" y="f943"/>
                  </a:lnTo>
                  <a:lnTo>
                    <a:pt x="f78" y="f943"/>
                  </a:lnTo>
                  <a:lnTo>
                    <a:pt x="f81" y="f942"/>
                  </a:lnTo>
                  <a:lnTo>
                    <a:pt x="f81" y="f941"/>
                  </a:lnTo>
                  <a:close/>
                  <a:moveTo>
                    <a:pt x="f62" y="f940"/>
                  </a:moveTo>
                  <a:lnTo>
                    <a:pt x="f63" y="f940"/>
                  </a:lnTo>
                  <a:lnTo>
                    <a:pt x="f64" y="f944"/>
                  </a:lnTo>
                  <a:lnTo>
                    <a:pt x="f64" y="f945"/>
                  </a:lnTo>
                  <a:lnTo>
                    <a:pt x="f63" y="f946"/>
                  </a:lnTo>
                  <a:lnTo>
                    <a:pt x="f62" y="f946"/>
                  </a:lnTo>
                  <a:lnTo>
                    <a:pt x="f65" y="f945"/>
                  </a:lnTo>
                  <a:lnTo>
                    <a:pt x="f65" y="f944"/>
                  </a:lnTo>
                  <a:close/>
                  <a:moveTo>
                    <a:pt x="f66" y="f940"/>
                  </a:moveTo>
                  <a:lnTo>
                    <a:pt x="f67" y="f940"/>
                  </a:lnTo>
                  <a:lnTo>
                    <a:pt x="f68" y="f944"/>
                  </a:lnTo>
                  <a:lnTo>
                    <a:pt x="f68" y="f942"/>
                  </a:lnTo>
                  <a:lnTo>
                    <a:pt x="f67" y="f946"/>
                  </a:lnTo>
                  <a:lnTo>
                    <a:pt x="f66" y="f946"/>
                  </a:lnTo>
                  <a:lnTo>
                    <a:pt x="f69" y="f942"/>
                  </a:lnTo>
                  <a:lnTo>
                    <a:pt x="f69" y="f944"/>
                  </a:lnTo>
                  <a:close/>
                  <a:moveTo>
                    <a:pt x="f70" y="f940"/>
                  </a:moveTo>
                  <a:lnTo>
                    <a:pt x="f71" y="f940"/>
                  </a:lnTo>
                  <a:lnTo>
                    <a:pt x="f72" y="f944"/>
                  </a:lnTo>
                  <a:lnTo>
                    <a:pt x="f72" y="f942"/>
                  </a:lnTo>
                  <a:lnTo>
                    <a:pt x="f71" y="f943"/>
                  </a:lnTo>
                  <a:lnTo>
                    <a:pt x="f70" y="f943"/>
                  </a:lnTo>
                  <a:lnTo>
                    <a:pt x="f73" y="f942"/>
                  </a:lnTo>
                  <a:lnTo>
                    <a:pt x="f73" y="f944"/>
                  </a:lnTo>
                  <a:close/>
                  <a:moveTo>
                    <a:pt x="f74" y="f940"/>
                  </a:moveTo>
                  <a:lnTo>
                    <a:pt x="f75" y="f940"/>
                  </a:lnTo>
                  <a:lnTo>
                    <a:pt x="f76" y="f944"/>
                  </a:lnTo>
                  <a:lnTo>
                    <a:pt x="f76" y="f942"/>
                  </a:lnTo>
                  <a:lnTo>
                    <a:pt x="f75" y="f943"/>
                  </a:lnTo>
                  <a:lnTo>
                    <a:pt x="f74" y="f943"/>
                  </a:lnTo>
                  <a:lnTo>
                    <a:pt x="f77" y="f942"/>
                  </a:lnTo>
                  <a:lnTo>
                    <a:pt x="f77" y="f944"/>
                  </a:lnTo>
                  <a:close/>
                  <a:moveTo>
                    <a:pt x="f58" y="f947"/>
                  </a:moveTo>
                  <a:lnTo>
                    <a:pt x="f59" y="f947"/>
                  </a:lnTo>
                  <a:lnTo>
                    <a:pt x="f60" y="f948"/>
                  </a:lnTo>
                  <a:lnTo>
                    <a:pt x="f60" y="f949"/>
                  </a:lnTo>
                  <a:lnTo>
                    <a:pt x="f59" y="f950"/>
                  </a:lnTo>
                  <a:lnTo>
                    <a:pt x="f58" y="f950"/>
                  </a:lnTo>
                  <a:lnTo>
                    <a:pt x="f61" y="f949"/>
                  </a:lnTo>
                  <a:lnTo>
                    <a:pt x="f61" y="f948"/>
                  </a:lnTo>
                  <a:close/>
                  <a:moveTo>
                    <a:pt x="f42" y="f947"/>
                  </a:moveTo>
                  <a:lnTo>
                    <a:pt x="f43" y="f947"/>
                  </a:lnTo>
                  <a:lnTo>
                    <a:pt x="f44" y="f948"/>
                  </a:lnTo>
                  <a:lnTo>
                    <a:pt x="f44" y="f951"/>
                  </a:lnTo>
                  <a:lnTo>
                    <a:pt x="f43" y="f952"/>
                  </a:lnTo>
                  <a:lnTo>
                    <a:pt x="f42" y="f952"/>
                  </a:lnTo>
                  <a:lnTo>
                    <a:pt x="f45" y="f951"/>
                  </a:lnTo>
                  <a:lnTo>
                    <a:pt x="f45" y="f948"/>
                  </a:lnTo>
                  <a:close/>
                  <a:moveTo>
                    <a:pt x="f46" y="f947"/>
                  </a:moveTo>
                  <a:lnTo>
                    <a:pt x="f47" y="f947"/>
                  </a:lnTo>
                  <a:lnTo>
                    <a:pt x="f48" y="f948"/>
                  </a:lnTo>
                  <a:lnTo>
                    <a:pt x="f48" y="f949"/>
                  </a:lnTo>
                  <a:lnTo>
                    <a:pt x="f47" y="f952"/>
                  </a:lnTo>
                  <a:lnTo>
                    <a:pt x="f46" y="f952"/>
                  </a:lnTo>
                  <a:lnTo>
                    <a:pt x="f49" y="f949"/>
                  </a:lnTo>
                  <a:lnTo>
                    <a:pt x="f49" y="f948"/>
                  </a:lnTo>
                  <a:close/>
                  <a:moveTo>
                    <a:pt x="f50" y="f947"/>
                  </a:moveTo>
                  <a:lnTo>
                    <a:pt x="f51" y="f947"/>
                  </a:lnTo>
                  <a:lnTo>
                    <a:pt x="f52" y="f948"/>
                  </a:lnTo>
                  <a:lnTo>
                    <a:pt x="f52" y="f949"/>
                  </a:lnTo>
                  <a:lnTo>
                    <a:pt x="f51" y="f950"/>
                  </a:lnTo>
                  <a:lnTo>
                    <a:pt x="f50" y="f950"/>
                  </a:lnTo>
                  <a:lnTo>
                    <a:pt x="f53" y="f949"/>
                  </a:lnTo>
                  <a:lnTo>
                    <a:pt x="f53" y="f948"/>
                  </a:lnTo>
                  <a:close/>
                  <a:moveTo>
                    <a:pt x="f54" y="f947"/>
                  </a:moveTo>
                  <a:lnTo>
                    <a:pt x="f55" y="f947"/>
                  </a:lnTo>
                  <a:lnTo>
                    <a:pt x="f56" y="f948"/>
                  </a:lnTo>
                  <a:lnTo>
                    <a:pt x="f56" y="f949"/>
                  </a:lnTo>
                  <a:lnTo>
                    <a:pt x="f55" y="f950"/>
                  </a:lnTo>
                  <a:lnTo>
                    <a:pt x="f54" y="f950"/>
                  </a:lnTo>
                  <a:lnTo>
                    <a:pt x="f57" y="f949"/>
                  </a:lnTo>
                  <a:lnTo>
                    <a:pt x="f57" y="f948"/>
                  </a:lnTo>
                  <a:close/>
                  <a:moveTo>
                    <a:pt x="f953" y="f954"/>
                  </a:moveTo>
                  <a:lnTo>
                    <a:pt x="f883" y="f954"/>
                  </a:lnTo>
                  <a:lnTo>
                    <a:pt x="f955" y="f956"/>
                  </a:lnTo>
                  <a:lnTo>
                    <a:pt x="f955" y="f957"/>
                  </a:lnTo>
                  <a:lnTo>
                    <a:pt x="f883" y="f958"/>
                  </a:lnTo>
                  <a:lnTo>
                    <a:pt x="f953" y="f958"/>
                  </a:lnTo>
                  <a:lnTo>
                    <a:pt x="f959" y="f957"/>
                  </a:lnTo>
                  <a:lnTo>
                    <a:pt x="f959" y="f956"/>
                  </a:lnTo>
                  <a:close/>
                  <a:moveTo>
                    <a:pt x="f960" y="f954"/>
                  </a:moveTo>
                  <a:lnTo>
                    <a:pt x="f961" y="f954"/>
                  </a:lnTo>
                  <a:lnTo>
                    <a:pt x="f887" y="f956"/>
                  </a:lnTo>
                  <a:lnTo>
                    <a:pt x="f887" y="f957"/>
                  </a:lnTo>
                  <a:lnTo>
                    <a:pt x="f961" y="f958"/>
                  </a:lnTo>
                  <a:lnTo>
                    <a:pt x="f960" y="f958"/>
                  </a:lnTo>
                  <a:lnTo>
                    <a:pt x="f888" y="f957"/>
                  </a:lnTo>
                  <a:lnTo>
                    <a:pt x="f888" y="f956"/>
                  </a:lnTo>
                  <a:close/>
                  <a:moveTo>
                    <a:pt x="f889" y="f954"/>
                  </a:moveTo>
                  <a:lnTo>
                    <a:pt x="f890" y="f954"/>
                  </a:lnTo>
                  <a:lnTo>
                    <a:pt x="f962" y="f956"/>
                  </a:lnTo>
                  <a:lnTo>
                    <a:pt x="f962" y="f957"/>
                  </a:lnTo>
                  <a:lnTo>
                    <a:pt x="f890" y="f958"/>
                  </a:lnTo>
                  <a:lnTo>
                    <a:pt x="f889" y="f958"/>
                  </a:lnTo>
                  <a:lnTo>
                    <a:pt x="f891" y="f957"/>
                  </a:lnTo>
                  <a:lnTo>
                    <a:pt x="f891" y="f956"/>
                  </a:lnTo>
                  <a:close/>
                  <a:moveTo>
                    <a:pt x="f874" y="f954"/>
                  </a:moveTo>
                  <a:lnTo>
                    <a:pt x="f963" y="f954"/>
                  </a:lnTo>
                  <a:lnTo>
                    <a:pt x="f964" y="f956"/>
                  </a:lnTo>
                  <a:lnTo>
                    <a:pt x="f964" y="f957"/>
                  </a:lnTo>
                  <a:lnTo>
                    <a:pt x="f963" y="f958"/>
                  </a:lnTo>
                  <a:lnTo>
                    <a:pt x="f874" y="f958"/>
                  </a:lnTo>
                  <a:lnTo>
                    <a:pt x="f965" y="f957"/>
                  </a:lnTo>
                  <a:lnTo>
                    <a:pt x="f965" y="f956"/>
                  </a:lnTo>
                  <a:close/>
                  <a:moveTo>
                    <a:pt x="f35" y="f966"/>
                  </a:moveTo>
                  <a:lnTo>
                    <a:pt x="f37" y="f966"/>
                  </a:lnTo>
                  <a:lnTo>
                    <a:pt x="f6" y="f967"/>
                  </a:lnTo>
                  <a:lnTo>
                    <a:pt x="f6" y="f968"/>
                  </a:lnTo>
                  <a:lnTo>
                    <a:pt x="f37" y="f969"/>
                  </a:lnTo>
                  <a:lnTo>
                    <a:pt x="f35" y="f969"/>
                  </a:lnTo>
                  <a:lnTo>
                    <a:pt x="f41" y="f968"/>
                  </a:lnTo>
                  <a:lnTo>
                    <a:pt x="f41" y="f967"/>
                  </a:lnTo>
                  <a:close/>
                  <a:moveTo>
                    <a:pt x="f896" y="f970"/>
                  </a:moveTo>
                  <a:lnTo>
                    <a:pt x="f825" y="f970"/>
                  </a:lnTo>
                  <a:lnTo>
                    <a:pt x="f640" y="f971"/>
                  </a:lnTo>
                  <a:lnTo>
                    <a:pt x="f640" y="f972"/>
                  </a:lnTo>
                  <a:lnTo>
                    <a:pt x="f825" y="f973"/>
                  </a:lnTo>
                  <a:lnTo>
                    <a:pt x="f896" y="f973"/>
                  </a:lnTo>
                  <a:lnTo>
                    <a:pt x="f615" y="f972"/>
                  </a:lnTo>
                  <a:lnTo>
                    <a:pt x="f615" y="f971"/>
                  </a:lnTo>
                  <a:close/>
                  <a:moveTo>
                    <a:pt x="f974" y="f975"/>
                  </a:moveTo>
                  <a:lnTo>
                    <a:pt x="f976" y="f975"/>
                  </a:lnTo>
                  <a:lnTo>
                    <a:pt x="f830" y="f977"/>
                  </a:lnTo>
                  <a:lnTo>
                    <a:pt x="f830" y="f978"/>
                  </a:lnTo>
                  <a:lnTo>
                    <a:pt x="f976" y="f979"/>
                  </a:lnTo>
                  <a:lnTo>
                    <a:pt x="f974" y="f979"/>
                  </a:lnTo>
                  <a:lnTo>
                    <a:pt x="f730" y="f978"/>
                  </a:lnTo>
                  <a:lnTo>
                    <a:pt x="f730" y="f977"/>
                  </a:lnTo>
                  <a:close/>
                  <a:moveTo>
                    <a:pt x="f980" y="f981"/>
                  </a:moveTo>
                  <a:lnTo>
                    <a:pt x="f906" y="f981"/>
                  </a:lnTo>
                  <a:lnTo>
                    <a:pt x="f907" y="f982"/>
                  </a:lnTo>
                  <a:lnTo>
                    <a:pt x="f907" y="f983"/>
                  </a:lnTo>
                  <a:lnTo>
                    <a:pt x="f906" y="f984"/>
                  </a:lnTo>
                  <a:lnTo>
                    <a:pt x="f980" y="f984"/>
                  </a:lnTo>
                  <a:lnTo>
                    <a:pt x="f985" y="f983"/>
                  </a:lnTo>
                  <a:lnTo>
                    <a:pt x="f985" y="f982"/>
                  </a:lnTo>
                  <a:close/>
                  <a:moveTo>
                    <a:pt x="f910" y="f981"/>
                  </a:moveTo>
                  <a:lnTo>
                    <a:pt x="f986" y="f981"/>
                  </a:lnTo>
                  <a:lnTo>
                    <a:pt x="f987" y="f982"/>
                  </a:lnTo>
                  <a:lnTo>
                    <a:pt x="f987" y="f983"/>
                  </a:lnTo>
                  <a:lnTo>
                    <a:pt x="f986" y="f984"/>
                  </a:lnTo>
                  <a:lnTo>
                    <a:pt x="f910" y="f984"/>
                  </a:lnTo>
                  <a:lnTo>
                    <a:pt x="f988" y="f983"/>
                  </a:lnTo>
                  <a:lnTo>
                    <a:pt x="f988" y="f982"/>
                  </a:lnTo>
                  <a:close/>
                  <a:moveTo>
                    <a:pt x="f989" y="f990"/>
                  </a:moveTo>
                  <a:lnTo>
                    <a:pt x="f991" y="f990"/>
                  </a:lnTo>
                  <a:lnTo>
                    <a:pt x="f913" y="f982"/>
                  </a:lnTo>
                  <a:lnTo>
                    <a:pt x="f913" y="f983"/>
                  </a:lnTo>
                  <a:lnTo>
                    <a:pt x="f991" y="f984"/>
                  </a:lnTo>
                  <a:lnTo>
                    <a:pt x="f989" y="f984"/>
                  </a:lnTo>
                  <a:lnTo>
                    <a:pt x="f914" y="f983"/>
                  </a:lnTo>
                  <a:lnTo>
                    <a:pt x="f914" y="f982"/>
                  </a:lnTo>
                  <a:close/>
                  <a:moveTo>
                    <a:pt x="f992" y="f990"/>
                  </a:moveTo>
                  <a:lnTo>
                    <a:pt x="f915" y="f990"/>
                  </a:lnTo>
                  <a:lnTo>
                    <a:pt x="f993" y="f982"/>
                  </a:lnTo>
                  <a:lnTo>
                    <a:pt x="f993" y="f983"/>
                  </a:lnTo>
                  <a:lnTo>
                    <a:pt x="f915" y="f984"/>
                  </a:lnTo>
                  <a:lnTo>
                    <a:pt x="f992" y="f984"/>
                  </a:lnTo>
                  <a:lnTo>
                    <a:pt x="f994" y="f983"/>
                  </a:lnTo>
                  <a:lnTo>
                    <a:pt x="f994" y="f982"/>
                  </a:lnTo>
                  <a:close/>
                  <a:moveTo>
                    <a:pt x="f142" y="f995"/>
                  </a:moveTo>
                  <a:lnTo>
                    <a:pt x="f143" y="f995"/>
                  </a:lnTo>
                  <a:lnTo>
                    <a:pt x="f144" y="f996"/>
                  </a:lnTo>
                  <a:lnTo>
                    <a:pt x="f144" y="f997"/>
                  </a:lnTo>
                  <a:lnTo>
                    <a:pt x="f143" y="f998"/>
                  </a:lnTo>
                  <a:lnTo>
                    <a:pt x="f142" y="f998"/>
                  </a:lnTo>
                  <a:lnTo>
                    <a:pt x="f145" y="f997"/>
                  </a:lnTo>
                  <a:lnTo>
                    <a:pt x="f145" y="f996"/>
                  </a:lnTo>
                  <a:close/>
                  <a:moveTo>
                    <a:pt x="f146" y="f995"/>
                  </a:moveTo>
                  <a:lnTo>
                    <a:pt x="f147" y="f995"/>
                  </a:lnTo>
                  <a:lnTo>
                    <a:pt x="f148" y="f996"/>
                  </a:lnTo>
                  <a:lnTo>
                    <a:pt x="f148" y="f997"/>
                  </a:lnTo>
                  <a:lnTo>
                    <a:pt x="f147" y="f998"/>
                  </a:lnTo>
                  <a:lnTo>
                    <a:pt x="f146" y="f998"/>
                  </a:lnTo>
                  <a:lnTo>
                    <a:pt x="f149" y="f997"/>
                  </a:lnTo>
                  <a:lnTo>
                    <a:pt x="f149" y="f996"/>
                  </a:lnTo>
                  <a:close/>
                  <a:moveTo>
                    <a:pt x="f150" y="f995"/>
                  </a:moveTo>
                  <a:lnTo>
                    <a:pt x="f151" y="f995"/>
                  </a:lnTo>
                  <a:lnTo>
                    <a:pt x="f152" y="f996"/>
                  </a:lnTo>
                  <a:lnTo>
                    <a:pt x="f152" y="f997"/>
                  </a:lnTo>
                  <a:lnTo>
                    <a:pt x="f151" y="f998"/>
                  </a:lnTo>
                  <a:lnTo>
                    <a:pt x="f150" y="f998"/>
                  </a:lnTo>
                  <a:lnTo>
                    <a:pt x="f153" y="f997"/>
                  </a:lnTo>
                  <a:lnTo>
                    <a:pt x="f153" y="f996"/>
                  </a:lnTo>
                  <a:close/>
                  <a:moveTo>
                    <a:pt x="f154" y="f995"/>
                  </a:moveTo>
                  <a:lnTo>
                    <a:pt x="f155" y="f995"/>
                  </a:lnTo>
                  <a:lnTo>
                    <a:pt x="f156" y="f999"/>
                  </a:lnTo>
                  <a:lnTo>
                    <a:pt x="f156" y="f997"/>
                  </a:lnTo>
                  <a:lnTo>
                    <a:pt x="f155" y="f998"/>
                  </a:lnTo>
                  <a:lnTo>
                    <a:pt x="f154" y="f998"/>
                  </a:lnTo>
                  <a:lnTo>
                    <a:pt x="f157" y="f997"/>
                  </a:lnTo>
                  <a:lnTo>
                    <a:pt x="f157" y="f999"/>
                  </a:lnTo>
                  <a:close/>
                  <a:moveTo>
                    <a:pt x="f158" y="f995"/>
                  </a:moveTo>
                  <a:lnTo>
                    <a:pt x="f159" y="f995"/>
                  </a:lnTo>
                  <a:lnTo>
                    <a:pt x="f160" y="f999"/>
                  </a:lnTo>
                  <a:lnTo>
                    <a:pt x="f160" y="f997"/>
                  </a:lnTo>
                  <a:lnTo>
                    <a:pt x="f159" y="f998"/>
                  </a:lnTo>
                  <a:lnTo>
                    <a:pt x="f158" y="f998"/>
                  </a:lnTo>
                  <a:lnTo>
                    <a:pt x="f161" y="f997"/>
                  </a:lnTo>
                  <a:lnTo>
                    <a:pt x="f161" y="f999"/>
                  </a:lnTo>
                  <a:close/>
                  <a:moveTo>
                    <a:pt x="f122" y="f1000"/>
                  </a:moveTo>
                  <a:lnTo>
                    <a:pt x="f123" y="f1000"/>
                  </a:lnTo>
                  <a:lnTo>
                    <a:pt x="f124" y="f1001"/>
                  </a:lnTo>
                  <a:lnTo>
                    <a:pt x="f124" y="f1002"/>
                  </a:lnTo>
                  <a:lnTo>
                    <a:pt x="f123" y="f1003"/>
                  </a:lnTo>
                  <a:lnTo>
                    <a:pt x="f122" y="f1003"/>
                  </a:lnTo>
                  <a:lnTo>
                    <a:pt x="f125" y="f1002"/>
                  </a:lnTo>
                  <a:lnTo>
                    <a:pt x="f125" y="f1001"/>
                  </a:lnTo>
                  <a:close/>
                  <a:moveTo>
                    <a:pt x="f126" y="f1000"/>
                  </a:moveTo>
                  <a:lnTo>
                    <a:pt x="f127" y="f1000"/>
                  </a:lnTo>
                  <a:lnTo>
                    <a:pt x="f128" y="f1001"/>
                  </a:lnTo>
                  <a:lnTo>
                    <a:pt x="f128" y="f1002"/>
                  </a:lnTo>
                  <a:lnTo>
                    <a:pt x="f127" y="f1003"/>
                  </a:lnTo>
                  <a:lnTo>
                    <a:pt x="f126" y="f1003"/>
                  </a:lnTo>
                  <a:lnTo>
                    <a:pt x="f129" y="f1002"/>
                  </a:lnTo>
                  <a:lnTo>
                    <a:pt x="f129" y="f1001"/>
                  </a:lnTo>
                  <a:close/>
                  <a:moveTo>
                    <a:pt x="f130" y="f1000"/>
                  </a:moveTo>
                  <a:lnTo>
                    <a:pt x="f131" y="f1000"/>
                  </a:lnTo>
                  <a:lnTo>
                    <a:pt x="f132" y="f1001"/>
                  </a:lnTo>
                  <a:lnTo>
                    <a:pt x="f132" y="f1002"/>
                  </a:lnTo>
                  <a:lnTo>
                    <a:pt x="f131" y="f1003"/>
                  </a:lnTo>
                  <a:lnTo>
                    <a:pt x="f130" y="f1003"/>
                  </a:lnTo>
                  <a:lnTo>
                    <a:pt x="f133" y="f1002"/>
                  </a:lnTo>
                  <a:lnTo>
                    <a:pt x="f133" y="f1001"/>
                  </a:lnTo>
                  <a:close/>
                  <a:moveTo>
                    <a:pt x="f134" y="f1000"/>
                  </a:moveTo>
                  <a:lnTo>
                    <a:pt x="f135" y="f1000"/>
                  </a:lnTo>
                  <a:lnTo>
                    <a:pt x="f136" y="f1004"/>
                  </a:lnTo>
                  <a:lnTo>
                    <a:pt x="f136" y="f1002"/>
                  </a:lnTo>
                  <a:lnTo>
                    <a:pt x="f135" y="f1003"/>
                  </a:lnTo>
                  <a:lnTo>
                    <a:pt x="f134" y="f1003"/>
                  </a:lnTo>
                  <a:lnTo>
                    <a:pt x="f137" y="f1002"/>
                  </a:lnTo>
                  <a:lnTo>
                    <a:pt x="f137" y="f1004"/>
                  </a:lnTo>
                  <a:close/>
                  <a:moveTo>
                    <a:pt x="f138" y="f1000"/>
                  </a:moveTo>
                  <a:lnTo>
                    <a:pt x="f139" y="f1000"/>
                  </a:lnTo>
                  <a:lnTo>
                    <a:pt x="f140" y="f1004"/>
                  </a:lnTo>
                  <a:lnTo>
                    <a:pt x="f140" y="f1002"/>
                  </a:lnTo>
                  <a:lnTo>
                    <a:pt x="f139" y="f1003"/>
                  </a:lnTo>
                  <a:lnTo>
                    <a:pt x="f138" y="f1003"/>
                  </a:lnTo>
                  <a:lnTo>
                    <a:pt x="f141" y="f1002"/>
                  </a:lnTo>
                  <a:lnTo>
                    <a:pt x="f141" y="f1004"/>
                  </a:lnTo>
                  <a:close/>
                  <a:moveTo>
                    <a:pt x="f102" y="f1005"/>
                  </a:moveTo>
                  <a:lnTo>
                    <a:pt x="f103" y="f1005"/>
                  </a:lnTo>
                  <a:lnTo>
                    <a:pt x="f104" y="f1006"/>
                  </a:lnTo>
                  <a:lnTo>
                    <a:pt x="f104" y="f1007"/>
                  </a:lnTo>
                  <a:lnTo>
                    <a:pt x="f103" y="f1008"/>
                  </a:lnTo>
                  <a:lnTo>
                    <a:pt x="f102" y="f1008"/>
                  </a:lnTo>
                  <a:lnTo>
                    <a:pt x="f105" y="f1007"/>
                  </a:lnTo>
                  <a:lnTo>
                    <a:pt x="f105" y="f1006"/>
                  </a:lnTo>
                  <a:close/>
                  <a:moveTo>
                    <a:pt x="f106" y="f1005"/>
                  </a:moveTo>
                  <a:lnTo>
                    <a:pt x="f107" y="f1005"/>
                  </a:lnTo>
                  <a:lnTo>
                    <a:pt x="f108" y="f1006"/>
                  </a:lnTo>
                  <a:lnTo>
                    <a:pt x="f108" y="f1007"/>
                  </a:lnTo>
                  <a:lnTo>
                    <a:pt x="f107" y="f1008"/>
                  </a:lnTo>
                  <a:lnTo>
                    <a:pt x="f106" y="f1008"/>
                  </a:lnTo>
                  <a:lnTo>
                    <a:pt x="f109" y="f1007"/>
                  </a:lnTo>
                  <a:lnTo>
                    <a:pt x="f109" y="f1006"/>
                  </a:lnTo>
                  <a:close/>
                  <a:moveTo>
                    <a:pt x="f110" y="f1005"/>
                  </a:moveTo>
                  <a:lnTo>
                    <a:pt x="f111" y="f1005"/>
                  </a:lnTo>
                  <a:lnTo>
                    <a:pt x="f112" y="f1006"/>
                  </a:lnTo>
                  <a:lnTo>
                    <a:pt x="f112" y="f1007"/>
                  </a:lnTo>
                  <a:lnTo>
                    <a:pt x="f111" y="f1008"/>
                  </a:lnTo>
                  <a:lnTo>
                    <a:pt x="f110" y="f1008"/>
                  </a:lnTo>
                  <a:lnTo>
                    <a:pt x="f113" y="f1007"/>
                  </a:lnTo>
                  <a:lnTo>
                    <a:pt x="f113" y="f1006"/>
                  </a:lnTo>
                  <a:close/>
                  <a:moveTo>
                    <a:pt x="f114" y="f1005"/>
                  </a:moveTo>
                  <a:lnTo>
                    <a:pt x="f115" y="f1005"/>
                  </a:lnTo>
                  <a:lnTo>
                    <a:pt x="f116" y="f1009"/>
                  </a:lnTo>
                  <a:lnTo>
                    <a:pt x="f116" y="f1007"/>
                  </a:lnTo>
                  <a:lnTo>
                    <a:pt x="f115" y="f1008"/>
                  </a:lnTo>
                  <a:lnTo>
                    <a:pt x="f114" y="f1008"/>
                  </a:lnTo>
                  <a:lnTo>
                    <a:pt x="f117" y="f1007"/>
                  </a:lnTo>
                  <a:lnTo>
                    <a:pt x="f117" y="f1009"/>
                  </a:lnTo>
                  <a:close/>
                  <a:moveTo>
                    <a:pt x="f118" y="f1005"/>
                  </a:moveTo>
                  <a:lnTo>
                    <a:pt x="f119" y="f1005"/>
                  </a:lnTo>
                  <a:lnTo>
                    <a:pt x="f120" y="f1009"/>
                  </a:lnTo>
                  <a:lnTo>
                    <a:pt x="f120" y="f1007"/>
                  </a:lnTo>
                  <a:lnTo>
                    <a:pt x="f119" y="f1008"/>
                  </a:lnTo>
                  <a:lnTo>
                    <a:pt x="f118" y="f1008"/>
                  </a:lnTo>
                  <a:lnTo>
                    <a:pt x="f121" y="f1007"/>
                  </a:lnTo>
                  <a:lnTo>
                    <a:pt x="f121" y="f1009"/>
                  </a:lnTo>
                  <a:close/>
                  <a:moveTo>
                    <a:pt x="f94" y="f1010"/>
                  </a:moveTo>
                  <a:lnTo>
                    <a:pt x="f95" y="f1010"/>
                  </a:lnTo>
                  <a:lnTo>
                    <a:pt x="f96" y="f1011"/>
                  </a:lnTo>
                  <a:lnTo>
                    <a:pt x="f96" y="f1012"/>
                  </a:lnTo>
                  <a:lnTo>
                    <a:pt x="f95" y="f1013"/>
                  </a:lnTo>
                  <a:lnTo>
                    <a:pt x="f94" y="f1013"/>
                  </a:lnTo>
                  <a:lnTo>
                    <a:pt x="f97" y="f1012"/>
                  </a:lnTo>
                  <a:lnTo>
                    <a:pt x="f97" y="f1011"/>
                  </a:lnTo>
                  <a:close/>
                  <a:moveTo>
                    <a:pt x="f98" y="f1010"/>
                  </a:moveTo>
                  <a:lnTo>
                    <a:pt x="f99" y="f1010"/>
                  </a:lnTo>
                  <a:lnTo>
                    <a:pt x="f100" y="f1011"/>
                  </a:lnTo>
                  <a:lnTo>
                    <a:pt x="f100" y="f1012"/>
                  </a:lnTo>
                  <a:lnTo>
                    <a:pt x="f99" y="f1013"/>
                  </a:lnTo>
                  <a:lnTo>
                    <a:pt x="f98" y="f1013"/>
                  </a:lnTo>
                  <a:lnTo>
                    <a:pt x="f101" y="f1012"/>
                  </a:lnTo>
                  <a:lnTo>
                    <a:pt x="f101" y="f1011"/>
                  </a:lnTo>
                  <a:close/>
                  <a:moveTo>
                    <a:pt x="f82" y="f1010"/>
                  </a:moveTo>
                  <a:lnTo>
                    <a:pt x="f83" y="f1010"/>
                  </a:lnTo>
                  <a:lnTo>
                    <a:pt x="f84" y="f1014"/>
                  </a:lnTo>
                  <a:lnTo>
                    <a:pt x="f84" y="f1012"/>
                  </a:lnTo>
                  <a:lnTo>
                    <a:pt x="f83" y="f1013"/>
                  </a:lnTo>
                  <a:lnTo>
                    <a:pt x="f82" y="f1013"/>
                  </a:lnTo>
                  <a:lnTo>
                    <a:pt x="f85" y="f1012"/>
                  </a:lnTo>
                  <a:lnTo>
                    <a:pt x="f85" y="f1014"/>
                  </a:lnTo>
                  <a:close/>
                  <a:moveTo>
                    <a:pt x="f86" y="f1010"/>
                  </a:moveTo>
                  <a:lnTo>
                    <a:pt x="f87" y="f1010"/>
                  </a:lnTo>
                  <a:lnTo>
                    <a:pt x="f88" y="f1014"/>
                  </a:lnTo>
                  <a:lnTo>
                    <a:pt x="f88" y="f1012"/>
                  </a:lnTo>
                  <a:lnTo>
                    <a:pt x="f87" y="f1013"/>
                  </a:lnTo>
                  <a:lnTo>
                    <a:pt x="f86" y="f1013"/>
                  </a:lnTo>
                  <a:lnTo>
                    <a:pt x="f89" y="f1012"/>
                  </a:lnTo>
                  <a:lnTo>
                    <a:pt x="f89" y="f1014"/>
                  </a:lnTo>
                  <a:close/>
                  <a:moveTo>
                    <a:pt x="f90" y="f1010"/>
                  </a:moveTo>
                  <a:lnTo>
                    <a:pt x="f91" y="f1010"/>
                  </a:lnTo>
                  <a:lnTo>
                    <a:pt x="f92" y="f1014"/>
                  </a:lnTo>
                  <a:lnTo>
                    <a:pt x="f92" y="f1012"/>
                  </a:lnTo>
                  <a:lnTo>
                    <a:pt x="f91" y="f1013"/>
                  </a:lnTo>
                  <a:lnTo>
                    <a:pt x="f90" y="f1013"/>
                  </a:lnTo>
                  <a:lnTo>
                    <a:pt x="f93" y="f1012"/>
                  </a:lnTo>
                  <a:lnTo>
                    <a:pt x="f93" y="f1014"/>
                  </a:lnTo>
                  <a:close/>
                  <a:moveTo>
                    <a:pt x="f74" y="f1015"/>
                  </a:moveTo>
                  <a:lnTo>
                    <a:pt x="f75" y="f1015"/>
                  </a:lnTo>
                  <a:lnTo>
                    <a:pt x="f76" y="f1016"/>
                  </a:lnTo>
                  <a:lnTo>
                    <a:pt x="f76" y="f1017"/>
                  </a:lnTo>
                  <a:lnTo>
                    <a:pt x="f75" y="f1018"/>
                  </a:lnTo>
                  <a:lnTo>
                    <a:pt x="f74" y="f1018"/>
                  </a:lnTo>
                  <a:lnTo>
                    <a:pt x="f77" y="f1017"/>
                  </a:lnTo>
                  <a:lnTo>
                    <a:pt x="f77" y="f1016"/>
                  </a:lnTo>
                  <a:close/>
                  <a:moveTo>
                    <a:pt x="f78" y="f1015"/>
                  </a:moveTo>
                  <a:lnTo>
                    <a:pt x="f79" y="f1015"/>
                  </a:lnTo>
                  <a:lnTo>
                    <a:pt x="f80" y="f1016"/>
                  </a:lnTo>
                  <a:lnTo>
                    <a:pt x="f80" y="f1017"/>
                  </a:lnTo>
                  <a:lnTo>
                    <a:pt x="f79" y="f1018"/>
                  </a:lnTo>
                  <a:lnTo>
                    <a:pt x="f78" y="f1018"/>
                  </a:lnTo>
                  <a:lnTo>
                    <a:pt x="f81" y="f1017"/>
                  </a:lnTo>
                  <a:lnTo>
                    <a:pt x="f81" y="f1016"/>
                  </a:lnTo>
                  <a:close/>
                  <a:moveTo>
                    <a:pt x="f62" y="f1019"/>
                  </a:moveTo>
                  <a:lnTo>
                    <a:pt x="f63" y="f1019"/>
                  </a:lnTo>
                  <a:lnTo>
                    <a:pt x="f64" y="f1020"/>
                  </a:lnTo>
                  <a:lnTo>
                    <a:pt x="f64" y="f1017"/>
                  </a:lnTo>
                  <a:lnTo>
                    <a:pt x="f63" y="f1018"/>
                  </a:lnTo>
                  <a:lnTo>
                    <a:pt x="f62" y="f1018"/>
                  </a:lnTo>
                  <a:lnTo>
                    <a:pt x="f65" y="f1017"/>
                  </a:lnTo>
                  <a:lnTo>
                    <a:pt x="f65" y="f1020"/>
                  </a:lnTo>
                  <a:close/>
                  <a:moveTo>
                    <a:pt x="f66" y="f1019"/>
                  </a:moveTo>
                  <a:lnTo>
                    <a:pt x="f67" y="f1019"/>
                  </a:lnTo>
                  <a:lnTo>
                    <a:pt x="f68" y="f1020"/>
                  </a:lnTo>
                  <a:lnTo>
                    <a:pt x="f68" y="f1017"/>
                  </a:lnTo>
                  <a:lnTo>
                    <a:pt x="f67" y="f1018"/>
                  </a:lnTo>
                  <a:lnTo>
                    <a:pt x="f66" y="f1018"/>
                  </a:lnTo>
                  <a:lnTo>
                    <a:pt x="f69" y="f1017"/>
                  </a:lnTo>
                  <a:lnTo>
                    <a:pt x="f69" y="f1020"/>
                  </a:lnTo>
                  <a:close/>
                  <a:moveTo>
                    <a:pt x="f70" y="f1019"/>
                  </a:moveTo>
                  <a:lnTo>
                    <a:pt x="f71" y="f1019"/>
                  </a:lnTo>
                  <a:lnTo>
                    <a:pt x="f72" y="f1020"/>
                  </a:lnTo>
                  <a:lnTo>
                    <a:pt x="f72" y="f1017"/>
                  </a:lnTo>
                  <a:lnTo>
                    <a:pt x="f71" y="f1018"/>
                  </a:lnTo>
                  <a:lnTo>
                    <a:pt x="f70" y="f1018"/>
                  </a:lnTo>
                  <a:lnTo>
                    <a:pt x="f73" y="f1017"/>
                  </a:lnTo>
                  <a:lnTo>
                    <a:pt x="f73" y="f1020"/>
                  </a:lnTo>
                  <a:close/>
                  <a:moveTo>
                    <a:pt x="f54" y="f1021"/>
                  </a:moveTo>
                  <a:lnTo>
                    <a:pt x="f55" y="f1021"/>
                  </a:lnTo>
                  <a:lnTo>
                    <a:pt x="f56" y="f1022"/>
                  </a:lnTo>
                  <a:lnTo>
                    <a:pt x="f56" y="f1023"/>
                  </a:lnTo>
                  <a:lnTo>
                    <a:pt x="f55" y="f1024"/>
                  </a:lnTo>
                  <a:lnTo>
                    <a:pt x="f54" y="f1024"/>
                  </a:lnTo>
                  <a:lnTo>
                    <a:pt x="f57" y="f1023"/>
                  </a:lnTo>
                  <a:lnTo>
                    <a:pt x="f57" y="f1022"/>
                  </a:lnTo>
                  <a:close/>
                  <a:moveTo>
                    <a:pt x="f58" y="f1021"/>
                  </a:moveTo>
                  <a:lnTo>
                    <a:pt x="f59" y="f1021"/>
                  </a:lnTo>
                  <a:lnTo>
                    <a:pt x="f60" y="f1022"/>
                  </a:lnTo>
                  <a:lnTo>
                    <a:pt x="f60" y="f1025"/>
                  </a:lnTo>
                  <a:lnTo>
                    <a:pt x="f59" y="f1024"/>
                  </a:lnTo>
                  <a:lnTo>
                    <a:pt x="f58" y="f1024"/>
                  </a:lnTo>
                  <a:lnTo>
                    <a:pt x="f61" y="f1025"/>
                  </a:lnTo>
                  <a:lnTo>
                    <a:pt x="f61" y="f1022"/>
                  </a:lnTo>
                  <a:close/>
                  <a:moveTo>
                    <a:pt x="f42" y="f1021"/>
                  </a:moveTo>
                  <a:lnTo>
                    <a:pt x="f43" y="f1021"/>
                  </a:lnTo>
                  <a:lnTo>
                    <a:pt x="f44" y="f1026"/>
                  </a:lnTo>
                  <a:lnTo>
                    <a:pt x="f44" y="f1023"/>
                  </a:lnTo>
                  <a:lnTo>
                    <a:pt x="f43" y="f1024"/>
                  </a:lnTo>
                  <a:lnTo>
                    <a:pt x="f42" y="f1024"/>
                  </a:lnTo>
                  <a:lnTo>
                    <a:pt x="f45" y="f1023"/>
                  </a:lnTo>
                  <a:lnTo>
                    <a:pt x="f45" y="f1026"/>
                  </a:lnTo>
                  <a:close/>
                  <a:moveTo>
                    <a:pt x="f46" y="f1021"/>
                  </a:moveTo>
                  <a:lnTo>
                    <a:pt x="f47" y="f1021"/>
                  </a:lnTo>
                  <a:lnTo>
                    <a:pt x="f48" y="f1026"/>
                  </a:lnTo>
                  <a:lnTo>
                    <a:pt x="f48" y="f1023"/>
                  </a:lnTo>
                  <a:lnTo>
                    <a:pt x="f47" y="f1024"/>
                  </a:lnTo>
                  <a:lnTo>
                    <a:pt x="f46" y="f1024"/>
                  </a:lnTo>
                  <a:lnTo>
                    <a:pt x="f49" y="f1023"/>
                  </a:lnTo>
                  <a:lnTo>
                    <a:pt x="f49" y="f1026"/>
                  </a:lnTo>
                  <a:close/>
                  <a:moveTo>
                    <a:pt x="f50" y="f1021"/>
                  </a:moveTo>
                  <a:lnTo>
                    <a:pt x="f51" y="f1021"/>
                  </a:lnTo>
                  <a:lnTo>
                    <a:pt x="f52" y="f1026"/>
                  </a:lnTo>
                  <a:lnTo>
                    <a:pt x="f52" y="f1023"/>
                  </a:lnTo>
                  <a:lnTo>
                    <a:pt x="f51" y="f1024"/>
                  </a:lnTo>
                  <a:lnTo>
                    <a:pt x="f50" y="f1024"/>
                  </a:lnTo>
                  <a:lnTo>
                    <a:pt x="f53" y="f1023"/>
                  </a:lnTo>
                  <a:lnTo>
                    <a:pt x="f53" y="f1026"/>
                  </a:lnTo>
                  <a:close/>
                  <a:moveTo>
                    <a:pt x="f35" y="f1027"/>
                  </a:moveTo>
                  <a:lnTo>
                    <a:pt x="f37" y="f1027"/>
                  </a:lnTo>
                  <a:lnTo>
                    <a:pt x="f6" y="f1028"/>
                  </a:lnTo>
                  <a:lnTo>
                    <a:pt x="f6" y="f1029"/>
                  </a:lnTo>
                  <a:lnTo>
                    <a:pt x="f37" y="f1030"/>
                  </a:lnTo>
                  <a:lnTo>
                    <a:pt x="f35" y="f1030"/>
                  </a:lnTo>
                  <a:lnTo>
                    <a:pt x="f41" y="f1029"/>
                  </a:lnTo>
                  <a:lnTo>
                    <a:pt x="f41" y="f1028"/>
                  </a:lnTo>
                  <a:close/>
                  <a:moveTo>
                    <a:pt x="f1031" y="f1032"/>
                  </a:moveTo>
                  <a:lnTo>
                    <a:pt x="f1033" y="f1032"/>
                  </a:lnTo>
                  <a:lnTo>
                    <a:pt x="f987" y="f1034"/>
                  </a:lnTo>
                  <a:lnTo>
                    <a:pt x="f987" y="f1035"/>
                  </a:lnTo>
                  <a:lnTo>
                    <a:pt x="f1033" y="f1036"/>
                  </a:lnTo>
                  <a:lnTo>
                    <a:pt x="f1031" y="f1036"/>
                  </a:lnTo>
                  <a:lnTo>
                    <a:pt x="f1037" y="f1035"/>
                  </a:lnTo>
                  <a:lnTo>
                    <a:pt x="f1037" y="f1034"/>
                  </a:lnTo>
                  <a:close/>
                  <a:moveTo>
                    <a:pt x="f1038" y="f1039"/>
                  </a:moveTo>
                  <a:lnTo>
                    <a:pt x="f1040" y="f1039"/>
                  </a:lnTo>
                  <a:lnTo>
                    <a:pt x="f1041" y="f1034"/>
                  </a:lnTo>
                  <a:lnTo>
                    <a:pt x="f1041" y="f1035"/>
                  </a:lnTo>
                  <a:lnTo>
                    <a:pt x="f1040" y="f1042"/>
                  </a:lnTo>
                  <a:lnTo>
                    <a:pt x="f1038" y="f1042"/>
                  </a:lnTo>
                  <a:lnTo>
                    <a:pt x="f1043" y="f1035"/>
                  </a:lnTo>
                  <a:lnTo>
                    <a:pt x="f1043" y="f1034"/>
                  </a:lnTo>
                  <a:close/>
                  <a:moveTo>
                    <a:pt x="f992" y="f1039"/>
                  </a:moveTo>
                  <a:lnTo>
                    <a:pt x="f1044" y="f1039"/>
                  </a:lnTo>
                  <a:lnTo>
                    <a:pt x="f1045" y="f1034"/>
                  </a:lnTo>
                  <a:lnTo>
                    <a:pt x="f1045" y="f1035"/>
                  </a:lnTo>
                  <a:lnTo>
                    <a:pt x="f1044" y="f1036"/>
                  </a:lnTo>
                  <a:lnTo>
                    <a:pt x="f992" y="f1036"/>
                  </a:lnTo>
                  <a:lnTo>
                    <a:pt x="f994" y="f1035"/>
                  </a:lnTo>
                  <a:lnTo>
                    <a:pt x="f994" y="f1034"/>
                  </a:lnTo>
                  <a:close/>
                  <a:moveTo>
                    <a:pt x="f1046" y="f1039"/>
                  </a:moveTo>
                  <a:lnTo>
                    <a:pt x="f1047" y="f1039"/>
                  </a:lnTo>
                  <a:lnTo>
                    <a:pt x="f1048" y="f1034"/>
                  </a:lnTo>
                  <a:lnTo>
                    <a:pt x="f1048" y="f1035"/>
                  </a:lnTo>
                  <a:lnTo>
                    <a:pt x="f1047" y="f1036"/>
                  </a:lnTo>
                  <a:lnTo>
                    <a:pt x="f1046" y="f1036"/>
                  </a:lnTo>
                  <a:lnTo>
                    <a:pt x="f1049" y="f1035"/>
                  </a:lnTo>
                  <a:lnTo>
                    <a:pt x="f1049" y="f1034"/>
                  </a:lnTo>
                  <a:close/>
                  <a:moveTo>
                    <a:pt x="f960" y="f1050"/>
                  </a:moveTo>
                  <a:lnTo>
                    <a:pt x="f961" y="f1050"/>
                  </a:lnTo>
                  <a:lnTo>
                    <a:pt x="f1051" y="f1052"/>
                  </a:lnTo>
                  <a:lnTo>
                    <a:pt x="f1051" y="f1053"/>
                  </a:lnTo>
                  <a:lnTo>
                    <a:pt x="f961" y="f1054"/>
                  </a:lnTo>
                  <a:lnTo>
                    <a:pt x="f960" y="f1054"/>
                  </a:lnTo>
                  <a:lnTo>
                    <a:pt x="f1055" y="f1053"/>
                  </a:lnTo>
                  <a:lnTo>
                    <a:pt x="f1055" y="f1052"/>
                  </a:lnTo>
                  <a:close/>
                  <a:moveTo>
                    <a:pt x="f1056" y="f1050"/>
                  </a:moveTo>
                  <a:lnTo>
                    <a:pt x="f1057" y="f1050"/>
                  </a:lnTo>
                  <a:lnTo>
                    <a:pt x="f962" y="f1052"/>
                  </a:lnTo>
                  <a:lnTo>
                    <a:pt x="f962" y="f1053"/>
                  </a:lnTo>
                  <a:lnTo>
                    <a:pt x="f1057" y="f1054"/>
                  </a:lnTo>
                  <a:lnTo>
                    <a:pt x="f1056" y="f1054"/>
                  </a:lnTo>
                  <a:lnTo>
                    <a:pt x="f1058" y="f1053"/>
                  </a:lnTo>
                  <a:lnTo>
                    <a:pt x="f1058" y="f1052"/>
                  </a:lnTo>
                  <a:close/>
                  <a:moveTo>
                    <a:pt x="f1059" y="f1050"/>
                  </a:moveTo>
                  <a:lnTo>
                    <a:pt x="f963" y="f1050"/>
                  </a:lnTo>
                  <a:lnTo>
                    <a:pt x="f964" y="f1052"/>
                  </a:lnTo>
                  <a:lnTo>
                    <a:pt x="f964" y="f1060"/>
                  </a:lnTo>
                  <a:lnTo>
                    <a:pt x="f963" y="f1054"/>
                  </a:lnTo>
                  <a:lnTo>
                    <a:pt x="f1059" y="f1054"/>
                  </a:lnTo>
                  <a:lnTo>
                    <a:pt x="f1061" y="f1060"/>
                  </a:lnTo>
                  <a:lnTo>
                    <a:pt x="f1061" y="f1052"/>
                  </a:lnTo>
                  <a:close/>
                  <a:moveTo>
                    <a:pt x="f1062" y="f1050"/>
                  </a:moveTo>
                  <a:lnTo>
                    <a:pt x="f1063" y="f1050"/>
                  </a:lnTo>
                  <a:lnTo>
                    <a:pt x="f955" y="f1064"/>
                  </a:lnTo>
                  <a:lnTo>
                    <a:pt x="f955" y="f1053"/>
                  </a:lnTo>
                  <a:lnTo>
                    <a:pt x="f1063" y="f1054"/>
                  </a:lnTo>
                  <a:lnTo>
                    <a:pt x="f1062" y="f1054"/>
                  </a:lnTo>
                  <a:lnTo>
                    <a:pt x="f959" y="f1053"/>
                  </a:lnTo>
                  <a:lnTo>
                    <a:pt x="f959" y="f1064"/>
                  </a:lnTo>
                  <a:close/>
                  <a:moveTo>
                    <a:pt x="f896" y="f1065"/>
                  </a:moveTo>
                  <a:lnTo>
                    <a:pt x="f825" y="f1065"/>
                  </a:lnTo>
                  <a:lnTo>
                    <a:pt x="f640" y="f1066"/>
                  </a:lnTo>
                  <a:lnTo>
                    <a:pt x="f640" y="f559"/>
                  </a:lnTo>
                  <a:lnTo>
                    <a:pt x="f825" y="f1067"/>
                  </a:lnTo>
                  <a:lnTo>
                    <a:pt x="f896" y="f1067"/>
                  </a:lnTo>
                  <a:lnTo>
                    <a:pt x="f1068" y="f559"/>
                  </a:lnTo>
                  <a:lnTo>
                    <a:pt x="f1068" y="f1066"/>
                  </a:lnTo>
                  <a:close/>
                  <a:moveTo>
                    <a:pt x="f974" y="f1069"/>
                  </a:moveTo>
                  <a:lnTo>
                    <a:pt x="f976" y="f1069"/>
                  </a:lnTo>
                  <a:lnTo>
                    <a:pt x="f830" y="f1070"/>
                  </a:lnTo>
                  <a:lnTo>
                    <a:pt x="f830" y="f504"/>
                  </a:lnTo>
                  <a:lnTo>
                    <a:pt x="f976" y="f1071"/>
                  </a:lnTo>
                  <a:lnTo>
                    <a:pt x="f974" y="f1071"/>
                  </a:lnTo>
                  <a:lnTo>
                    <a:pt x="f730" y="f504"/>
                  </a:lnTo>
                  <a:lnTo>
                    <a:pt x="f730" y="f1070"/>
                  </a:lnTo>
                  <a:close/>
                  <a:moveTo>
                    <a:pt x="f142" y="f1072"/>
                  </a:moveTo>
                  <a:lnTo>
                    <a:pt x="f143" y="f1072"/>
                  </a:lnTo>
                  <a:lnTo>
                    <a:pt x="f144" y="f1073"/>
                  </a:lnTo>
                  <a:lnTo>
                    <a:pt x="f144" y="f1074"/>
                  </a:lnTo>
                  <a:lnTo>
                    <a:pt x="f143" y="f1075"/>
                  </a:lnTo>
                  <a:lnTo>
                    <a:pt x="f142" y="f1075"/>
                  </a:lnTo>
                  <a:lnTo>
                    <a:pt x="f145" y="f1074"/>
                  </a:lnTo>
                  <a:lnTo>
                    <a:pt x="f145" y="f1073"/>
                  </a:lnTo>
                  <a:close/>
                  <a:moveTo>
                    <a:pt x="f146" y="f1072"/>
                  </a:moveTo>
                  <a:lnTo>
                    <a:pt x="f147" y="f1072"/>
                  </a:lnTo>
                  <a:lnTo>
                    <a:pt x="f148" y="f1073"/>
                  </a:lnTo>
                  <a:lnTo>
                    <a:pt x="f148" y="f1074"/>
                  </a:lnTo>
                  <a:lnTo>
                    <a:pt x="f147" y="f1075"/>
                  </a:lnTo>
                  <a:lnTo>
                    <a:pt x="f146" y="f1075"/>
                  </a:lnTo>
                  <a:lnTo>
                    <a:pt x="f149" y="f1074"/>
                  </a:lnTo>
                  <a:lnTo>
                    <a:pt x="f149" y="f1073"/>
                  </a:lnTo>
                  <a:close/>
                  <a:moveTo>
                    <a:pt x="f150" y="f1072"/>
                  </a:moveTo>
                  <a:lnTo>
                    <a:pt x="f151" y="f1072"/>
                  </a:lnTo>
                  <a:lnTo>
                    <a:pt x="f152" y="f1073"/>
                  </a:lnTo>
                  <a:lnTo>
                    <a:pt x="f152" y="f1074"/>
                  </a:lnTo>
                  <a:lnTo>
                    <a:pt x="f151" y="f1075"/>
                  </a:lnTo>
                  <a:lnTo>
                    <a:pt x="f150" y="f1075"/>
                  </a:lnTo>
                  <a:lnTo>
                    <a:pt x="f153" y="f1074"/>
                  </a:lnTo>
                  <a:lnTo>
                    <a:pt x="f153" y="f1073"/>
                  </a:lnTo>
                  <a:close/>
                  <a:moveTo>
                    <a:pt x="f154" y="f1072"/>
                  </a:moveTo>
                  <a:lnTo>
                    <a:pt x="f155" y="f1072"/>
                  </a:lnTo>
                  <a:lnTo>
                    <a:pt x="f156" y="f1073"/>
                  </a:lnTo>
                  <a:lnTo>
                    <a:pt x="f156" y="f1074"/>
                  </a:lnTo>
                  <a:lnTo>
                    <a:pt x="f155" y="f1076"/>
                  </a:lnTo>
                  <a:lnTo>
                    <a:pt x="f154" y="f1076"/>
                  </a:lnTo>
                  <a:lnTo>
                    <a:pt x="f157" y="f1074"/>
                  </a:lnTo>
                  <a:lnTo>
                    <a:pt x="f157" y="f1073"/>
                  </a:lnTo>
                  <a:close/>
                  <a:moveTo>
                    <a:pt x="f158" y="f1072"/>
                  </a:moveTo>
                  <a:lnTo>
                    <a:pt x="f159" y="f1072"/>
                  </a:lnTo>
                  <a:lnTo>
                    <a:pt x="f160" y="f1073"/>
                  </a:lnTo>
                  <a:lnTo>
                    <a:pt x="f160" y="f1074"/>
                  </a:lnTo>
                  <a:lnTo>
                    <a:pt x="f159" y="f1076"/>
                  </a:lnTo>
                  <a:lnTo>
                    <a:pt x="f158" y="f1076"/>
                  </a:lnTo>
                  <a:lnTo>
                    <a:pt x="f161" y="f1074"/>
                  </a:lnTo>
                  <a:lnTo>
                    <a:pt x="f161" y="f1073"/>
                  </a:lnTo>
                  <a:close/>
                  <a:moveTo>
                    <a:pt x="f122" y="f1077"/>
                  </a:moveTo>
                  <a:lnTo>
                    <a:pt x="f123" y="f1077"/>
                  </a:lnTo>
                  <a:lnTo>
                    <a:pt x="f124" y="f1078"/>
                  </a:lnTo>
                  <a:lnTo>
                    <a:pt x="f124" y="f1079"/>
                  </a:lnTo>
                  <a:lnTo>
                    <a:pt x="f123" y="f1080"/>
                  </a:lnTo>
                  <a:lnTo>
                    <a:pt x="f122" y="f1080"/>
                  </a:lnTo>
                  <a:lnTo>
                    <a:pt x="f125" y="f1079"/>
                  </a:lnTo>
                  <a:lnTo>
                    <a:pt x="f125" y="f1078"/>
                  </a:lnTo>
                  <a:close/>
                  <a:moveTo>
                    <a:pt x="f126" y="f1077"/>
                  </a:moveTo>
                  <a:lnTo>
                    <a:pt x="f127" y="f1077"/>
                  </a:lnTo>
                  <a:lnTo>
                    <a:pt x="f128" y="f1078"/>
                  </a:lnTo>
                  <a:lnTo>
                    <a:pt x="f128" y="f1079"/>
                  </a:lnTo>
                  <a:lnTo>
                    <a:pt x="f127" y="f1080"/>
                  </a:lnTo>
                  <a:lnTo>
                    <a:pt x="f126" y="f1080"/>
                  </a:lnTo>
                  <a:lnTo>
                    <a:pt x="f129" y="f1079"/>
                  </a:lnTo>
                  <a:lnTo>
                    <a:pt x="f129" y="f1078"/>
                  </a:lnTo>
                  <a:close/>
                  <a:moveTo>
                    <a:pt x="f130" y="f1077"/>
                  </a:moveTo>
                  <a:lnTo>
                    <a:pt x="f131" y="f1077"/>
                  </a:lnTo>
                  <a:lnTo>
                    <a:pt x="f132" y="f1078"/>
                  </a:lnTo>
                  <a:lnTo>
                    <a:pt x="f132" y="f1079"/>
                  </a:lnTo>
                  <a:lnTo>
                    <a:pt x="f131" y="f1080"/>
                  </a:lnTo>
                  <a:lnTo>
                    <a:pt x="f130" y="f1080"/>
                  </a:lnTo>
                  <a:lnTo>
                    <a:pt x="f133" y="f1079"/>
                  </a:lnTo>
                  <a:lnTo>
                    <a:pt x="f133" y="f1078"/>
                  </a:lnTo>
                  <a:close/>
                  <a:moveTo>
                    <a:pt x="f134" y="f1077"/>
                  </a:moveTo>
                  <a:lnTo>
                    <a:pt x="f135" y="f1077"/>
                  </a:lnTo>
                  <a:lnTo>
                    <a:pt x="f136" y="f1078"/>
                  </a:lnTo>
                  <a:lnTo>
                    <a:pt x="f136" y="f1079"/>
                  </a:lnTo>
                  <a:lnTo>
                    <a:pt x="f135" y="f1080"/>
                  </a:lnTo>
                  <a:lnTo>
                    <a:pt x="f134" y="f1080"/>
                  </a:lnTo>
                  <a:lnTo>
                    <a:pt x="f137" y="f1079"/>
                  </a:lnTo>
                  <a:lnTo>
                    <a:pt x="f137" y="f1078"/>
                  </a:lnTo>
                  <a:close/>
                  <a:moveTo>
                    <a:pt x="f138" y="f1077"/>
                  </a:moveTo>
                  <a:lnTo>
                    <a:pt x="f139" y="f1077"/>
                  </a:lnTo>
                  <a:lnTo>
                    <a:pt x="f140" y="f1078"/>
                  </a:lnTo>
                  <a:lnTo>
                    <a:pt x="f140" y="f1079"/>
                  </a:lnTo>
                  <a:lnTo>
                    <a:pt x="f139" y="f1080"/>
                  </a:lnTo>
                  <a:lnTo>
                    <a:pt x="f138" y="f1080"/>
                  </a:lnTo>
                  <a:lnTo>
                    <a:pt x="f141" y="f1079"/>
                  </a:lnTo>
                  <a:lnTo>
                    <a:pt x="f141" y="f1078"/>
                  </a:lnTo>
                  <a:close/>
                  <a:moveTo>
                    <a:pt x="f102" y="f1081"/>
                  </a:moveTo>
                  <a:lnTo>
                    <a:pt x="f103" y="f1081"/>
                  </a:lnTo>
                  <a:lnTo>
                    <a:pt x="f104" y="f1082"/>
                  </a:lnTo>
                  <a:lnTo>
                    <a:pt x="f104" y="f1083"/>
                  </a:lnTo>
                  <a:lnTo>
                    <a:pt x="f103" y="f1084"/>
                  </a:lnTo>
                  <a:lnTo>
                    <a:pt x="f102" y="f1084"/>
                  </a:lnTo>
                  <a:lnTo>
                    <a:pt x="f105" y="f1083"/>
                  </a:lnTo>
                  <a:lnTo>
                    <a:pt x="f105" y="f1082"/>
                  </a:lnTo>
                  <a:close/>
                  <a:moveTo>
                    <a:pt x="f106" y="f1081"/>
                  </a:moveTo>
                  <a:lnTo>
                    <a:pt x="f107" y="f1081"/>
                  </a:lnTo>
                  <a:lnTo>
                    <a:pt x="f108" y="f1082"/>
                  </a:lnTo>
                  <a:lnTo>
                    <a:pt x="f108" y="f1083"/>
                  </a:lnTo>
                  <a:lnTo>
                    <a:pt x="f107" y="f1084"/>
                  </a:lnTo>
                  <a:lnTo>
                    <a:pt x="f106" y="f1084"/>
                  </a:lnTo>
                  <a:lnTo>
                    <a:pt x="f109" y="f1083"/>
                  </a:lnTo>
                  <a:lnTo>
                    <a:pt x="f109" y="f1082"/>
                  </a:lnTo>
                  <a:close/>
                  <a:moveTo>
                    <a:pt x="f110" y="f1081"/>
                  </a:moveTo>
                  <a:lnTo>
                    <a:pt x="f111" y="f1081"/>
                  </a:lnTo>
                  <a:lnTo>
                    <a:pt x="f112" y="f1082"/>
                  </a:lnTo>
                  <a:lnTo>
                    <a:pt x="f112" y="f1083"/>
                  </a:lnTo>
                  <a:lnTo>
                    <a:pt x="f111" y="f1084"/>
                  </a:lnTo>
                  <a:lnTo>
                    <a:pt x="f110" y="f1084"/>
                  </a:lnTo>
                  <a:lnTo>
                    <a:pt x="f113" y="f1083"/>
                  </a:lnTo>
                  <a:lnTo>
                    <a:pt x="f113" y="f1082"/>
                  </a:lnTo>
                  <a:close/>
                  <a:moveTo>
                    <a:pt x="f114" y="f1081"/>
                  </a:moveTo>
                  <a:lnTo>
                    <a:pt x="f115" y="f1081"/>
                  </a:lnTo>
                  <a:lnTo>
                    <a:pt x="f116" y="f1082"/>
                  </a:lnTo>
                  <a:lnTo>
                    <a:pt x="f116" y="f1083"/>
                  </a:lnTo>
                  <a:lnTo>
                    <a:pt x="f115" y="f1085"/>
                  </a:lnTo>
                  <a:lnTo>
                    <a:pt x="f114" y="f1085"/>
                  </a:lnTo>
                  <a:lnTo>
                    <a:pt x="f117" y="f1083"/>
                  </a:lnTo>
                  <a:lnTo>
                    <a:pt x="f117" y="f1082"/>
                  </a:lnTo>
                  <a:close/>
                  <a:moveTo>
                    <a:pt x="f118" y="f1081"/>
                  </a:moveTo>
                  <a:lnTo>
                    <a:pt x="f119" y="f1081"/>
                  </a:lnTo>
                  <a:lnTo>
                    <a:pt x="f120" y="f1086"/>
                  </a:lnTo>
                  <a:lnTo>
                    <a:pt x="f120" y="f1083"/>
                  </a:lnTo>
                  <a:lnTo>
                    <a:pt x="f119" y="f1085"/>
                  </a:lnTo>
                  <a:lnTo>
                    <a:pt x="f118" y="f1085"/>
                  </a:lnTo>
                  <a:lnTo>
                    <a:pt x="f121" y="f1083"/>
                  </a:lnTo>
                  <a:lnTo>
                    <a:pt x="f121" y="f1086"/>
                  </a:lnTo>
                  <a:close/>
                  <a:moveTo>
                    <a:pt x="f82" y="f1087"/>
                  </a:moveTo>
                  <a:lnTo>
                    <a:pt x="f83" y="f1087"/>
                  </a:lnTo>
                  <a:lnTo>
                    <a:pt x="f84" y="f1088"/>
                  </a:lnTo>
                  <a:lnTo>
                    <a:pt x="f84" y="f1089"/>
                  </a:lnTo>
                  <a:lnTo>
                    <a:pt x="f83" y="f1090"/>
                  </a:lnTo>
                  <a:lnTo>
                    <a:pt x="f82" y="f1090"/>
                  </a:lnTo>
                  <a:lnTo>
                    <a:pt x="f85" y="f1089"/>
                  </a:lnTo>
                  <a:lnTo>
                    <a:pt x="f85" y="f1088"/>
                  </a:lnTo>
                  <a:close/>
                  <a:moveTo>
                    <a:pt x="f86" y="f1087"/>
                  </a:moveTo>
                  <a:lnTo>
                    <a:pt x="f87" y="f1087"/>
                  </a:lnTo>
                  <a:lnTo>
                    <a:pt x="f88" y="f1088"/>
                  </a:lnTo>
                  <a:lnTo>
                    <a:pt x="f88" y="f1089"/>
                  </a:lnTo>
                  <a:lnTo>
                    <a:pt x="f87" y="f1090"/>
                  </a:lnTo>
                  <a:lnTo>
                    <a:pt x="f86" y="f1090"/>
                  </a:lnTo>
                  <a:lnTo>
                    <a:pt x="f89" y="f1089"/>
                  </a:lnTo>
                  <a:lnTo>
                    <a:pt x="f89" y="f1088"/>
                  </a:lnTo>
                  <a:close/>
                  <a:moveTo>
                    <a:pt x="f90" y="f1087"/>
                  </a:moveTo>
                  <a:lnTo>
                    <a:pt x="f91" y="f1087"/>
                  </a:lnTo>
                  <a:lnTo>
                    <a:pt x="f92" y="f1088"/>
                  </a:lnTo>
                  <a:lnTo>
                    <a:pt x="f92" y="f1089"/>
                  </a:lnTo>
                  <a:lnTo>
                    <a:pt x="f91" y="f1090"/>
                  </a:lnTo>
                  <a:lnTo>
                    <a:pt x="f90" y="f1090"/>
                  </a:lnTo>
                  <a:lnTo>
                    <a:pt x="f93" y="f1089"/>
                  </a:lnTo>
                  <a:lnTo>
                    <a:pt x="f93" y="f1088"/>
                  </a:lnTo>
                  <a:close/>
                  <a:moveTo>
                    <a:pt x="f94" y="f1087"/>
                  </a:moveTo>
                  <a:lnTo>
                    <a:pt x="f95" y="f1087"/>
                  </a:lnTo>
                  <a:lnTo>
                    <a:pt x="f96" y="f1088"/>
                  </a:lnTo>
                  <a:lnTo>
                    <a:pt x="f96" y="f1089"/>
                  </a:lnTo>
                  <a:lnTo>
                    <a:pt x="f95" y="f1090"/>
                  </a:lnTo>
                  <a:lnTo>
                    <a:pt x="f94" y="f1090"/>
                  </a:lnTo>
                  <a:lnTo>
                    <a:pt x="f97" y="f1089"/>
                  </a:lnTo>
                  <a:lnTo>
                    <a:pt x="f97" y="f1088"/>
                  </a:lnTo>
                  <a:close/>
                  <a:moveTo>
                    <a:pt x="f98" y="f1087"/>
                  </a:moveTo>
                  <a:lnTo>
                    <a:pt x="f99" y="f1087"/>
                  </a:lnTo>
                  <a:lnTo>
                    <a:pt x="f100" y="f1088"/>
                  </a:lnTo>
                  <a:lnTo>
                    <a:pt x="f100" y="f1089"/>
                  </a:lnTo>
                  <a:lnTo>
                    <a:pt x="f99" y="f1090"/>
                  </a:lnTo>
                  <a:lnTo>
                    <a:pt x="f98" y="f1090"/>
                  </a:lnTo>
                  <a:lnTo>
                    <a:pt x="f101" y="f1089"/>
                  </a:lnTo>
                  <a:lnTo>
                    <a:pt x="f101" y="f1088"/>
                  </a:lnTo>
                  <a:close/>
                  <a:moveTo>
                    <a:pt x="f62" y="f1091"/>
                  </a:moveTo>
                  <a:lnTo>
                    <a:pt x="f63" y="f1091"/>
                  </a:lnTo>
                  <a:lnTo>
                    <a:pt x="f64" y="f1092"/>
                  </a:lnTo>
                  <a:lnTo>
                    <a:pt x="f64" y="f1093"/>
                  </a:lnTo>
                  <a:lnTo>
                    <a:pt x="f63" y="f1094"/>
                  </a:lnTo>
                  <a:lnTo>
                    <a:pt x="f62" y="f1094"/>
                  </a:lnTo>
                  <a:lnTo>
                    <a:pt x="f65" y="f1093"/>
                  </a:lnTo>
                  <a:lnTo>
                    <a:pt x="f65" y="f1092"/>
                  </a:lnTo>
                  <a:close/>
                  <a:moveTo>
                    <a:pt x="f66" y="f1091"/>
                  </a:moveTo>
                  <a:lnTo>
                    <a:pt x="f67" y="f1091"/>
                  </a:lnTo>
                  <a:lnTo>
                    <a:pt x="f68" y="f1092"/>
                  </a:lnTo>
                  <a:lnTo>
                    <a:pt x="f68" y="f1093"/>
                  </a:lnTo>
                  <a:lnTo>
                    <a:pt x="f67" y="f1094"/>
                  </a:lnTo>
                  <a:lnTo>
                    <a:pt x="f66" y="f1094"/>
                  </a:lnTo>
                  <a:lnTo>
                    <a:pt x="f69" y="f1093"/>
                  </a:lnTo>
                  <a:lnTo>
                    <a:pt x="f69" y="f1092"/>
                  </a:lnTo>
                  <a:close/>
                  <a:moveTo>
                    <a:pt x="f70" y="f1091"/>
                  </a:moveTo>
                  <a:lnTo>
                    <a:pt x="f71" y="f1091"/>
                  </a:lnTo>
                  <a:lnTo>
                    <a:pt x="f72" y="f1092"/>
                  </a:lnTo>
                  <a:lnTo>
                    <a:pt x="f72" y="f1093"/>
                  </a:lnTo>
                  <a:lnTo>
                    <a:pt x="f71" y="f1094"/>
                  </a:lnTo>
                  <a:lnTo>
                    <a:pt x="f70" y="f1094"/>
                  </a:lnTo>
                  <a:lnTo>
                    <a:pt x="f73" y="f1093"/>
                  </a:lnTo>
                  <a:lnTo>
                    <a:pt x="f73" y="f1092"/>
                  </a:lnTo>
                  <a:close/>
                  <a:moveTo>
                    <a:pt x="f74" y="f1091"/>
                  </a:moveTo>
                  <a:lnTo>
                    <a:pt x="f75" y="f1091"/>
                  </a:lnTo>
                  <a:lnTo>
                    <a:pt x="f76" y="f1092"/>
                  </a:lnTo>
                  <a:lnTo>
                    <a:pt x="f76" y="f1093"/>
                  </a:lnTo>
                  <a:lnTo>
                    <a:pt x="f75" y="f1094"/>
                  </a:lnTo>
                  <a:lnTo>
                    <a:pt x="f74" y="f1094"/>
                  </a:lnTo>
                  <a:lnTo>
                    <a:pt x="f77" y="f1093"/>
                  </a:lnTo>
                  <a:lnTo>
                    <a:pt x="f77" y="f1092"/>
                  </a:lnTo>
                  <a:close/>
                  <a:moveTo>
                    <a:pt x="f78" y="f1091"/>
                  </a:moveTo>
                  <a:lnTo>
                    <a:pt x="f79" y="f1091"/>
                  </a:lnTo>
                  <a:lnTo>
                    <a:pt x="f80" y="f1092"/>
                  </a:lnTo>
                  <a:lnTo>
                    <a:pt x="f80" y="f1093"/>
                  </a:lnTo>
                  <a:lnTo>
                    <a:pt x="f79" y="f1094"/>
                  </a:lnTo>
                  <a:lnTo>
                    <a:pt x="f78" y="f1094"/>
                  </a:lnTo>
                  <a:lnTo>
                    <a:pt x="f81" y="f1093"/>
                  </a:lnTo>
                  <a:lnTo>
                    <a:pt x="f81" y="f1092"/>
                  </a:lnTo>
                  <a:close/>
                  <a:moveTo>
                    <a:pt x="f1062" y="f1095"/>
                  </a:moveTo>
                  <a:lnTo>
                    <a:pt x="f1096" y="f1095"/>
                  </a:lnTo>
                  <a:lnTo>
                    <a:pt x="f1097" y="f1098"/>
                  </a:lnTo>
                  <a:lnTo>
                    <a:pt x="f1097" y="f1099"/>
                  </a:lnTo>
                  <a:lnTo>
                    <a:pt x="f1096" y="f1100"/>
                  </a:lnTo>
                  <a:lnTo>
                    <a:pt x="f1062" y="f1100"/>
                  </a:lnTo>
                  <a:lnTo>
                    <a:pt x="f1101" y="f1099"/>
                  </a:lnTo>
                  <a:lnTo>
                    <a:pt x="f1101" y="f1098"/>
                  </a:lnTo>
                  <a:close/>
                  <a:moveTo>
                    <a:pt x="f1102" y="f1095"/>
                  </a:moveTo>
                  <a:lnTo>
                    <a:pt x="f1103" y="f1095"/>
                  </a:lnTo>
                  <a:lnTo>
                    <a:pt x="f1051" y="f1098"/>
                  </a:lnTo>
                  <a:lnTo>
                    <a:pt x="f1051" y="f1099"/>
                  </a:lnTo>
                  <a:lnTo>
                    <a:pt x="f1103" y="f1100"/>
                  </a:lnTo>
                  <a:lnTo>
                    <a:pt x="f1102" y="f1100"/>
                  </a:lnTo>
                  <a:lnTo>
                    <a:pt x="f1055" y="f1099"/>
                  </a:lnTo>
                  <a:lnTo>
                    <a:pt x="f1055" y="f1098"/>
                  </a:lnTo>
                  <a:close/>
                  <a:moveTo>
                    <a:pt x="f1056" y="f1095"/>
                  </a:moveTo>
                  <a:lnTo>
                    <a:pt x="f1104" y="f1095"/>
                  </a:lnTo>
                  <a:lnTo>
                    <a:pt x="f1105" y="f1098"/>
                  </a:lnTo>
                  <a:lnTo>
                    <a:pt x="f1105" y="f1099"/>
                  </a:lnTo>
                  <a:lnTo>
                    <a:pt x="f1104" y="f1100"/>
                  </a:lnTo>
                  <a:lnTo>
                    <a:pt x="f1056" y="f1100"/>
                  </a:lnTo>
                  <a:lnTo>
                    <a:pt x="f1106" y="f1099"/>
                  </a:lnTo>
                  <a:lnTo>
                    <a:pt x="f1106" y="f1098"/>
                  </a:lnTo>
                  <a:close/>
                  <a:moveTo>
                    <a:pt x="f1059" y="f1095"/>
                  </a:moveTo>
                  <a:lnTo>
                    <a:pt x="f1107" y="f1095"/>
                  </a:lnTo>
                  <a:lnTo>
                    <a:pt x="f1108" y="f1098"/>
                  </a:lnTo>
                  <a:lnTo>
                    <a:pt x="f1108" y="f1109"/>
                  </a:lnTo>
                  <a:lnTo>
                    <a:pt x="f1107" y="f1100"/>
                  </a:lnTo>
                  <a:lnTo>
                    <a:pt x="f1059" y="f1100"/>
                  </a:lnTo>
                  <a:lnTo>
                    <a:pt x="f1061" y="f1109"/>
                  </a:lnTo>
                  <a:lnTo>
                    <a:pt x="f1061" y="f1098"/>
                  </a:lnTo>
                  <a:close/>
                  <a:moveTo>
                    <a:pt x="f42" y="f1110"/>
                  </a:moveTo>
                  <a:lnTo>
                    <a:pt x="f43" y="f1110"/>
                  </a:lnTo>
                  <a:lnTo>
                    <a:pt x="f44" y="f1111"/>
                  </a:lnTo>
                  <a:lnTo>
                    <a:pt x="f44" y="f1112"/>
                  </a:lnTo>
                  <a:lnTo>
                    <a:pt x="f43" y="f1113"/>
                  </a:lnTo>
                  <a:lnTo>
                    <a:pt x="f42" y="f1113"/>
                  </a:lnTo>
                  <a:lnTo>
                    <a:pt x="f45" y="f1112"/>
                  </a:lnTo>
                  <a:lnTo>
                    <a:pt x="f45" y="f1111"/>
                  </a:lnTo>
                  <a:close/>
                  <a:moveTo>
                    <a:pt x="f46" y="f1110"/>
                  </a:moveTo>
                  <a:lnTo>
                    <a:pt x="f47" y="f1110"/>
                  </a:lnTo>
                  <a:lnTo>
                    <a:pt x="f48" y="f1111"/>
                  </a:lnTo>
                  <a:lnTo>
                    <a:pt x="f48" y="f1112"/>
                  </a:lnTo>
                  <a:lnTo>
                    <a:pt x="f47" y="f1113"/>
                  </a:lnTo>
                  <a:lnTo>
                    <a:pt x="f46" y="f1113"/>
                  </a:lnTo>
                  <a:lnTo>
                    <a:pt x="f49" y="f1112"/>
                  </a:lnTo>
                  <a:lnTo>
                    <a:pt x="f49" y="f1111"/>
                  </a:lnTo>
                  <a:close/>
                  <a:moveTo>
                    <a:pt x="f50" y="f1110"/>
                  </a:moveTo>
                  <a:lnTo>
                    <a:pt x="f51" y="f1110"/>
                  </a:lnTo>
                  <a:lnTo>
                    <a:pt x="f52" y="f1111"/>
                  </a:lnTo>
                  <a:lnTo>
                    <a:pt x="f52" y="f1112"/>
                  </a:lnTo>
                  <a:lnTo>
                    <a:pt x="f51" y="f1113"/>
                  </a:lnTo>
                  <a:lnTo>
                    <a:pt x="f50" y="f1113"/>
                  </a:lnTo>
                  <a:lnTo>
                    <a:pt x="f53" y="f1112"/>
                  </a:lnTo>
                  <a:lnTo>
                    <a:pt x="f53" y="f1111"/>
                  </a:lnTo>
                  <a:close/>
                  <a:moveTo>
                    <a:pt x="f54" y="f1110"/>
                  </a:moveTo>
                  <a:lnTo>
                    <a:pt x="f55" y="f1110"/>
                  </a:lnTo>
                  <a:lnTo>
                    <a:pt x="f56" y="f1111"/>
                  </a:lnTo>
                  <a:lnTo>
                    <a:pt x="f56" y="f1112"/>
                  </a:lnTo>
                  <a:lnTo>
                    <a:pt x="f55" y="f1113"/>
                  </a:lnTo>
                  <a:lnTo>
                    <a:pt x="f54" y="f1113"/>
                  </a:lnTo>
                  <a:lnTo>
                    <a:pt x="f57" y="f1112"/>
                  </a:lnTo>
                  <a:lnTo>
                    <a:pt x="f57" y="f1111"/>
                  </a:lnTo>
                  <a:close/>
                  <a:moveTo>
                    <a:pt x="f58" y="f1110"/>
                  </a:moveTo>
                  <a:lnTo>
                    <a:pt x="f59" y="f1110"/>
                  </a:lnTo>
                  <a:lnTo>
                    <a:pt x="f60" y="f1111"/>
                  </a:lnTo>
                  <a:lnTo>
                    <a:pt x="f60" y="f1112"/>
                  </a:lnTo>
                  <a:lnTo>
                    <a:pt x="f59" y="f1113"/>
                  </a:lnTo>
                  <a:lnTo>
                    <a:pt x="f58" y="f1113"/>
                  </a:lnTo>
                  <a:lnTo>
                    <a:pt x="f61" y="f1112"/>
                  </a:lnTo>
                  <a:lnTo>
                    <a:pt x="f61" y="f1111"/>
                  </a:lnTo>
                  <a:close/>
                  <a:moveTo>
                    <a:pt x="f896" y="f1114"/>
                  </a:moveTo>
                  <a:lnTo>
                    <a:pt x="f825" y="f1114"/>
                  </a:lnTo>
                  <a:lnTo>
                    <a:pt x="f1115" y="f1116"/>
                  </a:lnTo>
                  <a:lnTo>
                    <a:pt x="f1115" y="f1112"/>
                  </a:lnTo>
                  <a:lnTo>
                    <a:pt x="f825" y="f1113"/>
                  </a:lnTo>
                  <a:lnTo>
                    <a:pt x="f896" y="f1113"/>
                  </a:lnTo>
                  <a:lnTo>
                    <a:pt x="f1068" y="f1112"/>
                  </a:lnTo>
                  <a:lnTo>
                    <a:pt x="f1068" y="f1116"/>
                  </a:lnTo>
                  <a:close/>
                  <a:moveTo>
                    <a:pt x="f974" y="f1117"/>
                  </a:moveTo>
                  <a:lnTo>
                    <a:pt x="f976" y="f1117"/>
                  </a:lnTo>
                  <a:lnTo>
                    <a:pt x="f830" y="f1118"/>
                  </a:lnTo>
                  <a:lnTo>
                    <a:pt x="f830" y="f1119"/>
                  </a:lnTo>
                  <a:lnTo>
                    <a:pt x="f976" y="f1120"/>
                  </a:lnTo>
                  <a:lnTo>
                    <a:pt x="f974" y="f1120"/>
                  </a:lnTo>
                  <a:lnTo>
                    <a:pt x="f1121" y="f1119"/>
                  </a:lnTo>
                  <a:lnTo>
                    <a:pt x="f1121" y="f1118"/>
                  </a:lnTo>
                  <a:close/>
                  <a:moveTo>
                    <a:pt x="f35" y="f1122"/>
                  </a:moveTo>
                  <a:lnTo>
                    <a:pt x="f37" y="f1122"/>
                  </a:lnTo>
                  <a:lnTo>
                    <a:pt x="f6" y="f1123"/>
                  </a:lnTo>
                  <a:lnTo>
                    <a:pt x="f6" y="f1124"/>
                  </a:lnTo>
                  <a:lnTo>
                    <a:pt x="f37" y="f1125"/>
                  </a:lnTo>
                  <a:lnTo>
                    <a:pt x="f35" y="f1125"/>
                  </a:lnTo>
                  <a:lnTo>
                    <a:pt x="f41" y="f1124"/>
                  </a:lnTo>
                  <a:lnTo>
                    <a:pt x="f41" y="f1123"/>
                  </a:lnTo>
                  <a:close/>
                  <a:moveTo>
                    <a:pt x="f1038" y="f1126"/>
                  </a:moveTo>
                  <a:lnTo>
                    <a:pt x="f1040" y="f1126"/>
                  </a:lnTo>
                  <a:lnTo>
                    <a:pt x="f1041" y="f1127"/>
                  </a:lnTo>
                  <a:lnTo>
                    <a:pt x="f1041" y="f507"/>
                  </a:lnTo>
                  <a:lnTo>
                    <a:pt x="f1040" y="f1128"/>
                  </a:lnTo>
                  <a:lnTo>
                    <a:pt x="f1038" y="f1128"/>
                  </a:lnTo>
                  <a:lnTo>
                    <a:pt x="f1129" y="f507"/>
                  </a:lnTo>
                  <a:lnTo>
                    <a:pt x="f1129" y="f1127"/>
                  </a:lnTo>
                  <a:close/>
                  <a:moveTo>
                    <a:pt x="f1130" y="f1126"/>
                  </a:moveTo>
                  <a:lnTo>
                    <a:pt x="f1044" y="f1126"/>
                  </a:lnTo>
                  <a:lnTo>
                    <a:pt x="f1045" y="f1127"/>
                  </a:lnTo>
                  <a:lnTo>
                    <a:pt x="f1045" y="f507"/>
                  </a:lnTo>
                  <a:lnTo>
                    <a:pt x="f1044" y="f1128"/>
                  </a:lnTo>
                  <a:lnTo>
                    <a:pt x="f1130" y="f1128"/>
                  </a:lnTo>
                  <a:lnTo>
                    <a:pt x="f1131" y="f507"/>
                  </a:lnTo>
                  <a:lnTo>
                    <a:pt x="f1131" y="f1127"/>
                  </a:lnTo>
                  <a:close/>
                  <a:moveTo>
                    <a:pt x="f1132" y="f1126"/>
                  </a:moveTo>
                  <a:lnTo>
                    <a:pt x="f1133" y="f1126"/>
                  </a:lnTo>
                  <a:lnTo>
                    <a:pt x="f1048" y="f1127"/>
                  </a:lnTo>
                  <a:lnTo>
                    <a:pt x="f1048" y="f507"/>
                  </a:lnTo>
                  <a:lnTo>
                    <a:pt x="f1133" y="f1128"/>
                  </a:lnTo>
                  <a:lnTo>
                    <a:pt x="f1132" y="f1128"/>
                  </a:lnTo>
                  <a:lnTo>
                    <a:pt x="f1134" y="f507"/>
                  </a:lnTo>
                  <a:lnTo>
                    <a:pt x="f1134" y="f1127"/>
                  </a:lnTo>
                  <a:close/>
                  <a:moveTo>
                    <a:pt x="f1135" y="f1126"/>
                  </a:moveTo>
                  <a:lnTo>
                    <a:pt x="f1136" y="f1126"/>
                  </a:lnTo>
                  <a:lnTo>
                    <a:pt x="f1137" y="f1127"/>
                  </a:lnTo>
                  <a:lnTo>
                    <a:pt x="f1137" y="f537"/>
                  </a:lnTo>
                  <a:lnTo>
                    <a:pt x="f1136" y="f1128"/>
                  </a:lnTo>
                  <a:lnTo>
                    <a:pt x="f1135" y="f1128"/>
                  </a:lnTo>
                  <a:lnTo>
                    <a:pt x="f1037" y="f537"/>
                  </a:lnTo>
                  <a:lnTo>
                    <a:pt x="f1037" y="f1127"/>
                  </a:lnTo>
                  <a:close/>
                  <a:moveTo>
                    <a:pt x="f142" y="f1138"/>
                  </a:moveTo>
                  <a:lnTo>
                    <a:pt x="f143" y="f1138"/>
                  </a:lnTo>
                  <a:lnTo>
                    <a:pt x="f144" y="f1139"/>
                  </a:lnTo>
                  <a:lnTo>
                    <a:pt x="f144" y="f1140"/>
                  </a:lnTo>
                  <a:lnTo>
                    <a:pt x="f143" y="f1141"/>
                  </a:lnTo>
                  <a:lnTo>
                    <a:pt x="f142" y="f1141"/>
                  </a:lnTo>
                  <a:lnTo>
                    <a:pt x="f145" y="f1140"/>
                  </a:lnTo>
                  <a:lnTo>
                    <a:pt x="f145" y="f1139"/>
                  </a:lnTo>
                  <a:close/>
                  <a:moveTo>
                    <a:pt x="f146" y="f1138"/>
                  </a:moveTo>
                  <a:lnTo>
                    <a:pt x="f147" y="f1138"/>
                  </a:lnTo>
                  <a:lnTo>
                    <a:pt x="f148" y="f1139"/>
                  </a:lnTo>
                  <a:lnTo>
                    <a:pt x="f148" y="f1142"/>
                  </a:lnTo>
                  <a:lnTo>
                    <a:pt x="f147" y="f1141"/>
                  </a:lnTo>
                  <a:lnTo>
                    <a:pt x="f146" y="f1141"/>
                  </a:lnTo>
                  <a:lnTo>
                    <a:pt x="f149" y="f1142"/>
                  </a:lnTo>
                  <a:lnTo>
                    <a:pt x="f149" y="f1139"/>
                  </a:lnTo>
                  <a:close/>
                  <a:moveTo>
                    <a:pt x="f150" y="f1138"/>
                  </a:moveTo>
                  <a:lnTo>
                    <a:pt x="f151" y="f1138"/>
                  </a:lnTo>
                  <a:lnTo>
                    <a:pt x="f152" y="f1139"/>
                  </a:lnTo>
                  <a:lnTo>
                    <a:pt x="f152" y="f1142"/>
                  </a:lnTo>
                  <a:lnTo>
                    <a:pt x="f151" y="f1141"/>
                  </a:lnTo>
                  <a:lnTo>
                    <a:pt x="f150" y="f1141"/>
                  </a:lnTo>
                  <a:lnTo>
                    <a:pt x="f153" y="f1142"/>
                  </a:lnTo>
                  <a:lnTo>
                    <a:pt x="f153" y="f1139"/>
                  </a:lnTo>
                  <a:close/>
                  <a:moveTo>
                    <a:pt x="f154" y="f1138"/>
                  </a:moveTo>
                  <a:lnTo>
                    <a:pt x="f155" y="f1138"/>
                  </a:lnTo>
                  <a:lnTo>
                    <a:pt x="f156" y="f1139"/>
                  </a:lnTo>
                  <a:lnTo>
                    <a:pt x="f156" y="f1142"/>
                  </a:lnTo>
                  <a:lnTo>
                    <a:pt x="f155" y="f1143"/>
                  </a:lnTo>
                  <a:lnTo>
                    <a:pt x="f154" y="f1143"/>
                  </a:lnTo>
                  <a:lnTo>
                    <a:pt x="f157" y="f1142"/>
                  </a:lnTo>
                  <a:lnTo>
                    <a:pt x="f157" y="f1139"/>
                  </a:lnTo>
                  <a:close/>
                  <a:moveTo>
                    <a:pt x="f158" y="f1138"/>
                  </a:moveTo>
                  <a:lnTo>
                    <a:pt x="f159" y="f1138"/>
                  </a:lnTo>
                  <a:lnTo>
                    <a:pt x="f160" y="f1139"/>
                  </a:lnTo>
                  <a:lnTo>
                    <a:pt x="f160" y="f1142"/>
                  </a:lnTo>
                  <a:lnTo>
                    <a:pt x="f159" y="f1143"/>
                  </a:lnTo>
                  <a:lnTo>
                    <a:pt x="f158" y="f1143"/>
                  </a:lnTo>
                  <a:lnTo>
                    <a:pt x="f161" y="f1142"/>
                  </a:lnTo>
                  <a:lnTo>
                    <a:pt x="f161" y="f1139"/>
                  </a:lnTo>
                  <a:close/>
                  <a:moveTo>
                    <a:pt x="f122" y="f1144"/>
                  </a:moveTo>
                  <a:lnTo>
                    <a:pt x="f123" y="f1144"/>
                  </a:lnTo>
                  <a:lnTo>
                    <a:pt x="f124" y="f1145"/>
                  </a:lnTo>
                  <a:lnTo>
                    <a:pt x="f124" y="f1146"/>
                  </a:lnTo>
                  <a:lnTo>
                    <a:pt x="f123" y="f1147"/>
                  </a:lnTo>
                  <a:lnTo>
                    <a:pt x="f122" y="f1147"/>
                  </a:lnTo>
                  <a:lnTo>
                    <a:pt x="f125" y="f1146"/>
                  </a:lnTo>
                  <a:lnTo>
                    <a:pt x="f125" y="f1145"/>
                  </a:lnTo>
                  <a:close/>
                  <a:moveTo>
                    <a:pt x="f126" y="f1144"/>
                  </a:moveTo>
                  <a:lnTo>
                    <a:pt x="f127" y="f1144"/>
                  </a:lnTo>
                  <a:lnTo>
                    <a:pt x="f128" y="f1145"/>
                  </a:lnTo>
                  <a:lnTo>
                    <a:pt x="f128" y="f1148"/>
                  </a:lnTo>
                  <a:lnTo>
                    <a:pt x="f127" y="f1147"/>
                  </a:lnTo>
                  <a:lnTo>
                    <a:pt x="f126" y="f1147"/>
                  </a:lnTo>
                  <a:lnTo>
                    <a:pt x="f129" y="f1148"/>
                  </a:lnTo>
                  <a:lnTo>
                    <a:pt x="f129" y="f1145"/>
                  </a:lnTo>
                  <a:close/>
                  <a:moveTo>
                    <a:pt x="f130" y="f1144"/>
                  </a:moveTo>
                  <a:lnTo>
                    <a:pt x="f131" y="f1144"/>
                  </a:lnTo>
                  <a:lnTo>
                    <a:pt x="f132" y="f1145"/>
                  </a:lnTo>
                  <a:lnTo>
                    <a:pt x="f132" y="f1148"/>
                  </a:lnTo>
                  <a:lnTo>
                    <a:pt x="f131" y="f1147"/>
                  </a:lnTo>
                  <a:lnTo>
                    <a:pt x="f130" y="f1147"/>
                  </a:lnTo>
                  <a:lnTo>
                    <a:pt x="f133" y="f1148"/>
                  </a:lnTo>
                  <a:lnTo>
                    <a:pt x="f133" y="f1145"/>
                  </a:lnTo>
                  <a:close/>
                  <a:moveTo>
                    <a:pt x="f134" y="f1144"/>
                  </a:moveTo>
                  <a:lnTo>
                    <a:pt x="f135" y="f1144"/>
                  </a:lnTo>
                  <a:lnTo>
                    <a:pt x="f136" y="f1145"/>
                  </a:lnTo>
                  <a:lnTo>
                    <a:pt x="f136" y="f1148"/>
                  </a:lnTo>
                  <a:lnTo>
                    <a:pt x="f135" y="f1147"/>
                  </a:lnTo>
                  <a:lnTo>
                    <a:pt x="f134" y="f1147"/>
                  </a:lnTo>
                  <a:lnTo>
                    <a:pt x="f137" y="f1148"/>
                  </a:lnTo>
                  <a:lnTo>
                    <a:pt x="f137" y="f1145"/>
                  </a:lnTo>
                  <a:close/>
                  <a:moveTo>
                    <a:pt x="f138" y="f1144"/>
                  </a:moveTo>
                  <a:lnTo>
                    <a:pt x="f139" y="f1144"/>
                  </a:lnTo>
                  <a:lnTo>
                    <a:pt x="f140" y="f1145"/>
                  </a:lnTo>
                  <a:lnTo>
                    <a:pt x="f140" y="f1148"/>
                  </a:lnTo>
                  <a:lnTo>
                    <a:pt x="f139" y="f1147"/>
                  </a:lnTo>
                  <a:lnTo>
                    <a:pt x="f138" y="f1147"/>
                  </a:lnTo>
                  <a:lnTo>
                    <a:pt x="f141" y="f1148"/>
                  </a:lnTo>
                  <a:lnTo>
                    <a:pt x="f141" y="f1145"/>
                  </a:lnTo>
                  <a:close/>
                  <a:moveTo>
                    <a:pt x="f102" y="f1149"/>
                  </a:moveTo>
                  <a:lnTo>
                    <a:pt x="f103" y="f1149"/>
                  </a:lnTo>
                  <a:lnTo>
                    <a:pt x="f104" y="f1150"/>
                  </a:lnTo>
                  <a:lnTo>
                    <a:pt x="f104" y="f1151"/>
                  </a:lnTo>
                  <a:lnTo>
                    <a:pt x="f103" y="f1152"/>
                  </a:lnTo>
                  <a:lnTo>
                    <a:pt x="f102" y="f1152"/>
                  </a:lnTo>
                  <a:lnTo>
                    <a:pt x="f105" y="f1151"/>
                  </a:lnTo>
                  <a:lnTo>
                    <a:pt x="f105" y="f1150"/>
                  </a:lnTo>
                  <a:close/>
                  <a:moveTo>
                    <a:pt x="f106" y="f1149"/>
                  </a:moveTo>
                  <a:lnTo>
                    <a:pt x="f107" y="f1149"/>
                  </a:lnTo>
                  <a:lnTo>
                    <a:pt x="f108" y="f1150"/>
                  </a:lnTo>
                  <a:lnTo>
                    <a:pt x="f108" y="f1151"/>
                  </a:lnTo>
                  <a:lnTo>
                    <a:pt x="f107" y="f1152"/>
                  </a:lnTo>
                  <a:lnTo>
                    <a:pt x="f106" y="f1152"/>
                  </a:lnTo>
                  <a:lnTo>
                    <a:pt x="f109" y="f1151"/>
                  </a:lnTo>
                  <a:lnTo>
                    <a:pt x="f109" y="f1150"/>
                  </a:lnTo>
                  <a:close/>
                  <a:moveTo>
                    <a:pt x="f110" y="f1149"/>
                  </a:moveTo>
                  <a:lnTo>
                    <a:pt x="f111" y="f1149"/>
                  </a:lnTo>
                  <a:lnTo>
                    <a:pt x="f112" y="f1150"/>
                  </a:lnTo>
                  <a:lnTo>
                    <a:pt x="f112" y="f1151"/>
                  </a:lnTo>
                  <a:lnTo>
                    <a:pt x="f111" y="f1152"/>
                  </a:lnTo>
                  <a:lnTo>
                    <a:pt x="f110" y="f1152"/>
                  </a:lnTo>
                  <a:lnTo>
                    <a:pt x="f113" y="f1151"/>
                  </a:lnTo>
                  <a:lnTo>
                    <a:pt x="f113" y="f1150"/>
                  </a:lnTo>
                  <a:close/>
                  <a:moveTo>
                    <a:pt x="f114" y="f1149"/>
                  </a:moveTo>
                  <a:lnTo>
                    <a:pt x="f115" y="f1149"/>
                  </a:lnTo>
                  <a:lnTo>
                    <a:pt x="f116" y="f1150"/>
                  </a:lnTo>
                  <a:lnTo>
                    <a:pt x="f116" y="f1151"/>
                  </a:lnTo>
                  <a:lnTo>
                    <a:pt x="f115" y="f1152"/>
                  </a:lnTo>
                  <a:lnTo>
                    <a:pt x="f114" y="f1152"/>
                  </a:lnTo>
                  <a:lnTo>
                    <a:pt x="f117" y="f1151"/>
                  </a:lnTo>
                  <a:lnTo>
                    <a:pt x="f117" y="f1150"/>
                  </a:lnTo>
                  <a:close/>
                  <a:moveTo>
                    <a:pt x="f118" y="f1149"/>
                  </a:moveTo>
                  <a:lnTo>
                    <a:pt x="f119" y="f1149"/>
                  </a:lnTo>
                  <a:lnTo>
                    <a:pt x="f120" y="f1150"/>
                  </a:lnTo>
                  <a:lnTo>
                    <a:pt x="f120" y="f1151"/>
                  </a:lnTo>
                  <a:lnTo>
                    <a:pt x="f119" y="f1152"/>
                  </a:lnTo>
                  <a:lnTo>
                    <a:pt x="f118" y="f1152"/>
                  </a:lnTo>
                  <a:lnTo>
                    <a:pt x="f121" y="f1151"/>
                  </a:lnTo>
                  <a:lnTo>
                    <a:pt x="f121" y="f1150"/>
                  </a:lnTo>
                  <a:close/>
                  <a:moveTo>
                    <a:pt x="f82" y="f1153"/>
                  </a:moveTo>
                  <a:lnTo>
                    <a:pt x="f83" y="f1153"/>
                  </a:lnTo>
                  <a:lnTo>
                    <a:pt x="f84" y="f1154"/>
                  </a:lnTo>
                  <a:lnTo>
                    <a:pt x="f84" y="f1155"/>
                  </a:lnTo>
                  <a:lnTo>
                    <a:pt x="f83" y="f1156"/>
                  </a:lnTo>
                  <a:lnTo>
                    <a:pt x="f82" y="f1156"/>
                  </a:lnTo>
                  <a:lnTo>
                    <a:pt x="f85" y="f1155"/>
                  </a:lnTo>
                  <a:lnTo>
                    <a:pt x="f85" y="f1154"/>
                  </a:lnTo>
                  <a:close/>
                  <a:moveTo>
                    <a:pt x="f86" y="f1153"/>
                  </a:moveTo>
                  <a:lnTo>
                    <a:pt x="f87" y="f1153"/>
                  </a:lnTo>
                  <a:lnTo>
                    <a:pt x="f88" y="f1154"/>
                  </a:lnTo>
                  <a:lnTo>
                    <a:pt x="f88" y="f1157"/>
                  </a:lnTo>
                  <a:lnTo>
                    <a:pt x="f87" y="f1156"/>
                  </a:lnTo>
                  <a:lnTo>
                    <a:pt x="f86" y="f1156"/>
                  </a:lnTo>
                  <a:lnTo>
                    <a:pt x="f89" y="f1157"/>
                  </a:lnTo>
                  <a:lnTo>
                    <a:pt x="f89" y="f1154"/>
                  </a:lnTo>
                  <a:close/>
                  <a:moveTo>
                    <a:pt x="f90" y="f1153"/>
                  </a:moveTo>
                  <a:lnTo>
                    <a:pt x="f91" y="f1153"/>
                  </a:lnTo>
                  <a:lnTo>
                    <a:pt x="f92" y="f1154"/>
                  </a:lnTo>
                  <a:lnTo>
                    <a:pt x="f92" y="f1157"/>
                  </a:lnTo>
                  <a:lnTo>
                    <a:pt x="f91" y="f1156"/>
                  </a:lnTo>
                  <a:lnTo>
                    <a:pt x="f90" y="f1156"/>
                  </a:lnTo>
                  <a:lnTo>
                    <a:pt x="f93" y="f1157"/>
                  </a:lnTo>
                  <a:lnTo>
                    <a:pt x="f93" y="f1154"/>
                  </a:lnTo>
                  <a:close/>
                  <a:moveTo>
                    <a:pt x="f94" y="f1153"/>
                  </a:moveTo>
                  <a:lnTo>
                    <a:pt x="f95" y="f1153"/>
                  </a:lnTo>
                  <a:lnTo>
                    <a:pt x="f96" y="f1154"/>
                  </a:lnTo>
                  <a:lnTo>
                    <a:pt x="f96" y="f1157"/>
                  </a:lnTo>
                  <a:lnTo>
                    <a:pt x="f95" y="f1158"/>
                  </a:lnTo>
                  <a:lnTo>
                    <a:pt x="f94" y="f1158"/>
                  </a:lnTo>
                  <a:lnTo>
                    <a:pt x="f97" y="f1157"/>
                  </a:lnTo>
                  <a:lnTo>
                    <a:pt x="f97" y="f1154"/>
                  </a:lnTo>
                  <a:close/>
                  <a:moveTo>
                    <a:pt x="f98" y="f1153"/>
                  </a:moveTo>
                  <a:lnTo>
                    <a:pt x="f99" y="f1153"/>
                  </a:lnTo>
                  <a:lnTo>
                    <a:pt x="f100" y="f1154"/>
                  </a:lnTo>
                  <a:lnTo>
                    <a:pt x="f100" y="f1157"/>
                  </a:lnTo>
                  <a:lnTo>
                    <a:pt x="f99" y="f1158"/>
                  </a:lnTo>
                  <a:lnTo>
                    <a:pt x="f98" y="f1158"/>
                  </a:lnTo>
                  <a:lnTo>
                    <a:pt x="f101" y="f1157"/>
                  </a:lnTo>
                  <a:lnTo>
                    <a:pt x="f101" y="f1154"/>
                  </a:lnTo>
                  <a:close/>
                  <a:moveTo>
                    <a:pt x="f62" y="f1159"/>
                  </a:moveTo>
                  <a:lnTo>
                    <a:pt x="f63" y="f1159"/>
                  </a:lnTo>
                  <a:lnTo>
                    <a:pt x="f64" y="f1160"/>
                  </a:lnTo>
                  <a:lnTo>
                    <a:pt x="f64" y="f1161"/>
                  </a:lnTo>
                  <a:lnTo>
                    <a:pt x="f63" y="f1162"/>
                  </a:lnTo>
                  <a:lnTo>
                    <a:pt x="f62" y="f1162"/>
                  </a:lnTo>
                  <a:lnTo>
                    <a:pt x="f65" y="f1161"/>
                  </a:lnTo>
                  <a:lnTo>
                    <a:pt x="f65" y="f1160"/>
                  </a:lnTo>
                  <a:close/>
                  <a:moveTo>
                    <a:pt x="f66" y="f1159"/>
                  </a:moveTo>
                  <a:lnTo>
                    <a:pt x="f67" y="f1159"/>
                  </a:lnTo>
                  <a:lnTo>
                    <a:pt x="f68" y="f1163"/>
                  </a:lnTo>
                  <a:lnTo>
                    <a:pt x="f68" y="f1161"/>
                  </a:lnTo>
                  <a:lnTo>
                    <a:pt x="f67" y="f1162"/>
                  </a:lnTo>
                  <a:lnTo>
                    <a:pt x="f66" y="f1162"/>
                  </a:lnTo>
                  <a:lnTo>
                    <a:pt x="f69" y="f1161"/>
                  </a:lnTo>
                  <a:lnTo>
                    <a:pt x="f69" y="f1163"/>
                  </a:lnTo>
                  <a:close/>
                  <a:moveTo>
                    <a:pt x="f70" y="f1159"/>
                  </a:moveTo>
                  <a:lnTo>
                    <a:pt x="f71" y="f1159"/>
                  </a:lnTo>
                  <a:lnTo>
                    <a:pt x="f72" y="f1163"/>
                  </a:lnTo>
                  <a:lnTo>
                    <a:pt x="f72" y="f1161"/>
                  </a:lnTo>
                  <a:lnTo>
                    <a:pt x="f71" y="f1162"/>
                  </a:lnTo>
                  <a:lnTo>
                    <a:pt x="f70" y="f1162"/>
                  </a:lnTo>
                  <a:lnTo>
                    <a:pt x="f73" y="f1161"/>
                  </a:lnTo>
                  <a:lnTo>
                    <a:pt x="f73" y="f1163"/>
                  </a:lnTo>
                  <a:close/>
                  <a:moveTo>
                    <a:pt x="f74" y="f1159"/>
                  </a:moveTo>
                  <a:lnTo>
                    <a:pt x="f75" y="f1159"/>
                  </a:lnTo>
                  <a:lnTo>
                    <a:pt x="f76" y="f1163"/>
                  </a:lnTo>
                  <a:lnTo>
                    <a:pt x="f76" y="f1161"/>
                  </a:lnTo>
                  <a:lnTo>
                    <a:pt x="f75" y="f1162"/>
                  </a:lnTo>
                  <a:lnTo>
                    <a:pt x="f74" y="f1162"/>
                  </a:lnTo>
                  <a:lnTo>
                    <a:pt x="f77" y="f1161"/>
                  </a:lnTo>
                  <a:lnTo>
                    <a:pt x="f77" y="f1163"/>
                  </a:lnTo>
                  <a:close/>
                  <a:moveTo>
                    <a:pt x="f78" y="f1159"/>
                  </a:moveTo>
                  <a:lnTo>
                    <a:pt x="f79" y="f1159"/>
                  </a:lnTo>
                  <a:lnTo>
                    <a:pt x="f80" y="f1163"/>
                  </a:lnTo>
                  <a:lnTo>
                    <a:pt x="f80" y="f1161"/>
                  </a:lnTo>
                  <a:lnTo>
                    <a:pt x="f79" y="f1162"/>
                  </a:lnTo>
                  <a:lnTo>
                    <a:pt x="f78" y="f1162"/>
                  </a:lnTo>
                  <a:lnTo>
                    <a:pt x="f81" y="f1161"/>
                  </a:lnTo>
                  <a:lnTo>
                    <a:pt x="f81" y="f1163"/>
                  </a:lnTo>
                  <a:close/>
                  <a:moveTo>
                    <a:pt x="f1164" y="f1165"/>
                  </a:moveTo>
                  <a:lnTo>
                    <a:pt x="f1107" y="f1165"/>
                  </a:lnTo>
                  <a:lnTo>
                    <a:pt x="f1166" y="f1167"/>
                  </a:lnTo>
                  <a:lnTo>
                    <a:pt x="f1166" y="f1168"/>
                  </a:lnTo>
                  <a:lnTo>
                    <a:pt x="f1107" y="f1169"/>
                  </a:lnTo>
                  <a:lnTo>
                    <a:pt x="f1164" y="f1169"/>
                  </a:lnTo>
                  <a:lnTo>
                    <a:pt x="f1170" y="f1168"/>
                  </a:lnTo>
                  <a:lnTo>
                    <a:pt x="f1170" y="f1167"/>
                  </a:lnTo>
                  <a:close/>
                  <a:moveTo>
                    <a:pt x="f1171" y="f1172"/>
                  </a:moveTo>
                  <a:lnTo>
                    <a:pt x="f1096" y="f1172"/>
                  </a:lnTo>
                  <a:lnTo>
                    <a:pt x="f1173" y="f1167"/>
                  </a:lnTo>
                  <a:lnTo>
                    <a:pt x="f1173" y="f1168"/>
                  </a:lnTo>
                  <a:lnTo>
                    <a:pt x="f1096" y="f1174"/>
                  </a:lnTo>
                  <a:lnTo>
                    <a:pt x="f1171" y="f1174"/>
                  </a:lnTo>
                  <a:lnTo>
                    <a:pt x="f1175" y="f1168"/>
                  </a:lnTo>
                  <a:lnTo>
                    <a:pt x="f1175" y="f1167"/>
                  </a:lnTo>
                  <a:close/>
                  <a:moveTo>
                    <a:pt x="f1102" y="f1172"/>
                  </a:moveTo>
                  <a:lnTo>
                    <a:pt x="f1103" y="f1172"/>
                  </a:lnTo>
                  <a:lnTo>
                    <a:pt x="f1176" y="f1167"/>
                  </a:lnTo>
                  <a:lnTo>
                    <a:pt x="f1176" y="f1168"/>
                  </a:lnTo>
                  <a:lnTo>
                    <a:pt x="f1103" y="f1174"/>
                  </a:lnTo>
                  <a:lnTo>
                    <a:pt x="f1102" y="f1174"/>
                  </a:lnTo>
                  <a:lnTo>
                    <a:pt x="f981" y="f1168"/>
                  </a:lnTo>
                  <a:lnTo>
                    <a:pt x="f981" y="f1167"/>
                  </a:lnTo>
                  <a:close/>
                  <a:moveTo>
                    <a:pt x="f1177" y="f1172"/>
                  </a:moveTo>
                  <a:lnTo>
                    <a:pt x="f1104" y="f1172"/>
                  </a:lnTo>
                  <a:lnTo>
                    <a:pt x="f1105" y="f1167"/>
                  </a:lnTo>
                  <a:lnTo>
                    <a:pt x="f1105" y="f1168"/>
                  </a:lnTo>
                  <a:lnTo>
                    <a:pt x="f1104" y="f1174"/>
                  </a:lnTo>
                  <a:lnTo>
                    <a:pt x="f1177" y="f1174"/>
                  </a:lnTo>
                  <a:lnTo>
                    <a:pt x="f1106" y="f1168"/>
                  </a:lnTo>
                  <a:lnTo>
                    <a:pt x="f1106" y="f1167"/>
                  </a:lnTo>
                  <a:close/>
                  <a:moveTo>
                    <a:pt x="f42" y="f1178"/>
                  </a:moveTo>
                  <a:lnTo>
                    <a:pt x="f43" y="f1178"/>
                  </a:lnTo>
                  <a:lnTo>
                    <a:pt x="f44" y="f1179"/>
                  </a:lnTo>
                  <a:lnTo>
                    <a:pt x="f44" y="f1180"/>
                  </a:lnTo>
                  <a:lnTo>
                    <a:pt x="f43" y="f1181"/>
                  </a:lnTo>
                  <a:lnTo>
                    <a:pt x="f42" y="f1181"/>
                  </a:lnTo>
                  <a:lnTo>
                    <a:pt x="f45" y="f1180"/>
                  </a:lnTo>
                  <a:lnTo>
                    <a:pt x="f45" y="f1179"/>
                  </a:lnTo>
                  <a:close/>
                  <a:moveTo>
                    <a:pt x="f46" y="f1178"/>
                  </a:moveTo>
                  <a:lnTo>
                    <a:pt x="f47" y="f1178"/>
                  </a:lnTo>
                  <a:lnTo>
                    <a:pt x="f48" y="f1179"/>
                  </a:lnTo>
                  <a:lnTo>
                    <a:pt x="f48" y="f1180"/>
                  </a:lnTo>
                  <a:lnTo>
                    <a:pt x="f47" y="f1181"/>
                  </a:lnTo>
                  <a:lnTo>
                    <a:pt x="f46" y="f1181"/>
                  </a:lnTo>
                  <a:lnTo>
                    <a:pt x="f49" y="f1180"/>
                  </a:lnTo>
                  <a:lnTo>
                    <a:pt x="f49" y="f1179"/>
                  </a:lnTo>
                  <a:close/>
                  <a:moveTo>
                    <a:pt x="f50" y="f1178"/>
                  </a:moveTo>
                  <a:lnTo>
                    <a:pt x="f51" y="f1178"/>
                  </a:lnTo>
                  <a:lnTo>
                    <a:pt x="f52" y="f1179"/>
                  </a:lnTo>
                  <a:lnTo>
                    <a:pt x="f52" y="f1180"/>
                  </a:lnTo>
                  <a:lnTo>
                    <a:pt x="f51" y="f1181"/>
                  </a:lnTo>
                  <a:lnTo>
                    <a:pt x="f50" y="f1181"/>
                  </a:lnTo>
                  <a:lnTo>
                    <a:pt x="f53" y="f1180"/>
                  </a:lnTo>
                  <a:lnTo>
                    <a:pt x="f53" y="f1179"/>
                  </a:lnTo>
                  <a:close/>
                  <a:moveTo>
                    <a:pt x="f54" y="f1178"/>
                  </a:moveTo>
                  <a:lnTo>
                    <a:pt x="f55" y="f1178"/>
                  </a:lnTo>
                  <a:lnTo>
                    <a:pt x="f56" y="f1179"/>
                  </a:lnTo>
                  <a:lnTo>
                    <a:pt x="f56" y="f1180"/>
                  </a:lnTo>
                  <a:lnTo>
                    <a:pt x="f55" y="f1181"/>
                  </a:lnTo>
                  <a:lnTo>
                    <a:pt x="f54" y="f1181"/>
                  </a:lnTo>
                  <a:lnTo>
                    <a:pt x="f57" y="f1180"/>
                  </a:lnTo>
                  <a:lnTo>
                    <a:pt x="f57" y="f1179"/>
                  </a:lnTo>
                  <a:close/>
                  <a:moveTo>
                    <a:pt x="f58" y="f1178"/>
                  </a:moveTo>
                  <a:lnTo>
                    <a:pt x="f59" y="f1178"/>
                  </a:lnTo>
                  <a:lnTo>
                    <a:pt x="f60" y="f1179"/>
                  </a:lnTo>
                  <a:lnTo>
                    <a:pt x="f60" y="f1180"/>
                  </a:lnTo>
                  <a:lnTo>
                    <a:pt x="f59" y="f1181"/>
                  </a:lnTo>
                  <a:lnTo>
                    <a:pt x="f58" y="f1181"/>
                  </a:lnTo>
                  <a:lnTo>
                    <a:pt x="f61" y="f1180"/>
                  </a:lnTo>
                  <a:lnTo>
                    <a:pt x="f61" y="f1179"/>
                  </a:lnTo>
                  <a:close/>
                  <a:moveTo>
                    <a:pt x="f896" y="f1182"/>
                  </a:moveTo>
                  <a:lnTo>
                    <a:pt x="f825" y="f1182"/>
                  </a:lnTo>
                  <a:lnTo>
                    <a:pt x="f1115" y="f1183"/>
                  </a:lnTo>
                  <a:lnTo>
                    <a:pt x="f1115" y="f598"/>
                  </a:lnTo>
                  <a:lnTo>
                    <a:pt x="f825" y="f1184"/>
                  </a:lnTo>
                  <a:lnTo>
                    <a:pt x="f896" y="f1184"/>
                  </a:lnTo>
                  <a:lnTo>
                    <a:pt x="f1068" y="f598"/>
                  </a:lnTo>
                  <a:lnTo>
                    <a:pt x="f1068" y="f1183"/>
                  </a:lnTo>
                  <a:close/>
                  <a:moveTo>
                    <a:pt x="f974" y="f1185"/>
                  </a:moveTo>
                  <a:lnTo>
                    <a:pt x="f976" y="f1185"/>
                  </a:lnTo>
                  <a:lnTo>
                    <a:pt x="f1186" y="f1187"/>
                  </a:lnTo>
                  <a:lnTo>
                    <a:pt x="f1186" y="f513"/>
                  </a:lnTo>
                  <a:lnTo>
                    <a:pt x="f976" y="f1188"/>
                  </a:lnTo>
                  <a:lnTo>
                    <a:pt x="f974" y="f1188"/>
                  </a:lnTo>
                  <a:lnTo>
                    <a:pt x="f1121" y="f513"/>
                  </a:lnTo>
                  <a:lnTo>
                    <a:pt x="f1121" y="f1187"/>
                  </a:lnTo>
                  <a:close/>
                  <a:moveTo>
                    <a:pt x="f35" y="f1189"/>
                  </a:moveTo>
                  <a:lnTo>
                    <a:pt x="f37" y="f1189"/>
                  </a:lnTo>
                  <a:lnTo>
                    <a:pt x="f6" y="f1190"/>
                  </a:lnTo>
                  <a:lnTo>
                    <a:pt x="f6" y="f1191"/>
                  </a:lnTo>
                  <a:lnTo>
                    <a:pt x="f37" y="f1192"/>
                  </a:lnTo>
                  <a:lnTo>
                    <a:pt x="f35" y="f1192"/>
                  </a:lnTo>
                  <a:lnTo>
                    <a:pt x="f41" y="f1191"/>
                  </a:lnTo>
                  <a:lnTo>
                    <a:pt x="f41" y="f1190"/>
                  </a:lnTo>
                  <a:close/>
                  <a:moveTo>
                    <a:pt x="f1132" y="f165"/>
                  </a:moveTo>
                  <a:lnTo>
                    <a:pt x="f1193" y="f165"/>
                  </a:lnTo>
                  <a:lnTo>
                    <a:pt x="f1194" y="f1195"/>
                  </a:lnTo>
                  <a:lnTo>
                    <a:pt x="f1194" y="f1196"/>
                  </a:lnTo>
                  <a:lnTo>
                    <a:pt x="f1193" y="f1197"/>
                  </a:lnTo>
                  <a:lnTo>
                    <a:pt x="f1132" y="f1197"/>
                  </a:lnTo>
                  <a:lnTo>
                    <a:pt x="f1134" y="f1196"/>
                  </a:lnTo>
                  <a:lnTo>
                    <a:pt x="f1134" y="f1195"/>
                  </a:lnTo>
                  <a:close/>
                  <a:moveTo>
                    <a:pt x="f1135" y="f165"/>
                  </a:moveTo>
                  <a:lnTo>
                    <a:pt x="f1198" y="f165"/>
                  </a:lnTo>
                  <a:lnTo>
                    <a:pt x="f1137" y="f1199"/>
                  </a:lnTo>
                  <a:lnTo>
                    <a:pt x="f1137" y="f1200"/>
                  </a:lnTo>
                  <a:lnTo>
                    <a:pt x="f1198" y="f1197"/>
                  </a:lnTo>
                  <a:lnTo>
                    <a:pt x="f1135" y="f1197"/>
                  </a:lnTo>
                  <a:lnTo>
                    <a:pt x="f1201" y="f1200"/>
                  </a:lnTo>
                  <a:lnTo>
                    <a:pt x="f1201" y="f1199"/>
                  </a:lnTo>
                  <a:close/>
                  <a:moveTo>
                    <a:pt x="f1202" y="f165"/>
                  </a:moveTo>
                  <a:lnTo>
                    <a:pt x="f1203" y="f165"/>
                  </a:lnTo>
                  <a:lnTo>
                    <a:pt x="f1204" y="f1195"/>
                  </a:lnTo>
                  <a:lnTo>
                    <a:pt x="f1204" y="f1196"/>
                  </a:lnTo>
                  <a:lnTo>
                    <a:pt x="f1203" y="f1197"/>
                  </a:lnTo>
                  <a:lnTo>
                    <a:pt x="f1202" y="f1197"/>
                  </a:lnTo>
                  <a:lnTo>
                    <a:pt x="f1129" y="f1196"/>
                  </a:lnTo>
                  <a:lnTo>
                    <a:pt x="f1129" y="f1195"/>
                  </a:lnTo>
                  <a:close/>
                  <a:moveTo>
                    <a:pt x="f1205" y="f165"/>
                  </a:moveTo>
                  <a:lnTo>
                    <a:pt x="f1206" y="f165"/>
                  </a:lnTo>
                  <a:lnTo>
                    <a:pt x="f1207" y="f1195"/>
                  </a:lnTo>
                  <a:lnTo>
                    <a:pt x="f1207" y="f1196"/>
                  </a:lnTo>
                  <a:lnTo>
                    <a:pt x="f1206" y="f1197"/>
                  </a:lnTo>
                  <a:lnTo>
                    <a:pt x="f1205" y="f1197"/>
                  </a:lnTo>
                  <a:lnTo>
                    <a:pt x="f1131" y="f1196"/>
                  </a:lnTo>
                  <a:lnTo>
                    <a:pt x="f1131" y="f1195"/>
                  </a:lnTo>
                  <a:close/>
                  <a:moveTo>
                    <a:pt x="f142" y="f1208"/>
                  </a:moveTo>
                  <a:lnTo>
                    <a:pt x="f143" y="f1208"/>
                  </a:lnTo>
                  <a:lnTo>
                    <a:pt x="f144" y="f1209"/>
                  </a:lnTo>
                  <a:lnTo>
                    <a:pt x="f144" y="f1210"/>
                  </a:lnTo>
                  <a:lnTo>
                    <a:pt x="f143" y="f1211"/>
                  </a:lnTo>
                  <a:lnTo>
                    <a:pt x="f142" y="f1211"/>
                  </a:lnTo>
                  <a:lnTo>
                    <a:pt x="f145" y="f1210"/>
                  </a:lnTo>
                  <a:lnTo>
                    <a:pt x="f145" y="f1209"/>
                  </a:lnTo>
                  <a:close/>
                  <a:moveTo>
                    <a:pt x="f146" y="f1208"/>
                  </a:moveTo>
                  <a:lnTo>
                    <a:pt x="f147" y="f1208"/>
                  </a:lnTo>
                  <a:lnTo>
                    <a:pt x="f148" y="f1209"/>
                  </a:lnTo>
                  <a:lnTo>
                    <a:pt x="f148" y="f1210"/>
                  </a:lnTo>
                  <a:lnTo>
                    <a:pt x="f147" y="f1211"/>
                  </a:lnTo>
                  <a:lnTo>
                    <a:pt x="f146" y="f1211"/>
                  </a:lnTo>
                  <a:lnTo>
                    <a:pt x="f149" y="f1210"/>
                  </a:lnTo>
                  <a:lnTo>
                    <a:pt x="f149" y="f1209"/>
                  </a:lnTo>
                  <a:close/>
                  <a:moveTo>
                    <a:pt x="f150" y="f1208"/>
                  </a:moveTo>
                  <a:lnTo>
                    <a:pt x="f151" y="f1208"/>
                  </a:lnTo>
                  <a:lnTo>
                    <a:pt x="f152" y="f1209"/>
                  </a:lnTo>
                  <a:lnTo>
                    <a:pt x="f152" y="f1210"/>
                  </a:lnTo>
                  <a:lnTo>
                    <a:pt x="f151" y="f1211"/>
                  </a:lnTo>
                  <a:lnTo>
                    <a:pt x="f150" y="f1211"/>
                  </a:lnTo>
                  <a:lnTo>
                    <a:pt x="f153" y="f1210"/>
                  </a:lnTo>
                  <a:lnTo>
                    <a:pt x="f153" y="f1209"/>
                  </a:lnTo>
                  <a:close/>
                  <a:moveTo>
                    <a:pt x="f154" y="f1208"/>
                  </a:moveTo>
                  <a:lnTo>
                    <a:pt x="f155" y="f1208"/>
                  </a:lnTo>
                  <a:lnTo>
                    <a:pt x="f156" y="f1209"/>
                  </a:lnTo>
                  <a:lnTo>
                    <a:pt x="f156" y="f1210"/>
                  </a:lnTo>
                  <a:lnTo>
                    <a:pt x="f155" y="f1211"/>
                  </a:lnTo>
                  <a:lnTo>
                    <a:pt x="f154" y="f1211"/>
                  </a:lnTo>
                  <a:lnTo>
                    <a:pt x="f157" y="f1210"/>
                  </a:lnTo>
                  <a:lnTo>
                    <a:pt x="f157" y="f1209"/>
                  </a:lnTo>
                  <a:close/>
                  <a:moveTo>
                    <a:pt x="f158" y="f1208"/>
                  </a:moveTo>
                  <a:lnTo>
                    <a:pt x="f159" y="f1208"/>
                  </a:lnTo>
                  <a:lnTo>
                    <a:pt x="f160" y="f1209"/>
                  </a:lnTo>
                  <a:lnTo>
                    <a:pt x="f160" y="f1210"/>
                  </a:lnTo>
                  <a:lnTo>
                    <a:pt x="f159" y="f1211"/>
                  </a:lnTo>
                  <a:lnTo>
                    <a:pt x="f158" y="f1211"/>
                  </a:lnTo>
                  <a:lnTo>
                    <a:pt x="f161" y="f1210"/>
                  </a:lnTo>
                  <a:lnTo>
                    <a:pt x="f161" y="f1209"/>
                  </a:lnTo>
                  <a:close/>
                  <a:moveTo>
                    <a:pt x="f122" y="f1212"/>
                  </a:moveTo>
                  <a:lnTo>
                    <a:pt x="f123" y="f1212"/>
                  </a:lnTo>
                  <a:lnTo>
                    <a:pt x="f124" y="f1213"/>
                  </a:lnTo>
                  <a:lnTo>
                    <a:pt x="f124" y="f1214"/>
                  </a:lnTo>
                  <a:lnTo>
                    <a:pt x="f123" y="f1215"/>
                  </a:lnTo>
                  <a:lnTo>
                    <a:pt x="f122" y="f1215"/>
                  </a:lnTo>
                  <a:lnTo>
                    <a:pt x="f125" y="f1214"/>
                  </a:lnTo>
                  <a:lnTo>
                    <a:pt x="f125" y="f1213"/>
                  </a:lnTo>
                  <a:close/>
                  <a:moveTo>
                    <a:pt x="f126" y="f1212"/>
                  </a:moveTo>
                  <a:lnTo>
                    <a:pt x="f127" y="f1212"/>
                  </a:lnTo>
                  <a:lnTo>
                    <a:pt x="f128" y="f1213"/>
                  </a:lnTo>
                  <a:lnTo>
                    <a:pt x="f128" y="f1214"/>
                  </a:lnTo>
                  <a:lnTo>
                    <a:pt x="f127" y="f1215"/>
                  </a:lnTo>
                  <a:lnTo>
                    <a:pt x="f126" y="f1215"/>
                  </a:lnTo>
                  <a:lnTo>
                    <a:pt x="f129" y="f1214"/>
                  </a:lnTo>
                  <a:lnTo>
                    <a:pt x="f129" y="f1213"/>
                  </a:lnTo>
                  <a:close/>
                  <a:moveTo>
                    <a:pt x="f130" y="f1212"/>
                  </a:moveTo>
                  <a:lnTo>
                    <a:pt x="f131" y="f1212"/>
                  </a:lnTo>
                  <a:lnTo>
                    <a:pt x="f132" y="f1213"/>
                  </a:lnTo>
                  <a:lnTo>
                    <a:pt x="f132" y="f1214"/>
                  </a:lnTo>
                  <a:lnTo>
                    <a:pt x="f131" y="f1215"/>
                  </a:lnTo>
                  <a:lnTo>
                    <a:pt x="f130" y="f1215"/>
                  </a:lnTo>
                  <a:lnTo>
                    <a:pt x="f133" y="f1214"/>
                  </a:lnTo>
                  <a:lnTo>
                    <a:pt x="f133" y="f1213"/>
                  </a:lnTo>
                  <a:close/>
                  <a:moveTo>
                    <a:pt x="f134" y="f1212"/>
                  </a:moveTo>
                  <a:lnTo>
                    <a:pt x="f135" y="f1212"/>
                  </a:lnTo>
                  <a:lnTo>
                    <a:pt x="f136" y="f1213"/>
                  </a:lnTo>
                  <a:lnTo>
                    <a:pt x="f136" y="f1214"/>
                  </a:lnTo>
                  <a:lnTo>
                    <a:pt x="f135" y="f1215"/>
                  </a:lnTo>
                  <a:lnTo>
                    <a:pt x="f134" y="f1215"/>
                  </a:lnTo>
                  <a:lnTo>
                    <a:pt x="f137" y="f1214"/>
                  </a:lnTo>
                  <a:lnTo>
                    <a:pt x="f137" y="f1213"/>
                  </a:lnTo>
                  <a:close/>
                  <a:moveTo>
                    <a:pt x="f138" y="f1212"/>
                  </a:moveTo>
                  <a:lnTo>
                    <a:pt x="f139" y="f1212"/>
                  </a:lnTo>
                  <a:lnTo>
                    <a:pt x="f140" y="f1213"/>
                  </a:lnTo>
                  <a:lnTo>
                    <a:pt x="f140" y="f1214"/>
                  </a:lnTo>
                  <a:lnTo>
                    <a:pt x="f139" y="f1215"/>
                  </a:lnTo>
                  <a:lnTo>
                    <a:pt x="f138" y="f1215"/>
                  </a:lnTo>
                  <a:lnTo>
                    <a:pt x="f141" y="f1214"/>
                  </a:lnTo>
                  <a:lnTo>
                    <a:pt x="f141" y="f1213"/>
                  </a:lnTo>
                  <a:close/>
                  <a:moveTo>
                    <a:pt x="f102" y="f1216"/>
                  </a:moveTo>
                  <a:lnTo>
                    <a:pt x="f103" y="f1216"/>
                  </a:lnTo>
                  <a:lnTo>
                    <a:pt x="f104" y="f1217"/>
                  </a:lnTo>
                  <a:lnTo>
                    <a:pt x="f104" y="f1218"/>
                  </a:lnTo>
                  <a:lnTo>
                    <a:pt x="f103" y="f1219"/>
                  </a:lnTo>
                  <a:lnTo>
                    <a:pt x="f102" y="f1219"/>
                  </a:lnTo>
                  <a:lnTo>
                    <a:pt x="f105" y="f1218"/>
                  </a:lnTo>
                  <a:lnTo>
                    <a:pt x="f105" y="f1217"/>
                  </a:lnTo>
                  <a:close/>
                  <a:moveTo>
                    <a:pt x="f106" y="f1216"/>
                  </a:moveTo>
                  <a:lnTo>
                    <a:pt x="f107" y="f1216"/>
                  </a:lnTo>
                  <a:lnTo>
                    <a:pt x="f108" y="f1217"/>
                  </a:lnTo>
                  <a:lnTo>
                    <a:pt x="f108" y="f1218"/>
                  </a:lnTo>
                  <a:lnTo>
                    <a:pt x="f107" y="f1219"/>
                  </a:lnTo>
                  <a:lnTo>
                    <a:pt x="f106" y="f1219"/>
                  </a:lnTo>
                  <a:lnTo>
                    <a:pt x="f109" y="f1218"/>
                  </a:lnTo>
                  <a:lnTo>
                    <a:pt x="f109" y="f1217"/>
                  </a:lnTo>
                  <a:close/>
                  <a:moveTo>
                    <a:pt x="f110" y="f1216"/>
                  </a:moveTo>
                  <a:lnTo>
                    <a:pt x="f111" y="f1216"/>
                  </a:lnTo>
                  <a:lnTo>
                    <a:pt x="f112" y="f1217"/>
                  </a:lnTo>
                  <a:lnTo>
                    <a:pt x="f112" y="f1218"/>
                  </a:lnTo>
                  <a:lnTo>
                    <a:pt x="f111" y="f1219"/>
                  </a:lnTo>
                  <a:lnTo>
                    <a:pt x="f110" y="f1219"/>
                  </a:lnTo>
                  <a:lnTo>
                    <a:pt x="f113" y="f1218"/>
                  </a:lnTo>
                  <a:lnTo>
                    <a:pt x="f113" y="f1217"/>
                  </a:lnTo>
                  <a:close/>
                  <a:moveTo>
                    <a:pt x="f114" y="f1216"/>
                  </a:moveTo>
                  <a:lnTo>
                    <a:pt x="f115" y="f1216"/>
                  </a:lnTo>
                  <a:lnTo>
                    <a:pt x="f116" y="f1217"/>
                  </a:lnTo>
                  <a:lnTo>
                    <a:pt x="f116" y="f1218"/>
                  </a:lnTo>
                  <a:lnTo>
                    <a:pt x="f115" y="f1219"/>
                  </a:lnTo>
                  <a:lnTo>
                    <a:pt x="f114" y="f1219"/>
                  </a:lnTo>
                  <a:lnTo>
                    <a:pt x="f117" y="f1218"/>
                  </a:lnTo>
                  <a:lnTo>
                    <a:pt x="f117" y="f1217"/>
                  </a:lnTo>
                  <a:close/>
                  <a:moveTo>
                    <a:pt x="f118" y="f1216"/>
                  </a:moveTo>
                  <a:lnTo>
                    <a:pt x="f119" y="f1216"/>
                  </a:lnTo>
                  <a:lnTo>
                    <a:pt x="f120" y="f1217"/>
                  </a:lnTo>
                  <a:lnTo>
                    <a:pt x="f120" y="f1218"/>
                  </a:lnTo>
                  <a:lnTo>
                    <a:pt x="f119" y="f1219"/>
                  </a:lnTo>
                  <a:lnTo>
                    <a:pt x="f118" y="f1219"/>
                  </a:lnTo>
                  <a:lnTo>
                    <a:pt x="f121" y="f1218"/>
                  </a:lnTo>
                  <a:lnTo>
                    <a:pt x="f121" y="f1217"/>
                  </a:lnTo>
                  <a:close/>
                  <a:moveTo>
                    <a:pt x="f82" y="f1220"/>
                  </a:moveTo>
                  <a:lnTo>
                    <a:pt x="f83" y="f1220"/>
                  </a:lnTo>
                  <a:lnTo>
                    <a:pt x="f84" y="f1221"/>
                  </a:lnTo>
                  <a:lnTo>
                    <a:pt x="f84" y="f1222"/>
                  </a:lnTo>
                  <a:lnTo>
                    <a:pt x="f83" y="f1223"/>
                  </a:lnTo>
                  <a:lnTo>
                    <a:pt x="f82" y="f1223"/>
                  </a:lnTo>
                  <a:lnTo>
                    <a:pt x="f85" y="f1222"/>
                  </a:lnTo>
                  <a:lnTo>
                    <a:pt x="f85" y="f1221"/>
                  </a:lnTo>
                  <a:close/>
                  <a:moveTo>
                    <a:pt x="f86" y="f1220"/>
                  </a:moveTo>
                  <a:lnTo>
                    <a:pt x="f87" y="f1220"/>
                  </a:lnTo>
                  <a:lnTo>
                    <a:pt x="f88" y="f1221"/>
                  </a:lnTo>
                  <a:lnTo>
                    <a:pt x="f88" y="f1222"/>
                  </a:lnTo>
                  <a:lnTo>
                    <a:pt x="f87" y="f1223"/>
                  </a:lnTo>
                  <a:lnTo>
                    <a:pt x="f86" y="f1223"/>
                  </a:lnTo>
                  <a:lnTo>
                    <a:pt x="f89" y="f1222"/>
                  </a:lnTo>
                  <a:lnTo>
                    <a:pt x="f89" y="f1221"/>
                  </a:lnTo>
                  <a:close/>
                  <a:moveTo>
                    <a:pt x="f90" y="f1220"/>
                  </a:moveTo>
                  <a:lnTo>
                    <a:pt x="f91" y="f1220"/>
                  </a:lnTo>
                  <a:lnTo>
                    <a:pt x="f92" y="f1221"/>
                  </a:lnTo>
                  <a:lnTo>
                    <a:pt x="f92" y="f1222"/>
                  </a:lnTo>
                  <a:lnTo>
                    <a:pt x="f91" y="f1223"/>
                  </a:lnTo>
                  <a:lnTo>
                    <a:pt x="f90" y="f1223"/>
                  </a:lnTo>
                  <a:lnTo>
                    <a:pt x="f93" y="f1222"/>
                  </a:lnTo>
                  <a:lnTo>
                    <a:pt x="f93" y="f1221"/>
                  </a:lnTo>
                  <a:close/>
                  <a:moveTo>
                    <a:pt x="f94" y="f1220"/>
                  </a:moveTo>
                  <a:lnTo>
                    <a:pt x="f95" y="f1220"/>
                  </a:lnTo>
                  <a:lnTo>
                    <a:pt x="f96" y="f1221"/>
                  </a:lnTo>
                  <a:lnTo>
                    <a:pt x="f96" y="f1222"/>
                  </a:lnTo>
                  <a:lnTo>
                    <a:pt x="f95" y="f1223"/>
                  </a:lnTo>
                  <a:lnTo>
                    <a:pt x="f94" y="f1223"/>
                  </a:lnTo>
                  <a:lnTo>
                    <a:pt x="f97" y="f1222"/>
                  </a:lnTo>
                  <a:lnTo>
                    <a:pt x="f97" y="f1221"/>
                  </a:lnTo>
                  <a:close/>
                  <a:moveTo>
                    <a:pt x="f98" y="f1220"/>
                  </a:moveTo>
                  <a:lnTo>
                    <a:pt x="f99" y="f1220"/>
                  </a:lnTo>
                  <a:lnTo>
                    <a:pt x="f100" y="f1221"/>
                  </a:lnTo>
                  <a:lnTo>
                    <a:pt x="f100" y="f1222"/>
                  </a:lnTo>
                  <a:lnTo>
                    <a:pt x="f99" y="f1223"/>
                  </a:lnTo>
                  <a:lnTo>
                    <a:pt x="f98" y="f1223"/>
                  </a:lnTo>
                  <a:lnTo>
                    <a:pt x="f101" y="f1222"/>
                  </a:lnTo>
                  <a:lnTo>
                    <a:pt x="f101" y="f1221"/>
                  </a:lnTo>
                  <a:close/>
                  <a:moveTo>
                    <a:pt x="f66" y="f1224"/>
                  </a:moveTo>
                  <a:lnTo>
                    <a:pt x="f67" y="f1224"/>
                  </a:lnTo>
                  <a:lnTo>
                    <a:pt x="f68" y="f1225"/>
                  </a:lnTo>
                  <a:lnTo>
                    <a:pt x="f68" y="f1226"/>
                  </a:lnTo>
                  <a:lnTo>
                    <a:pt x="f67" y="f1227"/>
                  </a:lnTo>
                  <a:lnTo>
                    <a:pt x="f66" y="f1227"/>
                  </a:lnTo>
                  <a:lnTo>
                    <a:pt x="f69" y="f1226"/>
                  </a:lnTo>
                  <a:lnTo>
                    <a:pt x="f69" y="f1225"/>
                  </a:lnTo>
                  <a:close/>
                  <a:moveTo>
                    <a:pt x="f70" y="f1224"/>
                  </a:moveTo>
                  <a:lnTo>
                    <a:pt x="f71" y="f1224"/>
                  </a:lnTo>
                  <a:lnTo>
                    <a:pt x="f72" y="f1225"/>
                  </a:lnTo>
                  <a:lnTo>
                    <a:pt x="f72" y="f1226"/>
                  </a:lnTo>
                  <a:lnTo>
                    <a:pt x="f71" y="f1228"/>
                  </a:lnTo>
                  <a:lnTo>
                    <a:pt x="f70" y="f1228"/>
                  </a:lnTo>
                  <a:lnTo>
                    <a:pt x="f73" y="f1226"/>
                  </a:lnTo>
                  <a:lnTo>
                    <a:pt x="f73" y="f1225"/>
                  </a:lnTo>
                  <a:close/>
                  <a:moveTo>
                    <a:pt x="f74" y="f1224"/>
                  </a:moveTo>
                  <a:lnTo>
                    <a:pt x="f75" y="f1224"/>
                  </a:lnTo>
                  <a:lnTo>
                    <a:pt x="f76" y="f1225"/>
                  </a:lnTo>
                  <a:lnTo>
                    <a:pt x="f76" y="f1226"/>
                  </a:lnTo>
                  <a:lnTo>
                    <a:pt x="f75" y="f1228"/>
                  </a:lnTo>
                  <a:lnTo>
                    <a:pt x="f74" y="f1228"/>
                  </a:lnTo>
                  <a:lnTo>
                    <a:pt x="f77" y="f1226"/>
                  </a:lnTo>
                  <a:lnTo>
                    <a:pt x="f77" y="f1225"/>
                  </a:lnTo>
                  <a:close/>
                  <a:moveTo>
                    <a:pt x="f78" y="f1224"/>
                  </a:moveTo>
                  <a:lnTo>
                    <a:pt x="f79" y="f1224"/>
                  </a:lnTo>
                  <a:lnTo>
                    <a:pt x="f80" y="f1225"/>
                  </a:lnTo>
                  <a:lnTo>
                    <a:pt x="f80" y="f1226"/>
                  </a:lnTo>
                  <a:lnTo>
                    <a:pt x="f79" y="f1228"/>
                  </a:lnTo>
                  <a:lnTo>
                    <a:pt x="f78" y="f1228"/>
                  </a:lnTo>
                  <a:lnTo>
                    <a:pt x="f81" y="f1226"/>
                  </a:lnTo>
                  <a:lnTo>
                    <a:pt x="f81" y="f1225"/>
                  </a:lnTo>
                  <a:close/>
                  <a:moveTo>
                    <a:pt x="f62" y="f1229"/>
                  </a:moveTo>
                  <a:lnTo>
                    <a:pt x="f63" y="f1229"/>
                  </a:lnTo>
                  <a:lnTo>
                    <a:pt x="f64" y="f1225"/>
                  </a:lnTo>
                  <a:lnTo>
                    <a:pt x="f64" y="f1226"/>
                  </a:lnTo>
                  <a:lnTo>
                    <a:pt x="f63" y="f1227"/>
                  </a:lnTo>
                  <a:lnTo>
                    <a:pt x="f62" y="f1227"/>
                  </a:lnTo>
                  <a:lnTo>
                    <a:pt x="f65" y="f1226"/>
                  </a:lnTo>
                  <a:lnTo>
                    <a:pt x="f65" y="f1225"/>
                  </a:lnTo>
                  <a:close/>
                  <a:moveTo>
                    <a:pt x="f46" y="f1230"/>
                  </a:moveTo>
                  <a:lnTo>
                    <a:pt x="f47" y="f1230"/>
                  </a:lnTo>
                  <a:lnTo>
                    <a:pt x="f48" y="f1231"/>
                  </a:lnTo>
                  <a:lnTo>
                    <a:pt x="f48" y="f1232"/>
                  </a:lnTo>
                  <a:lnTo>
                    <a:pt x="f47" y="f1233"/>
                  </a:lnTo>
                  <a:lnTo>
                    <a:pt x="f46" y="f1233"/>
                  </a:lnTo>
                  <a:lnTo>
                    <a:pt x="f49" y="f1232"/>
                  </a:lnTo>
                  <a:lnTo>
                    <a:pt x="f49" y="f1231"/>
                  </a:lnTo>
                  <a:close/>
                  <a:moveTo>
                    <a:pt x="f50" y="f1230"/>
                  </a:moveTo>
                  <a:lnTo>
                    <a:pt x="f51" y="f1230"/>
                  </a:lnTo>
                  <a:lnTo>
                    <a:pt x="f52" y="f1231"/>
                  </a:lnTo>
                  <a:lnTo>
                    <a:pt x="f52" y="f1232"/>
                  </a:lnTo>
                  <a:lnTo>
                    <a:pt x="f51" y="f1234"/>
                  </a:lnTo>
                  <a:lnTo>
                    <a:pt x="f50" y="f1234"/>
                  </a:lnTo>
                  <a:lnTo>
                    <a:pt x="f53" y="f1232"/>
                  </a:lnTo>
                  <a:lnTo>
                    <a:pt x="f53" y="f1231"/>
                  </a:lnTo>
                  <a:close/>
                  <a:moveTo>
                    <a:pt x="f54" y="f1230"/>
                  </a:moveTo>
                  <a:lnTo>
                    <a:pt x="f55" y="f1230"/>
                  </a:lnTo>
                  <a:lnTo>
                    <a:pt x="f56" y="f1235"/>
                  </a:lnTo>
                  <a:lnTo>
                    <a:pt x="f56" y="f1232"/>
                  </a:lnTo>
                  <a:lnTo>
                    <a:pt x="f55" y="f1234"/>
                  </a:lnTo>
                  <a:lnTo>
                    <a:pt x="f54" y="f1234"/>
                  </a:lnTo>
                  <a:lnTo>
                    <a:pt x="f57" y="f1232"/>
                  </a:lnTo>
                  <a:lnTo>
                    <a:pt x="f57" y="f1235"/>
                  </a:lnTo>
                  <a:close/>
                  <a:moveTo>
                    <a:pt x="f58" y="f1230"/>
                  </a:moveTo>
                  <a:lnTo>
                    <a:pt x="f59" y="f1230"/>
                  </a:lnTo>
                  <a:lnTo>
                    <a:pt x="f60" y="f1235"/>
                  </a:lnTo>
                  <a:lnTo>
                    <a:pt x="f60" y="f1232"/>
                  </a:lnTo>
                  <a:lnTo>
                    <a:pt x="f59" y="f1234"/>
                  </a:lnTo>
                  <a:lnTo>
                    <a:pt x="f58" y="f1234"/>
                  </a:lnTo>
                  <a:lnTo>
                    <a:pt x="f61" y="f1232"/>
                  </a:lnTo>
                  <a:lnTo>
                    <a:pt x="f61" y="f1235"/>
                  </a:lnTo>
                  <a:close/>
                  <a:moveTo>
                    <a:pt x="f42" y="f1236"/>
                  </a:moveTo>
                  <a:lnTo>
                    <a:pt x="f43" y="f1236"/>
                  </a:lnTo>
                  <a:lnTo>
                    <a:pt x="f44" y="f1231"/>
                  </a:lnTo>
                  <a:lnTo>
                    <a:pt x="f44" y="f1232"/>
                  </a:lnTo>
                  <a:lnTo>
                    <a:pt x="f43" y="f1233"/>
                  </a:lnTo>
                  <a:lnTo>
                    <a:pt x="f42" y="f1233"/>
                  </a:lnTo>
                  <a:lnTo>
                    <a:pt x="f45" y="f1232"/>
                  </a:lnTo>
                  <a:lnTo>
                    <a:pt x="f45" y="f1231"/>
                  </a:lnTo>
                  <a:close/>
                  <a:moveTo>
                    <a:pt x="f35" y="f1237"/>
                  </a:moveTo>
                  <a:lnTo>
                    <a:pt x="f37" y="f1237"/>
                  </a:lnTo>
                  <a:lnTo>
                    <a:pt x="f6" y="f1238"/>
                  </a:lnTo>
                  <a:lnTo>
                    <a:pt x="f6" y="f1239"/>
                  </a:lnTo>
                  <a:lnTo>
                    <a:pt x="f37" y="f1240"/>
                  </a:lnTo>
                  <a:lnTo>
                    <a:pt x="f35" y="f1240"/>
                  </a:lnTo>
                  <a:lnTo>
                    <a:pt x="f41" y="f1239"/>
                  </a:lnTo>
                  <a:lnTo>
                    <a:pt x="f41" y="f1238"/>
                  </a:lnTo>
                  <a:close/>
                  <a:moveTo>
                    <a:pt x="f1241" y="f1242"/>
                  </a:moveTo>
                  <a:lnTo>
                    <a:pt x="f1243" y="f1242"/>
                  </a:lnTo>
                  <a:lnTo>
                    <a:pt x="f1244" y="f1245"/>
                  </a:lnTo>
                  <a:lnTo>
                    <a:pt x="f1244" y="f743"/>
                  </a:lnTo>
                  <a:lnTo>
                    <a:pt x="f1243" y="f1246"/>
                  </a:lnTo>
                  <a:lnTo>
                    <a:pt x="f1241" y="f1246"/>
                  </a:lnTo>
                  <a:lnTo>
                    <a:pt x="f1247" y="f743"/>
                  </a:lnTo>
                  <a:lnTo>
                    <a:pt x="f1247" y="f1245"/>
                  </a:lnTo>
                  <a:close/>
                  <a:moveTo>
                    <a:pt x="f1248" y="f1242"/>
                  </a:moveTo>
                  <a:lnTo>
                    <a:pt x="f1249" y="f1242"/>
                  </a:lnTo>
                  <a:lnTo>
                    <a:pt x="f1207" y="f1245"/>
                  </a:lnTo>
                  <a:lnTo>
                    <a:pt x="f1207" y="f743"/>
                  </a:lnTo>
                  <a:lnTo>
                    <a:pt x="f1249" y="f1246"/>
                  </a:lnTo>
                  <a:lnTo>
                    <a:pt x="f1248" y="f1246"/>
                  </a:lnTo>
                  <a:lnTo>
                    <a:pt x="f1250" y="f743"/>
                  </a:lnTo>
                  <a:lnTo>
                    <a:pt x="f1250" y="f1245"/>
                  </a:lnTo>
                  <a:close/>
                  <a:moveTo>
                    <a:pt x="f1251" y="f1242"/>
                  </a:moveTo>
                  <a:lnTo>
                    <a:pt x="f1193" y="f1242"/>
                  </a:lnTo>
                  <a:lnTo>
                    <a:pt x="f1194" y="f1245"/>
                  </a:lnTo>
                  <a:lnTo>
                    <a:pt x="f1194" y="f743"/>
                  </a:lnTo>
                  <a:lnTo>
                    <a:pt x="f1193" y="f1246"/>
                  </a:lnTo>
                  <a:lnTo>
                    <a:pt x="f1251" y="f1246"/>
                  </a:lnTo>
                  <a:lnTo>
                    <a:pt x="f1252" y="f743"/>
                  </a:lnTo>
                  <a:lnTo>
                    <a:pt x="f1252" y="f1245"/>
                  </a:lnTo>
                  <a:close/>
                  <a:moveTo>
                    <a:pt x="f1253" y="f1242"/>
                  </a:moveTo>
                  <a:lnTo>
                    <a:pt x="f1198" y="f1242"/>
                  </a:lnTo>
                  <a:lnTo>
                    <a:pt x="f1254" y="f1245"/>
                  </a:lnTo>
                  <a:lnTo>
                    <a:pt x="f1254" y="f743"/>
                  </a:lnTo>
                  <a:lnTo>
                    <a:pt x="f1198" y="f1246"/>
                  </a:lnTo>
                  <a:lnTo>
                    <a:pt x="f1253" y="f1246"/>
                  </a:lnTo>
                  <a:lnTo>
                    <a:pt x="f1255" y="f743"/>
                  </a:lnTo>
                  <a:lnTo>
                    <a:pt x="f1255" y="f1245"/>
                  </a:lnTo>
                  <a:close/>
                  <a:moveTo>
                    <a:pt x="f1256" y="f1257"/>
                  </a:moveTo>
                  <a:lnTo>
                    <a:pt x="f1258" y="f1257"/>
                  </a:lnTo>
                  <a:lnTo>
                    <a:pt x="f1173" y="f1259"/>
                  </a:lnTo>
                  <a:lnTo>
                    <a:pt x="f1173" y="f287"/>
                  </a:lnTo>
                  <a:lnTo>
                    <a:pt x="f1258" y="f1260"/>
                  </a:lnTo>
                  <a:lnTo>
                    <a:pt x="f1256" y="f1260"/>
                  </a:lnTo>
                  <a:lnTo>
                    <a:pt x="f1175" y="f287"/>
                  </a:lnTo>
                  <a:lnTo>
                    <a:pt x="f1175" y="f1259"/>
                  </a:lnTo>
                  <a:close/>
                  <a:moveTo>
                    <a:pt x="f1261" y="f1257"/>
                  </a:moveTo>
                  <a:lnTo>
                    <a:pt x="f1262" y="f1257"/>
                  </a:lnTo>
                  <a:lnTo>
                    <a:pt x="f1176" y="f1259"/>
                  </a:lnTo>
                  <a:lnTo>
                    <a:pt x="f1176" y="f287"/>
                  </a:lnTo>
                  <a:lnTo>
                    <a:pt x="f1262" y="f1260"/>
                  </a:lnTo>
                  <a:lnTo>
                    <a:pt x="f1261" y="f1260"/>
                  </a:lnTo>
                  <a:lnTo>
                    <a:pt x="f981" y="f287"/>
                  </a:lnTo>
                  <a:lnTo>
                    <a:pt x="f981" y="f1259"/>
                  </a:lnTo>
                  <a:close/>
                  <a:moveTo>
                    <a:pt x="f1177" y="f1257"/>
                  </a:moveTo>
                  <a:lnTo>
                    <a:pt x="f1263" y="f1257"/>
                  </a:lnTo>
                  <a:lnTo>
                    <a:pt x="f1264" y="f1265"/>
                  </a:lnTo>
                  <a:lnTo>
                    <a:pt x="f1264" y="f287"/>
                  </a:lnTo>
                  <a:lnTo>
                    <a:pt x="f1263" y="f1260"/>
                  </a:lnTo>
                  <a:lnTo>
                    <a:pt x="f1177" y="f1260"/>
                  </a:lnTo>
                  <a:lnTo>
                    <a:pt x="f1266" y="f287"/>
                  </a:lnTo>
                  <a:lnTo>
                    <a:pt x="f1266" y="f1265"/>
                  </a:lnTo>
                  <a:close/>
                  <a:moveTo>
                    <a:pt x="f1267" y="f1257"/>
                  </a:moveTo>
                  <a:lnTo>
                    <a:pt x="f1268" y="f1257"/>
                  </a:lnTo>
                  <a:lnTo>
                    <a:pt x="f1166" y="f1265"/>
                  </a:lnTo>
                  <a:lnTo>
                    <a:pt x="f1166" y="f287"/>
                  </a:lnTo>
                  <a:lnTo>
                    <a:pt x="f1268" y="f1260"/>
                  </a:lnTo>
                  <a:lnTo>
                    <a:pt x="f1267" y="f1260"/>
                  </a:lnTo>
                  <a:lnTo>
                    <a:pt x="f1170" y="f287"/>
                  </a:lnTo>
                  <a:lnTo>
                    <a:pt x="f1170" y="f1265"/>
                  </a:lnTo>
                  <a:close/>
                  <a:moveTo>
                    <a:pt x="f1269" y="f916"/>
                  </a:moveTo>
                  <a:lnTo>
                    <a:pt x="f1270" y="f916"/>
                  </a:lnTo>
                  <a:lnTo>
                    <a:pt x="f1115" y="f1271"/>
                  </a:lnTo>
                  <a:lnTo>
                    <a:pt x="f1115" y="f1272"/>
                  </a:lnTo>
                  <a:lnTo>
                    <a:pt x="f1270" y="f809"/>
                  </a:lnTo>
                  <a:lnTo>
                    <a:pt x="f1269" y="f809"/>
                  </a:lnTo>
                  <a:lnTo>
                    <a:pt x="f1068" y="f1272"/>
                  </a:lnTo>
                  <a:lnTo>
                    <a:pt x="f1068" y="f1271"/>
                  </a:lnTo>
                  <a:close/>
                  <a:moveTo>
                    <a:pt x="f974" y="f629"/>
                  </a:moveTo>
                  <a:lnTo>
                    <a:pt x="f1273" y="f629"/>
                  </a:lnTo>
                  <a:lnTo>
                    <a:pt x="f1186" y="f1274"/>
                  </a:lnTo>
                  <a:lnTo>
                    <a:pt x="f1186" y="f1275"/>
                  </a:lnTo>
                  <a:lnTo>
                    <a:pt x="f1273" y="f1276"/>
                  </a:lnTo>
                  <a:lnTo>
                    <a:pt x="f974" y="f1276"/>
                  </a:lnTo>
                  <a:lnTo>
                    <a:pt x="f1121" y="f1275"/>
                  </a:lnTo>
                  <a:lnTo>
                    <a:pt x="f1121" y="f1274"/>
                  </a:lnTo>
                  <a:close/>
                  <a:moveTo>
                    <a:pt x="f154" y="f1277"/>
                  </a:moveTo>
                  <a:lnTo>
                    <a:pt x="f155" y="f1277"/>
                  </a:lnTo>
                  <a:lnTo>
                    <a:pt x="f156" y="f1278"/>
                  </a:lnTo>
                  <a:lnTo>
                    <a:pt x="f156" y="f1279"/>
                  </a:lnTo>
                  <a:lnTo>
                    <a:pt x="f155" y="f1280"/>
                  </a:lnTo>
                  <a:lnTo>
                    <a:pt x="f154" y="f1280"/>
                  </a:lnTo>
                  <a:lnTo>
                    <a:pt x="f157" y="f1279"/>
                  </a:lnTo>
                  <a:lnTo>
                    <a:pt x="f157" y="f1278"/>
                  </a:lnTo>
                  <a:close/>
                  <a:moveTo>
                    <a:pt x="f158" y="f1277"/>
                  </a:moveTo>
                  <a:lnTo>
                    <a:pt x="f159" y="f1277"/>
                  </a:lnTo>
                  <a:lnTo>
                    <a:pt x="f160" y="f1278"/>
                  </a:lnTo>
                  <a:lnTo>
                    <a:pt x="f160" y="f1279"/>
                  </a:lnTo>
                  <a:lnTo>
                    <a:pt x="f159" y="f1280"/>
                  </a:lnTo>
                  <a:lnTo>
                    <a:pt x="f158" y="f1280"/>
                  </a:lnTo>
                  <a:lnTo>
                    <a:pt x="f161" y="f1279"/>
                  </a:lnTo>
                  <a:lnTo>
                    <a:pt x="f161" y="f1278"/>
                  </a:lnTo>
                  <a:close/>
                  <a:moveTo>
                    <a:pt x="f142" y="f1277"/>
                  </a:moveTo>
                  <a:lnTo>
                    <a:pt x="f143" y="f1277"/>
                  </a:lnTo>
                  <a:lnTo>
                    <a:pt x="f144" y="f1278"/>
                  </a:lnTo>
                  <a:lnTo>
                    <a:pt x="f144" y="f1279"/>
                  </a:lnTo>
                  <a:lnTo>
                    <a:pt x="f143" y="f1280"/>
                  </a:lnTo>
                  <a:lnTo>
                    <a:pt x="f142" y="f1280"/>
                  </a:lnTo>
                  <a:lnTo>
                    <a:pt x="f145" y="f1279"/>
                  </a:lnTo>
                  <a:lnTo>
                    <a:pt x="f145" y="f1278"/>
                  </a:lnTo>
                  <a:close/>
                  <a:moveTo>
                    <a:pt x="f146" y="f1277"/>
                  </a:moveTo>
                  <a:lnTo>
                    <a:pt x="f147" y="f1277"/>
                  </a:lnTo>
                  <a:lnTo>
                    <a:pt x="f148" y="f1278"/>
                  </a:lnTo>
                  <a:lnTo>
                    <a:pt x="f148" y="f1279"/>
                  </a:lnTo>
                  <a:lnTo>
                    <a:pt x="f147" y="f1280"/>
                  </a:lnTo>
                  <a:lnTo>
                    <a:pt x="f146" y="f1280"/>
                  </a:lnTo>
                  <a:lnTo>
                    <a:pt x="f149" y="f1279"/>
                  </a:lnTo>
                  <a:lnTo>
                    <a:pt x="f149" y="f1278"/>
                  </a:lnTo>
                  <a:close/>
                  <a:moveTo>
                    <a:pt x="f150" y="f1277"/>
                  </a:moveTo>
                  <a:lnTo>
                    <a:pt x="f151" y="f1277"/>
                  </a:lnTo>
                  <a:lnTo>
                    <a:pt x="f152" y="f1278"/>
                  </a:lnTo>
                  <a:lnTo>
                    <a:pt x="f152" y="f1279"/>
                  </a:lnTo>
                  <a:lnTo>
                    <a:pt x="f151" y="f1280"/>
                  </a:lnTo>
                  <a:lnTo>
                    <a:pt x="f150" y="f1280"/>
                  </a:lnTo>
                  <a:lnTo>
                    <a:pt x="f153" y="f1279"/>
                  </a:lnTo>
                  <a:lnTo>
                    <a:pt x="f153" y="f1278"/>
                  </a:lnTo>
                  <a:close/>
                  <a:moveTo>
                    <a:pt x="f134" y="f1281"/>
                  </a:moveTo>
                  <a:lnTo>
                    <a:pt x="f135" y="f1281"/>
                  </a:lnTo>
                  <a:lnTo>
                    <a:pt x="f136" y="f1282"/>
                  </a:lnTo>
                  <a:lnTo>
                    <a:pt x="f136" y="f1283"/>
                  </a:lnTo>
                  <a:lnTo>
                    <a:pt x="f135" y="f1284"/>
                  </a:lnTo>
                  <a:lnTo>
                    <a:pt x="f134" y="f1284"/>
                  </a:lnTo>
                  <a:lnTo>
                    <a:pt x="f137" y="f1283"/>
                  </a:lnTo>
                  <a:lnTo>
                    <a:pt x="f137" y="f1282"/>
                  </a:lnTo>
                  <a:close/>
                  <a:moveTo>
                    <a:pt x="f138" y="f1281"/>
                  </a:moveTo>
                  <a:lnTo>
                    <a:pt x="f139" y="f1281"/>
                  </a:lnTo>
                  <a:lnTo>
                    <a:pt x="f140" y="f1282"/>
                  </a:lnTo>
                  <a:lnTo>
                    <a:pt x="f140" y="f1283"/>
                  </a:lnTo>
                  <a:lnTo>
                    <a:pt x="f139" y="f1284"/>
                  </a:lnTo>
                  <a:lnTo>
                    <a:pt x="f138" y="f1284"/>
                  </a:lnTo>
                  <a:lnTo>
                    <a:pt x="f141" y="f1283"/>
                  </a:lnTo>
                  <a:lnTo>
                    <a:pt x="f141" y="f1282"/>
                  </a:lnTo>
                  <a:close/>
                  <a:moveTo>
                    <a:pt x="f122" y="f1285"/>
                  </a:moveTo>
                  <a:lnTo>
                    <a:pt x="f123" y="f1285"/>
                  </a:lnTo>
                  <a:lnTo>
                    <a:pt x="f124" y="f1282"/>
                  </a:lnTo>
                  <a:lnTo>
                    <a:pt x="f124" y="f1283"/>
                  </a:lnTo>
                  <a:lnTo>
                    <a:pt x="f123" y="f1284"/>
                  </a:lnTo>
                  <a:lnTo>
                    <a:pt x="f122" y="f1284"/>
                  </a:lnTo>
                  <a:lnTo>
                    <a:pt x="f125" y="f1283"/>
                  </a:lnTo>
                  <a:lnTo>
                    <a:pt x="f125" y="f1282"/>
                  </a:lnTo>
                  <a:close/>
                  <a:moveTo>
                    <a:pt x="f126" y="f1285"/>
                  </a:moveTo>
                  <a:lnTo>
                    <a:pt x="f127" y="f1285"/>
                  </a:lnTo>
                  <a:lnTo>
                    <a:pt x="f128" y="f1282"/>
                  </a:lnTo>
                  <a:lnTo>
                    <a:pt x="f128" y="f1283"/>
                  </a:lnTo>
                  <a:lnTo>
                    <a:pt x="f127" y="f1284"/>
                  </a:lnTo>
                  <a:lnTo>
                    <a:pt x="f126" y="f1284"/>
                  </a:lnTo>
                  <a:lnTo>
                    <a:pt x="f129" y="f1283"/>
                  </a:lnTo>
                  <a:lnTo>
                    <a:pt x="f129" y="f1282"/>
                  </a:lnTo>
                  <a:close/>
                  <a:moveTo>
                    <a:pt x="f130" y="f1285"/>
                  </a:moveTo>
                  <a:lnTo>
                    <a:pt x="f131" y="f1285"/>
                  </a:lnTo>
                  <a:lnTo>
                    <a:pt x="f132" y="f1282"/>
                  </a:lnTo>
                  <a:lnTo>
                    <a:pt x="f132" y="f1283"/>
                  </a:lnTo>
                  <a:lnTo>
                    <a:pt x="f131" y="f1284"/>
                  </a:lnTo>
                  <a:lnTo>
                    <a:pt x="f130" y="f1284"/>
                  </a:lnTo>
                  <a:lnTo>
                    <a:pt x="f133" y="f1283"/>
                  </a:lnTo>
                  <a:lnTo>
                    <a:pt x="f133" y="f1282"/>
                  </a:lnTo>
                  <a:close/>
                  <a:moveTo>
                    <a:pt x="f114" y="f1286"/>
                  </a:moveTo>
                  <a:lnTo>
                    <a:pt x="f115" y="f1286"/>
                  </a:lnTo>
                  <a:lnTo>
                    <a:pt x="f116" y="f1287"/>
                  </a:lnTo>
                  <a:lnTo>
                    <a:pt x="f116" y="f1288"/>
                  </a:lnTo>
                  <a:lnTo>
                    <a:pt x="f115" y="f1289"/>
                  </a:lnTo>
                  <a:lnTo>
                    <a:pt x="f114" y="f1289"/>
                  </a:lnTo>
                  <a:lnTo>
                    <a:pt x="f117" y="f1288"/>
                  </a:lnTo>
                  <a:lnTo>
                    <a:pt x="f117" y="f1287"/>
                  </a:lnTo>
                  <a:close/>
                  <a:moveTo>
                    <a:pt x="f118" y="f1286"/>
                  </a:moveTo>
                  <a:lnTo>
                    <a:pt x="f119" y="f1286"/>
                  </a:lnTo>
                  <a:lnTo>
                    <a:pt x="f120" y="f1287"/>
                  </a:lnTo>
                  <a:lnTo>
                    <a:pt x="f120" y="f1288"/>
                  </a:lnTo>
                  <a:lnTo>
                    <a:pt x="f119" y="f1289"/>
                  </a:lnTo>
                  <a:lnTo>
                    <a:pt x="f118" y="f1289"/>
                  </a:lnTo>
                  <a:lnTo>
                    <a:pt x="f121" y="f1288"/>
                  </a:lnTo>
                  <a:lnTo>
                    <a:pt x="f121" y="f1287"/>
                  </a:lnTo>
                  <a:close/>
                  <a:moveTo>
                    <a:pt x="f102" y="f1286"/>
                  </a:moveTo>
                  <a:lnTo>
                    <a:pt x="f103" y="f1286"/>
                  </a:lnTo>
                  <a:lnTo>
                    <a:pt x="f104" y="f1287"/>
                  </a:lnTo>
                  <a:lnTo>
                    <a:pt x="f104" y="f1288"/>
                  </a:lnTo>
                  <a:lnTo>
                    <a:pt x="f103" y="f1289"/>
                  </a:lnTo>
                  <a:lnTo>
                    <a:pt x="f102" y="f1289"/>
                  </a:lnTo>
                  <a:lnTo>
                    <a:pt x="f105" y="f1288"/>
                  </a:lnTo>
                  <a:lnTo>
                    <a:pt x="f105" y="f1287"/>
                  </a:lnTo>
                  <a:close/>
                  <a:moveTo>
                    <a:pt x="f106" y="f1286"/>
                  </a:moveTo>
                  <a:lnTo>
                    <a:pt x="f107" y="f1286"/>
                  </a:lnTo>
                  <a:lnTo>
                    <a:pt x="f108" y="f1287"/>
                  </a:lnTo>
                  <a:lnTo>
                    <a:pt x="f108" y="f1288"/>
                  </a:lnTo>
                  <a:lnTo>
                    <a:pt x="f107" y="f1289"/>
                  </a:lnTo>
                  <a:lnTo>
                    <a:pt x="f106" y="f1289"/>
                  </a:lnTo>
                  <a:lnTo>
                    <a:pt x="f109" y="f1288"/>
                  </a:lnTo>
                  <a:lnTo>
                    <a:pt x="f109" y="f1287"/>
                  </a:lnTo>
                  <a:close/>
                  <a:moveTo>
                    <a:pt x="f110" y="f1286"/>
                  </a:moveTo>
                  <a:lnTo>
                    <a:pt x="f111" y="f1286"/>
                  </a:lnTo>
                  <a:lnTo>
                    <a:pt x="f112" y="f1287"/>
                  </a:lnTo>
                  <a:lnTo>
                    <a:pt x="f112" y="f1288"/>
                  </a:lnTo>
                  <a:lnTo>
                    <a:pt x="f111" y="f1289"/>
                  </a:lnTo>
                  <a:lnTo>
                    <a:pt x="f110" y="f1289"/>
                  </a:lnTo>
                  <a:lnTo>
                    <a:pt x="f113" y="f1288"/>
                  </a:lnTo>
                  <a:lnTo>
                    <a:pt x="f113" y="f1287"/>
                  </a:lnTo>
                  <a:close/>
                  <a:moveTo>
                    <a:pt x="f94" y="f1290"/>
                  </a:moveTo>
                  <a:lnTo>
                    <a:pt x="f95" y="f1290"/>
                  </a:lnTo>
                  <a:lnTo>
                    <a:pt x="f96" y="f1291"/>
                  </a:lnTo>
                  <a:lnTo>
                    <a:pt x="f96" y="f1292"/>
                  </a:lnTo>
                  <a:lnTo>
                    <a:pt x="f95" y="f1293"/>
                  </a:lnTo>
                  <a:lnTo>
                    <a:pt x="f94" y="f1293"/>
                  </a:lnTo>
                  <a:lnTo>
                    <a:pt x="f97" y="f1292"/>
                  </a:lnTo>
                  <a:lnTo>
                    <a:pt x="f97" y="f1291"/>
                  </a:lnTo>
                  <a:close/>
                  <a:moveTo>
                    <a:pt x="f98" y="f1290"/>
                  </a:moveTo>
                  <a:lnTo>
                    <a:pt x="f99" y="f1290"/>
                  </a:lnTo>
                  <a:lnTo>
                    <a:pt x="f100" y="f1294"/>
                  </a:lnTo>
                  <a:lnTo>
                    <a:pt x="f100" y="f1292"/>
                  </a:lnTo>
                  <a:lnTo>
                    <a:pt x="f99" y="f1293"/>
                  </a:lnTo>
                  <a:lnTo>
                    <a:pt x="f98" y="f1293"/>
                  </a:lnTo>
                  <a:lnTo>
                    <a:pt x="f101" y="f1292"/>
                  </a:lnTo>
                  <a:lnTo>
                    <a:pt x="f101" y="f1294"/>
                  </a:lnTo>
                  <a:close/>
                  <a:moveTo>
                    <a:pt x="f82" y="f1295"/>
                  </a:moveTo>
                  <a:lnTo>
                    <a:pt x="f83" y="f1295"/>
                  </a:lnTo>
                  <a:lnTo>
                    <a:pt x="f84" y="f1291"/>
                  </a:lnTo>
                  <a:lnTo>
                    <a:pt x="f84" y="f1292"/>
                  </a:lnTo>
                  <a:lnTo>
                    <a:pt x="f83" y="f1293"/>
                  </a:lnTo>
                  <a:lnTo>
                    <a:pt x="f82" y="f1293"/>
                  </a:lnTo>
                  <a:lnTo>
                    <a:pt x="f85" y="f1292"/>
                  </a:lnTo>
                  <a:lnTo>
                    <a:pt x="f85" y="f1291"/>
                  </a:lnTo>
                  <a:close/>
                  <a:moveTo>
                    <a:pt x="f86" y="f1295"/>
                  </a:moveTo>
                  <a:lnTo>
                    <a:pt x="f87" y="f1295"/>
                  </a:lnTo>
                  <a:lnTo>
                    <a:pt x="f88" y="f1291"/>
                  </a:lnTo>
                  <a:lnTo>
                    <a:pt x="f88" y="f1292"/>
                  </a:lnTo>
                  <a:lnTo>
                    <a:pt x="f87" y="f1293"/>
                  </a:lnTo>
                  <a:lnTo>
                    <a:pt x="f86" y="f1293"/>
                  </a:lnTo>
                  <a:lnTo>
                    <a:pt x="f89" y="f1292"/>
                  </a:lnTo>
                  <a:lnTo>
                    <a:pt x="f89" y="f1291"/>
                  </a:lnTo>
                  <a:close/>
                  <a:moveTo>
                    <a:pt x="f90" y="f1295"/>
                  </a:moveTo>
                  <a:lnTo>
                    <a:pt x="f91" y="f1295"/>
                  </a:lnTo>
                  <a:lnTo>
                    <a:pt x="f92" y="f1291"/>
                  </a:lnTo>
                  <a:lnTo>
                    <a:pt x="f92" y="f1292"/>
                  </a:lnTo>
                  <a:lnTo>
                    <a:pt x="f91" y="f1293"/>
                  </a:lnTo>
                  <a:lnTo>
                    <a:pt x="f90" y="f1293"/>
                  </a:lnTo>
                  <a:lnTo>
                    <a:pt x="f93" y="f1292"/>
                  </a:lnTo>
                  <a:lnTo>
                    <a:pt x="f93" y="f1291"/>
                  </a:lnTo>
                  <a:close/>
                  <a:moveTo>
                    <a:pt x="f74" y="f1296"/>
                  </a:moveTo>
                  <a:lnTo>
                    <a:pt x="f75" y="f1296"/>
                  </a:lnTo>
                  <a:lnTo>
                    <a:pt x="f76" y="f1297"/>
                  </a:lnTo>
                  <a:lnTo>
                    <a:pt x="f76" y="f1298"/>
                  </a:lnTo>
                  <a:lnTo>
                    <a:pt x="f75" y="f1299"/>
                  </a:lnTo>
                  <a:lnTo>
                    <a:pt x="f74" y="f1299"/>
                  </a:lnTo>
                  <a:lnTo>
                    <a:pt x="f77" y="f1298"/>
                  </a:lnTo>
                  <a:lnTo>
                    <a:pt x="f77" y="f1297"/>
                  </a:lnTo>
                  <a:close/>
                  <a:moveTo>
                    <a:pt x="f78" y="f1296"/>
                  </a:moveTo>
                  <a:lnTo>
                    <a:pt x="f79" y="f1296"/>
                  </a:lnTo>
                  <a:lnTo>
                    <a:pt x="f80" y="f1300"/>
                  </a:lnTo>
                  <a:lnTo>
                    <a:pt x="f80" y="f1301"/>
                  </a:lnTo>
                  <a:lnTo>
                    <a:pt x="f79" y="f1299"/>
                  </a:lnTo>
                  <a:lnTo>
                    <a:pt x="f78" y="f1299"/>
                  </a:lnTo>
                  <a:lnTo>
                    <a:pt x="f81" y="f1301"/>
                  </a:lnTo>
                  <a:lnTo>
                    <a:pt x="f81" y="f1300"/>
                  </a:lnTo>
                  <a:close/>
                  <a:moveTo>
                    <a:pt x="f62" y="f1296"/>
                  </a:moveTo>
                  <a:lnTo>
                    <a:pt x="f63" y="f1296"/>
                  </a:lnTo>
                  <a:lnTo>
                    <a:pt x="f64" y="f1297"/>
                  </a:lnTo>
                  <a:lnTo>
                    <a:pt x="f64" y="f1298"/>
                  </a:lnTo>
                  <a:lnTo>
                    <a:pt x="f63" y="f1299"/>
                  </a:lnTo>
                  <a:lnTo>
                    <a:pt x="f62" y="f1299"/>
                  </a:lnTo>
                  <a:lnTo>
                    <a:pt x="f65" y="f1298"/>
                  </a:lnTo>
                  <a:lnTo>
                    <a:pt x="f65" y="f1297"/>
                  </a:lnTo>
                  <a:close/>
                  <a:moveTo>
                    <a:pt x="f66" y="f1296"/>
                  </a:moveTo>
                  <a:lnTo>
                    <a:pt x="f67" y="f1296"/>
                  </a:lnTo>
                  <a:lnTo>
                    <a:pt x="f68" y="f1297"/>
                  </a:lnTo>
                  <a:lnTo>
                    <a:pt x="f68" y="f1298"/>
                  </a:lnTo>
                  <a:lnTo>
                    <a:pt x="f67" y="f1299"/>
                  </a:lnTo>
                  <a:lnTo>
                    <a:pt x="f66" y="f1299"/>
                  </a:lnTo>
                  <a:lnTo>
                    <a:pt x="f69" y="f1298"/>
                  </a:lnTo>
                  <a:lnTo>
                    <a:pt x="f69" y="f1297"/>
                  </a:lnTo>
                  <a:close/>
                  <a:moveTo>
                    <a:pt x="f70" y="f1296"/>
                  </a:moveTo>
                  <a:lnTo>
                    <a:pt x="f71" y="f1296"/>
                  </a:lnTo>
                  <a:lnTo>
                    <a:pt x="f72" y="f1297"/>
                  </a:lnTo>
                  <a:lnTo>
                    <a:pt x="f72" y="f1298"/>
                  </a:lnTo>
                  <a:lnTo>
                    <a:pt x="f71" y="f1299"/>
                  </a:lnTo>
                  <a:lnTo>
                    <a:pt x="f70" y="f1299"/>
                  </a:lnTo>
                  <a:lnTo>
                    <a:pt x="f73" y="f1298"/>
                  </a:lnTo>
                  <a:lnTo>
                    <a:pt x="f73" y="f1297"/>
                  </a:lnTo>
                  <a:close/>
                  <a:moveTo>
                    <a:pt x="f1256" y="f1302"/>
                  </a:moveTo>
                  <a:lnTo>
                    <a:pt x="f1303" y="f1302"/>
                  </a:lnTo>
                  <a:lnTo>
                    <a:pt x="f1304" y="f1305"/>
                  </a:lnTo>
                  <a:lnTo>
                    <a:pt x="f1304" y="f1306"/>
                  </a:lnTo>
                  <a:lnTo>
                    <a:pt x="f1303" y="f1307"/>
                  </a:lnTo>
                  <a:lnTo>
                    <a:pt x="f1256" y="f1307"/>
                  </a:lnTo>
                  <a:lnTo>
                    <a:pt x="f1308" y="f1306"/>
                  </a:lnTo>
                  <a:lnTo>
                    <a:pt x="f1308" y="f1305"/>
                  </a:lnTo>
                  <a:close/>
                  <a:moveTo>
                    <a:pt x="f1261" y="f1302"/>
                  </a:moveTo>
                  <a:lnTo>
                    <a:pt x="f1309" y="f1302"/>
                  </a:lnTo>
                  <a:lnTo>
                    <a:pt x="f1310" y="f1305"/>
                  </a:lnTo>
                  <a:lnTo>
                    <a:pt x="f1310" y="f1306"/>
                  </a:lnTo>
                  <a:lnTo>
                    <a:pt x="f1309" y="f1307"/>
                  </a:lnTo>
                  <a:lnTo>
                    <a:pt x="f1261" y="f1307"/>
                  </a:lnTo>
                  <a:lnTo>
                    <a:pt x="f1311" y="f1306"/>
                  </a:lnTo>
                  <a:lnTo>
                    <a:pt x="f1311" y="f1305"/>
                  </a:lnTo>
                  <a:close/>
                  <a:moveTo>
                    <a:pt x="f1312" y="f1302"/>
                  </a:moveTo>
                  <a:lnTo>
                    <a:pt x="f1263" y="f1302"/>
                  </a:lnTo>
                  <a:lnTo>
                    <a:pt x="f1264" y="f1305"/>
                  </a:lnTo>
                  <a:lnTo>
                    <a:pt x="f1264" y="f1306"/>
                  </a:lnTo>
                  <a:lnTo>
                    <a:pt x="f1263" y="f1307"/>
                  </a:lnTo>
                  <a:lnTo>
                    <a:pt x="f1312" y="f1307"/>
                  </a:lnTo>
                  <a:lnTo>
                    <a:pt x="f1266" y="f1306"/>
                  </a:lnTo>
                  <a:lnTo>
                    <a:pt x="f1266" y="f1305"/>
                  </a:lnTo>
                  <a:close/>
                  <a:moveTo>
                    <a:pt x="f1267" y="f1302"/>
                  </a:moveTo>
                  <a:lnTo>
                    <a:pt x="f1313" y="f1302"/>
                  </a:lnTo>
                  <a:lnTo>
                    <a:pt x="f1314" y="f1305"/>
                  </a:lnTo>
                  <a:lnTo>
                    <a:pt x="f1314" y="f1306"/>
                  </a:lnTo>
                  <a:lnTo>
                    <a:pt x="f1313" y="f1307"/>
                  </a:lnTo>
                  <a:lnTo>
                    <a:pt x="f1267" y="f1307"/>
                  </a:lnTo>
                  <a:lnTo>
                    <a:pt x="f1315" y="f1306"/>
                  </a:lnTo>
                  <a:lnTo>
                    <a:pt x="f1315" y="f1305"/>
                  </a:lnTo>
                  <a:close/>
                  <a:moveTo>
                    <a:pt x="f54" y="f1316"/>
                  </a:moveTo>
                  <a:lnTo>
                    <a:pt x="f55" y="f1316"/>
                  </a:lnTo>
                  <a:lnTo>
                    <a:pt x="f56" y="f1317"/>
                  </a:lnTo>
                  <a:lnTo>
                    <a:pt x="f56" y="f1318"/>
                  </a:lnTo>
                  <a:lnTo>
                    <a:pt x="f55" y="f1319"/>
                  </a:lnTo>
                  <a:lnTo>
                    <a:pt x="f54" y="f1319"/>
                  </a:lnTo>
                  <a:lnTo>
                    <a:pt x="f57" y="f1318"/>
                  </a:lnTo>
                  <a:lnTo>
                    <a:pt x="f57" y="f1317"/>
                  </a:lnTo>
                  <a:close/>
                  <a:moveTo>
                    <a:pt x="f58" y="f1316"/>
                  </a:moveTo>
                  <a:lnTo>
                    <a:pt x="f59" y="f1316"/>
                  </a:lnTo>
                  <a:lnTo>
                    <a:pt x="f60" y="f1317"/>
                  </a:lnTo>
                  <a:lnTo>
                    <a:pt x="f60" y="f1320"/>
                  </a:lnTo>
                  <a:lnTo>
                    <a:pt x="f59" y="f1321"/>
                  </a:lnTo>
                  <a:lnTo>
                    <a:pt x="f58" y="f1321"/>
                  </a:lnTo>
                  <a:lnTo>
                    <a:pt x="f61" y="f1320"/>
                  </a:lnTo>
                  <a:lnTo>
                    <a:pt x="f61" y="f1317"/>
                  </a:lnTo>
                  <a:close/>
                  <a:moveTo>
                    <a:pt x="f42" y="f1322"/>
                  </a:moveTo>
                  <a:lnTo>
                    <a:pt x="f43" y="f1322"/>
                  </a:lnTo>
                  <a:lnTo>
                    <a:pt x="f44" y="f1323"/>
                  </a:lnTo>
                  <a:lnTo>
                    <a:pt x="f44" y="f1318"/>
                  </a:lnTo>
                  <a:lnTo>
                    <a:pt x="f43" y="f1319"/>
                  </a:lnTo>
                  <a:lnTo>
                    <a:pt x="f42" y="f1319"/>
                  </a:lnTo>
                  <a:lnTo>
                    <a:pt x="f45" y="f1318"/>
                  </a:lnTo>
                  <a:lnTo>
                    <a:pt x="f45" y="f1323"/>
                  </a:lnTo>
                  <a:close/>
                  <a:moveTo>
                    <a:pt x="f46" y="f1322"/>
                  </a:moveTo>
                  <a:lnTo>
                    <a:pt x="f47" y="f1322"/>
                  </a:lnTo>
                  <a:lnTo>
                    <a:pt x="f48" y="f1323"/>
                  </a:lnTo>
                  <a:lnTo>
                    <a:pt x="f48" y="f1318"/>
                  </a:lnTo>
                  <a:lnTo>
                    <a:pt x="f47" y="f1319"/>
                  </a:lnTo>
                  <a:lnTo>
                    <a:pt x="f46" y="f1319"/>
                  </a:lnTo>
                  <a:lnTo>
                    <a:pt x="f49" y="f1318"/>
                  </a:lnTo>
                  <a:lnTo>
                    <a:pt x="f49" y="f1323"/>
                  </a:lnTo>
                  <a:close/>
                  <a:moveTo>
                    <a:pt x="f50" y="f1322"/>
                  </a:moveTo>
                  <a:lnTo>
                    <a:pt x="f51" y="f1322"/>
                  </a:lnTo>
                  <a:lnTo>
                    <a:pt x="f52" y="f1323"/>
                  </a:lnTo>
                  <a:lnTo>
                    <a:pt x="f52" y="f1318"/>
                  </a:lnTo>
                  <a:lnTo>
                    <a:pt x="f51" y="f1319"/>
                  </a:lnTo>
                  <a:lnTo>
                    <a:pt x="f50" y="f1319"/>
                  </a:lnTo>
                  <a:lnTo>
                    <a:pt x="f53" y="f1318"/>
                  </a:lnTo>
                  <a:lnTo>
                    <a:pt x="f53" y="f1323"/>
                  </a:lnTo>
                  <a:close/>
                  <a:moveTo>
                    <a:pt x="f1269" y="f1324"/>
                  </a:moveTo>
                  <a:lnTo>
                    <a:pt x="f1270" y="f1324"/>
                  </a:lnTo>
                  <a:lnTo>
                    <a:pt x="f1115" y="f1325"/>
                  </a:lnTo>
                  <a:lnTo>
                    <a:pt x="f1115" y="f1326"/>
                  </a:lnTo>
                  <a:lnTo>
                    <a:pt x="f1270" y="f1327"/>
                  </a:lnTo>
                  <a:lnTo>
                    <a:pt x="f1269" y="f1327"/>
                  </a:lnTo>
                  <a:lnTo>
                    <a:pt x="f1068" y="f1326"/>
                  </a:lnTo>
                  <a:lnTo>
                    <a:pt x="f1068" y="f1325"/>
                  </a:lnTo>
                  <a:close/>
                  <a:moveTo>
                    <a:pt x="f1328" y="f1329"/>
                  </a:moveTo>
                  <a:lnTo>
                    <a:pt x="f1273" y="f1329"/>
                  </a:lnTo>
                  <a:lnTo>
                    <a:pt x="f1186" y="f1330"/>
                  </a:lnTo>
                  <a:lnTo>
                    <a:pt x="f1186" y="f1331"/>
                  </a:lnTo>
                  <a:lnTo>
                    <a:pt x="f1273" y="f1332"/>
                  </a:lnTo>
                  <a:lnTo>
                    <a:pt x="f1328" y="f1332"/>
                  </a:lnTo>
                  <a:lnTo>
                    <a:pt x="f1121" y="f1331"/>
                  </a:lnTo>
                  <a:lnTo>
                    <a:pt x="f1121" y="f1330"/>
                  </a:lnTo>
                  <a:close/>
                  <a:moveTo>
                    <a:pt x="f35" y="f1333"/>
                  </a:moveTo>
                  <a:lnTo>
                    <a:pt x="f37" y="f1333"/>
                  </a:lnTo>
                  <a:lnTo>
                    <a:pt x="f6" y="f1334"/>
                  </a:lnTo>
                  <a:lnTo>
                    <a:pt x="f6" y="f1335"/>
                  </a:lnTo>
                  <a:lnTo>
                    <a:pt x="f37" y="f1336"/>
                  </a:lnTo>
                  <a:lnTo>
                    <a:pt x="f35" y="f1336"/>
                  </a:lnTo>
                  <a:lnTo>
                    <a:pt x="f41" y="f1335"/>
                  </a:lnTo>
                  <a:lnTo>
                    <a:pt x="f41" y="f1334"/>
                  </a:lnTo>
                  <a:close/>
                  <a:moveTo>
                    <a:pt x="f1241" y="f1134"/>
                  </a:moveTo>
                  <a:lnTo>
                    <a:pt x="f1180" y="f1134"/>
                  </a:lnTo>
                  <a:lnTo>
                    <a:pt x="f1337" y="f1338"/>
                  </a:lnTo>
                  <a:lnTo>
                    <a:pt x="f1337" y="f1339"/>
                  </a:lnTo>
                  <a:lnTo>
                    <a:pt x="f1180" y="f1048"/>
                  </a:lnTo>
                  <a:lnTo>
                    <a:pt x="f1241" y="f1048"/>
                  </a:lnTo>
                  <a:lnTo>
                    <a:pt x="f1340" y="f1339"/>
                  </a:lnTo>
                  <a:lnTo>
                    <a:pt x="f1340" y="f1338"/>
                  </a:lnTo>
                  <a:close/>
                  <a:moveTo>
                    <a:pt x="f1248" y="f1134"/>
                  </a:moveTo>
                  <a:lnTo>
                    <a:pt x="f1341" y="f1134"/>
                  </a:lnTo>
                  <a:lnTo>
                    <a:pt x="f1342" y="f1338"/>
                  </a:lnTo>
                  <a:lnTo>
                    <a:pt x="f1342" y="f1339"/>
                  </a:lnTo>
                  <a:lnTo>
                    <a:pt x="f1341" y="f1048"/>
                  </a:lnTo>
                  <a:lnTo>
                    <a:pt x="f1248" y="f1048"/>
                  </a:lnTo>
                  <a:lnTo>
                    <a:pt x="f1250" y="f1339"/>
                  </a:lnTo>
                  <a:lnTo>
                    <a:pt x="f1250" y="f1338"/>
                  </a:lnTo>
                  <a:close/>
                  <a:moveTo>
                    <a:pt x="f1251" y="f1134"/>
                  </a:moveTo>
                  <a:lnTo>
                    <a:pt x="f1343" y="f1134"/>
                  </a:lnTo>
                  <a:lnTo>
                    <a:pt x="f1344" y="f1338"/>
                  </a:lnTo>
                  <a:lnTo>
                    <a:pt x="f1344" y="f1339"/>
                  </a:lnTo>
                  <a:lnTo>
                    <a:pt x="f1343" y="f1048"/>
                  </a:lnTo>
                  <a:lnTo>
                    <a:pt x="f1251" y="f1048"/>
                  </a:lnTo>
                  <a:lnTo>
                    <a:pt x="f1345" y="f1339"/>
                  </a:lnTo>
                  <a:lnTo>
                    <a:pt x="f1345" y="f1338"/>
                  </a:lnTo>
                  <a:close/>
                  <a:moveTo>
                    <a:pt x="f1253" y="f1134"/>
                  </a:moveTo>
                  <a:lnTo>
                    <a:pt x="f1346" y="f1134"/>
                  </a:lnTo>
                  <a:lnTo>
                    <a:pt x="f1347" y="f1338"/>
                  </a:lnTo>
                  <a:lnTo>
                    <a:pt x="f1347" y="f1339"/>
                  </a:lnTo>
                  <a:lnTo>
                    <a:pt x="f1346" y="f1048"/>
                  </a:lnTo>
                  <a:lnTo>
                    <a:pt x="f1253" y="f1048"/>
                  </a:lnTo>
                  <a:lnTo>
                    <a:pt x="f1255" y="f1339"/>
                  </a:lnTo>
                  <a:lnTo>
                    <a:pt x="f1255" y="f1338"/>
                  </a:lnTo>
                  <a:close/>
                  <a:moveTo>
                    <a:pt x="f146" y="f1348"/>
                  </a:moveTo>
                  <a:lnTo>
                    <a:pt x="f147" y="f1348"/>
                  </a:lnTo>
                  <a:lnTo>
                    <a:pt x="f148" y="f1349"/>
                  </a:lnTo>
                  <a:lnTo>
                    <a:pt x="f148" y="f1350"/>
                  </a:lnTo>
                  <a:lnTo>
                    <a:pt x="f147" y="f1351"/>
                  </a:lnTo>
                  <a:lnTo>
                    <a:pt x="f146" y="f1351"/>
                  </a:lnTo>
                  <a:lnTo>
                    <a:pt x="f149" y="f1350"/>
                  </a:lnTo>
                  <a:lnTo>
                    <a:pt x="f149" y="f1349"/>
                  </a:lnTo>
                  <a:close/>
                  <a:moveTo>
                    <a:pt x="f150" y="f1348"/>
                  </a:moveTo>
                  <a:lnTo>
                    <a:pt x="f151" y="f1348"/>
                  </a:lnTo>
                  <a:lnTo>
                    <a:pt x="f152" y="f1352"/>
                  </a:lnTo>
                  <a:lnTo>
                    <a:pt x="f152" y="f1350"/>
                  </a:lnTo>
                  <a:lnTo>
                    <a:pt x="f151" y="f1351"/>
                  </a:lnTo>
                  <a:lnTo>
                    <a:pt x="f150" y="f1351"/>
                  </a:lnTo>
                  <a:lnTo>
                    <a:pt x="f153" y="f1350"/>
                  </a:lnTo>
                  <a:lnTo>
                    <a:pt x="f153" y="f1352"/>
                  </a:lnTo>
                  <a:close/>
                  <a:moveTo>
                    <a:pt x="f154" y="f1348"/>
                  </a:moveTo>
                  <a:lnTo>
                    <a:pt x="f155" y="f1348"/>
                  </a:lnTo>
                  <a:lnTo>
                    <a:pt x="f156" y="f1352"/>
                  </a:lnTo>
                  <a:lnTo>
                    <a:pt x="f156" y="f1353"/>
                  </a:lnTo>
                  <a:lnTo>
                    <a:pt x="f155" y="f1354"/>
                  </a:lnTo>
                  <a:lnTo>
                    <a:pt x="f154" y="f1354"/>
                  </a:lnTo>
                  <a:lnTo>
                    <a:pt x="f157" y="f1353"/>
                  </a:lnTo>
                  <a:lnTo>
                    <a:pt x="f157" y="f1352"/>
                  </a:lnTo>
                  <a:close/>
                  <a:moveTo>
                    <a:pt x="f158" y="f1348"/>
                  </a:moveTo>
                  <a:lnTo>
                    <a:pt x="f159" y="f1348"/>
                  </a:lnTo>
                  <a:lnTo>
                    <a:pt x="f160" y="f1352"/>
                  </a:lnTo>
                  <a:lnTo>
                    <a:pt x="f160" y="f1353"/>
                  </a:lnTo>
                  <a:lnTo>
                    <a:pt x="f159" y="f1354"/>
                  </a:lnTo>
                  <a:lnTo>
                    <a:pt x="f158" y="f1354"/>
                  </a:lnTo>
                  <a:lnTo>
                    <a:pt x="f161" y="f1353"/>
                  </a:lnTo>
                  <a:lnTo>
                    <a:pt x="f161" y="f1352"/>
                  </a:lnTo>
                  <a:close/>
                  <a:moveTo>
                    <a:pt x="f142" y="f1348"/>
                  </a:moveTo>
                  <a:lnTo>
                    <a:pt x="f143" y="f1348"/>
                  </a:lnTo>
                  <a:lnTo>
                    <a:pt x="f144" y="f1349"/>
                  </a:lnTo>
                  <a:lnTo>
                    <a:pt x="f144" y="f1350"/>
                  </a:lnTo>
                  <a:lnTo>
                    <a:pt x="f143" y="f1351"/>
                  </a:lnTo>
                  <a:lnTo>
                    <a:pt x="f142" y="f1351"/>
                  </a:lnTo>
                  <a:lnTo>
                    <a:pt x="f145" y="f1350"/>
                  </a:lnTo>
                  <a:lnTo>
                    <a:pt x="f145" y="f1349"/>
                  </a:lnTo>
                  <a:close/>
                  <a:moveTo>
                    <a:pt x="f122" y="f1355"/>
                  </a:moveTo>
                  <a:lnTo>
                    <a:pt x="f123" y="f1355"/>
                  </a:lnTo>
                  <a:lnTo>
                    <a:pt x="f124" y="f1356"/>
                  </a:lnTo>
                  <a:lnTo>
                    <a:pt x="f124" y="f1357"/>
                  </a:lnTo>
                  <a:lnTo>
                    <a:pt x="f123" y="f1358"/>
                  </a:lnTo>
                  <a:lnTo>
                    <a:pt x="f122" y="f1358"/>
                  </a:lnTo>
                  <a:lnTo>
                    <a:pt x="f125" y="f1357"/>
                  </a:lnTo>
                  <a:lnTo>
                    <a:pt x="f125" y="f1356"/>
                  </a:lnTo>
                  <a:close/>
                  <a:moveTo>
                    <a:pt x="f126" y="f1355"/>
                  </a:moveTo>
                  <a:lnTo>
                    <a:pt x="f127" y="f1355"/>
                  </a:lnTo>
                  <a:lnTo>
                    <a:pt x="f128" y="f1356"/>
                  </a:lnTo>
                  <a:lnTo>
                    <a:pt x="f128" y="f1359"/>
                  </a:lnTo>
                  <a:lnTo>
                    <a:pt x="f127" y="f1360"/>
                  </a:lnTo>
                  <a:lnTo>
                    <a:pt x="f126" y="f1360"/>
                  </a:lnTo>
                  <a:lnTo>
                    <a:pt x="f129" y="f1359"/>
                  </a:lnTo>
                  <a:lnTo>
                    <a:pt x="f129" y="f1356"/>
                  </a:lnTo>
                  <a:close/>
                  <a:moveTo>
                    <a:pt x="f130" y="f1355"/>
                  </a:moveTo>
                  <a:lnTo>
                    <a:pt x="f131" y="f1355"/>
                  </a:lnTo>
                  <a:lnTo>
                    <a:pt x="f132" y="f1356"/>
                  </a:lnTo>
                  <a:lnTo>
                    <a:pt x="f132" y="f1359"/>
                  </a:lnTo>
                  <a:lnTo>
                    <a:pt x="f131" y="f1360"/>
                  </a:lnTo>
                  <a:lnTo>
                    <a:pt x="f130" y="f1360"/>
                  </a:lnTo>
                  <a:lnTo>
                    <a:pt x="f133" y="f1359"/>
                  </a:lnTo>
                  <a:lnTo>
                    <a:pt x="f133" y="f1356"/>
                  </a:lnTo>
                  <a:close/>
                  <a:moveTo>
                    <a:pt x="f134" y="f1355"/>
                  </a:moveTo>
                  <a:lnTo>
                    <a:pt x="f135" y="f1355"/>
                  </a:lnTo>
                  <a:lnTo>
                    <a:pt x="f136" y="f1356"/>
                  </a:lnTo>
                  <a:lnTo>
                    <a:pt x="f136" y="f1359"/>
                  </a:lnTo>
                  <a:lnTo>
                    <a:pt x="f135" y="f1360"/>
                  </a:lnTo>
                  <a:lnTo>
                    <a:pt x="f134" y="f1360"/>
                  </a:lnTo>
                  <a:lnTo>
                    <a:pt x="f137" y="f1359"/>
                  </a:lnTo>
                  <a:lnTo>
                    <a:pt x="f137" y="f1356"/>
                  </a:lnTo>
                  <a:close/>
                  <a:moveTo>
                    <a:pt x="f138" y="f1355"/>
                  </a:moveTo>
                  <a:lnTo>
                    <a:pt x="f139" y="f1355"/>
                  </a:lnTo>
                  <a:lnTo>
                    <a:pt x="f140" y="f1356"/>
                  </a:lnTo>
                  <a:lnTo>
                    <a:pt x="f140" y="f1359"/>
                  </a:lnTo>
                  <a:lnTo>
                    <a:pt x="f139" y="f1360"/>
                  </a:lnTo>
                  <a:lnTo>
                    <a:pt x="f138" y="f1360"/>
                  </a:lnTo>
                  <a:lnTo>
                    <a:pt x="f141" y="f1359"/>
                  </a:lnTo>
                  <a:lnTo>
                    <a:pt x="f141" y="f1356"/>
                  </a:lnTo>
                  <a:close/>
                  <a:moveTo>
                    <a:pt x="f118" y="f1361"/>
                  </a:moveTo>
                  <a:lnTo>
                    <a:pt x="f119" y="f1361"/>
                  </a:lnTo>
                  <a:lnTo>
                    <a:pt x="f120" y="f1362"/>
                  </a:lnTo>
                  <a:lnTo>
                    <a:pt x="f120" y="f1363"/>
                  </a:lnTo>
                  <a:lnTo>
                    <a:pt x="f119" y="f1364"/>
                  </a:lnTo>
                  <a:lnTo>
                    <a:pt x="f118" y="f1364"/>
                  </a:lnTo>
                  <a:lnTo>
                    <a:pt x="f121" y="f1363"/>
                  </a:lnTo>
                  <a:lnTo>
                    <a:pt x="f121" y="f1362"/>
                  </a:lnTo>
                  <a:close/>
                  <a:moveTo>
                    <a:pt x="f102" y="f1365"/>
                  </a:moveTo>
                  <a:lnTo>
                    <a:pt x="f103" y="f1365"/>
                  </a:lnTo>
                  <a:lnTo>
                    <a:pt x="f104" y="f1362"/>
                  </a:lnTo>
                  <a:lnTo>
                    <a:pt x="f104" y="f1363"/>
                  </a:lnTo>
                  <a:lnTo>
                    <a:pt x="f103" y="f1364"/>
                  </a:lnTo>
                  <a:lnTo>
                    <a:pt x="f102" y="f1364"/>
                  </a:lnTo>
                  <a:lnTo>
                    <a:pt x="f105" y="f1363"/>
                  </a:lnTo>
                  <a:lnTo>
                    <a:pt x="f105" y="f1362"/>
                  </a:lnTo>
                  <a:close/>
                  <a:moveTo>
                    <a:pt x="f106" y="f1365"/>
                  </a:moveTo>
                  <a:lnTo>
                    <a:pt x="f107" y="f1365"/>
                  </a:lnTo>
                  <a:lnTo>
                    <a:pt x="f108" y="f1362"/>
                  </a:lnTo>
                  <a:lnTo>
                    <a:pt x="f108" y="f1363"/>
                  </a:lnTo>
                  <a:lnTo>
                    <a:pt x="f107" y="f1364"/>
                  </a:lnTo>
                  <a:lnTo>
                    <a:pt x="f106" y="f1364"/>
                  </a:lnTo>
                  <a:lnTo>
                    <a:pt x="f109" y="f1363"/>
                  </a:lnTo>
                  <a:lnTo>
                    <a:pt x="f109" y="f1362"/>
                  </a:lnTo>
                  <a:close/>
                  <a:moveTo>
                    <a:pt x="f110" y="f1365"/>
                  </a:moveTo>
                  <a:lnTo>
                    <a:pt x="f111" y="f1365"/>
                  </a:lnTo>
                  <a:lnTo>
                    <a:pt x="f112" y="f1362"/>
                  </a:lnTo>
                  <a:lnTo>
                    <a:pt x="f112" y="f1363"/>
                  </a:lnTo>
                  <a:lnTo>
                    <a:pt x="f111" y="f1364"/>
                  </a:lnTo>
                  <a:lnTo>
                    <a:pt x="f110" y="f1364"/>
                  </a:lnTo>
                  <a:lnTo>
                    <a:pt x="f113" y="f1363"/>
                  </a:lnTo>
                  <a:lnTo>
                    <a:pt x="f113" y="f1362"/>
                  </a:lnTo>
                  <a:close/>
                  <a:moveTo>
                    <a:pt x="f114" y="f1365"/>
                  </a:moveTo>
                  <a:lnTo>
                    <a:pt x="f115" y="f1365"/>
                  </a:lnTo>
                  <a:lnTo>
                    <a:pt x="f116" y="f1362"/>
                  </a:lnTo>
                  <a:lnTo>
                    <a:pt x="f116" y="f1363"/>
                  </a:lnTo>
                  <a:lnTo>
                    <a:pt x="f115" y="f1364"/>
                  </a:lnTo>
                  <a:lnTo>
                    <a:pt x="f114" y="f1364"/>
                  </a:lnTo>
                  <a:lnTo>
                    <a:pt x="f117" y="f1363"/>
                  </a:lnTo>
                  <a:lnTo>
                    <a:pt x="f117" y="f1362"/>
                  </a:lnTo>
                  <a:close/>
                  <a:moveTo>
                    <a:pt x="f90" y="f1366"/>
                  </a:moveTo>
                  <a:lnTo>
                    <a:pt x="f91" y="f1366"/>
                  </a:lnTo>
                  <a:lnTo>
                    <a:pt x="f92" y="f1367"/>
                  </a:lnTo>
                  <a:lnTo>
                    <a:pt x="f92" y="f1368"/>
                  </a:lnTo>
                  <a:lnTo>
                    <a:pt x="f91" y="f1369"/>
                  </a:lnTo>
                  <a:lnTo>
                    <a:pt x="f90" y="f1369"/>
                  </a:lnTo>
                  <a:lnTo>
                    <a:pt x="f93" y="f1368"/>
                  </a:lnTo>
                  <a:lnTo>
                    <a:pt x="f93" y="f1367"/>
                  </a:lnTo>
                  <a:close/>
                  <a:moveTo>
                    <a:pt x="f94" y="f1366"/>
                  </a:moveTo>
                  <a:lnTo>
                    <a:pt x="f95" y="f1366"/>
                  </a:lnTo>
                  <a:lnTo>
                    <a:pt x="f96" y="f1367"/>
                  </a:lnTo>
                  <a:lnTo>
                    <a:pt x="f96" y="f1370"/>
                  </a:lnTo>
                  <a:lnTo>
                    <a:pt x="f95" y="f1371"/>
                  </a:lnTo>
                  <a:lnTo>
                    <a:pt x="f94" y="f1371"/>
                  </a:lnTo>
                  <a:lnTo>
                    <a:pt x="f97" y="f1370"/>
                  </a:lnTo>
                  <a:lnTo>
                    <a:pt x="f97" y="f1367"/>
                  </a:lnTo>
                  <a:close/>
                  <a:moveTo>
                    <a:pt x="f98" y="f1366"/>
                  </a:moveTo>
                  <a:lnTo>
                    <a:pt x="f99" y="f1366"/>
                  </a:lnTo>
                  <a:lnTo>
                    <a:pt x="f100" y="f1367"/>
                  </a:lnTo>
                  <a:lnTo>
                    <a:pt x="f100" y="f1370"/>
                  </a:lnTo>
                  <a:lnTo>
                    <a:pt x="f99" y="f1371"/>
                  </a:lnTo>
                  <a:lnTo>
                    <a:pt x="f98" y="f1371"/>
                  </a:lnTo>
                  <a:lnTo>
                    <a:pt x="f101" y="f1370"/>
                  </a:lnTo>
                  <a:lnTo>
                    <a:pt x="f101" y="f1367"/>
                  </a:lnTo>
                  <a:close/>
                  <a:moveTo>
                    <a:pt x="f82" y="f1372"/>
                  </a:moveTo>
                  <a:lnTo>
                    <a:pt x="f83" y="f1372"/>
                  </a:lnTo>
                  <a:lnTo>
                    <a:pt x="f84" y="f1373"/>
                  </a:lnTo>
                  <a:lnTo>
                    <a:pt x="f84" y="f1368"/>
                  </a:lnTo>
                  <a:lnTo>
                    <a:pt x="f83" y="f1369"/>
                  </a:lnTo>
                  <a:lnTo>
                    <a:pt x="f82" y="f1369"/>
                  </a:lnTo>
                  <a:lnTo>
                    <a:pt x="f85" y="f1368"/>
                  </a:lnTo>
                  <a:lnTo>
                    <a:pt x="f85" y="f1373"/>
                  </a:lnTo>
                  <a:close/>
                  <a:moveTo>
                    <a:pt x="f86" y="f1372"/>
                  </a:moveTo>
                  <a:lnTo>
                    <a:pt x="f87" y="f1372"/>
                  </a:lnTo>
                  <a:lnTo>
                    <a:pt x="f88" y="f1373"/>
                  </a:lnTo>
                  <a:lnTo>
                    <a:pt x="f88" y="f1368"/>
                  </a:lnTo>
                  <a:lnTo>
                    <a:pt x="f87" y="f1369"/>
                  </a:lnTo>
                  <a:lnTo>
                    <a:pt x="f86" y="f1369"/>
                  </a:lnTo>
                  <a:lnTo>
                    <a:pt x="f89" y="f1368"/>
                  </a:lnTo>
                  <a:lnTo>
                    <a:pt x="f89" y="f1373"/>
                  </a:lnTo>
                  <a:close/>
                  <a:moveTo>
                    <a:pt x="f62" y="f1374"/>
                  </a:moveTo>
                  <a:lnTo>
                    <a:pt x="f63" y="f1374"/>
                  </a:lnTo>
                  <a:lnTo>
                    <a:pt x="f64" y="f1375"/>
                  </a:lnTo>
                  <a:lnTo>
                    <a:pt x="f64" y="f1376"/>
                  </a:lnTo>
                  <a:lnTo>
                    <a:pt x="f63" y="f1377"/>
                  </a:lnTo>
                  <a:lnTo>
                    <a:pt x="f62" y="f1377"/>
                  </a:lnTo>
                  <a:lnTo>
                    <a:pt x="f65" y="f1376"/>
                  </a:lnTo>
                  <a:lnTo>
                    <a:pt x="f65" y="f1375"/>
                  </a:lnTo>
                  <a:close/>
                  <a:moveTo>
                    <a:pt x="f66" y="f1374"/>
                  </a:moveTo>
                  <a:lnTo>
                    <a:pt x="f67" y="f1374"/>
                  </a:lnTo>
                  <a:lnTo>
                    <a:pt x="f68" y="f1375"/>
                  </a:lnTo>
                  <a:lnTo>
                    <a:pt x="f68" y="f1378"/>
                  </a:lnTo>
                  <a:lnTo>
                    <a:pt x="f67" y="f1379"/>
                  </a:lnTo>
                  <a:lnTo>
                    <a:pt x="f66" y="f1379"/>
                  </a:lnTo>
                  <a:lnTo>
                    <a:pt x="f69" y="f1378"/>
                  </a:lnTo>
                  <a:lnTo>
                    <a:pt x="f69" y="f1375"/>
                  </a:lnTo>
                  <a:close/>
                  <a:moveTo>
                    <a:pt x="f70" y="f1374"/>
                  </a:moveTo>
                  <a:lnTo>
                    <a:pt x="f71" y="f1374"/>
                  </a:lnTo>
                  <a:lnTo>
                    <a:pt x="f72" y="f1375"/>
                  </a:lnTo>
                  <a:lnTo>
                    <a:pt x="f72" y="f1378"/>
                  </a:lnTo>
                  <a:lnTo>
                    <a:pt x="f71" y="f1379"/>
                  </a:lnTo>
                  <a:lnTo>
                    <a:pt x="f70" y="f1379"/>
                  </a:lnTo>
                  <a:lnTo>
                    <a:pt x="f73" y="f1378"/>
                  </a:lnTo>
                  <a:lnTo>
                    <a:pt x="f73" y="f1375"/>
                  </a:lnTo>
                  <a:close/>
                  <a:moveTo>
                    <a:pt x="f74" y="f1374"/>
                  </a:moveTo>
                  <a:lnTo>
                    <a:pt x="f75" y="f1374"/>
                  </a:lnTo>
                  <a:lnTo>
                    <a:pt x="f76" y="f1375"/>
                  </a:lnTo>
                  <a:lnTo>
                    <a:pt x="f76" y="f1378"/>
                  </a:lnTo>
                  <a:lnTo>
                    <a:pt x="f75" y="f1379"/>
                  </a:lnTo>
                  <a:lnTo>
                    <a:pt x="f74" y="f1379"/>
                  </a:lnTo>
                  <a:lnTo>
                    <a:pt x="f77" y="f1378"/>
                  </a:lnTo>
                  <a:lnTo>
                    <a:pt x="f77" y="f1375"/>
                  </a:lnTo>
                  <a:close/>
                  <a:moveTo>
                    <a:pt x="f78" y="f1374"/>
                  </a:moveTo>
                  <a:lnTo>
                    <a:pt x="f79" y="f1374"/>
                  </a:lnTo>
                  <a:lnTo>
                    <a:pt x="f80" y="f1375"/>
                  </a:lnTo>
                  <a:lnTo>
                    <a:pt x="f80" y="f1378"/>
                  </a:lnTo>
                  <a:lnTo>
                    <a:pt x="f79" y="f1379"/>
                  </a:lnTo>
                  <a:lnTo>
                    <a:pt x="f78" y="f1379"/>
                  </a:lnTo>
                  <a:lnTo>
                    <a:pt x="f81" y="f1378"/>
                  </a:lnTo>
                  <a:lnTo>
                    <a:pt x="f81" y="f1375"/>
                  </a:lnTo>
                  <a:close/>
                  <a:moveTo>
                    <a:pt x="f58" y="f1380"/>
                  </a:moveTo>
                  <a:lnTo>
                    <a:pt x="f59" y="f1380"/>
                  </a:lnTo>
                  <a:lnTo>
                    <a:pt x="f60" y="f1381"/>
                  </a:lnTo>
                  <a:lnTo>
                    <a:pt x="f60" y="f1382"/>
                  </a:lnTo>
                  <a:lnTo>
                    <a:pt x="f59" y="f1383"/>
                  </a:lnTo>
                  <a:lnTo>
                    <a:pt x="f58" y="f1383"/>
                  </a:lnTo>
                  <a:lnTo>
                    <a:pt x="f61" y="f1382"/>
                  </a:lnTo>
                  <a:lnTo>
                    <a:pt x="f61" y="f1381"/>
                  </a:lnTo>
                  <a:close/>
                  <a:moveTo>
                    <a:pt x="f42" y="f1384"/>
                  </a:moveTo>
                  <a:lnTo>
                    <a:pt x="f43" y="f1384"/>
                  </a:lnTo>
                  <a:lnTo>
                    <a:pt x="f44" y="f1381"/>
                  </a:lnTo>
                  <a:lnTo>
                    <a:pt x="f44" y="f1382"/>
                  </a:lnTo>
                  <a:lnTo>
                    <a:pt x="f43" y="f1383"/>
                  </a:lnTo>
                  <a:lnTo>
                    <a:pt x="f42" y="f1383"/>
                  </a:lnTo>
                  <a:lnTo>
                    <a:pt x="f45" y="f1382"/>
                  </a:lnTo>
                  <a:lnTo>
                    <a:pt x="f45" y="f1381"/>
                  </a:lnTo>
                  <a:close/>
                  <a:moveTo>
                    <a:pt x="f46" y="f1384"/>
                  </a:moveTo>
                  <a:lnTo>
                    <a:pt x="f47" y="f1384"/>
                  </a:lnTo>
                  <a:lnTo>
                    <a:pt x="f48" y="f1381"/>
                  </a:lnTo>
                  <a:lnTo>
                    <a:pt x="f48" y="f1382"/>
                  </a:lnTo>
                  <a:lnTo>
                    <a:pt x="f47" y="f1383"/>
                  </a:lnTo>
                  <a:lnTo>
                    <a:pt x="f46" y="f1383"/>
                  </a:lnTo>
                  <a:lnTo>
                    <a:pt x="f49" y="f1382"/>
                  </a:lnTo>
                  <a:lnTo>
                    <a:pt x="f49" y="f1381"/>
                  </a:lnTo>
                  <a:close/>
                  <a:moveTo>
                    <a:pt x="f50" y="f1384"/>
                  </a:moveTo>
                  <a:lnTo>
                    <a:pt x="f51" y="f1384"/>
                  </a:lnTo>
                  <a:lnTo>
                    <a:pt x="f52" y="f1381"/>
                  </a:lnTo>
                  <a:lnTo>
                    <a:pt x="f52" y="f1382"/>
                  </a:lnTo>
                  <a:lnTo>
                    <a:pt x="f51" y="f1383"/>
                  </a:lnTo>
                  <a:lnTo>
                    <a:pt x="f50" y="f1383"/>
                  </a:lnTo>
                  <a:lnTo>
                    <a:pt x="f53" y="f1382"/>
                  </a:lnTo>
                  <a:lnTo>
                    <a:pt x="f53" y="f1381"/>
                  </a:lnTo>
                  <a:close/>
                  <a:moveTo>
                    <a:pt x="f54" y="f1384"/>
                  </a:moveTo>
                  <a:lnTo>
                    <a:pt x="f55" y="f1384"/>
                  </a:lnTo>
                  <a:lnTo>
                    <a:pt x="f56" y="f1381"/>
                  </a:lnTo>
                  <a:lnTo>
                    <a:pt x="f56" y="f1382"/>
                  </a:lnTo>
                  <a:lnTo>
                    <a:pt x="f55" y="f1383"/>
                  </a:lnTo>
                  <a:lnTo>
                    <a:pt x="f54" y="f1383"/>
                  </a:lnTo>
                  <a:lnTo>
                    <a:pt x="f57" y="f1382"/>
                  </a:lnTo>
                  <a:lnTo>
                    <a:pt x="f57" y="f1381"/>
                  </a:lnTo>
                  <a:close/>
                  <a:moveTo>
                    <a:pt x="f1385" y="f1384"/>
                  </a:moveTo>
                  <a:lnTo>
                    <a:pt x="f1313" y="f1384"/>
                  </a:lnTo>
                  <a:lnTo>
                    <a:pt x="f1386" y="f1381"/>
                  </a:lnTo>
                  <a:lnTo>
                    <a:pt x="f1386" y="f1382"/>
                  </a:lnTo>
                  <a:lnTo>
                    <a:pt x="f1313" y="f1383"/>
                  </a:lnTo>
                  <a:lnTo>
                    <a:pt x="f1385" y="f1383"/>
                  </a:lnTo>
                  <a:lnTo>
                    <a:pt x="f1387" y="f1382"/>
                  </a:lnTo>
                  <a:lnTo>
                    <a:pt x="f1387" y="f1381"/>
                  </a:lnTo>
                  <a:close/>
                  <a:moveTo>
                    <a:pt x="f1388" y="f1384"/>
                  </a:moveTo>
                  <a:lnTo>
                    <a:pt x="f1303" y="f1384"/>
                  </a:lnTo>
                  <a:lnTo>
                    <a:pt x="f1389" y="f1390"/>
                  </a:lnTo>
                  <a:lnTo>
                    <a:pt x="f1389" y="f1391"/>
                  </a:lnTo>
                  <a:lnTo>
                    <a:pt x="f1303" y="f1392"/>
                  </a:lnTo>
                  <a:lnTo>
                    <a:pt x="f1388" y="f1392"/>
                  </a:lnTo>
                  <a:lnTo>
                    <a:pt x="f1393" y="f1391"/>
                  </a:lnTo>
                  <a:lnTo>
                    <a:pt x="f1393" y="f1390"/>
                  </a:lnTo>
                  <a:close/>
                  <a:moveTo>
                    <a:pt x="f1394" y="f1384"/>
                  </a:moveTo>
                  <a:lnTo>
                    <a:pt x="f1309" y="f1384"/>
                  </a:lnTo>
                  <a:lnTo>
                    <a:pt x="f1395" y="f1390"/>
                  </a:lnTo>
                  <a:lnTo>
                    <a:pt x="f1395" y="f1391"/>
                  </a:lnTo>
                  <a:lnTo>
                    <a:pt x="f1309" y="f1392"/>
                  </a:lnTo>
                  <a:lnTo>
                    <a:pt x="f1394" y="f1392"/>
                  </a:lnTo>
                  <a:lnTo>
                    <a:pt x="f1396" y="f1391"/>
                  </a:lnTo>
                  <a:lnTo>
                    <a:pt x="f1396" y="f1390"/>
                  </a:lnTo>
                  <a:close/>
                  <a:moveTo>
                    <a:pt x="f1312" y="f1384"/>
                  </a:moveTo>
                  <a:lnTo>
                    <a:pt x="f1397" y="f1384"/>
                  </a:lnTo>
                  <a:lnTo>
                    <a:pt x="f1398" y="f1381"/>
                  </a:lnTo>
                  <a:lnTo>
                    <a:pt x="f1398" y="f1382"/>
                  </a:lnTo>
                  <a:lnTo>
                    <a:pt x="f1397" y="f1392"/>
                  </a:lnTo>
                  <a:lnTo>
                    <a:pt x="f1312" y="f1392"/>
                  </a:lnTo>
                  <a:lnTo>
                    <a:pt x="f1399" y="f1382"/>
                  </a:lnTo>
                  <a:lnTo>
                    <a:pt x="f1399" y="f1381"/>
                  </a:lnTo>
                  <a:close/>
                  <a:moveTo>
                    <a:pt x="f1269" y="f1400"/>
                  </a:moveTo>
                  <a:lnTo>
                    <a:pt x="f1270" y="f1400"/>
                  </a:lnTo>
                  <a:lnTo>
                    <a:pt x="f1115" y="f1401"/>
                  </a:lnTo>
                  <a:lnTo>
                    <a:pt x="f1115" y="f608"/>
                  </a:lnTo>
                  <a:lnTo>
                    <a:pt x="f1270" y="f1402"/>
                  </a:lnTo>
                  <a:lnTo>
                    <a:pt x="f1269" y="f1402"/>
                  </a:lnTo>
                  <a:lnTo>
                    <a:pt x="f1403" y="f608"/>
                  </a:lnTo>
                  <a:lnTo>
                    <a:pt x="f1403" y="f1401"/>
                  </a:lnTo>
                  <a:close/>
                  <a:moveTo>
                    <a:pt x="f35" y="f1404"/>
                  </a:moveTo>
                  <a:lnTo>
                    <a:pt x="f37" y="f1404"/>
                  </a:lnTo>
                  <a:lnTo>
                    <a:pt x="f6" y="f1405"/>
                  </a:lnTo>
                  <a:lnTo>
                    <a:pt x="f6" y="f521"/>
                  </a:lnTo>
                  <a:lnTo>
                    <a:pt x="f37" y="f1406"/>
                  </a:lnTo>
                  <a:lnTo>
                    <a:pt x="f35" y="f1406"/>
                  </a:lnTo>
                  <a:lnTo>
                    <a:pt x="f41" y="f521"/>
                  </a:lnTo>
                  <a:lnTo>
                    <a:pt x="f41" y="f1405"/>
                  </a:lnTo>
                  <a:close/>
                  <a:moveTo>
                    <a:pt x="f1328" y="f1407"/>
                  </a:moveTo>
                  <a:lnTo>
                    <a:pt x="f1273" y="f1407"/>
                  </a:lnTo>
                  <a:lnTo>
                    <a:pt x="f1186" y="f1405"/>
                  </a:lnTo>
                  <a:lnTo>
                    <a:pt x="f1186" y="f521"/>
                  </a:lnTo>
                  <a:lnTo>
                    <a:pt x="f1273" y="f1406"/>
                  </a:lnTo>
                  <a:lnTo>
                    <a:pt x="f1328" y="f1406"/>
                  </a:lnTo>
                  <a:lnTo>
                    <a:pt x="f1121" y="f521"/>
                  </a:lnTo>
                  <a:lnTo>
                    <a:pt x="f1121" y="f1405"/>
                  </a:lnTo>
                  <a:close/>
                  <a:moveTo>
                    <a:pt x="f1195" y="f5"/>
                  </a:moveTo>
                  <a:lnTo>
                    <a:pt x="f1180" y="f5"/>
                  </a:lnTo>
                  <a:lnTo>
                    <a:pt x="f1337" y="f1408"/>
                  </a:lnTo>
                  <a:lnTo>
                    <a:pt x="f1337" y="f1409"/>
                  </a:lnTo>
                  <a:lnTo>
                    <a:pt x="f1180" y="f176"/>
                  </a:lnTo>
                  <a:lnTo>
                    <a:pt x="f1195" y="f176"/>
                  </a:lnTo>
                  <a:lnTo>
                    <a:pt x="f1410" y="f1409"/>
                  </a:lnTo>
                  <a:lnTo>
                    <a:pt x="f1410" y="f1408"/>
                  </a:lnTo>
                  <a:close/>
                  <a:moveTo>
                    <a:pt x="f1411" y="f5"/>
                  </a:moveTo>
                  <a:lnTo>
                    <a:pt x="f1341" y="f5"/>
                  </a:lnTo>
                  <a:lnTo>
                    <a:pt x="f1342" y="f1408"/>
                  </a:lnTo>
                  <a:lnTo>
                    <a:pt x="f1342" y="f1409"/>
                  </a:lnTo>
                  <a:lnTo>
                    <a:pt x="f1341" y="f176"/>
                  </a:lnTo>
                  <a:lnTo>
                    <a:pt x="f1411" y="f176"/>
                  </a:lnTo>
                  <a:lnTo>
                    <a:pt x="f1412" y="f1409"/>
                  </a:lnTo>
                  <a:lnTo>
                    <a:pt x="f1412" y="f1408"/>
                  </a:lnTo>
                  <a:close/>
                  <a:moveTo>
                    <a:pt x="f1413" y="f5"/>
                  </a:moveTo>
                  <a:lnTo>
                    <a:pt x="f1343" y="f5"/>
                  </a:lnTo>
                  <a:lnTo>
                    <a:pt x="f1414" y="f1408"/>
                  </a:lnTo>
                  <a:lnTo>
                    <a:pt x="f1414" y="f1409"/>
                  </a:lnTo>
                  <a:lnTo>
                    <a:pt x="f1343" y="f176"/>
                  </a:lnTo>
                  <a:lnTo>
                    <a:pt x="f1413" y="f176"/>
                  </a:lnTo>
                  <a:lnTo>
                    <a:pt x="f1345" y="f1409"/>
                  </a:lnTo>
                  <a:lnTo>
                    <a:pt x="f1345" y="f1408"/>
                  </a:lnTo>
                  <a:close/>
                  <a:moveTo>
                    <a:pt x="f1408" y="f5"/>
                  </a:moveTo>
                  <a:lnTo>
                    <a:pt x="f1346" y="f5"/>
                  </a:lnTo>
                  <a:lnTo>
                    <a:pt x="f1347" y="f1408"/>
                  </a:lnTo>
                  <a:lnTo>
                    <a:pt x="f1347" y="f1409"/>
                  </a:lnTo>
                  <a:lnTo>
                    <a:pt x="f1346" y="f176"/>
                  </a:lnTo>
                  <a:lnTo>
                    <a:pt x="f1408" y="f176"/>
                  </a:lnTo>
                  <a:lnTo>
                    <a:pt x="f1415" y="f1409"/>
                  </a:lnTo>
                  <a:lnTo>
                    <a:pt x="f1415" y="f1408"/>
                  </a:lnTo>
                  <a:close/>
                </a:path>
              </a:pathLst>
            </a:custGeom>
            <a:solidFill>
              <a:srgbClr val="30373B">
                <a:alpha val="29998"/>
              </a:srgbClr>
            </a:solidFill>
            <a:ln cap="flat">
              <a:noFill/>
              <a:prstDash val="solid"/>
            </a:ln>
          </p:spPr>
          <p:txBody>
            <a:bodyPr vert="horz" wrap="square" lIns="0" tIns="0" rIns="0" bIns="0" anchor="t" anchorCtr="0" compatLnSpc="1">
              <a:noAutofit/>
            </a:bodyPr>
            <a:lstStyle/>
            <a:p>
              <a:pPr marL="0" marR="0" lvl="0" indent="0" algn="l" defTabSz="557213" rtl="0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450"/>
                </a:spcAft>
                <a:buSzPct val="100000"/>
                <a:buFont typeface="Arial" pitchFamily="34"/>
                <a:buChar char="​"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GB" sz="750" b="0" i="0" u="none" strike="noStrike" kern="1200" cap="none" spc="0" baseline="0">
                <a:solidFill>
                  <a:srgbClr val="1F2023"/>
                </a:solidFill>
                <a:uFillTx/>
                <a:latin typeface="Arial"/>
              </a:endParaRPr>
            </a:p>
          </p:txBody>
        </p:sp>
        <p:sp>
          <p:nvSpPr>
            <p:cNvPr id="6" name="TextBox 23">
              <a:extLst>
                <a:ext uri="{FF2B5EF4-FFF2-40B4-BE49-F238E27FC236}">
                  <a16:creationId xmlns:a16="http://schemas.microsoft.com/office/drawing/2014/main" id="{0D183876-FF5B-43CB-AEEA-41AC2724710D}"/>
                </a:ext>
              </a:extLst>
            </p:cNvPr>
            <p:cNvSpPr txBox="1"/>
            <p:nvPr/>
          </p:nvSpPr>
          <p:spPr>
            <a:xfrm>
              <a:off x="9276002" y="0"/>
              <a:ext cx="630003" cy="1619996"/>
            </a:xfrm>
            <a:prstGeom prst="rect">
              <a:avLst/>
            </a:prstGeom>
            <a:solidFill>
              <a:srgbClr val="FFFFFF"/>
            </a:solidFill>
            <a:ln cap="flat">
              <a:noFill/>
            </a:ln>
          </p:spPr>
          <p:txBody>
            <a:bodyPr vert="horz" wrap="square" lIns="107999" tIns="107999" rIns="107999" bIns="107999" anchor="t" anchorCtr="0" compatLnSpc="1">
              <a:noAutofit/>
            </a:bodyPr>
            <a:lstStyle/>
            <a:p>
              <a:pPr marL="0" marR="0" lvl="1" indent="0" algn="l" defTabSz="557213" rtl="0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45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e-DE" sz="826" b="0" i="0" u="none" strike="noStrike" kern="1200" cap="none" spc="0" baseline="0">
                <a:solidFill>
                  <a:srgbClr val="2F363B"/>
                </a:solidFill>
                <a:uFillTx/>
                <a:latin typeface="Arial" pitchFamily="34"/>
              </a:endParaRPr>
            </a:p>
          </p:txBody>
        </p:sp>
      </p:grpSp>
      <p:sp>
        <p:nvSpPr>
          <p:cNvPr id="7" name="TextBox 21">
            <a:extLst>
              <a:ext uri="{FF2B5EF4-FFF2-40B4-BE49-F238E27FC236}">
                <a16:creationId xmlns:a16="http://schemas.microsoft.com/office/drawing/2014/main" id="{3CCE417E-7518-48F2-A437-A6BFFCE07AB9}"/>
              </a:ext>
            </a:extLst>
          </p:cNvPr>
          <p:cNvSpPr txBox="1"/>
          <p:nvPr/>
        </p:nvSpPr>
        <p:spPr>
          <a:xfrm>
            <a:off x="0" y="721516"/>
            <a:ext cx="7177848" cy="4421984"/>
          </a:xfrm>
          <a:prstGeom prst="rect">
            <a:avLst/>
          </a:prstGeom>
          <a:solidFill>
            <a:srgbClr val="E0BCA6"/>
          </a:solidFill>
          <a:ln cap="flat">
            <a:noFill/>
          </a:ln>
        </p:spPr>
        <p:txBody>
          <a:bodyPr vert="horz" wrap="square" lIns="80999" tIns="80999" rIns="80999" bIns="80999" anchor="t" anchorCtr="0" compatLnSpc="1">
            <a:noAutofit/>
          </a:bodyPr>
          <a:lstStyle/>
          <a:p>
            <a:pPr marL="0" marR="0" lvl="1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e-DE" sz="826" b="0" i="0" u="none" strike="noStrike" kern="1200" cap="none" spc="0" baseline="0">
              <a:solidFill>
                <a:srgbClr val="2F363B"/>
              </a:solidFill>
              <a:uFillTx/>
              <a:latin typeface="Arial" pitchFamily="34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3D64D08-05D5-4894-A392-5C5F6FF9363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97000" y="1615135"/>
            <a:ext cx="5815381" cy="1619996"/>
          </a:xfrm>
        </p:spPr>
        <p:txBody>
          <a:bodyPr/>
          <a:lstStyle>
            <a:lvl1pPr>
              <a:lnSpc>
                <a:spcPct val="82000"/>
              </a:lnSpc>
              <a:defRPr lang="en-US" sz="4500" cap="all">
                <a:latin typeface="Impact" pitchFamily="34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ED77BD5-BA15-4B3E-AF4B-CB242B7306C6}"/>
              </a:ext>
            </a:extLst>
          </p:cNvPr>
          <p:cNvSpPr txBox="1">
            <a:spLocks noGrp="1"/>
          </p:cNvSpPr>
          <p:nvPr>
            <p:ph type="subTitle" idx="4294967295"/>
          </p:nvPr>
        </p:nvSpPr>
        <p:spPr>
          <a:xfrm>
            <a:off x="497000" y="1142639"/>
            <a:ext cx="5815381" cy="320138"/>
          </a:xfrm>
        </p:spPr>
        <p:txBody>
          <a:bodyPr rIns="0"/>
          <a:lstStyle>
            <a:lvl1pPr>
              <a:defRPr lang="en-GB" sz="1950"/>
            </a:lvl1pPr>
          </a:lstStyle>
          <a:p>
            <a:pPr lvl="0"/>
            <a:r>
              <a:rPr lang="en-GB"/>
              <a:t>Click to edit master subtitle style</a:t>
            </a:r>
          </a:p>
        </p:txBody>
      </p:sp>
      <p:sp>
        <p:nvSpPr>
          <p:cNvPr id="10" name="Freeform: Shape 11">
            <a:extLst>
              <a:ext uri="{FF2B5EF4-FFF2-40B4-BE49-F238E27FC236}">
                <a16:creationId xmlns:a16="http://schemas.microsoft.com/office/drawing/2014/main" id="{C876DF33-95B2-4B3C-B5C1-89EAF8EB0E59}"/>
              </a:ext>
            </a:extLst>
          </p:cNvPr>
          <p:cNvSpPr/>
          <p:nvPr/>
        </p:nvSpPr>
        <p:spPr>
          <a:xfrm rot="5400013">
            <a:off x="8288464" y="566493"/>
            <a:ext cx="944168" cy="265744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9905999"/>
              <a:gd name="f7" fmla="val 2265361"/>
              <a:gd name="f8" fmla="val 6778122"/>
              <a:gd name="f9" fmla="val 2222531"/>
              <a:gd name="f10" fmla="val 7135812"/>
              <a:gd name="f11" fmla="val 6449676"/>
              <a:gd name="f12" fmla="val 1769427"/>
              <a:gd name="f13" fmla="val 1965546"/>
              <a:gd name="f14" fmla="val 6575655"/>
              <a:gd name="f15" fmla="val 6643144"/>
              <a:gd name="f16" fmla="val 6679138"/>
              <a:gd name="f17" fmla="val 1933987"/>
              <a:gd name="f18" fmla="val 1864105"/>
              <a:gd name="f19" fmla="val 1800986"/>
              <a:gd name="f20" fmla="val 6638645"/>
              <a:gd name="f21" fmla="val 5021164"/>
              <a:gd name="f22" fmla="val 1949767"/>
              <a:gd name="f23" fmla="val 5158391"/>
              <a:gd name="f24" fmla="val 5219131"/>
              <a:gd name="f25" fmla="val 5261874"/>
              <a:gd name="f26" fmla="val 1924970"/>
              <a:gd name="f27" fmla="val 1859597"/>
              <a:gd name="f28" fmla="val 1794223"/>
              <a:gd name="f29" fmla="val 5597068"/>
              <a:gd name="f30" fmla="val 1762664"/>
              <a:gd name="f31" fmla="val 5563324"/>
              <a:gd name="f32" fmla="val 5529579"/>
              <a:gd name="f33" fmla="val 1776189"/>
              <a:gd name="f34" fmla="val 5504834"/>
              <a:gd name="f35" fmla="val 5462091"/>
              <a:gd name="f36" fmla="val 1843817"/>
              <a:gd name="f37" fmla="val 5459841"/>
              <a:gd name="f38" fmla="val 1913699"/>
              <a:gd name="f39" fmla="val 1967800"/>
              <a:gd name="f40" fmla="val 2019648"/>
              <a:gd name="f41" fmla="val 2089530"/>
              <a:gd name="f42" fmla="val 2132361"/>
              <a:gd name="f43" fmla="val 2159412"/>
              <a:gd name="f44" fmla="val 2170683"/>
              <a:gd name="f45" fmla="val 5633062"/>
              <a:gd name="f46" fmla="val 5666807"/>
              <a:gd name="f47" fmla="val 5691552"/>
              <a:gd name="f48" fmla="val 5732046"/>
              <a:gd name="f49" fmla="val 5734295"/>
              <a:gd name="f50" fmla="val 654642"/>
              <a:gd name="f51" fmla="val 618647"/>
              <a:gd name="f52" fmla="val 584903"/>
              <a:gd name="f53" fmla="val 560157"/>
              <a:gd name="f54" fmla="val 519664"/>
              <a:gd name="f55" fmla="val 517414"/>
              <a:gd name="f56" fmla="val 688386"/>
              <a:gd name="f57" fmla="val 722130"/>
              <a:gd name="f58" fmla="val 746876"/>
              <a:gd name="f59" fmla="val 789619"/>
              <a:gd name="f60" fmla="val 791868"/>
              <a:gd name="f61" fmla="val 6386687"/>
              <a:gd name="f62" fmla="val 1710816"/>
              <a:gd name="f63" fmla="val 6636395"/>
              <a:gd name="f64" fmla="val 1726596"/>
              <a:gd name="f65" fmla="val 6706134"/>
              <a:gd name="f66" fmla="val 1755901"/>
              <a:gd name="f67" fmla="val 6730880"/>
              <a:gd name="f68" fmla="val 1782952"/>
              <a:gd name="f69" fmla="val 6744377"/>
              <a:gd name="f70" fmla="val 1821274"/>
              <a:gd name="f71" fmla="val 1915953"/>
              <a:gd name="f72" fmla="val 1954275"/>
              <a:gd name="f73" fmla="val 6701634"/>
              <a:gd name="f74" fmla="val 1981326"/>
              <a:gd name="f75" fmla="val 6674639"/>
              <a:gd name="f76" fmla="val 2008377"/>
              <a:gd name="f77" fmla="val 6634146"/>
              <a:gd name="f78" fmla="val 2024157"/>
              <a:gd name="f79" fmla="val 6577905"/>
              <a:gd name="f80" fmla="val 5889520"/>
              <a:gd name="f81" fmla="val 5954759"/>
              <a:gd name="f82" fmla="val 2035428"/>
              <a:gd name="f83" fmla="val 2118835"/>
              <a:gd name="f84" fmla="val 5988503"/>
              <a:gd name="f85" fmla="val 2172937"/>
              <a:gd name="f86" fmla="val 6076239"/>
              <a:gd name="f87" fmla="val 6166224"/>
              <a:gd name="f88" fmla="val 6199968"/>
              <a:gd name="f89" fmla="val 6262957"/>
              <a:gd name="f90" fmla="val 2163920"/>
              <a:gd name="f91" fmla="val 6190969"/>
              <a:gd name="f92" fmla="val 2231547"/>
              <a:gd name="f93" fmla="val 5961508"/>
              <a:gd name="f94" fmla="val 4958174"/>
              <a:gd name="f95" fmla="val 5259624"/>
              <a:gd name="f96" fmla="val 5288869"/>
              <a:gd name="f97" fmla="val 5313615"/>
              <a:gd name="f98" fmla="val 5329363"/>
              <a:gd name="f99" fmla="val 1814512"/>
              <a:gd name="f100" fmla="val 1904682"/>
              <a:gd name="f101" fmla="val 1936241"/>
              <a:gd name="f102" fmla="val 1961038"/>
              <a:gd name="f103" fmla="val 5275372"/>
              <a:gd name="f104" fmla="val 1976817"/>
              <a:gd name="f105" fmla="val 5252875"/>
              <a:gd name="f106" fmla="val 1990343"/>
              <a:gd name="f107" fmla="val 5228130"/>
              <a:gd name="f108" fmla="val 1997106"/>
              <a:gd name="f109" fmla="val 5331612"/>
              <a:gd name="f110" fmla="val 5162890"/>
              <a:gd name="f111" fmla="val 2010631"/>
              <a:gd name="f112" fmla="val 3309199"/>
              <a:gd name="f113" fmla="val 3381187"/>
              <a:gd name="f114" fmla="val 3633145"/>
              <a:gd name="f115" fmla="val 2123344"/>
              <a:gd name="f116" fmla="val 3693885"/>
              <a:gd name="f117" fmla="val 3621897"/>
              <a:gd name="f118" fmla="val 3372188"/>
              <a:gd name="f119" fmla="val 1810003"/>
              <a:gd name="f120" fmla="val 3106732"/>
              <a:gd name="f121" fmla="val 3171971"/>
              <a:gd name="f122" fmla="val 2663557"/>
              <a:gd name="f123" fmla="val 3032495"/>
              <a:gd name="f124" fmla="val 2879521"/>
              <a:gd name="f125" fmla="val 2814282"/>
              <a:gd name="f126" fmla="val 2416099"/>
              <a:gd name="f127" fmla="val 2481338"/>
              <a:gd name="f128" fmla="val 2726547"/>
              <a:gd name="f129" fmla="val 1918931"/>
              <a:gd name="f130" fmla="val 1984171"/>
              <a:gd name="f131" fmla="val 2017916"/>
              <a:gd name="f132" fmla="val 2105651"/>
              <a:gd name="f133" fmla="val 2195636"/>
              <a:gd name="f134" fmla="val 2229380"/>
              <a:gd name="f135" fmla="val 2292369"/>
              <a:gd name="f136" fmla="val 2220382"/>
              <a:gd name="f137" fmla="val 1990920"/>
              <a:gd name="f138" fmla="val 960591"/>
              <a:gd name="f139" fmla="val 1032578"/>
              <a:gd name="f140" fmla="val 1284537"/>
              <a:gd name="f141" fmla="val 1345276"/>
              <a:gd name="f142" fmla="val 1273289"/>
              <a:gd name="f143" fmla="val 1023580"/>
              <a:gd name="f144" fmla="val 1701799"/>
              <a:gd name="f145" fmla="val 5648810"/>
              <a:gd name="f146" fmla="val 5698301"/>
              <a:gd name="f147" fmla="val 1719833"/>
              <a:gd name="f148" fmla="val 5736545"/>
              <a:gd name="f149" fmla="val 5790536"/>
              <a:gd name="f150" fmla="val 5801784"/>
              <a:gd name="f151" fmla="val 1884393"/>
              <a:gd name="f152" fmla="val 2048953"/>
              <a:gd name="f153" fmla="val 2177446"/>
              <a:gd name="f154" fmla="val 2213514"/>
              <a:gd name="f155" fmla="val 2233802"/>
              <a:gd name="f156" fmla="val 5547576"/>
              <a:gd name="f157" fmla="val 5495835"/>
              <a:gd name="f158" fmla="val 5403600"/>
              <a:gd name="f159" fmla="val 5394602"/>
              <a:gd name="f160" fmla="val 4645477"/>
              <a:gd name="f161" fmla="val 4701717"/>
              <a:gd name="f162" fmla="val 4755708"/>
              <a:gd name="f163" fmla="val 1722087"/>
              <a:gd name="f164" fmla="val 4791702"/>
              <a:gd name="f165" fmla="val 1758155"/>
              <a:gd name="f166" fmla="val 4816448"/>
              <a:gd name="f167" fmla="val 1785206"/>
              <a:gd name="f168" fmla="val 4832195"/>
              <a:gd name="f169" fmla="val 1816766"/>
              <a:gd name="f170" fmla="val 4834445"/>
              <a:gd name="f171" fmla="val 4766956"/>
              <a:gd name="f172" fmla="val 4764707"/>
              <a:gd name="f173" fmla="val 1834800"/>
              <a:gd name="f174" fmla="val 4757958"/>
              <a:gd name="f175" fmla="val 1819020"/>
              <a:gd name="f176" fmla="val 4744460"/>
              <a:gd name="f177" fmla="val 1803240"/>
              <a:gd name="f178" fmla="val 4721964"/>
              <a:gd name="f179" fmla="val 1773935"/>
              <a:gd name="f180" fmla="val 4685970"/>
              <a:gd name="f181" fmla="val 4609482"/>
              <a:gd name="f182" fmla="val 4575738"/>
              <a:gd name="f183" fmla="val 4550992"/>
              <a:gd name="f184" fmla="val 4510499"/>
              <a:gd name="f185" fmla="val 4506000"/>
              <a:gd name="f186" fmla="val 2017394"/>
              <a:gd name="f187" fmla="val 2091784"/>
              <a:gd name="f188" fmla="val 4553242"/>
              <a:gd name="f189" fmla="val 2134615"/>
              <a:gd name="f190" fmla="val 4577988"/>
              <a:gd name="f191" fmla="val 2161666"/>
              <a:gd name="f192" fmla="val 4681471"/>
              <a:gd name="f193" fmla="val 4715215"/>
              <a:gd name="f194" fmla="val 4737711"/>
              <a:gd name="f195" fmla="val 2136869"/>
              <a:gd name="f196" fmla="val 4771456"/>
              <a:gd name="f197" fmla="val 2103055"/>
              <a:gd name="f198" fmla="val 4780454"/>
              <a:gd name="f199" fmla="val 2053462"/>
              <a:gd name="f200" fmla="val 2006123"/>
              <a:gd name="f201" fmla="val 1947512"/>
              <a:gd name="f202" fmla="val 4838944"/>
              <a:gd name="f203" fmla="val 4793952"/>
              <a:gd name="f204" fmla="val 4782704"/>
              <a:gd name="f205" fmla="val 2204497"/>
              <a:gd name="f206" fmla="val 4593735"/>
              <a:gd name="f207" fmla="val 4544243"/>
              <a:gd name="f208" fmla="val 2215768"/>
              <a:gd name="f209" fmla="val 2179700"/>
              <a:gd name="f210" fmla="val 4454258"/>
              <a:gd name="f211" fmla="val 2130106"/>
              <a:gd name="f212" fmla="val 4440761"/>
              <a:gd name="f213" fmla="val 2057970"/>
              <a:gd name="f214" fmla="val 4452009"/>
              <a:gd name="f215" fmla="val 4002083"/>
              <a:gd name="f216" fmla="val 4060574"/>
              <a:gd name="f217" fmla="val 4112315"/>
              <a:gd name="f218" fmla="val 4148309"/>
              <a:gd name="f219" fmla="val 4173055"/>
              <a:gd name="f220" fmla="val 4191052"/>
              <a:gd name="f221" fmla="val 4193302"/>
              <a:gd name="f222" fmla="val 4125813"/>
              <a:gd name="f223" fmla="val 4123563"/>
              <a:gd name="f224" fmla="val 4114565"/>
              <a:gd name="f225" fmla="val 4103317"/>
              <a:gd name="f226" fmla="val 4078571"/>
              <a:gd name="f227" fmla="val 4044826"/>
              <a:gd name="f228" fmla="val 3968339"/>
              <a:gd name="f229" fmla="val 3934595"/>
              <a:gd name="f230" fmla="val 3909849"/>
              <a:gd name="f231" fmla="val 3867106"/>
              <a:gd name="f232" fmla="val 3864856"/>
              <a:gd name="f233" fmla="val 4038077"/>
              <a:gd name="f234" fmla="val 4071822"/>
              <a:gd name="f235" fmla="val 4094318"/>
              <a:gd name="f236" fmla="val 4130312"/>
              <a:gd name="f237" fmla="val 4139311"/>
              <a:gd name="f238" fmla="val 4197801"/>
              <a:gd name="f239" fmla="val 4152808"/>
              <a:gd name="f240" fmla="val 4141560"/>
              <a:gd name="f241" fmla="val 4116814"/>
              <a:gd name="f242" fmla="val 3950342"/>
              <a:gd name="f243" fmla="val 3900850"/>
              <a:gd name="f244" fmla="val 3813115"/>
              <a:gd name="f245" fmla="val 3797367"/>
              <a:gd name="f246" fmla="val 3808616"/>
              <a:gd name="f247" fmla="val 1642228"/>
              <a:gd name="f248" fmla="val 1691719"/>
              <a:gd name="f249" fmla="val 1741211"/>
              <a:gd name="f250" fmla="val 1717579"/>
              <a:gd name="f251" fmla="val 1774955"/>
              <a:gd name="f252" fmla="val 1749138"/>
              <a:gd name="f253" fmla="val 1806450"/>
              <a:gd name="f254" fmla="val 1780698"/>
              <a:gd name="f255" fmla="val 1822198"/>
              <a:gd name="f256" fmla="val 1824447"/>
              <a:gd name="f257" fmla="val 1756958"/>
              <a:gd name="f258" fmla="val 1754708"/>
              <a:gd name="f259" fmla="val 1745710"/>
              <a:gd name="f260" fmla="val 1812257"/>
              <a:gd name="f261" fmla="val 1732212"/>
              <a:gd name="f262" fmla="val 1796478"/>
              <a:gd name="f263" fmla="val 1711966"/>
              <a:gd name="f264" fmla="val 1680471"/>
              <a:gd name="f265" fmla="val 1760410"/>
              <a:gd name="f266" fmla="val 1639978"/>
              <a:gd name="f267" fmla="val 1603983"/>
              <a:gd name="f268" fmla="val 1572489"/>
              <a:gd name="f269" fmla="val 1549993"/>
              <a:gd name="f270" fmla="val 1536494"/>
              <a:gd name="f271" fmla="val 1529746"/>
              <a:gd name="f272" fmla="val 1828037"/>
              <a:gd name="f273" fmla="val 1850580"/>
              <a:gd name="f274" fmla="val 1897919"/>
              <a:gd name="f275" fmla="val 1567989"/>
              <a:gd name="f276" fmla="val 1918207"/>
              <a:gd name="f277" fmla="val 1606234"/>
              <a:gd name="f278" fmla="val 1922716"/>
              <a:gd name="f279" fmla="val 1635478"/>
              <a:gd name="f280" fmla="val 1927224"/>
              <a:gd name="f281" fmla="val 1662474"/>
              <a:gd name="f282" fmla="val 1931733"/>
              <a:gd name="f283" fmla="val 1833445"/>
              <a:gd name="f284" fmla="val 2001614"/>
              <a:gd name="f285" fmla="val 2082767"/>
              <a:gd name="f286" fmla="val 2125598"/>
              <a:gd name="f287" fmla="val 1815448"/>
              <a:gd name="f288" fmla="val 2157157"/>
              <a:gd name="f289" fmla="val 1790703"/>
              <a:gd name="f290" fmla="val 2181954"/>
              <a:gd name="f291" fmla="val 1698468"/>
              <a:gd name="f292" fmla="val 1644477"/>
              <a:gd name="f293" fmla="val 1581488"/>
              <a:gd name="f294" fmla="val 1531996"/>
              <a:gd name="f295" fmla="val 1498251"/>
              <a:gd name="f296" fmla="val 2184208"/>
              <a:gd name="f297" fmla="val 1466757"/>
              <a:gd name="f298" fmla="val 2152649"/>
              <a:gd name="f299" fmla="val 1444260"/>
              <a:gd name="f300" fmla="val 2109818"/>
              <a:gd name="f301" fmla="val 2060225"/>
              <a:gd name="f302" fmla="val 1509499"/>
              <a:gd name="f303" fmla="val 1525247"/>
              <a:gd name="f304" fmla="val 2121089"/>
              <a:gd name="f305" fmla="val 1545494"/>
              <a:gd name="f306" fmla="val 2141378"/>
              <a:gd name="f307" fmla="val 1570239"/>
              <a:gd name="f308" fmla="val 1608483"/>
              <a:gd name="f309" fmla="val 1682720"/>
              <a:gd name="f310" fmla="val 1716465"/>
              <a:gd name="f311" fmla="val 2166174"/>
              <a:gd name="f312" fmla="val 1738962"/>
              <a:gd name="f313" fmla="val 2143632"/>
              <a:gd name="f314" fmla="val 1765956"/>
              <a:gd name="f315" fmla="val 2044445"/>
              <a:gd name="f316" fmla="val 1599484"/>
              <a:gd name="f317" fmla="val 1988089"/>
              <a:gd name="f318" fmla="val 1522997"/>
              <a:gd name="f319" fmla="val 1462257"/>
              <a:gd name="f320" fmla="val 1852834"/>
              <a:gd name="f321" fmla="val 1480254"/>
              <a:gd name="f322" fmla="val 1778444"/>
              <a:gd name="f323" fmla="val 1507249"/>
              <a:gd name="f324" fmla="val 1751393"/>
              <a:gd name="f325" fmla="val 1543244"/>
              <a:gd name="f326" fmla="val 1588236"/>
              <a:gd name="f327" fmla="val 704133"/>
              <a:gd name="f328" fmla="val 755874"/>
              <a:gd name="f329" fmla="val 848110"/>
              <a:gd name="f330" fmla="val 857108"/>
              <a:gd name="f331" fmla="val 602900"/>
              <a:gd name="f332" fmla="val 553408"/>
              <a:gd name="f333" fmla="val 515164"/>
              <a:gd name="f334" fmla="val 461173"/>
              <a:gd name="f335" fmla="val 449925"/>
              <a:gd name="f336" fmla="val 202466"/>
              <a:gd name="f337" fmla="val 258707"/>
              <a:gd name="f338" fmla="val 308199"/>
              <a:gd name="f339" fmla="val 339693"/>
              <a:gd name="f340" fmla="val 1753647"/>
              <a:gd name="f341" fmla="val 368939"/>
              <a:gd name="f342" fmla="val 386936"/>
              <a:gd name="f343" fmla="val 1823529"/>
              <a:gd name="f344" fmla="val 389185"/>
              <a:gd name="f345" fmla="val 1870868"/>
              <a:gd name="f346" fmla="val 323946"/>
              <a:gd name="f347" fmla="val 321697"/>
              <a:gd name="f348" fmla="val 1841563"/>
              <a:gd name="f349" fmla="val 312698"/>
              <a:gd name="f350" fmla="val 294701"/>
              <a:gd name="f351" fmla="val 1798732"/>
              <a:gd name="f352" fmla="val 274454"/>
              <a:gd name="f353" fmla="val 240710"/>
              <a:gd name="f354" fmla="val 168722"/>
              <a:gd name="f355" fmla="val 134978"/>
              <a:gd name="f356" fmla="val 110232"/>
              <a:gd name="f357" fmla="val 67489"/>
              <a:gd name="f358" fmla="val 276704"/>
              <a:gd name="f359" fmla="val 2154903"/>
              <a:gd name="f360" fmla="val 296951"/>
              <a:gd name="f361" fmla="val 2114327"/>
              <a:gd name="f362" fmla="val 2087276"/>
              <a:gd name="f363" fmla="val 391435"/>
              <a:gd name="f364" fmla="val 2107564"/>
              <a:gd name="f365" fmla="val 2148140"/>
              <a:gd name="f366" fmla="val 2209005"/>
              <a:gd name="f367" fmla="val 150725"/>
              <a:gd name="f368" fmla="val 101233"/>
              <a:gd name="f369" fmla="val 65239"/>
              <a:gd name="f370" fmla="val 8999"/>
              <a:gd name="f371" fmla="val 2227389"/>
              <a:gd name="f372" fmla="val 214047"/>
              <a:gd name="f373" fmla="val 574548"/>
              <a:gd name="f374" fmla="val 2456649"/>
              <a:gd name="f375" fmla="val 2584765"/>
              <a:gd name="f376" fmla="val 2654442"/>
              <a:gd name="f377" fmla="val 509207"/>
              <a:gd name="f378" fmla="val 394298"/>
              <a:gd name="f379" fmla="val 277135"/>
              <a:gd name="f380" fmla="val 8961436"/>
              <a:gd name="f381" fmla="val 225425"/>
              <a:gd name="f382" fmla="val 9555161"/>
              <a:gd name="f383" fmla="val 1214437"/>
              <a:gd name="f384" fmla="val 9315449"/>
              <a:gd name="f385" fmla="val 7785099"/>
              <a:gd name="f386" fmla="val 8035924"/>
              <a:gd name="f387" fmla="val 8037512"/>
              <a:gd name="f388" fmla="val 3175"/>
              <a:gd name="f389" fmla="val 8523286"/>
              <a:gd name="f390" fmla="val 774700"/>
              <a:gd name="f391" fmla="val 8759824"/>
              <a:gd name="f392" fmla="val 8518524"/>
              <a:gd name="f393" fmla="val 8024812"/>
              <a:gd name="f394" fmla="val 425450"/>
              <a:gd name="f395" fmla="val 6665911"/>
              <a:gd name="f396" fmla="val 7535861"/>
              <a:gd name="f397" fmla="val 220663"/>
              <a:gd name="f398" fmla="val 6905624"/>
              <a:gd name="f399" fmla="val 473075"/>
              <a:gd name="f400" fmla="val 7459661"/>
              <a:gd name="f401" fmla="val 690562"/>
              <a:gd name="f402" fmla="val 993775"/>
              <a:gd name="f403" fmla="val 5221286"/>
              <a:gd name="f404" fmla="val 5534024"/>
              <a:gd name="f405" fmla="val 5835649"/>
              <a:gd name="f406" fmla="val 823912"/>
              <a:gd name="f407" fmla="val 6142037"/>
              <a:gd name="f408" fmla="val 6438899"/>
              <a:gd name="f409" fmla="val 6203949"/>
              <a:gd name="f410" fmla="val 419100"/>
              <a:gd name="f411" fmla="val 5916612"/>
              <a:gd name="f412" fmla="val 1196975"/>
              <a:gd name="f413" fmla="val 5740399"/>
              <a:gd name="f414" fmla="val 5454649"/>
              <a:gd name="f415" fmla="val 409575"/>
              <a:gd name="f416" fmla="val 4098924"/>
              <a:gd name="f417" fmla="val 4968874"/>
              <a:gd name="f418" fmla="val 4340224"/>
              <a:gd name="f419" fmla="val 4895849"/>
              <a:gd name="f420" fmla="val 3079749"/>
              <a:gd name="f421" fmla="val 3321049"/>
              <a:gd name="f422" fmla="val 984250"/>
              <a:gd name="f423" fmla="val 3871912"/>
              <a:gd name="f424" fmla="val 1989138"/>
              <a:gd name="f425" fmla="val 2465639"/>
              <a:gd name="f426" fmla="val 2735357"/>
              <a:gd name="f427" fmla="val 2897188"/>
              <a:gd name="f428" fmla="val 146454"/>
              <a:gd name="f429" fmla="val 392045"/>
              <a:gd name="f430" fmla="val 639889"/>
              <a:gd name="f431" fmla="val 786342"/>
              <a:gd name="f432" fmla="val 520699"/>
              <a:gd name="f433" fmla="val 833436"/>
              <a:gd name="f434" fmla="val 1135061"/>
              <a:gd name="f435" fmla="val 1439862"/>
              <a:gd name="f436" fmla="val 1736724"/>
              <a:gd name="f437" fmla="val 1503362"/>
              <a:gd name="f438" fmla="val 1216024"/>
              <a:gd name="f439" fmla="val 1039812"/>
              <a:gd name="f440" fmla="val 754062"/>
              <a:gd name="f441" fmla="val 25400"/>
              <a:gd name="f442" fmla="val 268288"/>
              <a:gd name="f443" fmla="+- 0 0 -90"/>
              <a:gd name="f444" fmla="*/ f3 1 9905999"/>
              <a:gd name="f445" fmla="*/ f4 1 2265361"/>
              <a:gd name="f446" fmla="+- f7 0 f5"/>
              <a:gd name="f447" fmla="+- f6 0 f5"/>
              <a:gd name="f448" fmla="*/ f443 f0 1"/>
              <a:gd name="f449" fmla="*/ f447 1 9905999"/>
              <a:gd name="f450" fmla="*/ f446 1 2265361"/>
              <a:gd name="f451" fmla="*/ 6778122 f447 1"/>
              <a:gd name="f452" fmla="*/ 2222531 f446 1"/>
              <a:gd name="f453" fmla="*/ 7135812 f447 1"/>
              <a:gd name="f454" fmla="*/ 2265361 f446 1"/>
              <a:gd name="f455" fmla="*/ 6449676 f447 1"/>
              <a:gd name="f456" fmla="*/ 1769427 f446 1"/>
              <a:gd name="f457" fmla="*/ 1965546 f446 1"/>
              <a:gd name="f458" fmla="*/ 6575655 f447 1"/>
              <a:gd name="f459" fmla="*/ 6679138 f447 1"/>
              <a:gd name="f460" fmla="*/ 1864105 f446 1"/>
              <a:gd name="f461" fmla="*/ 5021164 f447 1"/>
              <a:gd name="f462" fmla="*/ 1949767 f446 1"/>
              <a:gd name="f463" fmla="*/ 5158391 f447 1"/>
              <a:gd name="f464" fmla="*/ 5261874 f447 1"/>
              <a:gd name="f465" fmla="*/ 1859597 f446 1"/>
              <a:gd name="f466" fmla="*/ 5597068 f447 1"/>
              <a:gd name="f467" fmla="*/ 1762664 f446 1"/>
              <a:gd name="f468" fmla="*/ 5504834 f447 1"/>
              <a:gd name="f469" fmla="*/ 1800986 f446 1"/>
              <a:gd name="f470" fmla="*/ 5459841 f447 1"/>
              <a:gd name="f471" fmla="*/ 1967800 f446 1"/>
              <a:gd name="f472" fmla="*/ 2132361 f446 1"/>
              <a:gd name="f473" fmla="*/ 2170683 f446 1"/>
              <a:gd name="f474" fmla="*/ 5691552 f447 1"/>
              <a:gd name="f475" fmla="*/ 5734295 f447 1"/>
              <a:gd name="f476" fmla="*/ 654642 f447 1"/>
              <a:gd name="f477" fmla="*/ 560157 f447 1"/>
              <a:gd name="f478" fmla="*/ 517414 f447 1"/>
              <a:gd name="f479" fmla="*/ 746876 f447 1"/>
              <a:gd name="f480" fmla="*/ 791868 f447 1"/>
              <a:gd name="f481" fmla="*/ 6386687 f447 1"/>
              <a:gd name="f482" fmla="*/ 1710816 f446 1"/>
              <a:gd name="f483" fmla="*/ 6706134 f447 1"/>
              <a:gd name="f484" fmla="*/ 1755901 f446 1"/>
              <a:gd name="f485" fmla="*/ 6744377 f447 1"/>
              <a:gd name="f486" fmla="*/ 6701634 f447 1"/>
              <a:gd name="f487" fmla="*/ 1981326 f446 1"/>
              <a:gd name="f488" fmla="*/ 6577905 f447 1"/>
              <a:gd name="f489" fmla="*/ 2024157 f446 1"/>
              <a:gd name="f490" fmla="*/ 5889520 f447 1"/>
              <a:gd name="f491" fmla="*/ 5954759 f447 1"/>
              <a:gd name="f492" fmla="*/ 2035428 f446 1"/>
              <a:gd name="f493" fmla="*/ 6076239 f447 1"/>
              <a:gd name="f494" fmla="*/ 2172937 f446 1"/>
              <a:gd name="f495" fmla="*/ 6199968 f447 1"/>
              <a:gd name="f496" fmla="*/ 6262957 f447 1"/>
              <a:gd name="f497" fmla="*/ 2231547 f446 1"/>
              <a:gd name="f498" fmla="*/ 4958174 f447 1"/>
              <a:gd name="f499" fmla="*/ 5288869 f447 1"/>
              <a:gd name="f500" fmla="*/ 5329363 f447 1"/>
              <a:gd name="f501" fmla="*/ 1961038 f446 1"/>
              <a:gd name="f502" fmla="*/ 5228130 f447 1"/>
              <a:gd name="f503" fmla="*/ 1997106 f446 1"/>
              <a:gd name="f504" fmla="*/ 5331612 f447 1"/>
              <a:gd name="f505" fmla="*/ 5259624 f447 1"/>
              <a:gd name="f506" fmla="*/ 5162890 f447 1"/>
              <a:gd name="f507" fmla="*/ 2010631 f446 1"/>
              <a:gd name="f508" fmla="*/ 3309199 f447 1"/>
              <a:gd name="f509" fmla="*/ 3381187 f447 1"/>
              <a:gd name="f510" fmla="*/ 3633145 f447 1"/>
              <a:gd name="f511" fmla="*/ 2123344 f446 1"/>
              <a:gd name="f512" fmla="*/ 3693885 f447 1"/>
              <a:gd name="f513" fmla="*/ 3621897 f447 1"/>
              <a:gd name="f514" fmla="*/ 3372188 f447 1"/>
              <a:gd name="f515" fmla="*/ 1810003 f446 1"/>
              <a:gd name="f516" fmla="*/ 3106732 f447 1"/>
              <a:gd name="f517" fmla="*/ 3171971 f447 1"/>
              <a:gd name="f518" fmla="*/ 2663557 f447 1"/>
              <a:gd name="f519" fmla="*/ 3032495 f447 1"/>
              <a:gd name="f520" fmla="*/ 2879521 f447 1"/>
              <a:gd name="f521" fmla="*/ 2814282 f447 1"/>
              <a:gd name="f522" fmla="*/ 2416099 f447 1"/>
              <a:gd name="f523" fmla="*/ 2481338 f447 1"/>
              <a:gd name="f524" fmla="*/ 2163920 f446 1"/>
              <a:gd name="f525" fmla="*/ 2726547 f447 1"/>
              <a:gd name="f526" fmla="*/ 1918931 f447 1"/>
              <a:gd name="f527" fmla="*/ 1984171 f447 1"/>
              <a:gd name="f528" fmla="*/ 2105651 f447 1"/>
              <a:gd name="f529" fmla="*/ 2229380 f447 1"/>
              <a:gd name="f530" fmla="*/ 2292369 f447 1"/>
              <a:gd name="f531" fmla="*/ 960591 f447 1"/>
              <a:gd name="f532" fmla="*/ 1032578 f447 1"/>
              <a:gd name="f533" fmla="*/ 1284537 f447 1"/>
              <a:gd name="f534" fmla="*/ 1345276 f447 1"/>
              <a:gd name="f535" fmla="*/ 1273289 f447 1"/>
              <a:gd name="f536" fmla="*/ 1023580 f447 1"/>
              <a:gd name="f537" fmla="*/ 1701799 f446 1"/>
              <a:gd name="f538" fmla="*/ 5736545 f447 1"/>
              <a:gd name="f539" fmla="*/ 5801784 f447 1"/>
              <a:gd name="f540" fmla="*/ 2177446 f446 1"/>
              <a:gd name="f541" fmla="*/ 2233802 f446 1"/>
              <a:gd name="f542" fmla="*/ 5394602 f447 1"/>
              <a:gd name="f543" fmla="*/ 4645477 f447 1"/>
              <a:gd name="f544" fmla="*/ 4791702 f447 1"/>
              <a:gd name="f545" fmla="*/ 1758155 f446 1"/>
              <a:gd name="f546" fmla="*/ 4834445 f447 1"/>
              <a:gd name="f547" fmla="*/ 4766956 f447 1"/>
              <a:gd name="f548" fmla="*/ 4744460 f447 1"/>
              <a:gd name="f549" fmla="*/ 1803240 f446 1"/>
              <a:gd name="f550" fmla="*/ 4550992 f447 1"/>
              <a:gd name="f551" fmla="*/ 4506000 f447 1"/>
              <a:gd name="f552" fmla="*/ 4553242 f447 1"/>
              <a:gd name="f553" fmla="*/ 2134615 f446 1"/>
              <a:gd name="f554" fmla="*/ 4737711 f447 1"/>
              <a:gd name="f555" fmla="*/ 2136869 f446 1"/>
              <a:gd name="f556" fmla="*/ 4780454 f447 1"/>
              <a:gd name="f557" fmla="*/ 2006123 f446 1"/>
              <a:gd name="f558" fmla="*/ 1947512 f446 1"/>
              <a:gd name="f559" fmla="*/ 4838944 f447 1"/>
              <a:gd name="f560" fmla="*/ 4793952 f447 1"/>
              <a:gd name="f561" fmla="*/ 4782704 f447 1"/>
              <a:gd name="f562" fmla="*/ 2161666 f446 1"/>
              <a:gd name="f563" fmla="*/ 2179700 f446 1"/>
              <a:gd name="f564" fmla="*/ 4440761 f447 1"/>
              <a:gd name="f565" fmla="*/ 4002083 f447 1"/>
              <a:gd name="f566" fmla="*/ 4148309 f447 1"/>
              <a:gd name="f567" fmla="*/ 4193302 f447 1"/>
              <a:gd name="f568" fmla="*/ 4125813 f447 1"/>
              <a:gd name="f569" fmla="*/ 4103317 f447 1"/>
              <a:gd name="f570" fmla="*/ 3909849 f447 1"/>
              <a:gd name="f571" fmla="*/ 3864856 f447 1"/>
              <a:gd name="f572" fmla="*/ 4094318 f447 1"/>
              <a:gd name="f573" fmla="*/ 4139311 f447 1"/>
              <a:gd name="f574" fmla="*/ 4197801 f447 1"/>
              <a:gd name="f575" fmla="*/ 4152808 f447 1"/>
              <a:gd name="f576" fmla="*/ 4141560 f447 1"/>
              <a:gd name="f577" fmla="*/ 3797367 f447 1"/>
              <a:gd name="f578" fmla="*/ 1642228 f447 1"/>
              <a:gd name="f579" fmla="*/ 1774955 f447 1"/>
              <a:gd name="f580" fmla="*/ 1749138 f446 1"/>
              <a:gd name="f581" fmla="*/ 1824447 f447 1"/>
              <a:gd name="f582" fmla="*/ 1756958 f447 1"/>
              <a:gd name="f583" fmla="*/ 1732212 f447 1"/>
              <a:gd name="f584" fmla="*/ 1796478 f446 1"/>
              <a:gd name="f585" fmla="*/ 1639978 f447 1"/>
              <a:gd name="f586" fmla="*/ 1760410 f446 1"/>
              <a:gd name="f587" fmla="*/ 1549993 f447 1"/>
              <a:gd name="f588" fmla="*/ 1529746 f447 1"/>
              <a:gd name="f589" fmla="*/ 1850580 f446 1"/>
              <a:gd name="f590" fmla="*/ 1606234 f447 1"/>
              <a:gd name="f591" fmla="*/ 1922716 f446 1"/>
              <a:gd name="f592" fmla="*/ 1691719 f447 1"/>
              <a:gd name="f593" fmla="*/ 1936241 f446 1"/>
              <a:gd name="f594" fmla="*/ 1833445 f447 1"/>
              <a:gd name="f595" fmla="*/ 2082767 f446 1"/>
              <a:gd name="f596" fmla="*/ 1790703 f447 1"/>
              <a:gd name="f597" fmla="*/ 2181954 f446 1"/>
              <a:gd name="f598" fmla="*/ 1644477 f447 1"/>
              <a:gd name="f599" fmla="*/ 1498251 f447 1"/>
              <a:gd name="f600" fmla="*/ 2184208 f446 1"/>
              <a:gd name="f601" fmla="*/ 1444260 f447 1"/>
              <a:gd name="f602" fmla="*/ 2060225 f446 1"/>
              <a:gd name="f603" fmla="*/ 1509499 f447 1"/>
              <a:gd name="f604" fmla="*/ 1545494 f447 1"/>
              <a:gd name="f605" fmla="*/ 2141378 f446 1"/>
              <a:gd name="f606" fmla="*/ 1738962 f447 1"/>
              <a:gd name="f607" fmla="*/ 2143632 f446 1"/>
              <a:gd name="f608" fmla="*/ 1765956 f447 1"/>
              <a:gd name="f609" fmla="*/ 1680471 f447 1"/>
              <a:gd name="f610" fmla="*/ 2001614 f446 1"/>
              <a:gd name="f611" fmla="*/ 1599484 f447 1"/>
              <a:gd name="f612" fmla="*/ 1988089 f446 1"/>
              <a:gd name="f613" fmla="*/ 1462257 f447 1"/>
              <a:gd name="f614" fmla="*/ 1852834 f446 1"/>
              <a:gd name="f615" fmla="*/ 1507249 f447 1"/>
              <a:gd name="f616" fmla="*/ 1751393 f446 1"/>
              <a:gd name="f617" fmla="*/ 857108 f447 1"/>
              <a:gd name="f618" fmla="*/ 515164 f447 1"/>
              <a:gd name="f619" fmla="*/ 449925 f447 1"/>
              <a:gd name="f620" fmla="*/ 202466 f447 1"/>
              <a:gd name="f621" fmla="*/ 339693 f447 1"/>
              <a:gd name="f622" fmla="*/ 1753647 f446 1"/>
              <a:gd name="f623" fmla="*/ 389185 f447 1"/>
              <a:gd name="f624" fmla="*/ 1870868 f446 1"/>
              <a:gd name="f625" fmla="*/ 323946 f447 1"/>
              <a:gd name="f626" fmla="*/ 294701 f447 1"/>
              <a:gd name="f627" fmla="*/ 1798732 f446 1"/>
              <a:gd name="f628" fmla="*/ 110232 f447 1"/>
              <a:gd name="f629" fmla="*/ 67489 f447 1"/>
              <a:gd name="f630" fmla="*/ 296951 f447 1"/>
              <a:gd name="f631" fmla="*/ 391435 f447 1"/>
              <a:gd name="f632" fmla="*/ 65239 f447 1"/>
              <a:gd name="f633" fmla="*/ 0 f447 1"/>
              <a:gd name="f634" fmla="*/ 2227389 f447 1"/>
              <a:gd name="f635" fmla="*/ 214047 f446 1"/>
              <a:gd name="f636" fmla="*/ 574548 f446 1"/>
              <a:gd name="f637" fmla="*/ 2456649 f447 1"/>
              <a:gd name="f638" fmla="*/ 2654442 f447 1"/>
              <a:gd name="f639" fmla="*/ 394298 f446 1"/>
              <a:gd name="f640" fmla="*/ 8961436 f447 1"/>
              <a:gd name="f641" fmla="*/ 0 f446 1"/>
              <a:gd name="f642" fmla="*/ 9905999 f447 1"/>
              <a:gd name="f643" fmla="*/ 225425 f446 1"/>
              <a:gd name="f644" fmla="*/ 9555161 f447 1"/>
              <a:gd name="f645" fmla="*/ 1214437 f446 1"/>
              <a:gd name="f646" fmla="*/ 9315449 f447 1"/>
              <a:gd name="f647" fmla="*/ 7785099 f447 1"/>
              <a:gd name="f648" fmla="*/ 8035924 f447 1"/>
              <a:gd name="f649" fmla="*/ 8037512 f447 1"/>
              <a:gd name="f650" fmla="*/ 3175 f446 1"/>
              <a:gd name="f651" fmla="*/ 8523286 f447 1"/>
              <a:gd name="f652" fmla="*/ 774700 f446 1"/>
              <a:gd name="f653" fmla="*/ 8759824 f447 1"/>
              <a:gd name="f654" fmla="*/ 8518524 f447 1"/>
              <a:gd name="f655" fmla="*/ 8024812 f447 1"/>
              <a:gd name="f656" fmla="*/ 425450 f446 1"/>
              <a:gd name="f657" fmla="*/ 6665911 f447 1"/>
              <a:gd name="f658" fmla="*/ 7535861 f447 1"/>
              <a:gd name="f659" fmla="*/ 220663 f446 1"/>
              <a:gd name="f660" fmla="*/ 6905624 f447 1"/>
              <a:gd name="f661" fmla="*/ 473075 f446 1"/>
              <a:gd name="f662" fmla="*/ 7459661 f447 1"/>
              <a:gd name="f663" fmla="*/ 690562 f446 1"/>
              <a:gd name="f664" fmla="*/ 993775 f446 1"/>
              <a:gd name="f665" fmla="*/ 5221286 f447 1"/>
              <a:gd name="f666" fmla="*/ 5534024 f447 1"/>
              <a:gd name="f667" fmla="*/ 5835649 f447 1"/>
              <a:gd name="f668" fmla="*/ 823912 f446 1"/>
              <a:gd name="f669" fmla="*/ 6142037 f447 1"/>
              <a:gd name="f670" fmla="*/ 6438899 f447 1"/>
              <a:gd name="f671" fmla="*/ 6203949 f447 1"/>
              <a:gd name="f672" fmla="*/ 419100 f446 1"/>
              <a:gd name="f673" fmla="*/ 5916612 f447 1"/>
              <a:gd name="f674" fmla="*/ 1196975 f446 1"/>
              <a:gd name="f675" fmla="*/ 5740399 f447 1"/>
              <a:gd name="f676" fmla="*/ 5454649 f447 1"/>
              <a:gd name="f677" fmla="*/ 409575 f446 1"/>
              <a:gd name="f678" fmla="*/ 4098924 f447 1"/>
              <a:gd name="f679" fmla="*/ 4968874 f447 1"/>
              <a:gd name="f680" fmla="*/ 4340224 f447 1"/>
              <a:gd name="f681" fmla="*/ 4895849 f447 1"/>
              <a:gd name="f682" fmla="*/ 3079749 f447 1"/>
              <a:gd name="f683" fmla="*/ 3321049 f447 1"/>
              <a:gd name="f684" fmla="*/ 984250 f446 1"/>
              <a:gd name="f685" fmla="*/ 3871912 f447 1"/>
              <a:gd name="f686" fmla="*/ 1989138 f447 1"/>
              <a:gd name="f687" fmla="*/ 2465639 f447 1"/>
              <a:gd name="f688" fmla="*/ 2897188 f447 1"/>
              <a:gd name="f689" fmla="*/ 392045 f446 1"/>
              <a:gd name="f690" fmla="*/ 786342 f446 1"/>
              <a:gd name="f691" fmla="*/ 520699 f447 1"/>
              <a:gd name="f692" fmla="*/ 833436 f447 1"/>
              <a:gd name="f693" fmla="*/ 1135061 f447 1"/>
              <a:gd name="f694" fmla="*/ 1439862 f447 1"/>
              <a:gd name="f695" fmla="*/ 1736724 f447 1"/>
              <a:gd name="f696" fmla="*/ 1503362 f447 1"/>
              <a:gd name="f697" fmla="*/ 1216024 f447 1"/>
              <a:gd name="f698" fmla="*/ 1039812 f447 1"/>
              <a:gd name="f699" fmla="*/ 754062 f447 1"/>
              <a:gd name="f700" fmla="*/ 25400 f447 1"/>
              <a:gd name="f701" fmla="*/ 268288 f447 1"/>
              <a:gd name="f702" fmla="*/ f448 1 f2"/>
              <a:gd name="f703" fmla="*/ f451 1 9905999"/>
              <a:gd name="f704" fmla="*/ f452 1 2265361"/>
              <a:gd name="f705" fmla="*/ f453 1 9905999"/>
              <a:gd name="f706" fmla="*/ f454 1 2265361"/>
              <a:gd name="f707" fmla="*/ f455 1 9905999"/>
              <a:gd name="f708" fmla="*/ f456 1 2265361"/>
              <a:gd name="f709" fmla="*/ f457 1 2265361"/>
              <a:gd name="f710" fmla="*/ f458 1 9905999"/>
              <a:gd name="f711" fmla="*/ f459 1 9905999"/>
              <a:gd name="f712" fmla="*/ f460 1 2265361"/>
              <a:gd name="f713" fmla="*/ f461 1 9905999"/>
              <a:gd name="f714" fmla="*/ f462 1 2265361"/>
              <a:gd name="f715" fmla="*/ f463 1 9905999"/>
              <a:gd name="f716" fmla="*/ f464 1 9905999"/>
              <a:gd name="f717" fmla="*/ f465 1 2265361"/>
              <a:gd name="f718" fmla="*/ f466 1 9905999"/>
              <a:gd name="f719" fmla="*/ f467 1 2265361"/>
              <a:gd name="f720" fmla="*/ f468 1 9905999"/>
              <a:gd name="f721" fmla="*/ f469 1 2265361"/>
              <a:gd name="f722" fmla="*/ f470 1 9905999"/>
              <a:gd name="f723" fmla="*/ f471 1 2265361"/>
              <a:gd name="f724" fmla="*/ f472 1 2265361"/>
              <a:gd name="f725" fmla="*/ f473 1 2265361"/>
              <a:gd name="f726" fmla="*/ f474 1 9905999"/>
              <a:gd name="f727" fmla="*/ f475 1 9905999"/>
              <a:gd name="f728" fmla="*/ f476 1 9905999"/>
              <a:gd name="f729" fmla="*/ f477 1 9905999"/>
              <a:gd name="f730" fmla="*/ f478 1 9905999"/>
              <a:gd name="f731" fmla="*/ f479 1 9905999"/>
              <a:gd name="f732" fmla="*/ f480 1 9905999"/>
              <a:gd name="f733" fmla="*/ f481 1 9905999"/>
              <a:gd name="f734" fmla="*/ f482 1 2265361"/>
              <a:gd name="f735" fmla="*/ f483 1 9905999"/>
              <a:gd name="f736" fmla="*/ f484 1 2265361"/>
              <a:gd name="f737" fmla="*/ f485 1 9905999"/>
              <a:gd name="f738" fmla="*/ f486 1 9905999"/>
              <a:gd name="f739" fmla="*/ f487 1 2265361"/>
              <a:gd name="f740" fmla="*/ f488 1 9905999"/>
              <a:gd name="f741" fmla="*/ f489 1 2265361"/>
              <a:gd name="f742" fmla="*/ f490 1 9905999"/>
              <a:gd name="f743" fmla="*/ f491 1 9905999"/>
              <a:gd name="f744" fmla="*/ f492 1 2265361"/>
              <a:gd name="f745" fmla="*/ f493 1 9905999"/>
              <a:gd name="f746" fmla="*/ f494 1 2265361"/>
              <a:gd name="f747" fmla="*/ f495 1 9905999"/>
              <a:gd name="f748" fmla="*/ f496 1 9905999"/>
              <a:gd name="f749" fmla="*/ f497 1 2265361"/>
              <a:gd name="f750" fmla="*/ f498 1 9905999"/>
              <a:gd name="f751" fmla="*/ f499 1 9905999"/>
              <a:gd name="f752" fmla="*/ f500 1 9905999"/>
              <a:gd name="f753" fmla="*/ f501 1 2265361"/>
              <a:gd name="f754" fmla="*/ f502 1 9905999"/>
              <a:gd name="f755" fmla="*/ f503 1 2265361"/>
              <a:gd name="f756" fmla="*/ f504 1 9905999"/>
              <a:gd name="f757" fmla="*/ f505 1 9905999"/>
              <a:gd name="f758" fmla="*/ f506 1 9905999"/>
              <a:gd name="f759" fmla="*/ f507 1 2265361"/>
              <a:gd name="f760" fmla="*/ f508 1 9905999"/>
              <a:gd name="f761" fmla="*/ f509 1 9905999"/>
              <a:gd name="f762" fmla="*/ f510 1 9905999"/>
              <a:gd name="f763" fmla="*/ f511 1 2265361"/>
              <a:gd name="f764" fmla="*/ f512 1 9905999"/>
              <a:gd name="f765" fmla="*/ f513 1 9905999"/>
              <a:gd name="f766" fmla="*/ f514 1 9905999"/>
              <a:gd name="f767" fmla="*/ f515 1 2265361"/>
              <a:gd name="f768" fmla="*/ f516 1 9905999"/>
              <a:gd name="f769" fmla="*/ f517 1 9905999"/>
              <a:gd name="f770" fmla="*/ f518 1 9905999"/>
              <a:gd name="f771" fmla="*/ f519 1 9905999"/>
              <a:gd name="f772" fmla="*/ f520 1 9905999"/>
              <a:gd name="f773" fmla="*/ f521 1 9905999"/>
              <a:gd name="f774" fmla="*/ f522 1 9905999"/>
              <a:gd name="f775" fmla="*/ f523 1 9905999"/>
              <a:gd name="f776" fmla="*/ f524 1 2265361"/>
              <a:gd name="f777" fmla="*/ f525 1 9905999"/>
              <a:gd name="f778" fmla="*/ f526 1 9905999"/>
              <a:gd name="f779" fmla="*/ f527 1 9905999"/>
              <a:gd name="f780" fmla="*/ f528 1 9905999"/>
              <a:gd name="f781" fmla="*/ f529 1 9905999"/>
              <a:gd name="f782" fmla="*/ f530 1 9905999"/>
              <a:gd name="f783" fmla="*/ f531 1 9905999"/>
              <a:gd name="f784" fmla="*/ f532 1 9905999"/>
              <a:gd name="f785" fmla="*/ f533 1 9905999"/>
              <a:gd name="f786" fmla="*/ f534 1 9905999"/>
              <a:gd name="f787" fmla="*/ f535 1 9905999"/>
              <a:gd name="f788" fmla="*/ f536 1 9905999"/>
              <a:gd name="f789" fmla="*/ f537 1 2265361"/>
              <a:gd name="f790" fmla="*/ f538 1 9905999"/>
              <a:gd name="f791" fmla="*/ f539 1 9905999"/>
              <a:gd name="f792" fmla="*/ f540 1 2265361"/>
              <a:gd name="f793" fmla="*/ f541 1 2265361"/>
              <a:gd name="f794" fmla="*/ f542 1 9905999"/>
              <a:gd name="f795" fmla="*/ f543 1 9905999"/>
              <a:gd name="f796" fmla="*/ f544 1 9905999"/>
              <a:gd name="f797" fmla="*/ f545 1 2265361"/>
              <a:gd name="f798" fmla="*/ f546 1 9905999"/>
              <a:gd name="f799" fmla="*/ f547 1 9905999"/>
              <a:gd name="f800" fmla="*/ f548 1 9905999"/>
              <a:gd name="f801" fmla="*/ f549 1 2265361"/>
              <a:gd name="f802" fmla="*/ f550 1 9905999"/>
              <a:gd name="f803" fmla="*/ f551 1 9905999"/>
              <a:gd name="f804" fmla="*/ f552 1 9905999"/>
              <a:gd name="f805" fmla="*/ f553 1 2265361"/>
              <a:gd name="f806" fmla="*/ f554 1 9905999"/>
              <a:gd name="f807" fmla="*/ f555 1 2265361"/>
              <a:gd name="f808" fmla="*/ f556 1 9905999"/>
              <a:gd name="f809" fmla="*/ f557 1 2265361"/>
              <a:gd name="f810" fmla="*/ f558 1 2265361"/>
              <a:gd name="f811" fmla="*/ f559 1 9905999"/>
              <a:gd name="f812" fmla="*/ f560 1 9905999"/>
              <a:gd name="f813" fmla="*/ f561 1 9905999"/>
              <a:gd name="f814" fmla="*/ f562 1 2265361"/>
              <a:gd name="f815" fmla="*/ f563 1 2265361"/>
              <a:gd name="f816" fmla="*/ f564 1 9905999"/>
              <a:gd name="f817" fmla="*/ f565 1 9905999"/>
              <a:gd name="f818" fmla="*/ f566 1 9905999"/>
              <a:gd name="f819" fmla="*/ f567 1 9905999"/>
              <a:gd name="f820" fmla="*/ f568 1 9905999"/>
              <a:gd name="f821" fmla="*/ f569 1 9905999"/>
              <a:gd name="f822" fmla="*/ f570 1 9905999"/>
              <a:gd name="f823" fmla="*/ f571 1 9905999"/>
              <a:gd name="f824" fmla="*/ f572 1 9905999"/>
              <a:gd name="f825" fmla="*/ f573 1 9905999"/>
              <a:gd name="f826" fmla="*/ f574 1 9905999"/>
              <a:gd name="f827" fmla="*/ f575 1 9905999"/>
              <a:gd name="f828" fmla="*/ f576 1 9905999"/>
              <a:gd name="f829" fmla="*/ f577 1 9905999"/>
              <a:gd name="f830" fmla="*/ f578 1 9905999"/>
              <a:gd name="f831" fmla="*/ f579 1 9905999"/>
              <a:gd name="f832" fmla="*/ f580 1 2265361"/>
              <a:gd name="f833" fmla="*/ f581 1 9905999"/>
              <a:gd name="f834" fmla="*/ f582 1 9905999"/>
              <a:gd name="f835" fmla="*/ f583 1 9905999"/>
              <a:gd name="f836" fmla="*/ f584 1 2265361"/>
              <a:gd name="f837" fmla="*/ f585 1 9905999"/>
              <a:gd name="f838" fmla="*/ f586 1 2265361"/>
              <a:gd name="f839" fmla="*/ f587 1 9905999"/>
              <a:gd name="f840" fmla="*/ f588 1 9905999"/>
              <a:gd name="f841" fmla="*/ f589 1 2265361"/>
              <a:gd name="f842" fmla="*/ f590 1 9905999"/>
              <a:gd name="f843" fmla="*/ f591 1 2265361"/>
              <a:gd name="f844" fmla="*/ f592 1 9905999"/>
              <a:gd name="f845" fmla="*/ f593 1 2265361"/>
              <a:gd name="f846" fmla="*/ f594 1 9905999"/>
              <a:gd name="f847" fmla="*/ f595 1 2265361"/>
              <a:gd name="f848" fmla="*/ f596 1 9905999"/>
              <a:gd name="f849" fmla="*/ f597 1 2265361"/>
              <a:gd name="f850" fmla="*/ f598 1 9905999"/>
              <a:gd name="f851" fmla="*/ f599 1 9905999"/>
              <a:gd name="f852" fmla="*/ f600 1 2265361"/>
              <a:gd name="f853" fmla="*/ f601 1 9905999"/>
              <a:gd name="f854" fmla="*/ f602 1 2265361"/>
              <a:gd name="f855" fmla="*/ f603 1 9905999"/>
              <a:gd name="f856" fmla="*/ f604 1 9905999"/>
              <a:gd name="f857" fmla="*/ f605 1 2265361"/>
              <a:gd name="f858" fmla="*/ f606 1 9905999"/>
              <a:gd name="f859" fmla="*/ f607 1 2265361"/>
              <a:gd name="f860" fmla="*/ f608 1 9905999"/>
              <a:gd name="f861" fmla="*/ f609 1 9905999"/>
              <a:gd name="f862" fmla="*/ f610 1 2265361"/>
              <a:gd name="f863" fmla="*/ f611 1 9905999"/>
              <a:gd name="f864" fmla="*/ f612 1 2265361"/>
              <a:gd name="f865" fmla="*/ f613 1 9905999"/>
              <a:gd name="f866" fmla="*/ f614 1 2265361"/>
              <a:gd name="f867" fmla="*/ f615 1 9905999"/>
              <a:gd name="f868" fmla="*/ f616 1 2265361"/>
              <a:gd name="f869" fmla="*/ f617 1 9905999"/>
              <a:gd name="f870" fmla="*/ f618 1 9905999"/>
              <a:gd name="f871" fmla="*/ f619 1 9905999"/>
              <a:gd name="f872" fmla="*/ f620 1 9905999"/>
              <a:gd name="f873" fmla="*/ f621 1 9905999"/>
              <a:gd name="f874" fmla="*/ f622 1 2265361"/>
              <a:gd name="f875" fmla="*/ f623 1 9905999"/>
              <a:gd name="f876" fmla="*/ f624 1 2265361"/>
              <a:gd name="f877" fmla="*/ f625 1 9905999"/>
              <a:gd name="f878" fmla="*/ f626 1 9905999"/>
              <a:gd name="f879" fmla="*/ f627 1 2265361"/>
              <a:gd name="f880" fmla="*/ f628 1 9905999"/>
              <a:gd name="f881" fmla="*/ f629 1 9905999"/>
              <a:gd name="f882" fmla="*/ f630 1 9905999"/>
              <a:gd name="f883" fmla="*/ f631 1 9905999"/>
              <a:gd name="f884" fmla="*/ f632 1 9905999"/>
              <a:gd name="f885" fmla="*/ f633 1 9905999"/>
              <a:gd name="f886" fmla="*/ f634 1 9905999"/>
              <a:gd name="f887" fmla="*/ f635 1 2265361"/>
              <a:gd name="f888" fmla="*/ f636 1 2265361"/>
              <a:gd name="f889" fmla="*/ f637 1 9905999"/>
              <a:gd name="f890" fmla="*/ f638 1 9905999"/>
              <a:gd name="f891" fmla="*/ f639 1 2265361"/>
              <a:gd name="f892" fmla="*/ f640 1 9905999"/>
              <a:gd name="f893" fmla="*/ f641 1 2265361"/>
              <a:gd name="f894" fmla="*/ f642 1 9905999"/>
              <a:gd name="f895" fmla="*/ f643 1 2265361"/>
              <a:gd name="f896" fmla="*/ f644 1 9905999"/>
              <a:gd name="f897" fmla="*/ f645 1 2265361"/>
              <a:gd name="f898" fmla="*/ f646 1 9905999"/>
              <a:gd name="f899" fmla="*/ f647 1 9905999"/>
              <a:gd name="f900" fmla="*/ f648 1 9905999"/>
              <a:gd name="f901" fmla="*/ f649 1 9905999"/>
              <a:gd name="f902" fmla="*/ f650 1 2265361"/>
              <a:gd name="f903" fmla="*/ f651 1 9905999"/>
              <a:gd name="f904" fmla="*/ f652 1 2265361"/>
              <a:gd name="f905" fmla="*/ f653 1 9905999"/>
              <a:gd name="f906" fmla="*/ f654 1 9905999"/>
              <a:gd name="f907" fmla="*/ f655 1 9905999"/>
              <a:gd name="f908" fmla="*/ f656 1 2265361"/>
              <a:gd name="f909" fmla="*/ f657 1 9905999"/>
              <a:gd name="f910" fmla="*/ f658 1 9905999"/>
              <a:gd name="f911" fmla="*/ f659 1 2265361"/>
              <a:gd name="f912" fmla="*/ f660 1 9905999"/>
              <a:gd name="f913" fmla="*/ f661 1 2265361"/>
              <a:gd name="f914" fmla="*/ f662 1 9905999"/>
              <a:gd name="f915" fmla="*/ f663 1 2265361"/>
              <a:gd name="f916" fmla="*/ f664 1 2265361"/>
              <a:gd name="f917" fmla="*/ f665 1 9905999"/>
              <a:gd name="f918" fmla="*/ f666 1 9905999"/>
              <a:gd name="f919" fmla="*/ f667 1 9905999"/>
              <a:gd name="f920" fmla="*/ f668 1 2265361"/>
              <a:gd name="f921" fmla="*/ f669 1 9905999"/>
              <a:gd name="f922" fmla="*/ f670 1 9905999"/>
              <a:gd name="f923" fmla="*/ f671 1 9905999"/>
              <a:gd name="f924" fmla="*/ f672 1 2265361"/>
              <a:gd name="f925" fmla="*/ f673 1 9905999"/>
              <a:gd name="f926" fmla="*/ f674 1 2265361"/>
              <a:gd name="f927" fmla="*/ f675 1 9905999"/>
              <a:gd name="f928" fmla="*/ f676 1 9905999"/>
              <a:gd name="f929" fmla="*/ f677 1 2265361"/>
              <a:gd name="f930" fmla="*/ f678 1 9905999"/>
              <a:gd name="f931" fmla="*/ f679 1 9905999"/>
              <a:gd name="f932" fmla="*/ f680 1 9905999"/>
              <a:gd name="f933" fmla="*/ f681 1 9905999"/>
              <a:gd name="f934" fmla="*/ f682 1 9905999"/>
              <a:gd name="f935" fmla="*/ f683 1 9905999"/>
              <a:gd name="f936" fmla="*/ f684 1 2265361"/>
              <a:gd name="f937" fmla="*/ f685 1 9905999"/>
              <a:gd name="f938" fmla="*/ f686 1 9905999"/>
              <a:gd name="f939" fmla="*/ f687 1 9905999"/>
              <a:gd name="f940" fmla="*/ f688 1 9905999"/>
              <a:gd name="f941" fmla="*/ f689 1 2265361"/>
              <a:gd name="f942" fmla="*/ f690 1 2265361"/>
              <a:gd name="f943" fmla="*/ f691 1 9905999"/>
              <a:gd name="f944" fmla="*/ f692 1 9905999"/>
              <a:gd name="f945" fmla="*/ f693 1 9905999"/>
              <a:gd name="f946" fmla="*/ f694 1 9905999"/>
              <a:gd name="f947" fmla="*/ f695 1 9905999"/>
              <a:gd name="f948" fmla="*/ f696 1 9905999"/>
              <a:gd name="f949" fmla="*/ f697 1 9905999"/>
              <a:gd name="f950" fmla="*/ f698 1 9905999"/>
              <a:gd name="f951" fmla="*/ f699 1 9905999"/>
              <a:gd name="f952" fmla="*/ f700 1 9905999"/>
              <a:gd name="f953" fmla="*/ f701 1 9905999"/>
              <a:gd name="f954" fmla="*/ f5 1 f449"/>
              <a:gd name="f955" fmla="*/ f6 1 f449"/>
              <a:gd name="f956" fmla="*/ f5 1 f450"/>
              <a:gd name="f957" fmla="*/ f7 1 f450"/>
              <a:gd name="f958" fmla="+- f702 0 f1"/>
              <a:gd name="f959" fmla="*/ f703 1 f449"/>
              <a:gd name="f960" fmla="*/ f704 1 f450"/>
              <a:gd name="f961" fmla="*/ f705 1 f449"/>
              <a:gd name="f962" fmla="*/ f706 1 f450"/>
              <a:gd name="f963" fmla="*/ f707 1 f449"/>
              <a:gd name="f964" fmla="*/ f708 1 f450"/>
              <a:gd name="f965" fmla="*/ f709 1 f450"/>
              <a:gd name="f966" fmla="*/ f710 1 f449"/>
              <a:gd name="f967" fmla="*/ f711 1 f449"/>
              <a:gd name="f968" fmla="*/ f712 1 f450"/>
              <a:gd name="f969" fmla="*/ f713 1 f449"/>
              <a:gd name="f970" fmla="*/ f714 1 f450"/>
              <a:gd name="f971" fmla="*/ f715 1 f449"/>
              <a:gd name="f972" fmla="*/ f716 1 f449"/>
              <a:gd name="f973" fmla="*/ f717 1 f450"/>
              <a:gd name="f974" fmla="*/ f718 1 f449"/>
              <a:gd name="f975" fmla="*/ f719 1 f450"/>
              <a:gd name="f976" fmla="*/ f720 1 f449"/>
              <a:gd name="f977" fmla="*/ f721 1 f450"/>
              <a:gd name="f978" fmla="*/ f722 1 f449"/>
              <a:gd name="f979" fmla="*/ f723 1 f450"/>
              <a:gd name="f980" fmla="*/ f724 1 f450"/>
              <a:gd name="f981" fmla="*/ f725 1 f450"/>
              <a:gd name="f982" fmla="*/ f726 1 f449"/>
              <a:gd name="f983" fmla="*/ f727 1 f449"/>
              <a:gd name="f984" fmla="*/ f728 1 f449"/>
              <a:gd name="f985" fmla="*/ f729 1 f449"/>
              <a:gd name="f986" fmla="*/ f730 1 f449"/>
              <a:gd name="f987" fmla="*/ f731 1 f449"/>
              <a:gd name="f988" fmla="*/ f732 1 f449"/>
              <a:gd name="f989" fmla="*/ f733 1 f449"/>
              <a:gd name="f990" fmla="*/ f734 1 f450"/>
              <a:gd name="f991" fmla="*/ f735 1 f449"/>
              <a:gd name="f992" fmla="*/ f736 1 f450"/>
              <a:gd name="f993" fmla="*/ f737 1 f449"/>
              <a:gd name="f994" fmla="*/ f738 1 f449"/>
              <a:gd name="f995" fmla="*/ f739 1 f450"/>
              <a:gd name="f996" fmla="*/ f740 1 f449"/>
              <a:gd name="f997" fmla="*/ f741 1 f450"/>
              <a:gd name="f998" fmla="*/ f742 1 f449"/>
              <a:gd name="f999" fmla="*/ f743 1 f449"/>
              <a:gd name="f1000" fmla="*/ f744 1 f450"/>
              <a:gd name="f1001" fmla="*/ f745 1 f449"/>
              <a:gd name="f1002" fmla="*/ f746 1 f450"/>
              <a:gd name="f1003" fmla="*/ f747 1 f449"/>
              <a:gd name="f1004" fmla="*/ f748 1 f449"/>
              <a:gd name="f1005" fmla="*/ f749 1 f450"/>
              <a:gd name="f1006" fmla="*/ f750 1 f449"/>
              <a:gd name="f1007" fmla="*/ f751 1 f449"/>
              <a:gd name="f1008" fmla="*/ f752 1 f449"/>
              <a:gd name="f1009" fmla="*/ f753 1 f450"/>
              <a:gd name="f1010" fmla="*/ f754 1 f449"/>
              <a:gd name="f1011" fmla="*/ f755 1 f450"/>
              <a:gd name="f1012" fmla="*/ f756 1 f449"/>
              <a:gd name="f1013" fmla="*/ f757 1 f449"/>
              <a:gd name="f1014" fmla="*/ f758 1 f449"/>
              <a:gd name="f1015" fmla="*/ f759 1 f450"/>
              <a:gd name="f1016" fmla="*/ f760 1 f449"/>
              <a:gd name="f1017" fmla="*/ f761 1 f449"/>
              <a:gd name="f1018" fmla="*/ f762 1 f449"/>
              <a:gd name="f1019" fmla="*/ f763 1 f450"/>
              <a:gd name="f1020" fmla="*/ f764 1 f449"/>
              <a:gd name="f1021" fmla="*/ f765 1 f449"/>
              <a:gd name="f1022" fmla="*/ f766 1 f449"/>
              <a:gd name="f1023" fmla="*/ f767 1 f450"/>
              <a:gd name="f1024" fmla="*/ f768 1 f449"/>
              <a:gd name="f1025" fmla="*/ f769 1 f449"/>
              <a:gd name="f1026" fmla="*/ f770 1 f449"/>
              <a:gd name="f1027" fmla="*/ f771 1 f449"/>
              <a:gd name="f1028" fmla="*/ f772 1 f449"/>
              <a:gd name="f1029" fmla="*/ f773 1 f449"/>
              <a:gd name="f1030" fmla="*/ f774 1 f449"/>
              <a:gd name="f1031" fmla="*/ f775 1 f449"/>
              <a:gd name="f1032" fmla="*/ f776 1 f450"/>
              <a:gd name="f1033" fmla="*/ f777 1 f449"/>
              <a:gd name="f1034" fmla="*/ f778 1 f449"/>
              <a:gd name="f1035" fmla="*/ f779 1 f449"/>
              <a:gd name="f1036" fmla="*/ f780 1 f449"/>
              <a:gd name="f1037" fmla="*/ f781 1 f449"/>
              <a:gd name="f1038" fmla="*/ f782 1 f449"/>
              <a:gd name="f1039" fmla="*/ f783 1 f449"/>
              <a:gd name="f1040" fmla="*/ f784 1 f449"/>
              <a:gd name="f1041" fmla="*/ f785 1 f449"/>
              <a:gd name="f1042" fmla="*/ f786 1 f449"/>
              <a:gd name="f1043" fmla="*/ f787 1 f449"/>
              <a:gd name="f1044" fmla="*/ f788 1 f449"/>
              <a:gd name="f1045" fmla="*/ f789 1 f450"/>
              <a:gd name="f1046" fmla="*/ f790 1 f449"/>
              <a:gd name="f1047" fmla="*/ f791 1 f449"/>
              <a:gd name="f1048" fmla="*/ f792 1 f450"/>
              <a:gd name="f1049" fmla="*/ f793 1 f450"/>
              <a:gd name="f1050" fmla="*/ f794 1 f449"/>
              <a:gd name="f1051" fmla="*/ f795 1 f449"/>
              <a:gd name="f1052" fmla="*/ f796 1 f449"/>
              <a:gd name="f1053" fmla="*/ f797 1 f450"/>
              <a:gd name="f1054" fmla="*/ f798 1 f449"/>
              <a:gd name="f1055" fmla="*/ f799 1 f449"/>
              <a:gd name="f1056" fmla="*/ f800 1 f449"/>
              <a:gd name="f1057" fmla="*/ f801 1 f450"/>
              <a:gd name="f1058" fmla="*/ f802 1 f449"/>
              <a:gd name="f1059" fmla="*/ f803 1 f449"/>
              <a:gd name="f1060" fmla="*/ f804 1 f449"/>
              <a:gd name="f1061" fmla="*/ f805 1 f450"/>
              <a:gd name="f1062" fmla="*/ f806 1 f449"/>
              <a:gd name="f1063" fmla="*/ f807 1 f450"/>
              <a:gd name="f1064" fmla="*/ f808 1 f449"/>
              <a:gd name="f1065" fmla="*/ f809 1 f450"/>
              <a:gd name="f1066" fmla="*/ f810 1 f450"/>
              <a:gd name="f1067" fmla="*/ f811 1 f449"/>
              <a:gd name="f1068" fmla="*/ f812 1 f449"/>
              <a:gd name="f1069" fmla="*/ f813 1 f449"/>
              <a:gd name="f1070" fmla="*/ f814 1 f450"/>
              <a:gd name="f1071" fmla="*/ f815 1 f450"/>
              <a:gd name="f1072" fmla="*/ f816 1 f449"/>
              <a:gd name="f1073" fmla="*/ f817 1 f449"/>
              <a:gd name="f1074" fmla="*/ f818 1 f449"/>
              <a:gd name="f1075" fmla="*/ f819 1 f449"/>
              <a:gd name="f1076" fmla="*/ f820 1 f449"/>
              <a:gd name="f1077" fmla="*/ f821 1 f449"/>
              <a:gd name="f1078" fmla="*/ f822 1 f449"/>
              <a:gd name="f1079" fmla="*/ f823 1 f449"/>
              <a:gd name="f1080" fmla="*/ f824 1 f449"/>
              <a:gd name="f1081" fmla="*/ f825 1 f449"/>
              <a:gd name="f1082" fmla="*/ f826 1 f449"/>
              <a:gd name="f1083" fmla="*/ f827 1 f449"/>
              <a:gd name="f1084" fmla="*/ f828 1 f449"/>
              <a:gd name="f1085" fmla="*/ f829 1 f449"/>
              <a:gd name="f1086" fmla="*/ f830 1 f449"/>
              <a:gd name="f1087" fmla="*/ f831 1 f449"/>
              <a:gd name="f1088" fmla="*/ f832 1 f450"/>
              <a:gd name="f1089" fmla="*/ f833 1 f449"/>
              <a:gd name="f1090" fmla="*/ f834 1 f449"/>
              <a:gd name="f1091" fmla="*/ f835 1 f449"/>
              <a:gd name="f1092" fmla="*/ f836 1 f450"/>
              <a:gd name="f1093" fmla="*/ f837 1 f449"/>
              <a:gd name="f1094" fmla="*/ f838 1 f450"/>
              <a:gd name="f1095" fmla="*/ f839 1 f449"/>
              <a:gd name="f1096" fmla="*/ f840 1 f449"/>
              <a:gd name="f1097" fmla="*/ f841 1 f450"/>
              <a:gd name="f1098" fmla="*/ f842 1 f449"/>
              <a:gd name="f1099" fmla="*/ f843 1 f450"/>
              <a:gd name="f1100" fmla="*/ f844 1 f449"/>
              <a:gd name="f1101" fmla="*/ f845 1 f450"/>
              <a:gd name="f1102" fmla="*/ f846 1 f449"/>
              <a:gd name="f1103" fmla="*/ f847 1 f450"/>
              <a:gd name="f1104" fmla="*/ f848 1 f449"/>
              <a:gd name="f1105" fmla="*/ f849 1 f450"/>
              <a:gd name="f1106" fmla="*/ f850 1 f449"/>
              <a:gd name="f1107" fmla="*/ f851 1 f449"/>
              <a:gd name="f1108" fmla="*/ f852 1 f450"/>
              <a:gd name="f1109" fmla="*/ f853 1 f449"/>
              <a:gd name="f1110" fmla="*/ f854 1 f450"/>
              <a:gd name="f1111" fmla="*/ f855 1 f449"/>
              <a:gd name="f1112" fmla="*/ f856 1 f449"/>
              <a:gd name="f1113" fmla="*/ f857 1 f450"/>
              <a:gd name="f1114" fmla="*/ f858 1 f449"/>
              <a:gd name="f1115" fmla="*/ f859 1 f450"/>
              <a:gd name="f1116" fmla="*/ f860 1 f449"/>
              <a:gd name="f1117" fmla="*/ f861 1 f449"/>
              <a:gd name="f1118" fmla="*/ f862 1 f450"/>
              <a:gd name="f1119" fmla="*/ f863 1 f449"/>
              <a:gd name="f1120" fmla="*/ f864 1 f450"/>
              <a:gd name="f1121" fmla="*/ f865 1 f449"/>
              <a:gd name="f1122" fmla="*/ f866 1 f450"/>
              <a:gd name="f1123" fmla="*/ f867 1 f449"/>
              <a:gd name="f1124" fmla="*/ f868 1 f450"/>
              <a:gd name="f1125" fmla="*/ f869 1 f449"/>
              <a:gd name="f1126" fmla="*/ f870 1 f449"/>
              <a:gd name="f1127" fmla="*/ f871 1 f449"/>
              <a:gd name="f1128" fmla="*/ f872 1 f449"/>
              <a:gd name="f1129" fmla="*/ f873 1 f449"/>
              <a:gd name="f1130" fmla="*/ f874 1 f450"/>
              <a:gd name="f1131" fmla="*/ f875 1 f449"/>
              <a:gd name="f1132" fmla="*/ f876 1 f450"/>
              <a:gd name="f1133" fmla="*/ f877 1 f449"/>
              <a:gd name="f1134" fmla="*/ f878 1 f449"/>
              <a:gd name="f1135" fmla="*/ f879 1 f450"/>
              <a:gd name="f1136" fmla="*/ f880 1 f449"/>
              <a:gd name="f1137" fmla="*/ f881 1 f449"/>
              <a:gd name="f1138" fmla="*/ f882 1 f449"/>
              <a:gd name="f1139" fmla="*/ f883 1 f449"/>
              <a:gd name="f1140" fmla="*/ f884 1 f449"/>
              <a:gd name="f1141" fmla="*/ f885 1 f449"/>
              <a:gd name="f1142" fmla="*/ f886 1 f449"/>
              <a:gd name="f1143" fmla="*/ f887 1 f450"/>
              <a:gd name="f1144" fmla="*/ f888 1 f450"/>
              <a:gd name="f1145" fmla="*/ f889 1 f449"/>
              <a:gd name="f1146" fmla="*/ f890 1 f449"/>
              <a:gd name="f1147" fmla="*/ f891 1 f450"/>
              <a:gd name="f1148" fmla="*/ f892 1 f449"/>
              <a:gd name="f1149" fmla="*/ f893 1 f450"/>
              <a:gd name="f1150" fmla="*/ f894 1 f449"/>
              <a:gd name="f1151" fmla="*/ f895 1 f450"/>
              <a:gd name="f1152" fmla="*/ f896 1 f449"/>
              <a:gd name="f1153" fmla="*/ f897 1 f450"/>
              <a:gd name="f1154" fmla="*/ f898 1 f449"/>
              <a:gd name="f1155" fmla="*/ f899 1 f449"/>
              <a:gd name="f1156" fmla="*/ f900 1 f449"/>
              <a:gd name="f1157" fmla="*/ f901 1 f449"/>
              <a:gd name="f1158" fmla="*/ f902 1 f450"/>
              <a:gd name="f1159" fmla="*/ f903 1 f449"/>
              <a:gd name="f1160" fmla="*/ f904 1 f450"/>
              <a:gd name="f1161" fmla="*/ f905 1 f449"/>
              <a:gd name="f1162" fmla="*/ f906 1 f449"/>
              <a:gd name="f1163" fmla="*/ f907 1 f449"/>
              <a:gd name="f1164" fmla="*/ f908 1 f450"/>
              <a:gd name="f1165" fmla="*/ f909 1 f449"/>
              <a:gd name="f1166" fmla="*/ f910 1 f449"/>
              <a:gd name="f1167" fmla="*/ f911 1 f450"/>
              <a:gd name="f1168" fmla="*/ f912 1 f449"/>
              <a:gd name="f1169" fmla="*/ f913 1 f450"/>
              <a:gd name="f1170" fmla="*/ f914 1 f449"/>
              <a:gd name="f1171" fmla="*/ f915 1 f450"/>
              <a:gd name="f1172" fmla="*/ f916 1 f450"/>
              <a:gd name="f1173" fmla="*/ f917 1 f449"/>
              <a:gd name="f1174" fmla="*/ f918 1 f449"/>
              <a:gd name="f1175" fmla="*/ f919 1 f449"/>
              <a:gd name="f1176" fmla="*/ f920 1 f450"/>
              <a:gd name="f1177" fmla="*/ f921 1 f449"/>
              <a:gd name="f1178" fmla="*/ f922 1 f449"/>
              <a:gd name="f1179" fmla="*/ f923 1 f449"/>
              <a:gd name="f1180" fmla="*/ f924 1 f450"/>
              <a:gd name="f1181" fmla="*/ f925 1 f449"/>
              <a:gd name="f1182" fmla="*/ f926 1 f450"/>
              <a:gd name="f1183" fmla="*/ f927 1 f449"/>
              <a:gd name="f1184" fmla="*/ f928 1 f449"/>
              <a:gd name="f1185" fmla="*/ f929 1 f450"/>
              <a:gd name="f1186" fmla="*/ f930 1 f449"/>
              <a:gd name="f1187" fmla="*/ f931 1 f449"/>
              <a:gd name="f1188" fmla="*/ f932 1 f449"/>
              <a:gd name="f1189" fmla="*/ f933 1 f449"/>
              <a:gd name="f1190" fmla="*/ f934 1 f449"/>
              <a:gd name="f1191" fmla="*/ f935 1 f449"/>
              <a:gd name="f1192" fmla="*/ f936 1 f450"/>
              <a:gd name="f1193" fmla="*/ f937 1 f449"/>
              <a:gd name="f1194" fmla="*/ f938 1 f449"/>
              <a:gd name="f1195" fmla="*/ f939 1 f449"/>
              <a:gd name="f1196" fmla="*/ f940 1 f449"/>
              <a:gd name="f1197" fmla="*/ f941 1 f450"/>
              <a:gd name="f1198" fmla="*/ f942 1 f450"/>
              <a:gd name="f1199" fmla="*/ f943 1 f449"/>
              <a:gd name="f1200" fmla="*/ f944 1 f449"/>
              <a:gd name="f1201" fmla="*/ f945 1 f449"/>
              <a:gd name="f1202" fmla="*/ f946 1 f449"/>
              <a:gd name="f1203" fmla="*/ f947 1 f449"/>
              <a:gd name="f1204" fmla="*/ f948 1 f449"/>
              <a:gd name="f1205" fmla="*/ f949 1 f449"/>
              <a:gd name="f1206" fmla="*/ f950 1 f449"/>
              <a:gd name="f1207" fmla="*/ f951 1 f449"/>
              <a:gd name="f1208" fmla="*/ f952 1 f449"/>
              <a:gd name="f1209" fmla="*/ f953 1 f449"/>
              <a:gd name="f1210" fmla="*/ f954 f444 1"/>
              <a:gd name="f1211" fmla="*/ f955 f444 1"/>
              <a:gd name="f1212" fmla="*/ f957 f445 1"/>
              <a:gd name="f1213" fmla="*/ f956 f445 1"/>
              <a:gd name="f1214" fmla="*/ f959 f444 1"/>
              <a:gd name="f1215" fmla="*/ f960 f445 1"/>
              <a:gd name="f1216" fmla="*/ f961 f444 1"/>
              <a:gd name="f1217" fmla="*/ f962 f445 1"/>
              <a:gd name="f1218" fmla="*/ f963 f444 1"/>
              <a:gd name="f1219" fmla="*/ f964 f445 1"/>
              <a:gd name="f1220" fmla="*/ f965 f445 1"/>
              <a:gd name="f1221" fmla="*/ f966 f444 1"/>
              <a:gd name="f1222" fmla="*/ f967 f444 1"/>
              <a:gd name="f1223" fmla="*/ f968 f445 1"/>
              <a:gd name="f1224" fmla="*/ f969 f444 1"/>
              <a:gd name="f1225" fmla="*/ f970 f445 1"/>
              <a:gd name="f1226" fmla="*/ f971 f444 1"/>
              <a:gd name="f1227" fmla="*/ f972 f444 1"/>
              <a:gd name="f1228" fmla="*/ f973 f445 1"/>
              <a:gd name="f1229" fmla="*/ f974 f444 1"/>
              <a:gd name="f1230" fmla="*/ f975 f445 1"/>
              <a:gd name="f1231" fmla="*/ f976 f444 1"/>
              <a:gd name="f1232" fmla="*/ f977 f445 1"/>
              <a:gd name="f1233" fmla="*/ f978 f444 1"/>
              <a:gd name="f1234" fmla="*/ f979 f445 1"/>
              <a:gd name="f1235" fmla="*/ f980 f445 1"/>
              <a:gd name="f1236" fmla="*/ f981 f445 1"/>
              <a:gd name="f1237" fmla="*/ f982 f444 1"/>
              <a:gd name="f1238" fmla="*/ f983 f444 1"/>
              <a:gd name="f1239" fmla="*/ f984 f444 1"/>
              <a:gd name="f1240" fmla="*/ f985 f444 1"/>
              <a:gd name="f1241" fmla="*/ f986 f444 1"/>
              <a:gd name="f1242" fmla="*/ f987 f444 1"/>
              <a:gd name="f1243" fmla="*/ f988 f444 1"/>
              <a:gd name="f1244" fmla="*/ f989 f444 1"/>
              <a:gd name="f1245" fmla="*/ f990 f445 1"/>
              <a:gd name="f1246" fmla="*/ f991 f444 1"/>
              <a:gd name="f1247" fmla="*/ f992 f445 1"/>
              <a:gd name="f1248" fmla="*/ f993 f444 1"/>
              <a:gd name="f1249" fmla="*/ f994 f444 1"/>
              <a:gd name="f1250" fmla="*/ f995 f445 1"/>
              <a:gd name="f1251" fmla="*/ f996 f444 1"/>
              <a:gd name="f1252" fmla="*/ f997 f445 1"/>
              <a:gd name="f1253" fmla="*/ f998 f444 1"/>
              <a:gd name="f1254" fmla="*/ f999 f444 1"/>
              <a:gd name="f1255" fmla="*/ f1000 f445 1"/>
              <a:gd name="f1256" fmla="*/ f1001 f444 1"/>
              <a:gd name="f1257" fmla="*/ f1002 f445 1"/>
              <a:gd name="f1258" fmla="*/ f1003 f444 1"/>
              <a:gd name="f1259" fmla="*/ f1004 f444 1"/>
              <a:gd name="f1260" fmla="*/ f1005 f445 1"/>
              <a:gd name="f1261" fmla="*/ f1006 f444 1"/>
              <a:gd name="f1262" fmla="*/ f1007 f444 1"/>
              <a:gd name="f1263" fmla="*/ f1008 f444 1"/>
              <a:gd name="f1264" fmla="*/ f1009 f445 1"/>
              <a:gd name="f1265" fmla="*/ f1010 f444 1"/>
              <a:gd name="f1266" fmla="*/ f1011 f445 1"/>
              <a:gd name="f1267" fmla="*/ f1012 f444 1"/>
              <a:gd name="f1268" fmla="*/ f1013 f444 1"/>
              <a:gd name="f1269" fmla="*/ f1014 f444 1"/>
              <a:gd name="f1270" fmla="*/ f1015 f445 1"/>
              <a:gd name="f1271" fmla="*/ f1016 f444 1"/>
              <a:gd name="f1272" fmla="*/ f1017 f444 1"/>
              <a:gd name="f1273" fmla="*/ f1018 f444 1"/>
              <a:gd name="f1274" fmla="*/ f1019 f445 1"/>
              <a:gd name="f1275" fmla="*/ f1020 f444 1"/>
              <a:gd name="f1276" fmla="*/ f1021 f444 1"/>
              <a:gd name="f1277" fmla="*/ f1022 f444 1"/>
              <a:gd name="f1278" fmla="*/ f1023 f445 1"/>
              <a:gd name="f1279" fmla="*/ f1024 f444 1"/>
              <a:gd name="f1280" fmla="*/ f1025 f444 1"/>
              <a:gd name="f1281" fmla="*/ f1026 f444 1"/>
              <a:gd name="f1282" fmla="*/ f1027 f444 1"/>
              <a:gd name="f1283" fmla="*/ f1028 f444 1"/>
              <a:gd name="f1284" fmla="*/ f1029 f444 1"/>
              <a:gd name="f1285" fmla="*/ f1030 f444 1"/>
              <a:gd name="f1286" fmla="*/ f1031 f444 1"/>
              <a:gd name="f1287" fmla="*/ f1032 f445 1"/>
              <a:gd name="f1288" fmla="*/ f1033 f444 1"/>
              <a:gd name="f1289" fmla="*/ f1034 f444 1"/>
              <a:gd name="f1290" fmla="*/ f1035 f444 1"/>
              <a:gd name="f1291" fmla="*/ f1036 f444 1"/>
              <a:gd name="f1292" fmla="*/ f1037 f444 1"/>
              <a:gd name="f1293" fmla="*/ f1038 f444 1"/>
              <a:gd name="f1294" fmla="*/ f1039 f444 1"/>
              <a:gd name="f1295" fmla="*/ f1040 f444 1"/>
              <a:gd name="f1296" fmla="*/ f1041 f444 1"/>
              <a:gd name="f1297" fmla="*/ f1042 f444 1"/>
              <a:gd name="f1298" fmla="*/ f1043 f444 1"/>
              <a:gd name="f1299" fmla="*/ f1044 f444 1"/>
              <a:gd name="f1300" fmla="*/ f1045 f445 1"/>
              <a:gd name="f1301" fmla="*/ f1046 f444 1"/>
              <a:gd name="f1302" fmla="*/ f1047 f444 1"/>
              <a:gd name="f1303" fmla="*/ f1048 f445 1"/>
              <a:gd name="f1304" fmla="*/ f1049 f445 1"/>
              <a:gd name="f1305" fmla="*/ f1050 f444 1"/>
              <a:gd name="f1306" fmla="*/ f1051 f444 1"/>
              <a:gd name="f1307" fmla="*/ f1052 f444 1"/>
              <a:gd name="f1308" fmla="*/ f1053 f445 1"/>
              <a:gd name="f1309" fmla="*/ f1054 f444 1"/>
              <a:gd name="f1310" fmla="*/ f1055 f444 1"/>
              <a:gd name="f1311" fmla="*/ f1056 f444 1"/>
              <a:gd name="f1312" fmla="*/ f1057 f445 1"/>
              <a:gd name="f1313" fmla="*/ f1058 f444 1"/>
              <a:gd name="f1314" fmla="*/ f1059 f444 1"/>
              <a:gd name="f1315" fmla="*/ f1060 f444 1"/>
              <a:gd name="f1316" fmla="*/ f1061 f445 1"/>
              <a:gd name="f1317" fmla="*/ f1062 f444 1"/>
              <a:gd name="f1318" fmla="*/ f1063 f445 1"/>
              <a:gd name="f1319" fmla="*/ f1064 f444 1"/>
              <a:gd name="f1320" fmla="*/ f1065 f445 1"/>
              <a:gd name="f1321" fmla="*/ f1066 f445 1"/>
              <a:gd name="f1322" fmla="*/ f1067 f444 1"/>
              <a:gd name="f1323" fmla="*/ f1068 f444 1"/>
              <a:gd name="f1324" fmla="*/ f1069 f444 1"/>
              <a:gd name="f1325" fmla="*/ f1070 f445 1"/>
              <a:gd name="f1326" fmla="*/ f1071 f445 1"/>
              <a:gd name="f1327" fmla="*/ f1072 f444 1"/>
              <a:gd name="f1328" fmla="*/ f1073 f444 1"/>
              <a:gd name="f1329" fmla="*/ f1074 f444 1"/>
              <a:gd name="f1330" fmla="*/ f1075 f444 1"/>
              <a:gd name="f1331" fmla="*/ f1076 f444 1"/>
              <a:gd name="f1332" fmla="*/ f1077 f444 1"/>
              <a:gd name="f1333" fmla="*/ f1078 f444 1"/>
              <a:gd name="f1334" fmla="*/ f1079 f444 1"/>
              <a:gd name="f1335" fmla="*/ f1080 f444 1"/>
              <a:gd name="f1336" fmla="*/ f1081 f444 1"/>
              <a:gd name="f1337" fmla="*/ f1082 f444 1"/>
              <a:gd name="f1338" fmla="*/ f1083 f444 1"/>
              <a:gd name="f1339" fmla="*/ f1084 f444 1"/>
              <a:gd name="f1340" fmla="*/ f1085 f444 1"/>
              <a:gd name="f1341" fmla="*/ f1086 f444 1"/>
              <a:gd name="f1342" fmla="*/ f1087 f444 1"/>
              <a:gd name="f1343" fmla="*/ f1088 f445 1"/>
              <a:gd name="f1344" fmla="*/ f1089 f444 1"/>
              <a:gd name="f1345" fmla="*/ f1090 f444 1"/>
              <a:gd name="f1346" fmla="*/ f1091 f444 1"/>
              <a:gd name="f1347" fmla="*/ f1092 f445 1"/>
              <a:gd name="f1348" fmla="*/ f1093 f444 1"/>
              <a:gd name="f1349" fmla="*/ f1094 f445 1"/>
              <a:gd name="f1350" fmla="*/ f1095 f444 1"/>
              <a:gd name="f1351" fmla="*/ f1096 f444 1"/>
              <a:gd name="f1352" fmla="*/ f1097 f445 1"/>
              <a:gd name="f1353" fmla="*/ f1098 f444 1"/>
              <a:gd name="f1354" fmla="*/ f1099 f445 1"/>
              <a:gd name="f1355" fmla="*/ f1100 f444 1"/>
              <a:gd name="f1356" fmla="*/ f1101 f445 1"/>
              <a:gd name="f1357" fmla="*/ f1102 f444 1"/>
              <a:gd name="f1358" fmla="*/ f1103 f445 1"/>
              <a:gd name="f1359" fmla="*/ f1104 f444 1"/>
              <a:gd name="f1360" fmla="*/ f1105 f445 1"/>
              <a:gd name="f1361" fmla="*/ f1106 f444 1"/>
              <a:gd name="f1362" fmla="*/ f1107 f444 1"/>
              <a:gd name="f1363" fmla="*/ f1108 f445 1"/>
              <a:gd name="f1364" fmla="*/ f1109 f444 1"/>
              <a:gd name="f1365" fmla="*/ f1110 f445 1"/>
              <a:gd name="f1366" fmla="*/ f1111 f444 1"/>
              <a:gd name="f1367" fmla="*/ f1112 f444 1"/>
              <a:gd name="f1368" fmla="*/ f1113 f445 1"/>
              <a:gd name="f1369" fmla="*/ f1114 f444 1"/>
              <a:gd name="f1370" fmla="*/ f1115 f445 1"/>
              <a:gd name="f1371" fmla="*/ f1116 f444 1"/>
              <a:gd name="f1372" fmla="*/ f1117 f444 1"/>
              <a:gd name="f1373" fmla="*/ f1118 f445 1"/>
              <a:gd name="f1374" fmla="*/ f1119 f444 1"/>
              <a:gd name="f1375" fmla="*/ f1120 f445 1"/>
              <a:gd name="f1376" fmla="*/ f1121 f444 1"/>
              <a:gd name="f1377" fmla="*/ f1122 f445 1"/>
              <a:gd name="f1378" fmla="*/ f1123 f444 1"/>
              <a:gd name="f1379" fmla="*/ f1124 f445 1"/>
              <a:gd name="f1380" fmla="*/ f1125 f444 1"/>
              <a:gd name="f1381" fmla="*/ f1126 f444 1"/>
              <a:gd name="f1382" fmla="*/ f1127 f444 1"/>
              <a:gd name="f1383" fmla="*/ f1128 f444 1"/>
              <a:gd name="f1384" fmla="*/ f1129 f444 1"/>
              <a:gd name="f1385" fmla="*/ f1130 f445 1"/>
              <a:gd name="f1386" fmla="*/ f1131 f444 1"/>
              <a:gd name="f1387" fmla="*/ f1132 f445 1"/>
              <a:gd name="f1388" fmla="*/ f1133 f444 1"/>
              <a:gd name="f1389" fmla="*/ f1134 f444 1"/>
              <a:gd name="f1390" fmla="*/ f1135 f445 1"/>
              <a:gd name="f1391" fmla="*/ f1136 f444 1"/>
              <a:gd name="f1392" fmla="*/ f1137 f444 1"/>
              <a:gd name="f1393" fmla="*/ f1138 f444 1"/>
              <a:gd name="f1394" fmla="*/ f1139 f444 1"/>
              <a:gd name="f1395" fmla="*/ f1140 f444 1"/>
              <a:gd name="f1396" fmla="*/ f1141 f444 1"/>
              <a:gd name="f1397" fmla="*/ f1142 f444 1"/>
              <a:gd name="f1398" fmla="*/ f1143 f445 1"/>
              <a:gd name="f1399" fmla="*/ f1144 f445 1"/>
              <a:gd name="f1400" fmla="*/ f1145 f444 1"/>
              <a:gd name="f1401" fmla="*/ f1146 f444 1"/>
              <a:gd name="f1402" fmla="*/ f1147 f445 1"/>
              <a:gd name="f1403" fmla="*/ f1148 f444 1"/>
              <a:gd name="f1404" fmla="*/ f1149 f445 1"/>
              <a:gd name="f1405" fmla="*/ f1150 f444 1"/>
              <a:gd name="f1406" fmla="*/ f1151 f445 1"/>
              <a:gd name="f1407" fmla="*/ f1152 f444 1"/>
              <a:gd name="f1408" fmla="*/ f1153 f445 1"/>
              <a:gd name="f1409" fmla="*/ f1154 f444 1"/>
              <a:gd name="f1410" fmla="*/ f1155 f444 1"/>
              <a:gd name="f1411" fmla="*/ f1156 f444 1"/>
              <a:gd name="f1412" fmla="*/ f1157 f444 1"/>
              <a:gd name="f1413" fmla="*/ f1158 f445 1"/>
              <a:gd name="f1414" fmla="*/ f1159 f444 1"/>
              <a:gd name="f1415" fmla="*/ f1160 f445 1"/>
              <a:gd name="f1416" fmla="*/ f1161 f444 1"/>
              <a:gd name="f1417" fmla="*/ f1162 f444 1"/>
              <a:gd name="f1418" fmla="*/ f1163 f444 1"/>
              <a:gd name="f1419" fmla="*/ f1164 f445 1"/>
              <a:gd name="f1420" fmla="*/ f1165 f444 1"/>
              <a:gd name="f1421" fmla="*/ f1166 f444 1"/>
              <a:gd name="f1422" fmla="*/ f1167 f445 1"/>
              <a:gd name="f1423" fmla="*/ f1168 f444 1"/>
              <a:gd name="f1424" fmla="*/ f1169 f445 1"/>
              <a:gd name="f1425" fmla="*/ f1170 f444 1"/>
              <a:gd name="f1426" fmla="*/ f1171 f445 1"/>
              <a:gd name="f1427" fmla="*/ f1172 f445 1"/>
              <a:gd name="f1428" fmla="*/ f1173 f444 1"/>
              <a:gd name="f1429" fmla="*/ f1174 f444 1"/>
              <a:gd name="f1430" fmla="*/ f1175 f444 1"/>
              <a:gd name="f1431" fmla="*/ f1176 f445 1"/>
              <a:gd name="f1432" fmla="*/ f1177 f444 1"/>
              <a:gd name="f1433" fmla="*/ f1178 f444 1"/>
              <a:gd name="f1434" fmla="*/ f1179 f444 1"/>
              <a:gd name="f1435" fmla="*/ f1180 f445 1"/>
              <a:gd name="f1436" fmla="*/ f1181 f444 1"/>
              <a:gd name="f1437" fmla="*/ f1182 f445 1"/>
              <a:gd name="f1438" fmla="*/ f1183 f444 1"/>
              <a:gd name="f1439" fmla="*/ f1184 f444 1"/>
              <a:gd name="f1440" fmla="*/ f1185 f445 1"/>
              <a:gd name="f1441" fmla="*/ f1186 f444 1"/>
              <a:gd name="f1442" fmla="*/ f1187 f444 1"/>
              <a:gd name="f1443" fmla="*/ f1188 f444 1"/>
              <a:gd name="f1444" fmla="*/ f1189 f444 1"/>
              <a:gd name="f1445" fmla="*/ f1190 f444 1"/>
              <a:gd name="f1446" fmla="*/ f1191 f444 1"/>
              <a:gd name="f1447" fmla="*/ f1192 f445 1"/>
              <a:gd name="f1448" fmla="*/ f1193 f444 1"/>
              <a:gd name="f1449" fmla="*/ f1194 f444 1"/>
              <a:gd name="f1450" fmla="*/ f1195 f444 1"/>
              <a:gd name="f1451" fmla="*/ f1196 f444 1"/>
              <a:gd name="f1452" fmla="*/ f1197 f445 1"/>
              <a:gd name="f1453" fmla="*/ f1198 f445 1"/>
              <a:gd name="f1454" fmla="*/ f1199 f444 1"/>
              <a:gd name="f1455" fmla="*/ f1200 f444 1"/>
              <a:gd name="f1456" fmla="*/ f1201 f444 1"/>
              <a:gd name="f1457" fmla="*/ f1202 f444 1"/>
              <a:gd name="f1458" fmla="*/ f1203 f444 1"/>
              <a:gd name="f1459" fmla="*/ f1204 f444 1"/>
              <a:gd name="f1460" fmla="*/ f1205 f444 1"/>
              <a:gd name="f1461" fmla="*/ f1206 f444 1"/>
              <a:gd name="f1462" fmla="*/ f1207 f444 1"/>
              <a:gd name="f1463" fmla="*/ f1208 f444 1"/>
              <a:gd name="f1464" fmla="*/ f1209 f444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958">
                <a:pos x="f1214" y="f1215"/>
              </a:cxn>
              <a:cxn ang="f958">
                <a:pos x="f1216" y="f1215"/>
              </a:cxn>
              <a:cxn ang="f958">
                <a:pos x="f1216" y="f1217"/>
              </a:cxn>
              <a:cxn ang="f958">
                <a:pos x="f1214" y="f1217"/>
              </a:cxn>
              <a:cxn ang="f958">
                <a:pos x="f1214" y="f1215"/>
              </a:cxn>
              <a:cxn ang="f958">
                <a:pos x="f1218" y="f1219"/>
              </a:cxn>
              <a:cxn ang="f958">
                <a:pos x="f1218" y="f1220"/>
              </a:cxn>
              <a:cxn ang="f958">
                <a:pos x="f1221" y="f1220"/>
              </a:cxn>
              <a:cxn ang="f958">
                <a:pos x="f1222" y="f1223"/>
              </a:cxn>
              <a:cxn ang="f958">
                <a:pos x="f1221" y="f1219"/>
              </a:cxn>
              <a:cxn ang="f958">
                <a:pos x="f1218" y="f1219"/>
              </a:cxn>
              <a:cxn ang="f958">
                <a:pos x="f1224" y="f1219"/>
              </a:cxn>
              <a:cxn ang="f958">
                <a:pos x="f1224" y="f1225"/>
              </a:cxn>
              <a:cxn ang="f958">
                <a:pos x="f1226" y="f1225"/>
              </a:cxn>
              <a:cxn ang="f958">
                <a:pos x="f1227" y="f1228"/>
              </a:cxn>
              <a:cxn ang="f958">
                <a:pos x="f1226" y="f1219"/>
              </a:cxn>
              <a:cxn ang="f958">
                <a:pos x="f1224" y="f1219"/>
              </a:cxn>
              <a:cxn ang="f958">
                <a:pos x="f1229" y="f1230"/>
              </a:cxn>
              <a:cxn ang="f958">
                <a:pos x="f1231" y="f1232"/>
              </a:cxn>
              <a:cxn ang="f958">
                <a:pos x="f1233" y="f1234"/>
              </a:cxn>
              <a:cxn ang="f958">
                <a:pos x="f1231" y="f1235"/>
              </a:cxn>
              <a:cxn ang="f958">
                <a:pos x="f1229" y="f1236"/>
              </a:cxn>
              <a:cxn ang="f958">
                <a:pos x="f1237" y="f1235"/>
              </a:cxn>
              <a:cxn ang="f958">
                <a:pos x="f1238" y="f1234"/>
              </a:cxn>
              <a:cxn ang="f958">
                <a:pos x="f1237" y="f1232"/>
              </a:cxn>
              <a:cxn ang="f958">
                <a:pos x="f1229" y="f1230"/>
              </a:cxn>
              <a:cxn ang="f958">
                <a:pos x="f1239" y="f1230"/>
              </a:cxn>
              <a:cxn ang="f958">
                <a:pos x="f1240" y="f1232"/>
              </a:cxn>
              <a:cxn ang="f958">
                <a:pos x="f1241" y="f1234"/>
              </a:cxn>
              <a:cxn ang="f958">
                <a:pos x="f1240" y="f1235"/>
              </a:cxn>
              <a:cxn ang="f958">
                <a:pos x="f1239" y="f1236"/>
              </a:cxn>
              <a:cxn ang="f958">
                <a:pos x="f1242" y="f1235"/>
              </a:cxn>
              <a:cxn ang="f958">
                <a:pos x="f1243" y="f1234"/>
              </a:cxn>
              <a:cxn ang="f958">
                <a:pos x="f1242" y="f1232"/>
              </a:cxn>
              <a:cxn ang="f958">
                <a:pos x="f1239" y="f1230"/>
              </a:cxn>
              <a:cxn ang="f958">
                <a:pos x="f1244" y="f1245"/>
              </a:cxn>
              <a:cxn ang="f958">
                <a:pos x="f1221" y="f1245"/>
              </a:cxn>
              <a:cxn ang="f958">
                <a:pos x="f1246" y="f1247"/>
              </a:cxn>
              <a:cxn ang="f958">
                <a:pos x="f1248" y="f1223"/>
              </a:cxn>
              <a:cxn ang="f958">
                <a:pos x="f1249" y="f1250"/>
              </a:cxn>
              <a:cxn ang="f958">
                <a:pos x="f1251" y="f1252"/>
              </a:cxn>
              <a:cxn ang="f958">
                <a:pos x="f1218" y="f1252"/>
              </a:cxn>
              <a:cxn ang="f958">
                <a:pos x="f1218" y="f1215"/>
              </a:cxn>
              <a:cxn ang="f958">
                <a:pos x="f1244" y="f1215"/>
              </a:cxn>
              <a:cxn ang="f958">
                <a:pos x="f1244" y="f1245"/>
              </a:cxn>
              <a:cxn ang="f958">
                <a:pos x="f1253" y="f1245"/>
              </a:cxn>
              <a:cxn ang="f958">
                <a:pos x="f1254" y="f1245"/>
              </a:cxn>
              <a:cxn ang="f958">
                <a:pos x="f1254" y="f1255"/>
              </a:cxn>
              <a:cxn ang="f958">
                <a:pos x="f1256" y="f1257"/>
              </a:cxn>
              <a:cxn ang="f958">
                <a:pos x="f1258" y="f1255"/>
              </a:cxn>
              <a:cxn ang="f958">
                <a:pos x="f1258" y="f1245"/>
              </a:cxn>
              <a:cxn ang="f958">
                <a:pos x="f1259" y="f1245"/>
              </a:cxn>
              <a:cxn ang="f958">
                <a:pos x="f1259" y="f1255"/>
              </a:cxn>
              <a:cxn ang="f958">
                <a:pos x="f1256" y="f1260"/>
              </a:cxn>
              <a:cxn ang="f958">
                <a:pos x="f1253" y="f1255"/>
              </a:cxn>
              <a:cxn ang="f958">
                <a:pos x="f1253" y="f1245"/>
              </a:cxn>
              <a:cxn ang="f958">
                <a:pos x="f1261" y="f1245"/>
              </a:cxn>
              <a:cxn ang="f958">
                <a:pos x="f1226" y="f1245"/>
              </a:cxn>
              <a:cxn ang="f958">
                <a:pos x="f1262" y="f1247"/>
              </a:cxn>
              <a:cxn ang="f958">
                <a:pos x="f1263" y="f1228"/>
              </a:cxn>
              <a:cxn ang="f958">
                <a:pos x="f1262" y="f1264"/>
              </a:cxn>
              <a:cxn ang="f958">
                <a:pos x="f1265" y="f1266"/>
              </a:cxn>
              <a:cxn ang="f958">
                <a:pos x="f1267" y="f1215"/>
              </a:cxn>
              <a:cxn ang="f958">
                <a:pos x="f1268" y="f1215"/>
              </a:cxn>
              <a:cxn ang="f958">
                <a:pos x="f1269" y="f1270"/>
              </a:cxn>
              <a:cxn ang="f958">
                <a:pos x="f1224" y="f1270"/>
              </a:cxn>
              <a:cxn ang="f958">
                <a:pos x="f1224" y="f1215"/>
              </a:cxn>
              <a:cxn ang="f958">
                <a:pos x="f1261" y="f1215"/>
              </a:cxn>
              <a:cxn ang="f958">
                <a:pos x="f1261" y="f1245"/>
              </a:cxn>
              <a:cxn ang="f958">
                <a:pos x="f1271" y="f1245"/>
              </a:cxn>
              <a:cxn ang="f958">
                <a:pos x="f1272" y="f1245"/>
              </a:cxn>
              <a:cxn ang="f958">
                <a:pos x="f1273" y="f1274"/>
              </a:cxn>
              <a:cxn ang="f958">
                <a:pos x="f1273" y="f1245"/>
              </a:cxn>
              <a:cxn ang="f958">
                <a:pos x="f1275" y="f1245"/>
              </a:cxn>
              <a:cxn ang="f958">
                <a:pos x="f1275" y="f1215"/>
              </a:cxn>
              <a:cxn ang="f958">
                <a:pos x="f1276" y="f1215"/>
              </a:cxn>
              <a:cxn ang="f958">
                <a:pos x="f1277" y="f1278"/>
              </a:cxn>
              <a:cxn ang="f958">
                <a:pos x="f1277" y="f1215"/>
              </a:cxn>
              <a:cxn ang="f958">
                <a:pos x="f1271" y="f1215"/>
              </a:cxn>
              <a:cxn ang="f958">
                <a:pos x="f1271" y="f1245"/>
              </a:cxn>
              <a:cxn ang="f958">
                <a:pos x="f1279" y="f1245"/>
              </a:cxn>
              <a:cxn ang="f958">
                <a:pos x="f1280" y="f1245"/>
              </a:cxn>
              <a:cxn ang="f958">
                <a:pos x="f1280" y="f1215"/>
              </a:cxn>
              <a:cxn ang="f958">
                <a:pos x="f1279" y="f1215"/>
              </a:cxn>
              <a:cxn ang="f958">
                <a:pos x="f1279" y="f1245"/>
              </a:cxn>
              <a:cxn ang="f958">
                <a:pos x="f1281" y="f1245"/>
              </a:cxn>
              <a:cxn ang="f958">
                <a:pos x="f1282" y="f1245"/>
              </a:cxn>
              <a:cxn ang="f958">
                <a:pos x="f1282" y="f1219"/>
              </a:cxn>
              <a:cxn ang="f958">
                <a:pos x="f1283" y="f1219"/>
              </a:cxn>
              <a:cxn ang="f958">
                <a:pos x="f1283" y="f1215"/>
              </a:cxn>
              <a:cxn ang="f958">
                <a:pos x="f1284" y="f1215"/>
              </a:cxn>
              <a:cxn ang="f958">
                <a:pos x="f1284" y="f1219"/>
              </a:cxn>
              <a:cxn ang="f958">
                <a:pos x="f1281" y="f1219"/>
              </a:cxn>
              <a:cxn ang="f958">
                <a:pos x="f1281" y="f1245"/>
              </a:cxn>
              <a:cxn ang="f958">
                <a:pos x="f1285" y="f1245"/>
              </a:cxn>
              <a:cxn ang="f958">
                <a:pos x="f1286" y="f1245"/>
              </a:cxn>
              <a:cxn ang="f958">
                <a:pos x="f1286" y="f1287"/>
              </a:cxn>
              <a:cxn ang="f958">
                <a:pos x="f1288" y="f1287"/>
              </a:cxn>
              <a:cxn ang="f958">
                <a:pos x="f1288" y="f1215"/>
              </a:cxn>
              <a:cxn ang="f958">
                <a:pos x="f1285" y="f1215"/>
              </a:cxn>
              <a:cxn ang="f958">
                <a:pos x="f1285" y="f1245"/>
              </a:cxn>
              <a:cxn ang="f958">
                <a:pos x="f1289" y="f1245"/>
              </a:cxn>
              <a:cxn ang="f958">
                <a:pos x="f1290" y="f1245"/>
              </a:cxn>
              <a:cxn ang="f958">
                <a:pos x="f1290" y="f1255"/>
              </a:cxn>
              <a:cxn ang="f958">
                <a:pos x="f1291" y="f1257"/>
              </a:cxn>
              <a:cxn ang="f958">
                <a:pos x="f1292" y="f1255"/>
              </a:cxn>
              <a:cxn ang="f958">
                <a:pos x="f1292" y="f1245"/>
              </a:cxn>
              <a:cxn ang="f958">
                <a:pos x="f1293" y="f1245"/>
              </a:cxn>
              <a:cxn ang="f958">
                <a:pos x="f1293" y="f1255"/>
              </a:cxn>
              <a:cxn ang="f958">
                <a:pos x="f1291" y="f1260"/>
              </a:cxn>
              <a:cxn ang="f958">
                <a:pos x="f1289" y="f1255"/>
              </a:cxn>
              <a:cxn ang="f958">
                <a:pos x="f1289" y="f1245"/>
              </a:cxn>
              <a:cxn ang="f958">
                <a:pos x="f1294" y="f1245"/>
              </a:cxn>
              <a:cxn ang="f958">
                <a:pos x="f1295" y="f1245"/>
              </a:cxn>
              <a:cxn ang="f958">
                <a:pos x="f1296" y="f1274"/>
              </a:cxn>
              <a:cxn ang="f958">
                <a:pos x="f1296" y="f1245"/>
              </a:cxn>
              <a:cxn ang="f958">
                <a:pos x="f1297" y="f1245"/>
              </a:cxn>
              <a:cxn ang="f958">
                <a:pos x="f1297" y="f1215"/>
              </a:cxn>
              <a:cxn ang="f958">
                <a:pos x="f1298" y="f1215"/>
              </a:cxn>
              <a:cxn ang="f958">
                <a:pos x="f1299" y="f1278"/>
              </a:cxn>
              <a:cxn ang="f958">
                <a:pos x="f1299" y="f1215"/>
              </a:cxn>
              <a:cxn ang="f958">
                <a:pos x="f1294" y="f1215"/>
              </a:cxn>
              <a:cxn ang="f958">
                <a:pos x="f1294" y="f1245"/>
              </a:cxn>
              <a:cxn ang="f958">
                <a:pos x="f1229" y="f1300"/>
              </a:cxn>
              <a:cxn ang="f958">
                <a:pos x="f1301" y="f1247"/>
              </a:cxn>
              <a:cxn ang="f958">
                <a:pos x="f1302" y="f1234"/>
              </a:cxn>
              <a:cxn ang="f958">
                <a:pos x="f1301" y="f1303"/>
              </a:cxn>
              <a:cxn ang="f958">
                <a:pos x="f1229" y="f1304"/>
              </a:cxn>
              <a:cxn ang="f958">
                <a:pos x="f1233" y="f1303"/>
              </a:cxn>
              <a:cxn ang="f958">
                <a:pos x="f1305" y="f1234"/>
              </a:cxn>
              <a:cxn ang="f958">
                <a:pos x="f1233" y="f1247"/>
              </a:cxn>
              <a:cxn ang="f958">
                <a:pos x="f1229" y="f1300"/>
              </a:cxn>
              <a:cxn ang="f958">
                <a:pos x="f1306" y="f1300"/>
              </a:cxn>
              <a:cxn ang="f958">
                <a:pos x="f1307" y="f1308"/>
              </a:cxn>
              <a:cxn ang="f958">
                <a:pos x="f1309" y="f1228"/>
              </a:cxn>
              <a:cxn ang="f958">
                <a:pos x="f1310" y="f1228"/>
              </a:cxn>
              <a:cxn ang="f958">
                <a:pos x="f1311" y="f1312"/>
              </a:cxn>
              <a:cxn ang="f958">
                <a:pos x="f1306" y="f1230"/>
              </a:cxn>
              <a:cxn ang="f958">
                <a:pos x="f1313" y="f1232"/>
              </a:cxn>
              <a:cxn ang="f958">
                <a:pos x="f1314" y="f1234"/>
              </a:cxn>
              <a:cxn ang="f958">
                <a:pos x="f1315" y="f1316"/>
              </a:cxn>
              <a:cxn ang="f958">
                <a:pos x="f1306" y="f1257"/>
              </a:cxn>
              <a:cxn ang="f958">
                <a:pos x="f1317" y="f1318"/>
              </a:cxn>
              <a:cxn ang="f958">
                <a:pos x="f1319" y="f1320"/>
              </a:cxn>
              <a:cxn ang="f958">
                <a:pos x="f1306" y="f1320"/>
              </a:cxn>
              <a:cxn ang="f958">
                <a:pos x="f1306" y="f1321"/>
              </a:cxn>
              <a:cxn ang="f958">
                <a:pos x="f1322" y="f1321"/>
              </a:cxn>
              <a:cxn ang="f958">
                <a:pos x="f1322" y="f1215"/>
              </a:cxn>
              <a:cxn ang="f958">
                <a:pos x="f1323" y="f1215"/>
              </a:cxn>
              <a:cxn ang="f958">
                <a:pos x="f1324" y="f1325"/>
              </a:cxn>
              <a:cxn ang="f958">
                <a:pos x="f1306" y="f1304"/>
              </a:cxn>
              <a:cxn ang="f958">
                <a:pos x="f1314" y="f1326"/>
              </a:cxn>
              <a:cxn ang="f958">
                <a:pos x="f1327" y="f1234"/>
              </a:cxn>
              <a:cxn ang="f958">
                <a:pos x="f1314" y="f1247"/>
              </a:cxn>
              <a:cxn ang="f958">
                <a:pos x="f1306" y="f1300"/>
              </a:cxn>
              <a:cxn ang="f958">
                <a:pos x="f1328" y="f1300"/>
              </a:cxn>
              <a:cxn ang="f958">
                <a:pos x="f1329" y="f1308"/>
              </a:cxn>
              <a:cxn ang="f958">
                <a:pos x="f1330" y="f1228"/>
              </a:cxn>
              <a:cxn ang="f958">
                <a:pos x="f1331" y="f1228"/>
              </a:cxn>
              <a:cxn ang="f958">
                <a:pos x="f1332" y="f1312"/>
              </a:cxn>
              <a:cxn ang="f958">
                <a:pos x="f1328" y="f1230"/>
              </a:cxn>
              <a:cxn ang="f958">
                <a:pos x="f1333" y="f1232"/>
              </a:cxn>
              <a:cxn ang="f958">
                <a:pos x="f1334" y="f1234"/>
              </a:cxn>
              <a:cxn ang="f958">
                <a:pos x="f1333" y="f1316"/>
              </a:cxn>
              <a:cxn ang="f958">
                <a:pos x="f1328" y="f1257"/>
              </a:cxn>
              <a:cxn ang="f958">
                <a:pos x="f1335" y="f1318"/>
              </a:cxn>
              <a:cxn ang="f958">
                <a:pos x="f1336" y="f1320"/>
              </a:cxn>
              <a:cxn ang="f958">
                <a:pos x="f1328" y="f1320"/>
              </a:cxn>
              <a:cxn ang="f958">
                <a:pos x="f1328" y="f1321"/>
              </a:cxn>
              <a:cxn ang="f958">
                <a:pos x="f1337" y="f1321"/>
              </a:cxn>
              <a:cxn ang="f958">
                <a:pos x="f1337" y="f1215"/>
              </a:cxn>
              <a:cxn ang="f958">
                <a:pos x="f1338" y="f1215"/>
              </a:cxn>
              <a:cxn ang="f958">
                <a:pos x="f1339" y="f1325"/>
              </a:cxn>
              <a:cxn ang="f958">
                <a:pos x="f1328" y="f1304"/>
              </a:cxn>
              <a:cxn ang="f958">
                <a:pos x="f1334" y="f1326"/>
              </a:cxn>
              <a:cxn ang="f958">
                <a:pos x="f1340" y="f1234"/>
              </a:cxn>
              <a:cxn ang="f958">
                <a:pos x="f1334" y="f1247"/>
              </a:cxn>
              <a:cxn ang="f958">
                <a:pos x="f1328" y="f1300"/>
              </a:cxn>
              <a:cxn ang="f958">
                <a:pos x="f1341" y="f1300"/>
              </a:cxn>
              <a:cxn ang="f958">
                <a:pos x="f1342" y="f1343"/>
              </a:cxn>
              <a:cxn ang="f958">
                <a:pos x="f1344" y="f1228"/>
              </a:cxn>
              <a:cxn ang="f958">
                <a:pos x="f1345" y="f1228"/>
              </a:cxn>
              <a:cxn ang="f958">
                <a:pos x="f1346" y="f1347"/>
              </a:cxn>
              <a:cxn ang="f958">
                <a:pos x="f1348" y="f1349"/>
              </a:cxn>
              <a:cxn ang="f958">
                <a:pos x="f1350" y="f1347"/>
              </a:cxn>
              <a:cxn ang="f958">
                <a:pos x="f1351" y="f1352"/>
              </a:cxn>
              <a:cxn ang="f958">
                <a:pos x="f1353" y="f1354"/>
              </a:cxn>
              <a:cxn ang="f958">
                <a:pos x="f1355" y="f1356"/>
              </a:cxn>
              <a:cxn ang="f958">
                <a:pos x="f1357" y="f1358"/>
              </a:cxn>
              <a:cxn ang="f958">
                <a:pos x="f1359" y="f1360"/>
              </a:cxn>
              <a:cxn ang="f958">
                <a:pos x="f1361" y="f1260"/>
              </a:cxn>
              <a:cxn ang="f958">
                <a:pos x="f1362" y="f1363"/>
              </a:cxn>
              <a:cxn ang="f958">
                <a:pos x="f1364" y="f1365"/>
              </a:cxn>
              <a:cxn ang="f958">
                <a:pos x="f1366" y="f1365"/>
              </a:cxn>
              <a:cxn ang="f958">
                <a:pos x="f1367" y="f1368"/>
              </a:cxn>
              <a:cxn ang="f958">
                <a:pos x="f1361" y="f1257"/>
              </a:cxn>
              <a:cxn ang="f958">
                <a:pos x="f1369" y="f1370"/>
              </a:cxn>
              <a:cxn ang="f958">
                <a:pos x="f1371" y="f1358"/>
              </a:cxn>
              <a:cxn ang="f958">
                <a:pos x="f1372" y="f1373"/>
              </a:cxn>
              <a:cxn ang="f958">
                <a:pos x="f1374" y="f1375"/>
              </a:cxn>
              <a:cxn ang="f958">
                <a:pos x="f1376" y="f1377"/>
              </a:cxn>
              <a:cxn ang="f958">
                <a:pos x="f1378" y="f1379"/>
              </a:cxn>
              <a:cxn ang="f958">
                <a:pos x="f1341" y="f1300"/>
              </a:cxn>
              <a:cxn ang="f958">
                <a:pos x="f1239" y="f1300"/>
              </a:cxn>
              <a:cxn ang="f958">
                <a:pos x="f1243" y="f1247"/>
              </a:cxn>
              <a:cxn ang="f958">
                <a:pos x="f1380" y="f1234"/>
              </a:cxn>
              <a:cxn ang="f958">
                <a:pos x="f1243" y="f1303"/>
              </a:cxn>
              <a:cxn ang="f958">
                <a:pos x="f1239" y="f1304"/>
              </a:cxn>
              <a:cxn ang="f958">
                <a:pos x="f1381" y="f1303"/>
              </a:cxn>
              <a:cxn ang="f958">
                <a:pos x="f1382" y="f1234"/>
              </a:cxn>
              <a:cxn ang="f958">
                <a:pos x="f1381" y="f1247"/>
              </a:cxn>
              <a:cxn ang="f958">
                <a:pos x="f1239" y="f1300"/>
              </a:cxn>
              <a:cxn ang="f958">
                <a:pos x="f1383" y="f1300"/>
              </a:cxn>
              <a:cxn ang="f958">
                <a:pos x="f1384" y="f1385"/>
              </a:cxn>
              <a:cxn ang="f958">
                <a:pos x="f1386" y="f1387"/>
              </a:cxn>
              <a:cxn ang="f958">
                <a:pos x="f1388" y="f1387"/>
              </a:cxn>
              <a:cxn ang="f958">
                <a:pos x="f1389" y="f1390"/>
              </a:cxn>
              <a:cxn ang="f958">
                <a:pos x="f1383" y="f1230"/>
              </a:cxn>
              <a:cxn ang="f958">
                <a:pos x="f1391" y="f1232"/>
              </a:cxn>
              <a:cxn ang="f958">
                <a:pos x="f1392" y="f1234"/>
              </a:cxn>
              <a:cxn ang="f958">
                <a:pos x="f1391" y="f1235"/>
              </a:cxn>
              <a:cxn ang="f958">
                <a:pos x="f1383" y="f1257"/>
              </a:cxn>
              <a:cxn ang="f958">
                <a:pos x="f1393" y="f1235"/>
              </a:cxn>
              <a:cxn ang="f958">
                <a:pos x="f1388" y="f1365"/>
              </a:cxn>
              <a:cxn ang="f958">
                <a:pos x="f1394" y="f1365"/>
              </a:cxn>
              <a:cxn ang="f958">
                <a:pos x="f1384" y="f1303"/>
              </a:cxn>
              <a:cxn ang="f958">
                <a:pos x="f1383" y="f1304"/>
              </a:cxn>
              <a:cxn ang="f958">
                <a:pos x="f1395" y="f1303"/>
              </a:cxn>
              <a:cxn ang="f958">
                <a:pos x="f1396" y="f1234"/>
              </a:cxn>
              <a:cxn ang="f958">
                <a:pos x="f1395" y="f1247"/>
              </a:cxn>
              <a:cxn ang="f958">
                <a:pos x="f1383" y="f1300"/>
              </a:cxn>
              <a:cxn ang="f958">
                <a:pos x="f1397" y="f1398"/>
              </a:cxn>
              <a:cxn ang="f958">
                <a:pos x="f1397" y="f1399"/>
              </a:cxn>
              <a:cxn ang="f958">
                <a:pos x="f1400" y="f1399"/>
              </a:cxn>
              <a:cxn ang="f958">
                <a:pos x="f1401" y="f1402"/>
              </a:cxn>
              <a:cxn ang="f958">
                <a:pos x="f1400" y="f1398"/>
              </a:cxn>
              <a:cxn ang="f958">
                <a:pos x="f1397" y="f1398"/>
              </a:cxn>
              <a:cxn ang="f958">
                <a:pos x="f1403" y="f1404"/>
              </a:cxn>
              <a:cxn ang="f958">
                <a:pos x="f1405" y="f1404"/>
              </a:cxn>
              <a:cxn ang="f958">
                <a:pos x="f1405" y="f1406"/>
              </a:cxn>
              <a:cxn ang="f958">
                <a:pos x="f1407" y="f1406"/>
              </a:cxn>
              <a:cxn ang="f958">
                <a:pos x="f1407" y="f1408"/>
              </a:cxn>
              <a:cxn ang="f958">
                <a:pos x="f1409" y="f1408"/>
              </a:cxn>
              <a:cxn ang="f958">
                <a:pos x="f1409" y="f1406"/>
              </a:cxn>
              <a:cxn ang="f958">
                <a:pos x="f1403" y="f1406"/>
              </a:cxn>
              <a:cxn ang="f958">
                <a:pos x="f1410" y="f1404"/>
              </a:cxn>
              <a:cxn ang="f958">
                <a:pos x="f1411" y="f1404"/>
              </a:cxn>
              <a:cxn ang="f958">
                <a:pos x="f1412" y="f1413"/>
              </a:cxn>
              <a:cxn ang="f958">
                <a:pos x="f1414" y="f1415"/>
              </a:cxn>
              <a:cxn ang="f958">
                <a:pos x="f1414" y="f1404"/>
              </a:cxn>
              <a:cxn ang="f958">
                <a:pos x="f1416" y="f1404"/>
              </a:cxn>
              <a:cxn ang="f958">
                <a:pos x="f1416" y="f1408"/>
              </a:cxn>
              <a:cxn ang="f958">
                <a:pos x="f1417" y="f1408"/>
              </a:cxn>
              <a:cxn ang="f958">
                <a:pos x="f1418" y="f1419"/>
              </a:cxn>
              <a:cxn ang="f958">
                <a:pos x="f1418" y="f1408"/>
              </a:cxn>
              <a:cxn ang="f958">
                <a:pos x="f1410" y="f1408"/>
              </a:cxn>
              <a:cxn ang="f958">
                <a:pos x="f1420" y="f1404"/>
              </a:cxn>
              <a:cxn ang="f958">
                <a:pos x="f1421" y="f1404"/>
              </a:cxn>
              <a:cxn ang="f958">
                <a:pos x="f1421" y="f1422"/>
              </a:cxn>
              <a:cxn ang="f958">
                <a:pos x="f1423" y="f1422"/>
              </a:cxn>
              <a:cxn ang="f958">
                <a:pos x="f1423" y="f1424"/>
              </a:cxn>
              <a:cxn ang="f958">
                <a:pos x="f1425" y="f1424"/>
              </a:cxn>
              <a:cxn ang="f958">
                <a:pos x="f1425" y="f1426"/>
              </a:cxn>
              <a:cxn ang="f958">
                <a:pos x="f1423" y="f1426"/>
              </a:cxn>
              <a:cxn ang="f958">
                <a:pos x="f1423" y="f1427"/>
              </a:cxn>
              <a:cxn ang="f958">
                <a:pos x="f1421" y="f1427"/>
              </a:cxn>
              <a:cxn ang="f958">
                <a:pos x="f1421" y="f1408"/>
              </a:cxn>
              <a:cxn ang="f958">
                <a:pos x="f1420" y="f1408"/>
              </a:cxn>
              <a:cxn ang="f958">
                <a:pos x="f1428" y="f1404"/>
              </a:cxn>
              <a:cxn ang="f958">
                <a:pos x="f1429" y="f1404"/>
              </a:cxn>
              <a:cxn ang="f958">
                <a:pos x="f1430" y="f1431"/>
              </a:cxn>
              <a:cxn ang="f958">
                <a:pos x="f1432" y="f1404"/>
              </a:cxn>
              <a:cxn ang="f958">
                <a:pos x="f1433" y="f1404"/>
              </a:cxn>
              <a:cxn ang="f958">
                <a:pos x="f1433" y="f1408"/>
              </a:cxn>
              <a:cxn ang="f958">
                <a:pos x="f1434" y="f1408"/>
              </a:cxn>
              <a:cxn ang="f958">
                <a:pos x="f1434" y="f1435"/>
              </a:cxn>
              <a:cxn ang="f958">
                <a:pos x="f1436" y="f1437"/>
              </a:cxn>
              <a:cxn ang="f958">
                <a:pos x="f1438" y="f1437"/>
              </a:cxn>
              <a:cxn ang="f958">
                <a:pos x="f1439" y="f1440"/>
              </a:cxn>
              <a:cxn ang="f958">
                <a:pos x="f1439" y="f1408"/>
              </a:cxn>
              <a:cxn ang="f958">
                <a:pos x="f1428" y="f1408"/>
              </a:cxn>
              <a:cxn ang="f958">
                <a:pos x="f1441" y="f1404"/>
              </a:cxn>
              <a:cxn ang="f958">
                <a:pos x="f1442" y="f1404"/>
              </a:cxn>
              <a:cxn ang="f958">
                <a:pos x="f1442" y="f1422"/>
              </a:cxn>
              <a:cxn ang="f958">
                <a:pos x="f1443" y="f1422"/>
              </a:cxn>
              <a:cxn ang="f958">
                <a:pos x="f1443" y="f1424"/>
              </a:cxn>
              <a:cxn ang="f958">
                <a:pos x="f1444" y="f1424"/>
              </a:cxn>
              <a:cxn ang="f958">
                <a:pos x="f1444" y="f1426"/>
              </a:cxn>
              <a:cxn ang="f958">
                <a:pos x="f1443" y="f1426"/>
              </a:cxn>
              <a:cxn ang="f958">
                <a:pos x="f1443" y="f1427"/>
              </a:cxn>
              <a:cxn ang="f958">
                <a:pos x="f1442" y="f1427"/>
              </a:cxn>
              <a:cxn ang="f958">
                <a:pos x="f1442" y="f1408"/>
              </a:cxn>
              <a:cxn ang="f958">
                <a:pos x="f1441" y="f1408"/>
              </a:cxn>
              <a:cxn ang="f958">
                <a:pos x="f1445" y="f1404"/>
              </a:cxn>
              <a:cxn ang="f958">
                <a:pos x="f1446" y="f1404"/>
              </a:cxn>
              <a:cxn ang="f958">
                <a:pos x="f1446" y="f1447"/>
              </a:cxn>
              <a:cxn ang="f958">
                <a:pos x="f1448" y="f1447"/>
              </a:cxn>
              <a:cxn ang="f958">
                <a:pos x="f1448" y="f1408"/>
              </a:cxn>
              <a:cxn ang="f958">
                <a:pos x="f1445" y="f1408"/>
              </a:cxn>
              <a:cxn ang="f958">
                <a:pos x="f1449" y="f1404"/>
              </a:cxn>
              <a:cxn ang="f958">
                <a:pos x="f1450" y="f1404"/>
              </a:cxn>
              <a:cxn ang="f958">
                <a:pos x="f1451" y="f1452"/>
              </a:cxn>
              <a:cxn ang="f958">
                <a:pos x="f1450" y="f1453"/>
              </a:cxn>
              <a:cxn ang="f958">
                <a:pos x="f1397" y="f1453"/>
              </a:cxn>
              <a:cxn ang="f958">
                <a:pos x="f1397" y="f1408"/>
              </a:cxn>
              <a:cxn ang="f958">
                <a:pos x="f1449" y="f1408"/>
              </a:cxn>
              <a:cxn ang="f958">
                <a:pos x="f1449" y="f1404"/>
              </a:cxn>
              <a:cxn ang="f958">
                <a:pos x="f1454" y="f1404"/>
              </a:cxn>
              <a:cxn ang="f958">
                <a:pos x="f1455" y="f1404"/>
              </a:cxn>
              <a:cxn ang="f958">
                <a:pos x="f1456" y="f1431"/>
              </a:cxn>
              <a:cxn ang="f958">
                <a:pos x="f1457" y="f1404"/>
              </a:cxn>
              <a:cxn ang="f958">
                <a:pos x="f1458" y="f1404"/>
              </a:cxn>
              <a:cxn ang="f958">
                <a:pos x="f1458" y="f1408"/>
              </a:cxn>
              <a:cxn ang="f958">
                <a:pos x="f1459" y="f1408"/>
              </a:cxn>
              <a:cxn ang="f958">
                <a:pos x="f1459" y="f1435"/>
              </a:cxn>
              <a:cxn ang="f958">
                <a:pos x="f1460" y="f1437"/>
              </a:cxn>
              <a:cxn ang="f958">
                <a:pos x="f1461" y="f1437"/>
              </a:cxn>
              <a:cxn ang="f958">
                <a:pos x="f1462" y="f1440"/>
              </a:cxn>
              <a:cxn ang="f958">
                <a:pos x="f1462" y="f1408"/>
              </a:cxn>
              <a:cxn ang="f958">
                <a:pos x="f1454" y="f1408"/>
              </a:cxn>
              <a:cxn ang="f958">
                <a:pos x="f1463" y="f1404"/>
              </a:cxn>
              <a:cxn ang="f958">
                <a:pos x="f1464" y="f1404"/>
              </a:cxn>
              <a:cxn ang="f958">
                <a:pos x="f1464" y="f1408"/>
              </a:cxn>
              <a:cxn ang="f958">
                <a:pos x="f1463" y="f1408"/>
              </a:cxn>
            </a:cxnLst>
            <a:rect l="f1210" t="f1213" r="f1211" b="f1212"/>
            <a:pathLst>
              <a:path w="9905999" h="2265361">
                <a:moveTo>
                  <a:pt x="f8" y="f9"/>
                </a:moveTo>
                <a:cubicBezTo>
                  <a:pt x="f8" y="f9"/>
                  <a:pt x="f8" y="f9"/>
                  <a:pt x="f10" y="f9"/>
                </a:cubicBezTo>
                <a:lnTo>
                  <a:pt x="f10" y="f7"/>
                </a:lnTo>
                <a:cubicBezTo>
                  <a:pt x="f10" y="f7"/>
                  <a:pt x="f10" y="f7"/>
                  <a:pt x="f8" y="f7"/>
                </a:cubicBezTo>
                <a:cubicBezTo>
                  <a:pt x="f8" y="f7"/>
                  <a:pt x="f8" y="f7"/>
                  <a:pt x="f8" y="f9"/>
                </a:cubicBezTo>
                <a:close/>
                <a:moveTo>
                  <a:pt x="f11" y="f12"/>
                </a:moveTo>
                <a:cubicBezTo>
                  <a:pt x="f11" y="f12"/>
                  <a:pt x="f11" y="f12"/>
                  <a:pt x="f11" y="f13"/>
                </a:cubicBezTo>
                <a:cubicBezTo>
                  <a:pt x="f11" y="f13"/>
                  <a:pt x="f11" y="f13"/>
                  <a:pt x="f14" y="f13"/>
                </a:cubicBezTo>
                <a:cubicBezTo>
                  <a:pt x="f15" y="f13"/>
                  <a:pt x="f16" y="f17"/>
                  <a:pt x="f16" y="f18"/>
                </a:cubicBezTo>
                <a:cubicBezTo>
                  <a:pt x="f16" y="f19"/>
                  <a:pt x="f20" y="f12"/>
                  <a:pt x="f14" y="f12"/>
                </a:cubicBezTo>
                <a:cubicBezTo>
                  <a:pt x="f14" y="f12"/>
                  <a:pt x="f14" y="f12"/>
                  <a:pt x="f11" y="f12"/>
                </a:cubicBezTo>
                <a:close/>
                <a:moveTo>
                  <a:pt x="f21" y="f12"/>
                </a:moveTo>
                <a:cubicBezTo>
                  <a:pt x="f21" y="f12"/>
                  <a:pt x="f21" y="f12"/>
                  <a:pt x="f21" y="f22"/>
                </a:cubicBezTo>
                <a:cubicBezTo>
                  <a:pt x="f21" y="f22"/>
                  <a:pt x="f21" y="f22"/>
                  <a:pt x="f23" y="f22"/>
                </a:cubicBezTo>
                <a:cubicBezTo>
                  <a:pt x="f24" y="f22"/>
                  <a:pt x="f25" y="f26"/>
                  <a:pt x="f25" y="f27"/>
                </a:cubicBezTo>
                <a:cubicBezTo>
                  <a:pt x="f25" y="f28"/>
                  <a:pt x="f24" y="f12"/>
                  <a:pt x="f23" y="f12"/>
                </a:cubicBezTo>
                <a:cubicBezTo>
                  <a:pt x="f23" y="f12"/>
                  <a:pt x="f23" y="f12"/>
                  <a:pt x="f21" y="f12"/>
                </a:cubicBezTo>
                <a:close/>
                <a:moveTo>
                  <a:pt x="f29" y="f30"/>
                </a:moveTo>
                <a:cubicBezTo>
                  <a:pt x="f31" y="f30"/>
                  <a:pt x="f32" y="f33"/>
                  <a:pt x="f34" y="f19"/>
                </a:cubicBezTo>
                <a:cubicBezTo>
                  <a:pt x="f35" y="f36"/>
                  <a:pt x="f37" y="f38"/>
                  <a:pt x="f37" y="f39"/>
                </a:cubicBezTo>
                <a:cubicBezTo>
                  <a:pt x="f37" y="f40"/>
                  <a:pt x="f35" y="f41"/>
                  <a:pt x="f34" y="f42"/>
                </a:cubicBezTo>
                <a:cubicBezTo>
                  <a:pt x="f32" y="f43"/>
                  <a:pt x="f31" y="f44"/>
                  <a:pt x="f29" y="f44"/>
                </a:cubicBezTo>
                <a:cubicBezTo>
                  <a:pt x="f45" y="f44"/>
                  <a:pt x="f46" y="f43"/>
                  <a:pt x="f47" y="f42"/>
                </a:cubicBezTo>
                <a:cubicBezTo>
                  <a:pt x="f48" y="f41"/>
                  <a:pt x="f49" y="f40"/>
                  <a:pt x="f49" y="f39"/>
                </a:cubicBezTo>
                <a:cubicBezTo>
                  <a:pt x="f49" y="f38"/>
                  <a:pt x="f48" y="f36"/>
                  <a:pt x="f47" y="f19"/>
                </a:cubicBezTo>
                <a:cubicBezTo>
                  <a:pt x="f46" y="f33"/>
                  <a:pt x="f45" y="f30"/>
                  <a:pt x="f29" y="f30"/>
                </a:cubicBezTo>
                <a:close/>
                <a:moveTo>
                  <a:pt x="f50" y="f30"/>
                </a:moveTo>
                <a:cubicBezTo>
                  <a:pt x="f51" y="f30"/>
                  <a:pt x="f52" y="f33"/>
                  <a:pt x="f53" y="f19"/>
                </a:cubicBezTo>
                <a:cubicBezTo>
                  <a:pt x="f54" y="f36"/>
                  <a:pt x="f55" y="f38"/>
                  <a:pt x="f55" y="f39"/>
                </a:cubicBezTo>
                <a:cubicBezTo>
                  <a:pt x="f55" y="f40"/>
                  <a:pt x="f54" y="f41"/>
                  <a:pt x="f53" y="f42"/>
                </a:cubicBezTo>
                <a:cubicBezTo>
                  <a:pt x="f52" y="f43"/>
                  <a:pt x="f51" y="f44"/>
                  <a:pt x="f50" y="f44"/>
                </a:cubicBezTo>
                <a:cubicBezTo>
                  <a:pt x="f56" y="f44"/>
                  <a:pt x="f57" y="f43"/>
                  <a:pt x="f58" y="f42"/>
                </a:cubicBezTo>
                <a:cubicBezTo>
                  <a:pt x="f59" y="f41"/>
                  <a:pt x="f60" y="f40"/>
                  <a:pt x="f60" y="f39"/>
                </a:cubicBezTo>
                <a:cubicBezTo>
                  <a:pt x="f60" y="f38"/>
                  <a:pt x="f59" y="f36"/>
                  <a:pt x="f58" y="f19"/>
                </a:cubicBezTo>
                <a:cubicBezTo>
                  <a:pt x="f57" y="f33"/>
                  <a:pt x="f56" y="f30"/>
                  <a:pt x="f50" y="f30"/>
                </a:cubicBezTo>
                <a:close/>
                <a:moveTo>
                  <a:pt x="f61" y="f62"/>
                </a:moveTo>
                <a:cubicBezTo>
                  <a:pt x="f61" y="f62"/>
                  <a:pt x="f61" y="f62"/>
                  <a:pt x="f14" y="f62"/>
                </a:cubicBezTo>
                <a:cubicBezTo>
                  <a:pt x="f63" y="f62"/>
                  <a:pt x="f16" y="f64"/>
                  <a:pt x="f65" y="f66"/>
                </a:cubicBezTo>
                <a:cubicBezTo>
                  <a:pt x="f67" y="f68"/>
                  <a:pt x="f69" y="f70"/>
                  <a:pt x="f69" y="f18"/>
                </a:cubicBezTo>
                <a:cubicBezTo>
                  <a:pt x="f69" y="f71"/>
                  <a:pt x="f67" y="f72"/>
                  <a:pt x="f73" y="f74"/>
                </a:cubicBezTo>
                <a:cubicBezTo>
                  <a:pt x="f75" y="f76"/>
                  <a:pt x="f77" y="f78"/>
                  <a:pt x="f79" y="f78"/>
                </a:cubicBezTo>
                <a:cubicBezTo>
                  <a:pt x="f79" y="f78"/>
                  <a:pt x="f79" y="f78"/>
                  <a:pt x="f11" y="f78"/>
                </a:cubicBezTo>
                <a:cubicBezTo>
                  <a:pt x="f11" y="f78"/>
                  <a:pt x="f11" y="f78"/>
                  <a:pt x="f11" y="f9"/>
                </a:cubicBezTo>
                <a:cubicBezTo>
                  <a:pt x="f11" y="f9"/>
                  <a:pt x="f11" y="f9"/>
                  <a:pt x="f61" y="f9"/>
                </a:cubicBezTo>
                <a:cubicBezTo>
                  <a:pt x="f61" y="f9"/>
                  <a:pt x="f61" y="f9"/>
                  <a:pt x="f61" y="f62"/>
                </a:cubicBezTo>
                <a:close/>
                <a:moveTo>
                  <a:pt x="f80" y="f62"/>
                </a:moveTo>
                <a:cubicBezTo>
                  <a:pt x="f80" y="f62"/>
                  <a:pt x="f80" y="f62"/>
                  <a:pt x="f81" y="f62"/>
                </a:cubicBezTo>
                <a:cubicBezTo>
                  <a:pt x="f81" y="f62"/>
                  <a:pt x="f81" y="f62"/>
                  <a:pt x="f81" y="f82"/>
                </a:cubicBezTo>
                <a:cubicBezTo>
                  <a:pt x="f81" y="f83"/>
                  <a:pt x="f84" y="f85"/>
                  <a:pt x="f86" y="f85"/>
                </a:cubicBezTo>
                <a:cubicBezTo>
                  <a:pt x="f87" y="f85"/>
                  <a:pt x="f88" y="f83"/>
                  <a:pt x="f88" y="f82"/>
                </a:cubicBezTo>
                <a:cubicBezTo>
                  <a:pt x="f88" y="f82"/>
                  <a:pt x="f88" y="f82"/>
                  <a:pt x="f88" y="f62"/>
                </a:cubicBezTo>
                <a:cubicBezTo>
                  <a:pt x="f88" y="f62"/>
                  <a:pt x="f88" y="f62"/>
                  <a:pt x="f89" y="f62"/>
                </a:cubicBezTo>
                <a:cubicBezTo>
                  <a:pt x="f89" y="f62"/>
                  <a:pt x="f89" y="f62"/>
                  <a:pt x="f89" y="f82"/>
                </a:cubicBezTo>
                <a:cubicBezTo>
                  <a:pt x="f89" y="f90"/>
                  <a:pt x="f91" y="f92"/>
                  <a:pt x="f86" y="f92"/>
                </a:cubicBezTo>
                <a:cubicBezTo>
                  <a:pt x="f93" y="f92"/>
                  <a:pt x="f80" y="f90"/>
                  <a:pt x="f80" y="f82"/>
                </a:cubicBezTo>
                <a:cubicBezTo>
                  <a:pt x="f80" y="f82"/>
                  <a:pt x="f80" y="f82"/>
                  <a:pt x="f80" y="f62"/>
                </a:cubicBezTo>
                <a:close/>
                <a:moveTo>
                  <a:pt x="f94" y="f62"/>
                </a:moveTo>
                <a:cubicBezTo>
                  <a:pt x="f94" y="f62"/>
                  <a:pt x="f94" y="f62"/>
                  <a:pt x="f23" y="f62"/>
                </a:cubicBezTo>
                <a:cubicBezTo>
                  <a:pt x="f24" y="f62"/>
                  <a:pt x="f95" y="f64"/>
                  <a:pt x="f96" y="f66"/>
                </a:cubicBezTo>
                <a:cubicBezTo>
                  <a:pt x="f97" y="f68"/>
                  <a:pt x="f98" y="f99"/>
                  <a:pt x="f98" y="f27"/>
                </a:cubicBezTo>
                <a:cubicBezTo>
                  <a:pt x="f98" y="f100"/>
                  <a:pt x="f97" y="f101"/>
                  <a:pt x="f96" y="f102"/>
                </a:cubicBezTo>
                <a:cubicBezTo>
                  <a:pt x="f103" y="f104"/>
                  <a:pt x="f105" y="f106"/>
                  <a:pt x="f107" y="f108"/>
                </a:cubicBezTo>
                <a:cubicBezTo>
                  <a:pt x="f107" y="f108"/>
                  <a:pt x="f107" y="f108"/>
                  <a:pt x="f109" y="f9"/>
                </a:cubicBezTo>
                <a:lnTo>
                  <a:pt x="f95" y="f9"/>
                </a:lnTo>
                <a:cubicBezTo>
                  <a:pt x="f95" y="f9"/>
                  <a:pt x="f95" y="f9"/>
                  <a:pt x="f110" y="f111"/>
                </a:cubicBezTo>
                <a:cubicBezTo>
                  <a:pt x="f110" y="f111"/>
                  <a:pt x="f110" y="f111"/>
                  <a:pt x="f21" y="f111"/>
                </a:cubicBezTo>
                <a:cubicBezTo>
                  <a:pt x="f21" y="f111"/>
                  <a:pt x="f21" y="f111"/>
                  <a:pt x="f21" y="f9"/>
                </a:cubicBezTo>
                <a:cubicBezTo>
                  <a:pt x="f21" y="f9"/>
                  <a:pt x="f21" y="f9"/>
                  <a:pt x="f94" y="f9"/>
                </a:cubicBezTo>
                <a:cubicBezTo>
                  <a:pt x="f94" y="f9"/>
                  <a:pt x="f94" y="f9"/>
                  <a:pt x="f94" y="f62"/>
                </a:cubicBezTo>
                <a:close/>
                <a:moveTo>
                  <a:pt x="f112" y="f62"/>
                </a:moveTo>
                <a:cubicBezTo>
                  <a:pt x="f112" y="f62"/>
                  <a:pt x="f112" y="f62"/>
                  <a:pt x="f113" y="f62"/>
                </a:cubicBezTo>
                <a:cubicBezTo>
                  <a:pt x="f113" y="f62"/>
                  <a:pt x="f113" y="f62"/>
                  <a:pt x="f114" y="f115"/>
                </a:cubicBezTo>
                <a:cubicBezTo>
                  <a:pt x="f114" y="f115"/>
                  <a:pt x="f114" y="f115"/>
                  <a:pt x="f114" y="f62"/>
                </a:cubicBezTo>
                <a:cubicBezTo>
                  <a:pt x="f114" y="f62"/>
                  <a:pt x="f114" y="f62"/>
                  <a:pt x="f116" y="f62"/>
                </a:cubicBezTo>
                <a:cubicBezTo>
                  <a:pt x="f116" y="f62"/>
                  <a:pt x="f116" y="f62"/>
                  <a:pt x="f116" y="f9"/>
                </a:cubicBezTo>
                <a:lnTo>
                  <a:pt x="f117" y="f9"/>
                </a:lnTo>
                <a:cubicBezTo>
                  <a:pt x="f117" y="f9"/>
                  <a:pt x="f117" y="f9"/>
                  <a:pt x="f118" y="f119"/>
                </a:cubicBezTo>
                <a:cubicBezTo>
                  <a:pt x="f118" y="f119"/>
                  <a:pt x="f118" y="f119"/>
                  <a:pt x="f118" y="f9"/>
                </a:cubicBezTo>
                <a:cubicBezTo>
                  <a:pt x="f118" y="f9"/>
                  <a:pt x="f118" y="f9"/>
                  <a:pt x="f112" y="f9"/>
                </a:cubicBezTo>
                <a:cubicBezTo>
                  <a:pt x="f112" y="f9"/>
                  <a:pt x="f112" y="f9"/>
                  <a:pt x="f112" y="f62"/>
                </a:cubicBezTo>
                <a:close/>
                <a:moveTo>
                  <a:pt x="f120" y="f62"/>
                </a:moveTo>
                <a:cubicBezTo>
                  <a:pt x="f120" y="f62"/>
                  <a:pt x="f120" y="f62"/>
                  <a:pt x="f121" y="f62"/>
                </a:cubicBezTo>
                <a:lnTo>
                  <a:pt x="f121" y="f9"/>
                </a:lnTo>
                <a:cubicBezTo>
                  <a:pt x="f121" y="f9"/>
                  <a:pt x="f121" y="f9"/>
                  <a:pt x="f120" y="f9"/>
                </a:cubicBezTo>
                <a:cubicBezTo>
                  <a:pt x="f120" y="f9"/>
                  <a:pt x="f120" y="f9"/>
                  <a:pt x="f120" y="f62"/>
                </a:cubicBezTo>
                <a:close/>
                <a:moveTo>
                  <a:pt x="f122" y="f62"/>
                </a:moveTo>
                <a:cubicBezTo>
                  <a:pt x="f122" y="f62"/>
                  <a:pt x="f122" y="f62"/>
                  <a:pt x="f123" y="f62"/>
                </a:cubicBezTo>
                <a:cubicBezTo>
                  <a:pt x="f123" y="f62"/>
                  <a:pt x="f123" y="f62"/>
                  <a:pt x="f123" y="f12"/>
                </a:cubicBezTo>
                <a:lnTo>
                  <a:pt x="f124" y="f12"/>
                </a:lnTo>
                <a:cubicBezTo>
                  <a:pt x="f124" y="f12"/>
                  <a:pt x="f124" y="f12"/>
                  <a:pt x="f124" y="f9"/>
                </a:cubicBezTo>
                <a:cubicBezTo>
                  <a:pt x="f124" y="f9"/>
                  <a:pt x="f124" y="f9"/>
                  <a:pt x="f125" y="f9"/>
                </a:cubicBezTo>
                <a:cubicBezTo>
                  <a:pt x="f125" y="f9"/>
                  <a:pt x="f125" y="f9"/>
                  <a:pt x="f125" y="f12"/>
                </a:cubicBezTo>
                <a:cubicBezTo>
                  <a:pt x="f125" y="f12"/>
                  <a:pt x="f125" y="f12"/>
                  <a:pt x="f122" y="f12"/>
                </a:cubicBezTo>
                <a:cubicBezTo>
                  <a:pt x="f122" y="f12"/>
                  <a:pt x="f122" y="f12"/>
                  <a:pt x="f122" y="f62"/>
                </a:cubicBezTo>
                <a:close/>
                <a:moveTo>
                  <a:pt x="f126" y="f62"/>
                </a:moveTo>
                <a:cubicBezTo>
                  <a:pt x="f126" y="f62"/>
                  <a:pt x="f126" y="f62"/>
                  <a:pt x="f127" y="f62"/>
                </a:cubicBezTo>
                <a:cubicBezTo>
                  <a:pt x="f127" y="f62"/>
                  <a:pt x="f127" y="f62"/>
                  <a:pt x="f127" y="f90"/>
                </a:cubicBezTo>
                <a:cubicBezTo>
                  <a:pt x="f127" y="f90"/>
                  <a:pt x="f127" y="f90"/>
                  <a:pt x="f128" y="f90"/>
                </a:cubicBezTo>
                <a:cubicBezTo>
                  <a:pt x="f128" y="f90"/>
                  <a:pt x="f128" y="f90"/>
                  <a:pt x="f128" y="f9"/>
                </a:cubicBezTo>
                <a:lnTo>
                  <a:pt x="f126" y="f9"/>
                </a:lnTo>
                <a:cubicBezTo>
                  <a:pt x="f126" y="f9"/>
                  <a:pt x="f126" y="f9"/>
                  <a:pt x="f126" y="f62"/>
                </a:cubicBezTo>
                <a:close/>
                <a:moveTo>
                  <a:pt x="f129" y="f62"/>
                </a:moveTo>
                <a:cubicBezTo>
                  <a:pt x="f129" y="f62"/>
                  <a:pt x="f129" y="f62"/>
                  <a:pt x="f130" y="f62"/>
                </a:cubicBezTo>
                <a:cubicBezTo>
                  <a:pt x="f130" y="f62"/>
                  <a:pt x="f130" y="f62"/>
                  <a:pt x="f130" y="f82"/>
                </a:cubicBezTo>
                <a:cubicBezTo>
                  <a:pt x="f130" y="f83"/>
                  <a:pt x="f131" y="f85"/>
                  <a:pt x="f132" y="f85"/>
                </a:cubicBezTo>
                <a:cubicBezTo>
                  <a:pt x="f133" y="f85"/>
                  <a:pt x="f134" y="f83"/>
                  <a:pt x="f134" y="f82"/>
                </a:cubicBezTo>
                <a:cubicBezTo>
                  <a:pt x="f134" y="f82"/>
                  <a:pt x="f134" y="f82"/>
                  <a:pt x="f134" y="f62"/>
                </a:cubicBezTo>
                <a:cubicBezTo>
                  <a:pt x="f134" y="f62"/>
                  <a:pt x="f134" y="f62"/>
                  <a:pt x="f135" y="f62"/>
                </a:cubicBezTo>
                <a:cubicBezTo>
                  <a:pt x="f135" y="f62"/>
                  <a:pt x="f135" y="f62"/>
                  <a:pt x="f135" y="f82"/>
                </a:cubicBezTo>
                <a:cubicBezTo>
                  <a:pt x="f135" y="f90"/>
                  <a:pt x="f136" y="f92"/>
                  <a:pt x="f132" y="f92"/>
                </a:cubicBezTo>
                <a:cubicBezTo>
                  <a:pt x="f137" y="f92"/>
                  <a:pt x="f129" y="f90"/>
                  <a:pt x="f129" y="f82"/>
                </a:cubicBezTo>
                <a:cubicBezTo>
                  <a:pt x="f129" y="f82"/>
                  <a:pt x="f129" y="f82"/>
                  <a:pt x="f129" y="f62"/>
                </a:cubicBezTo>
                <a:close/>
                <a:moveTo>
                  <a:pt x="f138" y="f62"/>
                </a:moveTo>
                <a:cubicBezTo>
                  <a:pt x="f138" y="f62"/>
                  <a:pt x="f138" y="f62"/>
                  <a:pt x="f139" y="f62"/>
                </a:cubicBezTo>
                <a:cubicBezTo>
                  <a:pt x="f139" y="f62"/>
                  <a:pt x="f139" y="f62"/>
                  <a:pt x="f140" y="f115"/>
                </a:cubicBezTo>
                <a:cubicBezTo>
                  <a:pt x="f140" y="f115"/>
                  <a:pt x="f140" y="f115"/>
                  <a:pt x="f140" y="f62"/>
                </a:cubicBezTo>
                <a:cubicBezTo>
                  <a:pt x="f140" y="f62"/>
                  <a:pt x="f140" y="f62"/>
                  <a:pt x="f141" y="f62"/>
                </a:cubicBezTo>
                <a:cubicBezTo>
                  <a:pt x="f141" y="f62"/>
                  <a:pt x="f141" y="f62"/>
                  <a:pt x="f141" y="f9"/>
                </a:cubicBezTo>
                <a:lnTo>
                  <a:pt x="f142" y="f9"/>
                </a:lnTo>
                <a:cubicBezTo>
                  <a:pt x="f142" y="f9"/>
                  <a:pt x="f142" y="f9"/>
                  <a:pt x="f143" y="f119"/>
                </a:cubicBezTo>
                <a:cubicBezTo>
                  <a:pt x="f143" y="f119"/>
                  <a:pt x="f143" y="f119"/>
                  <a:pt x="f143" y="f9"/>
                </a:cubicBezTo>
                <a:cubicBezTo>
                  <a:pt x="f143" y="f9"/>
                  <a:pt x="f143" y="f9"/>
                  <a:pt x="f138" y="f9"/>
                </a:cubicBezTo>
                <a:cubicBezTo>
                  <a:pt x="f138" y="f9"/>
                  <a:pt x="f138" y="f9"/>
                  <a:pt x="f138" y="f62"/>
                </a:cubicBezTo>
                <a:close/>
                <a:moveTo>
                  <a:pt x="f29" y="f144"/>
                </a:moveTo>
                <a:cubicBezTo>
                  <a:pt x="f145" y="f144"/>
                  <a:pt x="f146" y="f147"/>
                  <a:pt x="f148" y="f66"/>
                </a:cubicBezTo>
                <a:cubicBezTo>
                  <a:pt x="f149" y="f119"/>
                  <a:pt x="f150" y="f151"/>
                  <a:pt x="f150" y="f39"/>
                </a:cubicBezTo>
                <a:cubicBezTo>
                  <a:pt x="f150" y="f152"/>
                  <a:pt x="f149" y="f115"/>
                  <a:pt x="f148" y="f153"/>
                </a:cubicBezTo>
                <a:cubicBezTo>
                  <a:pt x="f146" y="f154"/>
                  <a:pt x="f145" y="f155"/>
                  <a:pt x="f29" y="f155"/>
                </a:cubicBezTo>
                <a:cubicBezTo>
                  <a:pt x="f156" y="f155"/>
                  <a:pt x="f157" y="f154"/>
                  <a:pt x="f37" y="f153"/>
                </a:cubicBezTo>
                <a:cubicBezTo>
                  <a:pt x="f158" y="f115"/>
                  <a:pt x="f159" y="f152"/>
                  <a:pt x="f159" y="f39"/>
                </a:cubicBezTo>
                <a:cubicBezTo>
                  <a:pt x="f159" y="f151"/>
                  <a:pt x="f158" y="f119"/>
                  <a:pt x="f37" y="f66"/>
                </a:cubicBezTo>
                <a:cubicBezTo>
                  <a:pt x="f157" y="f147"/>
                  <a:pt x="f156" y="f144"/>
                  <a:pt x="f29" y="f144"/>
                </a:cubicBezTo>
                <a:close/>
                <a:moveTo>
                  <a:pt x="f160" y="f144"/>
                </a:moveTo>
                <a:cubicBezTo>
                  <a:pt x="f161" y="f144"/>
                  <a:pt x="f162" y="f163"/>
                  <a:pt x="f164" y="f165"/>
                </a:cubicBezTo>
                <a:cubicBezTo>
                  <a:pt x="f166" y="f167"/>
                  <a:pt x="f168" y="f169"/>
                  <a:pt x="f170" y="f27"/>
                </a:cubicBezTo>
                <a:cubicBezTo>
                  <a:pt x="f170" y="f27"/>
                  <a:pt x="f170" y="f27"/>
                  <a:pt x="f171" y="f27"/>
                </a:cubicBezTo>
                <a:cubicBezTo>
                  <a:pt x="f172" y="f173"/>
                  <a:pt x="f174" y="f175"/>
                  <a:pt x="f176" y="f177"/>
                </a:cubicBezTo>
                <a:cubicBezTo>
                  <a:pt x="f178" y="f179"/>
                  <a:pt x="f180" y="f30"/>
                  <a:pt x="f160" y="f30"/>
                </a:cubicBezTo>
                <a:cubicBezTo>
                  <a:pt x="f181" y="f30"/>
                  <a:pt x="f182" y="f33"/>
                  <a:pt x="f183" y="f19"/>
                </a:cubicBezTo>
                <a:cubicBezTo>
                  <a:pt x="f184" y="f36"/>
                  <a:pt x="f185" y="f38"/>
                  <a:pt x="f185" y="f39"/>
                </a:cubicBezTo>
                <a:cubicBezTo>
                  <a:pt x="f185" y="f186"/>
                  <a:pt x="f184" y="f187"/>
                  <a:pt x="f188" y="f189"/>
                </a:cubicBezTo>
                <a:cubicBezTo>
                  <a:pt x="f190" y="f191"/>
                  <a:pt x="f181" y="f85"/>
                  <a:pt x="f160" y="f85"/>
                </a:cubicBezTo>
                <a:cubicBezTo>
                  <a:pt x="f192" y="f85"/>
                  <a:pt x="f193" y="f43"/>
                  <a:pt x="f194" y="f195"/>
                </a:cubicBezTo>
                <a:cubicBezTo>
                  <a:pt x="f196" y="f197"/>
                  <a:pt x="f198" y="f199"/>
                  <a:pt x="f198" y="f200"/>
                </a:cubicBezTo>
                <a:cubicBezTo>
                  <a:pt x="f198" y="f200"/>
                  <a:pt x="f198" y="f200"/>
                  <a:pt x="f160" y="f200"/>
                </a:cubicBezTo>
                <a:cubicBezTo>
                  <a:pt x="f160" y="f200"/>
                  <a:pt x="f160" y="f200"/>
                  <a:pt x="f160" y="f201"/>
                </a:cubicBezTo>
                <a:cubicBezTo>
                  <a:pt x="f160" y="f201"/>
                  <a:pt x="f160" y="f201"/>
                  <a:pt x="f202" y="f201"/>
                </a:cubicBezTo>
                <a:cubicBezTo>
                  <a:pt x="f202" y="f201"/>
                  <a:pt x="f202" y="f201"/>
                  <a:pt x="f202" y="f9"/>
                </a:cubicBezTo>
                <a:lnTo>
                  <a:pt x="f203" y="f9"/>
                </a:lnTo>
                <a:cubicBezTo>
                  <a:pt x="f203" y="f9"/>
                  <a:pt x="f203" y="f9"/>
                  <a:pt x="f204" y="f191"/>
                </a:cubicBezTo>
                <a:cubicBezTo>
                  <a:pt x="f174" y="f205"/>
                  <a:pt x="f161" y="f155"/>
                  <a:pt x="f160" y="f155"/>
                </a:cubicBezTo>
                <a:cubicBezTo>
                  <a:pt x="f206" y="f155"/>
                  <a:pt x="f207" y="f208"/>
                  <a:pt x="f185" y="f209"/>
                </a:cubicBezTo>
                <a:cubicBezTo>
                  <a:pt x="f210" y="f211"/>
                  <a:pt x="f212" y="f213"/>
                  <a:pt x="f212" y="f39"/>
                </a:cubicBezTo>
                <a:cubicBezTo>
                  <a:pt x="f212" y="f151"/>
                  <a:pt x="f214" y="f119"/>
                  <a:pt x="f185" y="f66"/>
                </a:cubicBezTo>
                <a:cubicBezTo>
                  <a:pt x="f207" y="f147"/>
                  <a:pt x="f206" y="f144"/>
                  <a:pt x="f160" y="f144"/>
                </a:cubicBezTo>
                <a:close/>
                <a:moveTo>
                  <a:pt x="f215" y="f144"/>
                </a:moveTo>
                <a:cubicBezTo>
                  <a:pt x="f216" y="f144"/>
                  <a:pt x="f217" y="f163"/>
                  <a:pt x="f218" y="f165"/>
                </a:cubicBezTo>
                <a:cubicBezTo>
                  <a:pt x="f219" y="f167"/>
                  <a:pt x="f220" y="f169"/>
                  <a:pt x="f221" y="f27"/>
                </a:cubicBezTo>
                <a:cubicBezTo>
                  <a:pt x="f221" y="f27"/>
                  <a:pt x="f221" y="f27"/>
                  <a:pt x="f222" y="f27"/>
                </a:cubicBezTo>
                <a:cubicBezTo>
                  <a:pt x="f223" y="f173"/>
                  <a:pt x="f224" y="f175"/>
                  <a:pt x="f225" y="f177"/>
                </a:cubicBezTo>
                <a:cubicBezTo>
                  <a:pt x="f226" y="f179"/>
                  <a:pt x="f227" y="f30"/>
                  <a:pt x="f215" y="f30"/>
                </a:cubicBezTo>
                <a:cubicBezTo>
                  <a:pt x="f228" y="f30"/>
                  <a:pt x="f229" y="f33"/>
                  <a:pt x="f230" y="f19"/>
                </a:cubicBezTo>
                <a:cubicBezTo>
                  <a:pt x="f231" y="f36"/>
                  <a:pt x="f232" y="f38"/>
                  <a:pt x="f232" y="f39"/>
                </a:cubicBezTo>
                <a:cubicBezTo>
                  <a:pt x="f232" y="f186"/>
                  <a:pt x="f231" y="f187"/>
                  <a:pt x="f230" y="f189"/>
                </a:cubicBezTo>
                <a:cubicBezTo>
                  <a:pt x="f229" y="f191"/>
                  <a:pt x="f228" y="f85"/>
                  <a:pt x="f215" y="f85"/>
                </a:cubicBezTo>
                <a:cubicBezTo>
                  <a:pt x="f233" y="f85"/>
                  <a:pt x="f234" y="f43"/>
                  <a:pt x="f235" y="f195"/>
                </a:cubicBezTo>
                <a:cubicBezTo>
                  <a:pt x="f236" y="f197"/>
                  <a:pt x="f237" y="f199"/>
                  <a:pt x="f237" y="f200"/>
                </a:cubicBezTo>
                <a:cubicBezTo>
                  <a:pt x="f237" y="f200"/>
                  <a:pt x="f237" y="f200"/>
                  <a:pt x="f215" y="f200"/>
                </a:cubicBezTo>
                <a:cubicBezTo>
                  <a:pt x="f215" y="f200"/>
                  <a:pt x="f215" y="f200"/>
                  <a:pt x="f215" y="f201"/>
                </a:cubicBezTo>
                <a:cubicBezTo>
                  <a:pt x="f215" y="f201"/>
                  <a:pt x="f215" y="f201"/>
                  <a:pt x="f238" y="f201"/>
                </a:cubicBezTo>
                <a:cubicBezTo>
                  <a:pt x="f238" y="f201"/>
                  <a:pt x="f238" y="f201"/>
                  <a:pt x="f238" y="f9"/>
                </a:cubicBezTo>
                <a:lnTo>
                  <a:pt x="f239" y="f9"/>
                </a:lnTo>
                <a:cubicBezTo>
                  <a:pt x="f239" y="f9"/>
                  <a:pt x="f239" y="f9"/>
                  <a:pt x="f240" y="f191"/>
                </a:cubicBezTo>
                <a:cubicBezTo>
                  <a:pt x="f241" y="f205"/>
                  <a:pt x="f216" y="f155"/>
                  <a:pt x="f215" y="f155"/>
                </a:cubicBezTo>
                <a:cubicBezTo>
                  <a:pt x="f242" y="f155"/>
                  <a:pt x="f243" y="f208"/>
                  <a:pt x="f232" y="f209"/>
                </a:cubicBezTo>
                <a:cubicBezTo>
                  <a:pt x="f244" y="f211"/>
                  <a:pt x="f245" y="f213"/>
                  <a:pt x="f245" y="f39"/>
                </a:cubicBezTo>
                <a:cubicBezTo>
                  <a:pt x="f245" y="f151"/>
                  <a:pt x="f246" y="f119"/>
                  <a:pt x="f232" y="f66"/>
                </a:cubicBezTo>
                <a:cubicBezTo>
                  <a:pt x="f243" y="f147"/>
                  <a:pt x="f242" y="f144"/>
                  <a:pt x="f215" y="f144"/>
                </a:cubicBezTo>
                <a:close/>
                <a:moveTo>
                  <a:pt x="f247" y="f144"/>
                </a:moveTo>
                <a:cubicBezTo>
                  <a:pt x="f248" y="f144"/>
                  <a:pt x="f249" y="f250"/>
                  <a:pt x="f251" y="f252"/>
                </a:cubicBezTo>
                <a:cubicBezTo>
                  <a:pt x="f253" y="f254"/>
                  <a:pt x="f255" y="f169"/>
                  <a:pt x="f256" y="f27"/>
                </a:cubicBezTo>
                <a:cubicBezTo>
                  <a:pt x="f256" y="f27"/>
                  <a:pt x="f256" y="f27"/>
                  <a:pt x="f257" y="f27"/>
                </a:cubicBezTo>
                <a:cubicBezTo>
                  <a:pt x="f258" y="f173"/>
                  <a:pt x="f259" y="f260"/>
                  <a:pt x="f261" y="f262"/>
                </a:cubicBezTo>
                <a:cubicBezTo>
                  <a:pt x="f263" y="f179"/>
                  <a:pt x="f264" y="f265"/>
                  <a:pt x="f266" y="f265"/>
                </a:cubicBezTo>
                <a:cubicBezTo>
                  <a:pt x="f267" y="f265"/>
                  <a:pt x="f268" y="f12"/>
                  <a:pt x="f269" y="f262"/>
                </a:cubicBezTo>
                <a:cubicBezTo>
                  <a:pt x="f270" y="f119"/>
                  <a:pt x="f271" y="f272"/>
                  <a:pt x="f271" y="f273"/>
                </a:cubicBezTo>
                <a:cubicBezTo>
                  <a:pt x="f271" y="f274"/>
                  <a:pt x="f275" y="f276"/>
                  <a:pt x="f277" y="f278"/>
                </a:cubicBezTo>
                <a:cubicBezTo>
                  <a:pt x="f279" y="f280"/>
                  <a:pt x="f281" y="f282"/>
                  <a:pt x="f248" y="f101"/>
                </a:cubicBezTo>
                <a:cubicBezTo>
                  <a:pt x="f251" y="f22"/>
                  <a:pt x="f283" y="f284"/>
                  <a:pt x="f283" y="f285"/>
                </a:cubicBezTo>
                <a:cubicBezTo>
                  <a:pt x="f283" y="f286"/>
                  <a:pt x="f287" y="f288"/>
                  <a:pt x="f289" y="f290"/>
                </a:cubicBezTo>
                <a:cubicBezTo>
                  <a:pt x="f258" y="f208"/>
                  <a:pt x="f291" y="f92"/>
                  <a:pt x="f292" y="f92"/>
                </a:cubicBezTo>
                <a:cubicBezTo>
                  <a:pt x="f293" y="f92"/>
                  <a:pt x="f294" y="f208"/>
                  <a:pt x="f295" y="f296"/>
                </a:cubicBezTo>
                <a:cubicBezTo>
                  <a:pt x="f297" y="f298"/>
                  <a:pt x="f299" y="f300"/>
                  <a:pt x="f299" y="f301"/>
                </a:cubicBezTo>
                <a:cubicBezTo>
                  <a:pt x="f299" y="f301"/>
                  <a:pt x="f299" y="f301"/>
                  <a:pt x="f302" y="f301"/>
                </a:cubicBezTo>
                <a:cubicBezTo>
                  <a:pt x="f302" y="f187"/>
                  <a:pt x="f303" y="f304"/>
                  <a:pt x="f305" y="f306"/>
                </a:cubicBezTo>
                <a:cubicBezTo>
                  <a:pt x="f307" y="f90"/>
                  <a:pt x="f308" y="f85"/>
                  <a:pt x="f292" y="f85"/>
                </a:cubicBezTo>
                <a:cubicBezTo>
                  <a:pt x="f309" y="f85"/>
                  <a:pt x="f310" y="f311"/>
                  <a:pt x="f312" y="f313"/>
                </a:cubicBezTo>
                <a:cubicBezTo>
                  <a:pt x="f258" y="f211"/>
                  <a:pt x="f314" y="f300"/>
                  <a:pt x="f314" y="f285"/>
                </a:cubicBezTo>
                <a:cubicBezTo>
                  <a:pt x="f314" y="f315"/>
                  <a:pt x="f249" y="f111"/>
                  <a:pt x="f264" y="f284"/>
                </a:cubicBezTo>
                <a:cubicBezTo>
                  <a:pt x="f264" y="f284"/>
                  <a:pt x="f264" y="f284"/>
                  <a:pt x="f316" y="f317"/>
                </a:cubicBezTo>
                <a:cubicBezTo>
                  <a:pt x="f318" y="f104"/>
                  <a:pt x="f319" y="f17"/>
                  <a:pt x="f319" y="f320"/>
                </a:cubicBezTo>
                <a:cubicBezTo>
                  <a:pt x="f319" y="f99"/>
                  <a:pt x="f321" y="f322"/>
                  <a:pt x="f323" y="f324"/>
                </a:cubicBezTo>
                <a:cubicBezTo>
                  <a:pt x="f325" y="f250"/>
                  <a:pt x="f326" y="f144"/>
                  <a:pt x="f247" y="f144"/>
                </a:cubicBezTo>
                <a:close/>
                <a:moveTo>
                  <a:pt x="f50" y="f144"/>
                </a:moveTo>
                <a:cubicBezTo>
                  <a:pt x="f327" y="f144"/>
                  <a:pt x="f328" y="f147"/>
                  <a:pt x="f60" y="f66"/>
                </a:cubicBezTo>
                <a:cubicBezTo>
                  <a:pt x="f329" y="f119"/>
                  <a:pt x="f330" y="f151"/>
                  <a:pt x="f330" y="f39"/>
                </a:cubicBezTo>
                <a:cubicBezTo>
                  <a:pt x="f330" y="f152"/>
                  <a:pt x="f329" y="f115"/>
                  <a:pt x="f60" y="f153"/>
                </a:cubicBezTo>
                <a:cubicBezTo>
                  <a:pt x="f328" y="f154"/>
                  <a:pt x="f327" y="f155"/>
                  <a:pt x="f50" y="f155"/>
                </a:cubicBezTo>
                <a:cubicBezTo>
                  <a:pt x="f331" y="f155"/>
                  <a:pt x="f332" y="f154"/>
                  <a:pt x="f333" y="f153"/>
                </a:cubicBezTo>
                <a:cubicBezTo>
                  <a:pt x="f334" y="f115"/>
                  <a:pt x="f335" y="f152"/>
                  <a:pt x="f335" y="f39"/>
                </a:cubicBezTo>
                <a:cubicBezTo>
                  <a:pt x="f335" y="f151"/>
                  <a:pt x="f334" y="f119"/>
                  <a:pt x="f333" y="f66"/>
                </a:cubicBezTo>
                <a:cubicBezTo>
                  <a:pt x="f332" y="f147"/>
                  <a:pt x="f331" y="f144"/>
                  <a:pt x="f50" y="f144"/>
                </a:cubicBezTo>
                <a:close/>
                <a:moveTo>
                  <a:pt x="f336" y="f144"/>
                </a:moveTo>
                <a:cubicBezTo>
                  <a:pt x="f337" y="f144"/>
                  <a:pt x="f338" y="f163"/>
                  <a:pt x="f339" y="f340"/>
                </a:cubicBezTo>
                <a:cubicBezTo>
                  <a:pt x="f341" y="f68"/>
                  <a:pt x="f342" y="f343"/>
                  <a:pt x="f344" y="f345"/>
                </a:cubicBezTo>
                <a:cubicBezTo>
                  <a:pt x="f344" y="f345"/>
                  <a:pt x="f344" y="f345"/>
                  <a:pt x="f346" y="f345"/>
                </a:cubicBezTo>
                <a:cubicBezTo>
                  <a:pt x="f347" y="f348"/>
                  <a:pt x="f349" y="f175"/>
                  <a:pt x="f350" y="f351"/>
                </a:cubicBezTo>
                <a:cubicBezTo>
                  <a:pt x="f352" y="f33"/>
                  <a:pt x="f353" y="f30"/>
                  <a:pt x="f336" y="f30"/>
                </a:cubicBezTo>
                <a:cubicBezTo>
                  <a:pt x="f354" y="f30"/>
                  <a:pt x="f355" y="f33"/>
                  <a:pt x="f356" y="f19"/>
                </a:cubicBezTo>
                <a:cubicBezTo>
                  <a:pt x="f357" y="f36"/>
                  <a:pt x="f357" y="f38"/>
                  <a:pt x="f357" y="f39"/>
                </a:cubicBezTo>
                <a:cubicBezTo>
                  <a:pt x="f357" y="f40"/>
                  <a:pt x="f357" y="f41"/>
                  <a:pt x="f356" y="f42"/>
                </a:cubicBezTo>
                <a:cubicBezTo>
                  <a:pt x="f355" y="f43"/>
                  <a:pt x="f354" y="f85"/>
                  <a:pt x="f336" y="f85"/>
                </a:cubicBezTo>
                <a:cubicBezTo>
                  <a:pt x="f353" y="f85"/>
                  <a:pt x="f358" y="f359"/>
                  <a:pt x="f360" y="f42"/>
                </a:cubicBezTo>
                <a:cubicBezTo>
                  <a:pt x="f349" y="f361"/>
                  <a:pt x="f346" y="f362"/>
                  <a:pt x="f346" y="f301"/>
                </a:cubicBezTo>
                <a:cubicBezTo>
                  <a:pt x="f346" y="f301"/>
                  <a:pt x="f346" y="f301"/>
                  <a:pt x="f363" y="f301"/>
                </a:cubicBezTo>
                <a:cubicBezTo>
                  <a:pt x="f344" y="f364"/>
                  <a:pt x="f341" y="f365"/>
                  <a:pt x="f339" y="f153"/>
                </a:cubicBezTo>
                <a:cubicBezTo>
                  <a:pt x="f338" y="f366"/>
                  <a:pt x="f337" y="f155"/>
                  <a:pt x="f336" y="f155"/>
                </a:cubicBezTo>
                <a:cubicBezTo>
                  <a:pt x="f367" y="f155"/>
                  <a:pt x="f368" y="f154"/>
                  <a:pt x="f369" y="f153"/>
                </a:cubicBezTo>
                <a:cubicBezTo>
                  <a:pt x="f370" y="f115"/>
                  <a:pt x="f5" y="f152"/>
                  <a:pt x="f5" y="f39"/>
                </a:cubicBezTo>
                <a:cubicBezTo>
                  <a:pt x="f5" y="f151"/>
                  <a:pt x="f370" y="f119"/>
                  <a:pt x="f369" y="f66"/>
                </a:cubicBezTo>
                <a:cubicBezTo>
                  <a:pt x="f368" y="f147"/>
                  <a:pt x="f367" y="f144"/>
                  <a:pt x="f336" y="f144"/>
                </a:cubicBezTo>
                <a:close/>
                <a:moveTo>
                  <a:pt x="f371" y="f372"/>
                </a:moveTo>
                <a:cubicBezTo>
                  <a:pt x="f371" y="f372"/>
                  <a:pt x="f371" y="f372"/>
                  <a:pt x="f371" y="f373"/>
                </a:cubicBezTo>
                <a:cubicBezTo>
                  <a:pt x="f371" y="f373"/>
                  <a:pt x="f371" y="f373"/>
                  <a:pt x="f374" y="f373"/>
                </a:cubicBezTo>
                <a:cubicBezTo>
                  <a:pt x="f375" y="f373"/>
                  <a:pt x="f376" y="f377"/>
                  <a:pt x="f376" y="f378"/>
                </a:cubicBezTo>
                <a:cubicBezTo>
                  <a:pt x="f376" y="f379"/>
                  <a:pt x="f375" y="f372"/>
                  <a:pt x="f374" y="f372"/>
                </a:cubicBezTo>
                <a:cubicBezTo>
                  <a:pt x="f374" y="f372"/>
                  <a:pt x="f374" y="f372"/>
                  <a:pt x="f371" y="f372"/>
                </a:cubicBezTo>
                <a:close/>
                <a:moveTo>
                  <a:pt x="f380" y="f5"/>
                </a:moveTo>
                <a:lnTo>
                  <a:pt x="f6" y="f5"/>
                </a:lnTo>
                <a:lnTo>
                  <a:pt x="f6" y="f381"/>
                </a:lnTo>
                <a:lnTo>
                  <a:pt x="f382" y="f381"/>
                </a:lnTo>
                <a:lnTo>
                  <a:pt x="f382" y="f383"/>
                </a:lnTo>
                <a:lnTo>
                  <a:pt x="f384" y="f383"/>
                </a:lnTo>
                <a:lnTo>
                  <a:pt x="f384" y="f381"/>
                </a:lnTo>
                <a:lnTo>
                  <a:pt x="f380" y="f381"/>
                </a:lnTo>
                <a:close/>
                <a:moveTo>
                  <a:pt x="f385" y="f5"/>
                </a:moveTo>
                <a:lnTo>
                  <a:pt x="f386" y="f5"/>
                </a:lnTo>
                <a:lnTo>
                  <a:pt x="f387" y="f388"/>
                </a:lnTo>
                <a:lnTo>
                  <a:pt x="f389" y="f390"/>
                </a:lnTo>
                <a:lnTo>
                  <a:pt x="f389" y="f5"/>
                </a:lnTo>
                <a:lnTo>
                  <a:pt x="f391" y="f5"/>
                </a:lnTo>
                <a:lnTo>
                  <a:pt x="f391" y="f383"/>
                </a:lnTo>
                <a:lnTo>
                  <a:pt x="f392" y="f383"/>
                </a:lnTo>
                <a:lnTo>
                  <a:pt x="f393" y="f394"/>
                </a:lnTo>
                <a:lnTo>
                  <a:pt x="f393" y="f383"/>
                </a:lnTo>
                <a:lnTo>
                  <a:pt x="f385" y="f383"/>
                </a:lnTo>
                <a:close/>
                <a:moveTo>
                  <a:pt x="f395" y="f5"/>
                </a:moveTo>
                <a:lnTo>
                  <a:pt x="f396" y="f5"/>
                </a:lnTo>
                <a:lnTo>
                  <a:pt x="f396" y="f397"/>
                </a:lnTo>
                <a:lnTo>
                  <a:pt x="f398" y="f397"/>
                </a:lnTo>
                <a:lnTo>
                  <a:pt x="f398" y="f399"/>
                </a:lnTo>
                <a:lnTo>
                  <a:pt x="f400" y="f399"/>
                </a:lnTo>
                <a:lnTo>
                  <a:pt x="f400" y="f401"/>
                </a:lnTo>
                <a:lnTo>
                  <a:pt x="f398" y="f401"/>
                </a:lnTo>
                <a:lnTo>
                  <a:pt x="f398" y="f402"/>
                </a:lnTo>
                <a:lnTo>
                  <a:pt x="f396" y="f402"/>
                </a:lnTo>
                <a:lnTo>
                  <a:pt x="f396" y="f383"/>
                </a:lnTo>
                <a:lnTo>
                  <a:pt x="f395" y="f383"/>
                </a:lnTo>
                <a:close/>
                <a:moveTo>
                  <a:pt x="f403" y="f5"/>
                </a:moveTo>
                <a:lnTo>
                  <a:pt x="f404" y="f5"/>
                </a:lnTo>
                <a:lnTo>
                  <a:pt x="f405" y="f406"/>
                </a:lnTo>
                <a:lnTo>
                  <a:pt x="f407" y="f5"/>
                </a:lnTo>
                <a:lnTo>
                  <a:pt x="f408" y="f5"/>
                </a:lnTo>
                <a:lnTo>
                  <a:pt x="f408" y="f383"/>
                </a:lnTo>
                <a:lnTo>
                  <a:pt x="f409" y="f383"/>
                </a:lnTo>
                <a:lnTo>
                  <a:pt x="f409" y="f410"/>
                </a:lnTo>
                <a:lnTo>
                  <a:pt x="f411" y="f412"/>
                </a:lnTo>
                <a:lnTo>
                  <a:pt x="f413" y="f412"/>
                </a:lnTo>
                <a:lnTo>
                  <a:pt x="f414" y="f415"/>
                </a:lnTo>
                <a:lnTo>
                  <a:pt x="f414" y="f383"/>
                </a:lnTo>
                <a:lnTo>
                  <a:pt x="f403" y="f383"/>
                </a:lnTo>
                <a:close/>
                <a:moveTo>
                  <a:pt x="f416" y="f5"/>
                </a:moveTo>
                <a:lnTo>
                  <a:pt x="f417" y="f5"/>
                </a:lnTo>
                <a:lnTo>
                  <a:pt x="f417" y="f397"/>
                </a:lnTo>
                <a:lnTo>
                  <a:pt x="f418" y="f397"/>
                </a:lnTo>
                <a:lnTo>
                  <a:pt x="f418" y="f399"/>
                </a:lnTo>
                <a:lnTo>
                  <a:pt x="f419" y="f399"/>
                </a:lnTo>
                <a:lnTo>
                  <a:pt x="f419" y="f401"/>
                </a:lnTo>
                <a:lnTo>
                  <a:pt x="f418" y="f401"/>
                </a:lnTo>
                <a:lnTo>
                  <a:pt x="f418" y="f402"/>
                </a:lnTo>
                <a:lnTo>
                  <a:pt x="f417" y="f402"/>
                </a:lnTo>
                <a:lnTo>
                  <a:pt x="f417" y="f383"/>
                </a:lnTo>
                <a:lnTo>
                  <a:pt x="f416" y="f383"/>
                </a:lnTo>
                <a:close/>
                <a:moveTo>
                  <a:pt x="f420" y="f5"/>
                </a:moveTo>
                <a:lnTo>
                  <a:pt x="f421" y="f5"/>
                </a:lnTo>
                <a:lnTo>
                  <a:pt x="f421" y="f422"/>
                </a:lnTo>
                <a:lnTo>
                  <a:pt x="f423" y="f422"/>
                </a:lnTo>
                <a:lnTo>
                  <a:pt x="f423" y="f383"/>
                </a:lnTo>
                <a:lnTo>
                  <a:pt x="f420" y="f383"/>
                </a:lnTo>
                <a:close/>
                <a:moveTo>
                  <a:pt x="f424" y="f5"/>
                </a:moveTo>
                <a:cubicBezTo>
                  <a:pt x="f424" y="f5"/>
                  <a:pt x="f424" y="f5"/>
                  <a:pt x="f425" y="f5"/>
                </a:cubicBezTo>
                <a:cubicBezTo>
                  <a:pt x="f426" y="f5"/>
                  <a:pt x="f427" y="f428"/>
                  <a:pt x="f427" y="f429"/>
                </a:cubicBezTo>
                <a:cubicBezTo>
                  <a:pt x="f427" y="f430"/>
                  <a:pt x="f426" y="f431"/>
                  <a:pt x="f425" y="f431"/>
                </a:cubicBezTo>
                <a:cubicBezTo>
                  <a:pt x="f425" y="f431"/>
                  <a:pt x="f425" y="f431"/>
                  <a:pt x="f371" y="f431"/>
                </a:cubicBezTo>
                <a:cubicBezTo>
                  <a:pt x="f371" y="f431"/>
                  <a:pt x="f371" y="f431"/>
                  <a:pt x="f371" y="f383"/>
                </a:cubicBezTo>
                <a:cubicBezTo>
                  <a:pt x="f371" y="f383"/>
                  <a:pt x="f371" y="f383"/>
                  <a:pt x="f424" y="f383"/>
                </a:cubicBezTo>
                <a:cubicBezTo>
                  <a:pt x="f424" y="f383"/>
                  <a:pt x="f424" y="f383"/>
                  <a:pt x="f424" y="f5"/>
                </a:cubicBezTo>
                <a:close/>
                <a:moveTo>
                  <a:pt x="f432" y="f5"/>
                </a:moveTo>
                <a:lnTo>
                  <a:pt x="f433" y="f5"/>
                </a:lnTo>
                <a:lnTo>
                  <a:pt x="f434" y="f406"/>
                </a:lnTo>
                <a:lnTo>
                  <a:pt x="f435" y="f5"/>
                </a:lnTo>
                <a:lnTo>
                  <a:pt x="f436" y="f5"/>
                </a:lnTo>
                <a:lnTo>
                  <a:pt x="f436" y="f383"/>
                </a:lnTo>
                <a:lnTo>
                  <a:pt x="f437" y="f383"/>
                </a:lnTo>
                <a:lnTo>
                  <a:pt x="f437" y="f410"/>
                </a:lnTo>
                <a:lnTo>
                  <a:pt x="f438" y="f412"/>
                </a:lnTo>
                <a:lnTo>
                  <a:pt x="f439" y="f412"/>
                </a:lnTo>
                <a:lnTo>
                  <a:pt x="f440" y="f415"/>
                </a:lnTo>
                <a:lnTo>
                  <a:pt x="f440" y="f383"/>
                </a:lnTo>
                <a:lnTo>
                  <a:pt x="f432" y="f383"/>
                </a:lnTo>
                <a:close/>
                <a:moveTo>
                  <a:pt x="f441" y="f5"/>
                </a:moveTo>
                <a:lnTo>
                  <a:pt x="f442" y="f5"/>
                </a:lnTo>
                <a:lnTo>
                  <a:pt x="f442" y="f383"/>
                </a:lnTo>
                <a:lnTo>
                  <a:pt x="f441" y="f383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1F2023"/>
                </a:solidFill>
                <a:uFillTx/>
                <a:latin typeface="Arial"/>
              </a:rPr>
              <a:t> </a:t>
            </a:r>
          </a:p>
        </p:txBody>
      </p:sp>
      <p:sp>
        <p:nvSpPr>
          <p:cNvPr id="11" name="Date_GeneralDate" hidden="1">
            <a:extLst>
              <a:ext uri="{FF2B5EF4-FFF2-40B4-BE49-F238E27FC236}">
                <a16:creationId xmlns:a16="http://schemas.microsoft.com/office/drawing/2014/main" id="{6D651723-86DB-4AC9-B2EA-1D5BFB0D553E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cap="all" spc="122"/>
            </a:lvl1pPr>
          </a:lstStyle>
          <a:p>
            <a:pPr lvl="0"/>
            <a:fld id="{ABD26E54-5168-4B77-BF43-8CD18C4C276C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12" name="FLD_PresentationTitle" hidden="1">
            <a:extLst>
              <a:ext uri="{FF2B5EF4-FFF2-40B4-BE49-F238E27FC236}">
                <a16:creationId xmlns:a16="http://schemas.microsoft.com/office/drawing/2014/main" id="{428C4D1F-7110-43BF-8FFD-E6A437DD26D8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0" y="5184003"/>
            <a:ext cx="0" cy="0"/>
          </a:xfr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GB"/>
              <a:t>Footer</a:t>
            </a:r>
          </a:p>
        </p:txBody>
      </p:sp>
      <p:sp>
        <p:nvSpPr>
          <p:cNvPr id="13" name="Slide Number Placeholder 5" hidden="1">
            <a:extLst>
              <a:ext uri="{FF2B5EF4-FFF2-40B4-BE49-F238E27FC236}">
                <a16:creationId xmlns:a16="http://schemas.microsoft.com/office/drawing/2014/main" id="{05CE4D0E-61CD-4AFF-8E5D-D08D6FA919AD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>
          <a:xfrm>
            <a:off x="0" y="5184003"/>
            <a:ext cx="0" cy="0"/>
          </a:xfrm>
        </p:spPr>
        <p:txBody>
          <a:bodyPr anchor="t"/>
          <a:lstStyle>
            <a:lvl1pPr>
              <a:defRPr sz="108">
                <a:solidFill>
                  <a:srgbClr val="000000"/>
                </a:solidFill>
              </a:defRPr>
            </a:lvl1pPr>
          </a:lstStyle>
          <a:p>
            <a:pPr lvl="0"/>
            <a:fld id="{46C65166-62F5-40B4-A979-C14825642968}" type="slidenum">
              <a:t>‹nr.›</a:t>
            </a:fld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43DC8102-A782-43F2-8218-004C5DE1F095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498460" y="3387495"/>
            <a:ext cx="3323078" cy="1349997"/>
          </a:xfrm>
        </p:spPr>
        <p:txBody>
          <a:bodyPr rIns="0" anchor="b"/>
          <a:lstStyle>
            <a:lvl1pPr>
              <a:spcAft>
                <a:spcPts val="225"/>
              </a:spcAft>
              <a:defRPr sz="975"/>
            </a:lvl1pPr>
          </a:lstStyle>
          <a:p>
            <a:pPr lvl="0"/>
            <a:r>
              <a:rPr lang="en-US"/>
              <a:t>Click to edit master name style</a:t>
            </a:r>
            <a:endParaRPr lang="de-DE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727F0371-FDBB-415B-A0C3-A9B590C11668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4698417" y="2714622"/>
            <a:ext cx="2477961" cy="24265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icon to add picture</a:t>
            </a:r>
            <a:endParaRPr lang="da-DK"/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69990C45-83BC-4E0F-9249-B26111C3CBE0}"/>
              </a:ext>
            </a:extLst>
          </p:cNvPr>
          <p:cNvSpPr/>
          <p:nvPr/>
        </p:nvSpPr>
        <p:spPr>
          <a:xfrm>
            <a:off x="-1175498" y="4379471"/>
            <a:ext cx="987374" cy="392361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square" lIns="80999" tIns="80999" rIns="80999" bIns="80999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826" b="0" i="0" u="none" strike="noStrike" kern="1200" cap="none" spc="0" baseline="0">
                <a:solidFill>
                  <a:srgbClr val="2F363B"/>
                </a:solidFill>
                <a:uFillTx/>
                <a:latin typeface="Arial"/>
              </a:rPr>
              <a:t>Fill in:</a:t>
            </a:r>
          </a:p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826" b="0" i="0" u="none" strike="noStrike" kern="1200" cap="none" spc="0" baseline="0">
                <a:solidFill>
                  <a:srgbClr val="2F363B"/>
                </a:solidFill>
                <a:uFillTx/>
                <a:latin typeface="Arial"/>
              </a:rPr>
              <a:t>Authors </a:t>
            </a:r>
            <a:r>
              <a:rPr lang="da-DK" sz="826" b="0" i="0" u="none" strike="noStrike" kern="1200" cap="none" spc="0" baseline="0">
                <a:solidFill>
                  <a:srgbClr val="2F363B"/>
                </a:solidFill>
                <a:uFillTx/>
              </a:rPr>
              <a:t></a:t>
            </a:r>
            <a:endParaRPr lang="da-DK" sz="826" b="0" i="0" u="none" strike="noStrike" kern="1200" cap="none" spc="0" baseline="0">
              <a:solidFill>
                <a:srgbClr val="2F363B"/>
              </a:solidFill>
              <a:uFillTx/>
              <a:latin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BE03F18-36BA-45E7-9874-C5E3A8D55565}"/>
              </a:ext>
            </a:extLst>
          </p:cNvPr>
          <p:cNvSpPr/>
          <p:nvPr/>
        </p:nvSpPr>
        <p:spPr>
          <a:xfrm>
            <a:off x="9282136" y="3273097"/>
            <a:ext cx="1015414" cy="392361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square" lIns="80999" tIns="80999" rIns="80999" bIns="80999" anchor="t" anchorCtr="0" compatLnSpc="1">
            <a:spAutoFit/>
          </a:bodyPr>
          <a:lstStyle/>
          <a:p>
            <a:pPr marL="0" marR="0" lvl="0" indent="0" algn="r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826" b="0" i="0" u="none" strike="noStrike" kern="1200" cap="none" spc="0" baseline="0">
                <a:solidFill>
                  <a:srgbClr val="2F363B"/>
                </a:solidFill>
                <a:uFillTx/>
                <a:latin typeface="Arial"/>
              </a:rPr>
              <a:t>Fill in:</a:t>
            </a:r>
          </a:p>
          <a:p>
            <a:pPr marL="0" marR="0" lvl="0" indent="0" algn="r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826" b="0" i="0" u="none" strike="noStrike" kern="1200" cap="none" spc="0" baseline="0">
                <a:solidFill>
                  <a:srgbClr val="2F363B"/>
                </a:solidFill>
                <a:uFillTx/>
              </a:rPr>
              <a:t></a:t>
            </a:r>
            <a:r>
              <a:rPr lang="da-DK" sz="826" b="0" i="0" u="none" strike="noStrike" kern="1200" cap="none" spc="0" baseline="0">
                <a:solidFill>
                  <a:srgbClr val="2F363B"/>
                </a:solidFill>
                <a:uFillTx/>
                <a:latin typeface="Arial"/>
              </a:rPr>
              <a:t> Month/year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D505129C-7067-4241-9913-AA18C42AB91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7176380" y="3580932"/>
            <a:ext cx="1714111" cy="148023"/>
          </a:xfrm>
        </p:spPr>
        <p:txBody>
          <a:bodyPr lIns="270004" rIns="270004" anchor="ctr"/>
          <a:lstStyle>
            <a:lvl1pPr>
              <a:defRPr lang="en-GB" sz="750">
                <a:solidFill>
                  <a:srgbClr val="FFFFFF"/>
                </a:solidFill>
              </a:defRPr>
            </a:lvl1pPr>
          </a:lstStyle>
          <a:p>
            <a:pPr lvl="0"/>
            <a:r>
              <a:rPr lang="en-GB"/>
              <a:t>ID: XXXXX</a:t>
            </a:r>
          </a:p>
        </p:txBody>
      </p:sp>
      <p:sp>
        <p:nvSpPr>
          <p:cNvPr id="19" name="Rectangle 30">
            <a:extLst>
              <a:ext uri="{FF2B5EF4-FFF2-40B4-BE49-F238E27FC236}">
                <a16:creationId xmlns:a16="http://schemas.microsoft.com/office/drawing/2014/main" id="{C21FFB26-6460-4EC1-8173-E7103A9A7745}"/>
              </a:ext>
            </a:extLst>
          </p:cNvPr>
          <p:cNvSpPr/>
          <p:nvPr/>
        </p:nvSpPr>
        <p:spPr>
          <a:xfrm>
            <a:off x="5232329" y="5228848"/>
            <a:ext cx="1259905" cy="392361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square" lIns="80999" tIns="80999" rIns="80999" bIns="80999" anchor="t" anchorCtr="0" compatLnSpc="1">
            <a:sp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826" b="0" i="0" u="none" strike="noStrike" kern="1200" cap="none" spc="0" baseline="0">
                <a:solidFill>
                  <a:srgbClr val="2F363B"/>
                </a:solidFill>
                <a:uFillTx/>
                <a:latin typeface="Arial"/>
              </a:rPr>
              <a:t>Place picture from unsplash.com</a:t>
            </a:r>
          </a:p>
        </p:txBody>
      </p:sp>
      <p:sp>
        <p:nvSpPr>
          <p:cNvPr id="20" name="TextBox 5">
            <a:extLst>
              <a:ext uri="{FF2B5EF4-FFF2-40B4-BE49-F238E27FC236}">
                <a16:creationId xmlns:a16="http://schemas.microsoft.com/office/drawing/2014/main" id="{C9FB8A18-4F39-46E6-ABE6-D9DA511303ED}"/>
              </a:ext>
            </a:extLst>
          </p:cNvPr>
          <p:cNvSpPr txBox="1"/>
          <p:nvPr/>
        </p:nvSpPr>
        <p:spPr>
          <a:xfrm>
            <a:off x="7182221" y="3868093"/>
            <a:ext cx="1714499" cy="86940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202503" tIns="202503" rIns="202503" bIns="0" anchor="b" anchorCtr="0" compatLnSpc="1">
            <a:spAutoFit/>
          </a:bodyPr>
          <a:lstStyle/>
          <a:p>
            <a:pPr marL="0" marR="0" lvl="0" indent="0" algn="l" defTabSz="557192" rtl="0" fontAlgn="auto" hangingPunct="1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FFFFFF"/>
                </a:solidFill>
                <a:uFillTx/>
                <a:latin typeface="Arial"/>
              </a:rPr>
              <a:t>Presentation may contain detailed notes to the slides.</a:t>
            </a:r>
          </a:p>
          <a:p>
            <a:pPr marL="0" marR="0" lvl="0" indent="0" algn="l" defTabSz="557192" rtl="0" fontAlgn="auto" hangingPunct="1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  <a:p>
            <a:pPr marL="0" marR="0" lvl="0" indent="0" algn="l" defTabSz="557192" rtl="0" fontAlgn="auto" hangingPunct="1">
              <a:lnSpc>
                <a:spcPct val="93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750" b="0" i="0" u="none" strike="noStrike" kern="1200" cap="none" spc="0" baseline="0">
                <a:solidFill>
                  <a:srgbClr val="FFFFFF"/>
                </a:solidFill>
                <a:uFillTx/>
                <a:latin typeface="Arial"/>
              </a:rPr>
              <a:t>Confidential. Not for further distribution.</a:t>
            </a:r>
          </a:p>
        </p:txBody>
      </p:sp>
    </p:spTree>
    <p:extLst>
      <p:ext uri="{BB962C8B-B14F-4D97-AF65-F5344CB8AC3E}">
        <p14:creationId xmlns:p14="http://schemas.microsoft.com/office/powerpoint/2010/main" val="2372472053"/>
      </p:ext>
    </p:extLst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6F7CD8D-5FB0-40BE-B603-B871A2DA3443}"/>
              </a:ext>
            </a:extLst>
          </p:cNvPr>
          <p:cNvGraphicFramePr/>
          <p:nvPr/>
        </p:nvGraphicFramePr>
        <p:xfrm>
          <a:off x="1469" y="1194"/>
          <a:ext cx="1469" cy="11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9832" imgH="9832" progId="TCLayout.ActiveDocument.1">
                  <p:embed/>
                </p:oleObj>
              </mc:Choice>
              <mc:Fallback>
                <p:oleObj name="think-cell Slide" r:id="rId2" imgW="9832" imgH="983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6F7CD8D-5FB0-40BE-B603-B871A2DA3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69" y="1194"/>
                        <a:ext cx="1469" cy="11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3BE98D1-54DD-41D9-9607-FE45408D8FFA}"/>
              </a:ext>
            </a:extLst>
          </p:cNvPr>
          <p:cNvSpPr/>
          <p:nvPr/>
        </p:nvSpPr>
        <p:spPr>
          <a:xfrm>
            <a:off x="0" y="0"/>
            <a:ext cx="146537" cy="119061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557192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1575" b="0" i="0" u="none" strike="noStrike" kern="1200" cap="none" spc="0" baseline="0">
              <a:solidFill>
                <a:srgbClr val="2F363B"/>
              </a:solidFill>
              <a:uFillTx/>
              <a:latin typeface="Arial" pitchFamily="34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990BF6BB-C98A-4EFC-894C-6046F5E52ED5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49117" y="202407"/>
            <a:ext cx="7606286" cy="51925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Click to edit Master title style</a:t>
            </a:r>
          </a:p>
        </p:txBody>
      </p:sp>
      <p:sp>
        <p:nvSpPr>
          <p:cNvPr id="5" name="Date_GeneralDate" hidden="1">
            <a:extLst>
              <a:ext uri="{FF2B5EF4-FFF2-40B4-BE49-F238E27FC236}">
                <a16:creationId xmlns:a16="http://schemas.microsoft.com/office/drawing/2014/main" id="{87F539B9-8131-4BE9-B5AA-5C9DFDDD3D75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249116" y="5233881"/>
            <a:ext cx="0" cy="0"/>
          </a:xfrm>
        </p:spPr>
        <p:txBody>
          <a:bodyPr anchorCtr="0"/>
          <a:lstStyle>
            <a:lvl1pPr algn="l">
              <a:defRPr lang="da-DK" cap="all" spc="122">
                <a:solidFill>
                  <a:srgbClr val="FFFFFF"/>
                </a:solidFill>
              </a:defRPr>
            </a:lvl1pPr>
          </a:lstStyle>
          <a:p>
            <a:pPr lvl="0"/>
            <a:fld id="{98060069-B242-4012-820B-5759C8C35AAF}" type="datetime1">
              <a:rPr lang="da-DK"/>
              <a:pPr lvl="0"/>
              <a:t>26-09-2021</a:t>
            </a:fld>
            <a:endParaRPr lang="da-DK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15E2C4D2-CCD3-40FC-A178-312A0FB35681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da-DK" sz="488">
                <a:latin typeface="Arial" pitchFamily="34"/>
                <a:cs typeface="Arial" pitchFamily="34"/>
              </a:defRPr>
            </a:lvl1pPr>
            <a:lvl2pPr marL="104468" indent="-104468">
              <a:spcAft>
                <a:spcPts val="0"/>
              </a:spcAft>
              <a:defRPr lang="da-DK" sz="488">
                <a:latin typeface="Arial" pitchFamily="34"/>
                <a:cs typeface="Arial" pitchFamily="34"/>
              </a:defRPr>
            </a:lvl2pPr>
            <a:lvl3pPr marL="139299" indent="-139299">
              <a:spcAft>
                <a:spcPts val="0"/>
              </a:spcAft>
              <a:buFont typeface="Arial"/>
              <a:buAutoNum type="arabicPeriod"/>
              <a:defRPr lang="da-DK" sz="488">
                <a:latin typeface="Arial" pitchFamily="34"/>
                <a:cs typeface="Arial" pitchFamily="34"/>
              </a:defRPr>
            </a:lvl3pPr>
            <a:lvl4pPr marL="139299" indent="-139299">
              <a:spcAft>
                <a:spcPts val="0"/>
              </a:spcAft>
              <a:buFont typeface="Arial"/>
              <a:buAutoNum type="alphaUcPeriod"/>
              <a:defRPr lang="da-DK" sz="488">
                <a:latin typeface="Arial" pitchFamily="34"/>
                <a:cs typeface="Arial" pitchFamily="34"/>
              </a:defRPr>
            </a:lvl4pPr>
          </a:lstStyle>
          <a:p>
            <a:pPr lvl="0"/>
            <a:r>
              <a:rPr lang="da-DK"/>
              <a:t>Notes </a:t>
            </a:r>
          </a:p>
          <a:p>
            <a:pPr lvl="1"/>
            <a:r>
              <a:rPr lang="da-DK"/>
              <a:t>Notes </a:t>
            </a:r>
          </a:p>
          <a:p>
            <a:pPr lvl="2"/>
            <a:r>
              <a:rPr lang="da-DK"/>
              <a:t>Notes </a:t>
            </a:r>
          </a:p>
          <a:p>
            <a:pPr lvl="3"/>
            <a:r>
              <a:rPr lang="da-DK"/>
              <a:t>Notes </a:t>
            </a:r>
          </a:p>
        </p:txBody>
      </p:sp>
      <p:sp>
        <p:nvSpPr>
          <p:cNvPr id="7" name="FLD_PresentationTitle">
            <a:extLst>
              <a:ext uri="{FF2B5EF4-FFF2-40B4-BE49-F238E27FC236}">
                <a16:creationId xmlns:a16="http://schemas.microsoft.com/office/drawing/2014/main" id="{1DCB851F-86D8-4797-A6FD-BAC67EA19803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5370763" y="4876792"/>
            <a:ext cx="1103686" cy="79587"/>
          </a:xfrm>
        </p:spPr>
        <p:txBody>
          <a:bodyPr/>
          <a:lstStyle>
            <a:lvl1pPr algn="r">
              <a:defRPr lang="da-DK" sz="488">
                <a:solidFill>
                  <a:srgbClr val="1F2023"/>
                </a:solidFill>
              </a:defRPr>
            </a:lvl1pPr>
          </a:lstStyle>
          <a:p>
            <a:pPr lvl="0"/>
            <a:r>
              <a:rPr lang="da-DK"/>
              <a:t>Footer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50D4964-0442-4074-ACB3-ED7F0522A248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da-DK" sz="488"/>
            </a:lvl1pPr>
          </a:lstStyle>
          <a:p>
            <a:pPr lvl="0"/>
            <a:r>
              <a:rPr lang="da-DK"/>
              <a:t>Tracker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8E6C9F69-CA52-4338-9CF9-E1A71049DD76}"/>
              </a:ext>
            </a:extLst>
          </p:cNvPr>
          <p:cNvSpPr txBox="1"/>
          <p:nvPr/>
        </p:nvSpPr>
        <p:spPr>
          <a:xfrm>
            <a:off x="8597230" y="4878081"/>
            <a:ext cx="296190" cy="782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r" defTabSz="685772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A44872EC-896D-4AB2-BF65-773F7E02B752}" type="slidenum">
              <a:rPr sz="1350"/>
              <a:pPr marL="0" marR="0" lvl="0" indent="0" algn="r" defTabSz="685772" rtl="0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450"/>
                </a:spcAft>
                <a:buSzPct val="100000"/>
                <a:buFont typeface="Arial" pitchFamily="34"/>
                <a:buChar char="​"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‹nr.›</a:t>
            </a:fld>
            <a:endParaRPr lang="da-DK" sz="488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70675080"/>
      </p:ext>
    </p:extLst>
  </p:cSld>
  <p:clrMapOvr>
    <a:masterClrMapping/>
  </p:clrMapOvr>
  <p:transition spd="med">
    <p:fade/>
  </p:transition>
  <p:hf sldNum="0" hdr="0" ft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78CA8258-758A-4498-B2AA-199A595B1591}"/>
              </a:ext>
            </a:extLst>
          </p:cNvPr>
          <p:cNvSpPr txBox="1"/>
          <p:nvPr/>
        </p:nvSpPr>
        <p:spPr>
          <a:xfrm>
            <a:off x="8597230" y="4878081"/>
            <a:ext cx="296190" cy="782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r" defTabSz="685772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B37D3E62-AD5F-4379-BB52-F30B0AAA7A94}" type="slidenum">
              <a:rPr sz="1350"/>
              <a:pPr marL="0" marR="0" lvl="0" indent="0" algn="r" defTabSz="685772" rtl="0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450"/>
                </a:spcAft>
                <a:buSzPct val="100000"/>
                <a:buFont typeface="Arial" pitchFamily="34"/>
                <a:buChar char="​"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‹nr.›</a:t>
            </a:fld>
            <a:endParaRPr lang="da-DK" sz="488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3" name="Date_GeneralDate" hidden="1">
            <a:extLst>
              <a:ext uri="{FF2B5EF4-FFF2-40B4-BE49-F238E27FC236}">
                <a16:creationId xmlns:a16="http://schemas.microsoft.com/office/drawing/2014/main" id="{F2D1E4BF-41CB-4976-BF9D-09F0BA1D5654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lang="da-DK" cap="all" spc="122"/>
            </a:lvl1pPr>
          </a:lstStyle>
          <a:p>
            <a:pPr lvl="0"/>
            <a:fld id="{C51EDA17-0E65-41B4-AE31-152C762DD718}" type="datetime1">
              <a:rPr lang="da-DK"/>
              <a:pPr lvl="0"/>
              <a:t>26-09-202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57159964"/>
      </p:ext>
    </p:extLst>
  </p:cSld>
  <p:clrMapOvr>
    <a:masterClrMapping/>
  </p:clrMapOvr>
  <p:transition spd="med">
    <p:fade/>
  </p:transition>
  <p:hf sldNum="0" hdr="0" ft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>
            <a:extLst>
              <a:ext uri="{FF2B5EF4-FFF2-40B4-BE49-F238E27FC236}">
                <a16:creationId xmlns:a16="http://schemas.microsoft.com/office/drawing/2014/main" id="{49592798-8814-4C0A-B0F9-3E27918864B0}"/>
              </a:ext>
            </a:extLst>
          </p:cNvPr>
          <p:cNvGraphicFramePr/>
          <p:nvPr/>
        </p:nvGraphicFramePr>
        <p:xfrm>
          <a:off x="1469" y="1194"/>
          <a:ext cx="1469" cy="11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" imgW="5787" imgH="5787" progId="TCLayout.ActiveDocument.1">
                  <p:embed/>
                </p:oleObj>
              </mc:Choice>
              <mc:Fallback>
                <p:oleObj name="think-cell Slide" r:id="rId2" imgW="5787" imgH="5787" progId="TCLayout.ActiveDocument.1">
                  <p:embed/>
                  <p:pic>
                    <p:nvPicPr>
                      <p:cNvPr id="2" name="Object 3" hidden="1">
                        <a:extLst>
                          <a:ext uri="{FF2B5EF4-FFF2-40B4-BE49-F238E27FC236}">
                            <a16:creationId xmlns:a16="http://schemas.microsoft.com/office/drawing/2014/main" id="{49592798-8814-4C0A-B0F9-3E27918864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469" y="1194"/>
                        <a:ext cx="1469" cy="11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AB40F55-E1BB-41F3-BD85-E87E0A94DB21}"/>
              </a:ext>
            </a:extLst>
          </p:cNvPr>
          <p:cNvSpPr/>
          <p:nvPr/>
        </p:nvSpPr>
        <p:spPr>
          <a:xfrm>
            <a:off x="0" y="0"/>
            <a:ext cx="146537" cy="119061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557192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5400" b="0" i="0" u="none" strike="noStrike" kern="1200" cap="none" spc="0" baseline="0">
              <a:solidFill>
                <a:srgbClr val="2F363B"/>
              </a:solidFill>
              <a:uFillTx/>
              <a:latin typeface="Impact" pitchFamily="34"/>
            </a:endParaRPr>
          </a:p>
        </p:txBody>
      </p:sp>
      <p:sp>
        <p:nvSpPr>
          <p:cNvPr id="4" name="Picture Placeholder 13">
            <a:extLst>
              <a:ext uri="{FF2B5EF4-FFF2-40B4-BE49-F238E27FC236}">
                <a16:creationId xmlns:a16="http://schemas.microsoft.com/office/drawing/2014/main" id="{17172D05-AE5B-4B43-A03E-27E95185B6EA}"/>
              </a:ext>
            </a:extLst>
          </p:cNvPr>
          <p:cNvSpPr txBox="1">
            <a:spLocks noGrp="1"/>
          </p:cNvSpPr>
          <p:nvPr>
            <p:ph type="pic" idx="4294967295"/>
          </p:nvPr>
        </p:nvSpPr>
        <p:spPr>
          <a:xfrm>
            <a:off x="0" y="0"/>
            <a:ext cx="9143996" cy="5143500"/>
          </a:xfrm>
          <a:solidFill>
            <a:srgbClr val="F3F2F0"/>
          </a:solidFill>
        </p:spPr>
        <p:txBody>
          <a:bodyPr rIns="0" anchor="ctr" anchorCtr="1"/>
          <a:lstStyle>
            <a:lvl1pPr algn="ctr">
              <a:buNone/>
              <a:defRPr lang="da-DK"/>
            </a:lvl1pPr>
          </a:lstStyle>
          <a:p>
            <a:pPr lvl="0"/>
            <a:r>
              <a:rPr lang="da-DK"/>
              <a:t>Click icon to add pictur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0B2639C-9CB5-47E1-ABE4-29E81B406EC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49117" y="202407"/>
            <a:ext cx="8174390" cy="1434008"/>
          </a:xfrm>
        </p:spPr>
        <p:txBody>
          <a:bodyPr/>
          <a:lstStyle>
            <a:lvl1pPr>
              <a:defRPr sz="5400" cap="all">
                <a:solidFill>
                  <a:srgbClr val="FFFFFF"/>
                </a:solidFill>
                <a:latin typeface="Impact" pitchFamily="34"/>
              </a:defRPr>
            </a:lvl1pPr>
          </a:lstStyle>
          <a:p>
            <a:pPr lvl="0"/>
            <a:r>
              <a:rPr lang="da-DK"/>
              <a:t>CLICK TO EDIT MASTER TITLE STYLE</a:t>
            </a:r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F7B15E12-728C-4F50-BBEF-27CE482915BC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249117" y="4876799"/>
            <a:ext cx="6225333" cy="79587"/>
          </a:xfrm>
        </p:spPr>
        <p:txBody>
          <a:bodyPr rIns="0"/>
          <a:lstStyle>
            <a:lvl1pPr>
              <a:spcAft>
                <a:spcPts val="0"/>
              </a:spcAft>
              <a:defRPr lang="da-DK" sz="488">
                <a:solidFill>
                  <a:srgbClr val="FFFFFF"/>
                </a:solidFill>
                <a:latin typeface="Arial" pitchFamily="34"/>
                <a:cs typeface="Arial" pitchFamily="34"/>
              </a:defRPr>
            </a:lvl1pPr>
            <a:lvl2pPr marL="104468" indent="-104468">
              <a:spcAft>
                <a:spcPts val="0"/>
              </a:spcAft>
              <a:defRPr lang="da-DK" sz="488">
                <a:solidFill>
                  <a:srgbClr val="FFFFFF"/>
                </a:solidFill>
                <a:latin typeface="Arial" pitchFamily="34"/>
                <a:cs typeface="Arial" pitchFamily="34"/>
              </a:defRPr>
            </a:lvl2pPr>
            <a:lvl3pPr marL="139299" indent="-139299">
              <a:spcAft>
                <a:spcPts val="0"/>
              </a:spcAft>
              <a:buFont typeface="Arial"/>
              <a:buAutoNum type="arabicPeriod"/>
              <a:defRPr lang="da-DK" sz="488">
                <a:solidFill>
                  <a:srgbClr val="FFFFFF"/>
                </a:solidFill>
                <a:latin typeface="Arial" pitchFamily="34"/>
                <a:cs typeface="Arial" pitchFamily="34"/>
              </a:defRPr>
            </a:lvl3pPr>
            <a:lvl4pPr marL="139299" indent="-139299">
              <a:spcAft>
                <a:spcPts val="0"/>
              </a:spcAft>
              <a:buFont typeface="Arial"/>
              <a:buAutoNum type="alphaUcPeriod"/>
              <a:defRPr lang="da-DK" sz="488">
                <a:solidFill>
                  <a:srgbClr val="FFFFFF"/>
                </a:solidFill>
                <a:latin typeface="Arial" pitchFamily="34"/>
                <a:cs typeface="Arial" pitchFamily="34"/>
              </a:defRPr>
            </a:lvl4pPr>
          </a:lstStyle>
          <a:p>
            <a:pPr lvl="0"/>
            <a:r>
              <a:rPr lang="da-DK"/>
              <a:t>Notes </a:t>
            </a:r>
          </a:p>
          <a:p>
            <a:pPr lvl="1"/>
            <a:r>
              <a:rPr lang="da-DK"/>
              <a:t>Notes </a:t>
            </a:r>
          </a:p>
          <a:p>
            <a:pPr lvl="2"/>
            <a:r>
              <a:rPr lang="da-DK"/>
              <a:t>Notes </a:t>
            </a:r>
          </a:p>
          <a:p>
            <a:pPr lvl="3"/>
            <a:r>
              <a:rPr lang="da-DK"/>
              <a:t>Notes </a:t>
            </a:r>
          </a:p>
        </p:txBody>
      </p:sp>
      <p:sp>
        <p:nvSpPr>
          <p:cNvPr id="7" name="FLD_PresentationTitle">
            <a:extLst>
              <a:ext uri="{FF2B5EF4-FFF2-40B4-BE49-F238E27FC236}">
                <a16:creationId xmlns:a16="http://schemas.microsoft.com/office/drawing/2014/main" id="{8C232887-8052-4E71-9A9C-5CE248E65B90}"/>
              </a:ext>
            </a:extLst>
          </p:cNvPr>
          <p:cNvSpPr txBox="1">
            <a:spLocks noGrp="1"/>
          </p:cNvSpPr>
          <p:nvPr>
            <p:ph type="ftr" sz="quarter" idx="9"/>
          </p:nvPr>
        </p:nvSpPr>
        <p:spPr>
          <a:xfrm>
            <a:off x="5370763" y="4876792"/>
            <a:ext cx="1103686" cy="79587"/>
          </a:xfrm>
        </p:spPr>
        <p:txBody>
          <a:bodyPr/>
          <a:lstStyle>
            <a:lvl1pPr algn="r">
              <a:defRPr lang="da-DK" sz="488">
                <a:solidFill>
                  <a:srgbClr val="FFFFFF"/>
                </a:solidFill>
              </a:defRPr>
            </a:lvl1pPr>
          </a:lstStyle>
          <a:p>
            <a:pPr lvl="0"/>
            <a:r>
              <a:rPr lang="da-DK"/>
              <a:t>Footer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813D451-3F39-4C92-8EA2-CBC8F8687230}"/>
              </a:ext>
            </a:extLst>
          </p:cNvPr>
          <p:cNvSpPr txBox="1">
            <a:spLocks noGrp="1"/>
          </p:cNvSpPr>
          <p:nvPr>
            <p:ph type="body" idx="4294967295"/>
          </p:nvPr>
        </p:nvSpPr>
        <p:spPr>
          <a:xfrm>
            <a:off x="6654817" y="4878081"/>
            <a:ext cx="1826642" cy="79587"/>
          </a:xfrm>
        </p:spPr>
        <p:txBody>
          <a:bodyPr rIns="0"/>
          <a:lstStyle>
            <a:lvl1pPr algn="r">
              <a:defRPr lang="da-DK" sz="488">
                <a:solidFill>
                  <a:srgbClr val="FFFFFF"/>
                </a:solidFill>
              </a:defRPr>
            </a:lvl1pPr>
          </a:lstStyle>
          <a:p>
            <a:pPr lvl="0"/>
            <a:r>
              <a:rPr lang="da-DK"/>
              <a:t>Tracker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CD04FF64-EEC5-4B92-A76D-E49A27A00F74}"/>
              </a:ext>
            </a:extLst>
          </p:cNvPr>
          <p:cNvSpPr txBox="1"/>
          <p:nvPr/>
        </p:nvSpPr>
        <p:spPr>
          <a:xfrm>
            <a:off x="8597230" y="4878081"/>
            <a:ext cx="296190" cy="78298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marL="0" marR="0" lvl="0" indent="0" algn="r" defTabSz="685772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065D1576-03DE-4C20-83A3-74480A774CC9}" type="slidenum">
              <a:rPr sz="1350"/>
              <a:pPr marL="0" marR="0" lvl="0" indent="0" algn="r" defTabSz="685772" rtl="0" fontAlgn="auto" hangingPunct="1">
                <a:lnSpc>
                  <a:spcPct val="90000"/>
                </a:lnSpc>
                <a:spcBef>
                  <a:spcPts val="0"/>
                </a:spcBef>
                <a:spcAft>
                  <a:spcPts val="450"/>
                </a:spcAft>
                <a:buSzPct val="100000"/>
                <a:buFont typeface="Arial" pitchFamily="34"/>
                <a:buChar char="​"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‹nr.›</a:t>
            </a:fld>
            <a:endParaRPr lang="da-DK" sz="488" b="0" i="0" u="none" strike="noStrike" kern="1200" cap="none" spc="0" baseline="0">
              <a:solidFill>
                <a:srgbClr val="FFFFFF"/>
              </a:solidFill>
              <a:uFillTx/>
              <a:latin typeface="Arial"/>
            </a:endParaRPr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2171F4AE-3F7C-49C8-B50C-C83FDDA6C10C}"/>
              </a:ext>
            </a:extLst>
          </p:cNvPr>
          <p:cNvSpPr txBox="1">
            <a:spLocks noGrp="1"/>
          </p:cNvSpPr>
          <p:nvPr>
            <p:ph type="dt" sz="half" idx="7"/>
          </p:nvPr>
        </p:nvSpPr>
        <p:spPr>
          <a:xfrm>
            <a:off x="0" y="5184003"/>
            <a:ext cx="0" cy="0"/>
          </a:xfrm>
        </p:spPr>
        <p:txBody>
          <a:bodyPr anchorCtr="0"/>
          <a:lstStyle>
            <a:lvl1pPr algn="l">
              <a:defRPr lang="da-DK" cap="all" spc="122"/>
            </a:lvl1pPr>
          </a:lstStyle>
          <a:p>
            <a:pPr lvl="0"/>
            <a:fld id="{BBABCEA0-0384-462C-9B34-0805B0D90D53}" type="datetime1">
              <a:rPr lang="da-DK"/>
              <a:pPr lvl="0"/>
              <a:t>26-09-202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97759318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i masteren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>
            <a:normAutofit/>
          </a:bodyPr>
          <a:lstStyle>
            <a:lvl1pPr marL="0" indent="0">
              <a:buNone/>
              <a:defRPr sz="28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da-DK" dirty="0"/>
              <a:t>Træk billede til pladsholder, eller klik på symbol for at tilføje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4025505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EC1568-49BF-594E-9B2C-38E80A379FCB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26-09-2021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6FB5BB-5704-FB48-BA77-7254DC263D9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10106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A98AC3D-40B7-44F2-B4B7-10E253924A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FB218D8E-0110-4D80-92C1-2171F06C16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626411B-0765-478D-8EA8-F79F84B5BD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109A1-8EA1-4005-8E57-E60AEF06B641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F862923-4082-465C-BF56-634E4DCC58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7409E3FF-680C-4A20-BD08-C71815BB39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2BCF-C1BA-4C99-B746-A9A1B2B8F52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4856430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A9F74F-C3BC-4284-AA79-FED181FD32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17BEB086-D319-4868-B71B-737CC9281ED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9DD0C8C0-51D3-48E6-A5CD-EDCE895BF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109A1-8EA1-4005-8E57-E60AEF06B641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DCE4336-8992-4AEB-86FA-131971676A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91D98D1-A1F3-403C-8824-35791A3F80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2BCF-C1BA-4C99-B746-A9A1B2B8F52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210651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CE5121-6233-478E-94AA-FD7901229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813D81F-9906-48CF-BAFB-9CDCAE8344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D4F90BA-19BA-404B-9703-588C778F9E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109A1-8EA1-4005-8E57-E60AEF06B641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287B580-BF02-4F62-8D58-D59FEB1473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E990E78-E588-4B0D-ACDE-DFFEB756D1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2BCF-C1BA-4C99-B746-A9A1B2B8F52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091126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AFF6402-E0AB-42C1-8731-3F44A1A6CC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AFB2CF32-9FAC-4F16-B210-417EF119BE8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AA261D0C-B88D-401E-8BDB-E6C5ACDA62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48014E22-92A9-43EF-91F3-B4579ED528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109A1-8EA1-4005-8E57-E60AEF06B641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AAA1EADD-B189-45FB-9FE3-788F95C682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5E7AC1A-9A34-411B-9DA7-B18F1535E2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2BCF-C1BA-4C99-B746-A9A1B2B8F52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4547711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4109418-0819-42AC-BD01-248D9D31C3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AFD46F3-9115-46B0-A7A5-2B30A08A76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49C40E9A-CD66-41C6-B2A9-665DDA714F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2943E929-4A0A-4D14-8AEC-70A9DBA1604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F04928A9-BC94-4532-B810-584A06DDF77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19A8E594-C1C1-4C94-9D7B-457ED87455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109A1-8EA1-4005-8E57-E60AEF06B641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02631C8D-B00C-4804-B206-C8CF70E03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59A46D49-1DC7-4864-8888-71253D3F17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2BCF-C1BA-4C99-B746-A9A1B2B8F52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1914091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A5A03D-9203-4445-AC90-440D1AC442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3C3D2472-EBA9-4C58-8A0D-8367C14DB6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109A1-8EA1-4005-8E57-E60AEF06B641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D8012952-6FF1-4E85-B65C-4B04AF60A2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D5192484-87EE-4FD1-A5E9-64136EF2A1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2BCF-C1BA-4C99-B746-A9A1B2B8F52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1643292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1389F16A-D6C8-4D84-9027-12A0EFD827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109A1-8EA1-4005-8E57-E60AEF06B641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97CA94BC-F854-43F0-81D8-BD18D96DF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40B400D-7369-4FC2-82BA-CD42D73627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2BCF-C1BA-4C99-B746-A9A1B2B8F52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067704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ADC2BF-7E52-4E66-B676-0023D5C806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1C47D27-A738-491E-95D7-84CBBAFB1D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6740775A-B7BD-4F3E-9DFE-D921A49EFD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47B21A75-B536-47F7-99AC-4B8D33D77F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109A1-8EA1-4005-8E57-E60AEF06B641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6DD6D041-AD0A-479F-A6C6-3196264F7C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52706681-220E-4272-A280-DA7E024DC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2BCF-C1BA-4C99-B746-A9A1B2B8F52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8545215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E5EE50-CDC6-43C0-9B52-26BCA3C15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2C26F156-3F8E-4A69-A018-90F6C2B7671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24333555-9F7F-4E6F-8454-E023657050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9E5F170-B46A-4A30-9F76-CB4BD62A27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109A1-8EA1-4005-8E57-E60AEF06B641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FD3B13AC-EE0D-4ED0-9C48-A7E4B771EE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6D5D54B3-FE24-4397-A3F1-CDD86DF33A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2BCF-C1BA-4C99-B746-A9A1B2B8F52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5540364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22FEB1-37E8-431A-8C24-3F78FF378C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D6EB62D6-4E45-419A-9BAD-A7290D7856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8A906890-F619-49BA-9380-9F204F0B2B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109A1-8EA1-4005-8E57-E60AEF06B641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B15CC8C3-A9C5-4E33-A9A6-B027703C78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1AE0D22-C683-4D26-AE7E-355FB08CB8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802BCF-C1BA-4C99-B746-A9A1B2B8F52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089489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9" Type="http://schemas.openxmlformats.org/officeDocument/2006/relationships/slideLayout" Target="../slideLayouts/slideLayout81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34" Type="http://schemas.openxmlformats.org/officeDocument/2006/relationships/slideLayout" Target="../slideLayouts/slideLayout76.xml"/><Relationship Id="rId42" Type="http://schemas.openxmlformats.org/officeDocument/2006/relationships/slideLayout" Target="../slideLayouts/slideLayout84.xml"/><Relationship Id="rId47" Type="http://schemas.openxmlformats.org/officeDocument/2006/relationships/slideLayout" Target="../slideLayouts/slideLayout89.xml"/><Relationship Id="rId50" Type="http://schemas.openxmlformats.org/officeDocument/2006/relationships/image" Target="../media/image15.emf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38" Type="http://schemas.openxmlformats.org/officeDocument/2006/relationships/slideLayout" Target="../slideLayouts/slideLayout80.xml"/><Relationship Id="rId46" Type="http://schemas.openxmlformats.org/officeDocument/2006/relationships/slideLayout" Target="../slideLayouts/slideLayout88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29" Type="http://schemas.openxmlformats.org/officeDocument/2006/relationships/slideLayout" Target="../slideLayouts/slideLayout71.xml"/><Relationship Id="rId41" Type="http://schemas.openxmlformats.org/officeDocument/2006/relationships/slideLayout" Target="../slideLayouts/slideLayout83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37" Type="http://schemas.openxmlformats.org/officeDocument/2006/relationships/slideLayout" Target="../slideLayouts/slideLayout79.xml"/><Relationship Id="rId40" Type="http://schemas.openxmlformats.org/officeDocument/2006/relationships/slideLayout" Target="../slideLayouts/slideLayout82.xml"/><Relationship Id="rId45" Type="http://schemas.openxmlformats.org/officeDocument/2006/relationships/slideLayout" Target="../slideLayouts/slideLayout87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36" Type="http://schemas.openxmlformats.org/officeDocument/2006/relationships/slideLayout" Target="../slideLayouts/slideLayout78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4" Type="http://schemas.openxmlformats.org/officeDocument/2006/relationships/slideLayout" Target="../slideLayouts/slideLayout86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slideLayout" Target="../slideLayouts/slideLayout77.xml"/><Relationship Id="rId43" Type="http://schemas.openxmlformats.org/officeDocument/2006/relationships/slideLayout" Target="../slideLayouts/slideLayout85.xml"/><Relationship Id="rId48" Type="http://schemas.openxmlformats.org/officeDocument/2006/relationships/theme" Target="../theme/theme4.xml"/><Relationship Id="rId8" Type="http://schemas.openxmlformats.org/officeDocument/2006/relationships/slideLayout" Target="../slideLayouts/slideLayout5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EC1568-49BF-594E-9B2C-38E80A379FCB}" type="datetimeFigureOut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26-09-2021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86FB5BB-5704-FB48-BA77-7254DC263D93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1" name="Pladsholder til titel 10"/>
          <p:cNvSpPr>
            <a:spLocks noGrp="1"/>
          </p:cNvSpPr>
          <p:nvPr>
            <p:ph type="title"/>
          </p:nvPr>
        </p:nvSpPr>
        <p:spPr>
          <a:xfrm>
            <a:off x="0" y="478172"/>
            <a:ext cx="9144000" cy="58505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92071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777" r:id="rId12"/>
  </p:sldLayoutIdLst>
  <p:txStyles>
    <p:titleStyle>
      <a:lvl1pPr algn="ctr" defTabSz="457189" rtl="0" eaLnBrk="1" latinLnBrk="0" hangingPunct="1">
        <a:spcBef>
          <a:spcPct val="0"/>
        </a:spcBef>
        <a:buNone/>
        <a:defRPr sz="3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891" indent="-342891" algn="l" defTabSz="457189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32" indent="-285744" algn="l" defTabSz="457189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2971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160" indent="-228594" algn="l" defTabSz="457189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7396" y="294664"/>
            <a:ext cx="7040215" cy="533729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da-DK" noProof="0" dirty="0"/>
              <a:t>Overskrift i op til 2 linj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7247" y="1162050"/>
            <a:ext cx="7030364" cy="31111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noProof="0" dirty="0"/>
              <a:t>Klik for at redigere i master</a:t>
            </a:r>
          </a:p>
          <a:p>
            <a:pPr lvl="1"/>
            <a:r>
              <a:rPr lang="da-DK" noProof="0" dirty="0"/>
              <a:t>Andet niveau</a:t>
            </a:r>
          </a:p>
          <a:p>
            <a:pPr lvl="2"/>
            <a:r>
              <a:rPr lang="da-DK" noProof="0" dirty="0"/>
              <a:t>Tredje niveau</a:t>
            </a:r>
          </a:p>
          <a:p>
            <a:pPr lvl="3"/>
            <a:r>
              <a:rPr lang="da-DK" noProof="0" dirty="0"/>
              <a:t>Fjerde niveau</a:t>
            </a:r>
          </a:p>
          <a:p>
            <a:pPr lvl="4"/>
            <a:r>
              <a:rPr lang="da-DK" noProof="0" dirty="0"/>
              <a:t>Femte niveau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792464" y="339063"/>
            <a:ext cx="759717" cy="10800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lnSpc>
                <a:spcPct val="92000"/>
              </a:lnSpc>
              <a:defRPr sz="675">
                <a:solidFill>
                  <a:srgbClr val="076471"/>
                </a:solidFill>
              </a:defRPr>
            </a:lvl1pPr>
          </a:lstStyle>
          <a:p>
            <a:fld id="{1C94F387-72AF-7F46-9F62-3BEE8B63B887}" type="datetime1">
              <a:rPr lang="da-DK" smtClean="0"/>
              <a:t>26-09-2021</a:t>
            </a:fld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52182" y="339064"/>
            <a:ext cx="184631" cy="108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lnSpc>
                <a:spcPct val="92000"/>
              </a:lnSpc>
              <a:defRPr sz="675">
                <a:solidFill>
                  <a:srgbClr val="076471"/>
                </a:solidFill>
              </a:defRPr>
            </a:lvl1pPr>
          </a:lstStyle>
          <a:p>
            <a:fld id="{4F2B6656-7882-4CEF-9850-9EB873E823C4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68822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950" b="1" kern="1200" baseline="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14313" indent="-214313" algn="l" defTabSz="685800" rtl="0" eaLnBrk="1" latinLnBrk="0" hangingPunct="1">
        <a:lnSpc>
          <a:spcPct val="94000"/>
        </a:lnSpc>
        <a:spcBef>
          <a:spcPts val="0"/>
        </a:spcBef>
        <a:spcAft>
          <a:spcPts val="1500"/>
        </a:spcAft>
        <a:buFont typeface="Arial"/>
        <a:buChar char="•"/>
        <a:defRPr sz="1350" b="0" kern="1200">
          <a:solidFill>
            <a:srgbClr val="000000"/>
          </a:solidFill>
          <a:latin typeface="+mn-lt"/>
          <a:ea typeface="+mn-ea"/>
          <a:cs typeface="+mn-cs"/>
        </a:defRPr>
      </a:lvl1pPr>
      <a:lvl2pPr marL="403313" indent="-214313" algn="l" defTabSz="685800" rtl="0" eaLnBrk="1" latinLnBrk="0" hangingPunct="1">
        <a:lnSpc>
          <a:spcPct val="105000"/>
        </a:lnSpc>
        <a:spcBef>
          <a:spcPts val="0"/>
        </a:spcBef>
        <a:spcAft>
          <a:spcPts val="1725"/>
        </a:spcAft>
        <a:buFont typeface="Arial"/>
        <a:buChar char="•"/>
        <a:defRPr sz="1200" b="0" kern="1200">
          <a:solidFill>
            <a:srgbClr val="000000"/>
          </a:solidFill>
          <a:latin typeface="+mn-lt"/>
          <a:ea typeface="+mn-ea"/>
          <a:cs typeface="+mn-cs"/>
        </a:defRPr>
      </a:lvl2pPr>
      <a:lvl3pPr marL="605813" indent="-214313" algn="l" defTabSz="685800" rtl="0" eaLnBrk="1" latinLnBrk="0" hangingPunct="1">
        <a:lnSpc>
          <a:spcPct val="105000"/>
        </a:lnSpc>
        <a:spcBef>
          <a:spcPts val="0"/>
        </a:spcBef>
        <a:spcAft>
          <a:spcPts val="1725"/>
        </a:spcAft>
        <a:buFont typeface="Arial"/>
        <a:buChar char="•"/>
        <a:defRPr sz="1050" b="0" kern="1200">
          <a:solidFill>
            <a:srgbClr val="000000"/>
          </a:solidFill>
          <a:latin typeface="+mn-lt"/>
          <a:ea typeface="+mn-ea"/>
          <a:cs typeface="+mn-cs"/>
        </a:defRPr>
      </a:lvl3pPr>
      <a:lvl4pPr marL="732713" indent="-214313" algn="l" defTabSz="685800" rtl="0" eaLnBrk="1" latinLnBrk="0" hangingPunct="1">
        <a:lnSpc>
          <a:spcPct val="105000"/>
        </a:lnSpc>
        <a:spcBef>
          <a:spcPts val="0"/>
        </a:spcBef>
        <a:spcAft>
          <a:spcPts val="1725"/>
        </a:spcAft>
        <a:buFont typeface="Arial"/>
        <a:buChar char="•"/>
        <a:defRPr sz="105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854213" indent="-214313" algn="l" defTabSz="685800" rtl="0" eaLnBrk="1" latinLnBrk="0" hangingPunct="1">
        <a:lnSpc>
          <a:spcPct val="105000"/>
        </a:lnSpc>
        <a:spcBef>
          <a:spcPts val="0"/>
        </a:spcBef>
        <a:buFont typeface="Arial"/>
        <a:buChar char="•"/>
        <a:defRPr sz="1050" b="0" kern="1200">
          <a:solidFill>
            <a:srgbClr val="000000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15A380-C0FC-CB4F-B98A-C67851DDAF72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66B89A-C18B-8D4B-AB5B-6896B47A758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60063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" hidden="1">
            <a:extLst>
              <a:ext uri="{FF2B5EF4-FFF2-40B4-BE49-F238E27FC236}">
                <a16:creationId xmlns:a16="http://schemas.microsoft.com/office/drawing/2014/main" id="{FD0EC475-0B75-407C-B9A2-66629301F551}"/>
              </a:ext>
            </a:extLst>
          </p:cNvPr>
          <p:cNvGraphicFramePr/>
          <p:nvPr/>
        </p:nvGraphicFramePr>
        <p:xfrm>
          <a:off x="1469" y="1194"/>
          <a:ext cx="1469" cy="11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5787" imgH="5787" progId="TCLayout.ActiveDocument.1">
                  <p:embed/>
                </p:oleObj>
              </mc:Choice>
              <mc:Fallback>
                <p:oleObj name="think-cell Slide" r:id="rId49" imgW="5787" imgH="5787" progId="TCLayout.ActiveDocument.1">
                  <p:embed/>
                  <p:pic>
                    <p:nvPicPr>
                      <p:cNvPr id="2" name="Object 7" hidden="1">
                        <a:extLst>
                          <a:ext uri="{FF2B5EF4-FFF2-40B4-BE49-F238E27FC236}">
                            <a16:creationId xmlns:a16="http://schemas.microsoft.com/office/drawing/2014/main" id="{FD0EC475-0B75-407C-B9A2-66629301F5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469" y="1194"/>
                        <a:ext cx="1469" cy="119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1" hidden="1">
            <a:extLst>
              <a:ext uri="{FF2B5EF4-FFF2-40B4-BE49-F238E27FC236}">
                <a16:creationId xmlns:a16="http://schemas.microsoft.com/office/drawing/2014/main" id="{E762CC37-64C0-4DC9-928B-68C9A6500813}"/>
              </a:ext>
            </a:extLst>
          </p:cNvPr>
          <p:cNvSpPr/>
          <p:nvPr/>
        </p:nvSpPr>
        <p:spPr>
          <a:xfrm>
            <a:off x="0" y="0"/>
            <a:ext cx="146537" cy="119061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1575" b="0" i="0" u="none" strike="noStrike" kern="1200" cap="none" spc="0" baseline="0">
              <a:solidFill>
                <a:srgbClr val="2F363B"/>
              </a:solidFill>
              <a:uFillTx/>
              <a:latin typeface="Arial" pitchFamily="34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E1E4B65-FECC-4F89-8CBB-49D567B1F54C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51311" y="1221581"/>
            <a:ext cx="8644304" cy="352048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359999" bIns="0" anchor="t" anchorCtr="0" compatLnSpc="1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7E0EC12-3271-4E79-9521-5DF5E4438ED7}"/>
              </a:ext>
            </a:extLst>
          </p:cNvPr>
          <p:cNvSpPr txBox="1">
            <a:spLocks noGrp="1"/>
          </p:cNvSpPr>
          <p:nvPr>
            <p:ph type="sldNum" sz="quarter" idx="4"/>
          </p:nvPr>
        </p:nvSpPr>
        <p:spPr>
          <a:xfrm>
            <a:off x="8656779" y="4872321"/>
            <a:ext cx="236641" cy="8406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r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lang="en-GB" sz="488" b="0" i="0" u="none" strike="noStrike" kern="1200" cap="none" spc="0" baseline="0">
                <a:solidFill>
                  <a:srgbClr val="1F2023"/>
                </a:solidFill>
                <a:uFillTx/>
                <a:latin typeface="Arial"/>
              </a:defRPr>
            </a:lvl1pPr>
          </a:lstStyle>
          <a:p>
            <a:pPr lvl="0"/>
            <a:fld id="{7689A531-4AE1-4E00-B1CA-3275DB08C98D}" type="slidenum">
              <a:t>‹nr.›</a:t>
            </a:fld>
            <a:endParaRPr lang="en-GB"/>
          </a:p>
        </p:txBody>
      </p:sp>
      <p:sp>
        <p:nvSpPr>
          <p:cNvPr id="6" name="Title Placeholder 6">
            <a:extLst>
              <a:ext uri="{FF2B5EF4-FFF2-40B4-BE49-F238E27FC236}">
                <a16:creationId xmlns:a16="http://schemas.microsoft.com/office/drawing/2014/main" id="{A6B2E48C-B307-4ED2-A109-3ECE1EDEF46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49116" y="202407"/>
            <a:ext cx="7900830" cy="51925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t" anchorCtr="0" compatLnSpc="1">
            <a:noAutofit/>
          </a:bodyPr>
          <a:lstStyle/>
          <a:p>
            <a:pPr lvl="0"/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7" name="AutoShape 3">
            <a:extLst>
              <a:ext uri="{FF2B5EF4-FFF2-40B4-BE49-F238E27FC236}">
                <a16:creationId xmlns:a16="http://schemas.microsoft.com/office/drawing/2014/main" id="{045ED78F-4159-4C2A-9D1B-28A54D1F0FEF}"/>
              </a:ext>
            </a:extLst>
          </p:cNvPr>
          <p:cNvSpPr/>
          <p:nvPr/>
        </p:nvSpPr>
        <p:spPr>
          <a:xfrm>
            <a:off x="2609856" y="1084661"/>
            <a:ext cx="6047641" cy="2149077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8" name="AutoShape 9">
            <a:extLst>
              <a:ext uri="{FF2B5EF4-FFF2-40B4-BE49-F238E27FC236}">
                <a16:creationId xmlns:a16="http://schemas.microsoft.com/office/drawing/2014/main" id="{6105325A-41E6-4F3A-9D30-A2378E1AF828}"/>
              </a:ext>
            </a:extLst>
          </p:cNvPr>
          <p:cNvSpPr/>
          <p:nvPr/>
        </p:nvSpPr>
        <p:spPr>
          <a:xfrm>
            <a:off x="2284537" y="2458641"/>
            <a:ext cx="9143996" cy="1699021"/>
          </a:xfrm>
          <a:prstGeom prst="rect">
            <a:avLst/>
          </a:prstGeom>
          <a:noFill/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en-GB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9" name="Freeform: Shape 21">
            <a:extLst>
              <a:ext uri="{FF2B5EF4-FFF2-40B4-BE49-F238E27FC236}">
                <a16:creationId xmlns:a16="http://schemas.microsoft.com/office/drawing/2014/main" id="{46BF7E2A-6DF3-49CB-9F82-5F25E4AE20AA}"/>
              </a:ext>
            </a:extLst>
          </p:cNvPr>
          <p:cNvSpPr/>
          <p:nvPr/>
        </p:nvSpPr>
        <p:spPr>
          <a:xfrm rot="5400013">
            <a:off x="8690662" y="287231"/>
            <a:ext cx="262627" cy="142739"/>
          </a:xfrm>
          <a:custGeom>
            <a:avLst/>
            <a:gdLst>
              <a:gd name="f0" fmla="val 10800000"/>
              <a:gd name="f1" fmla="val 5400000"/>
              <a:gd name="f2" fmla="val 180"/>
              <a:gd name="f3" fmla="val w"/>
              <a:gd name="f4" fmla="val h"/>
              <a:gd name="f5" fmla="val 0"/>
              <a:gd name="f6" fmla="val 350168"/>
              <a:gd name="f7" fmla="val 154638"/>
              <a:gd name="f8" fmla="val 242136"/>
              <a:gd name="f9" fmla="val 141700"/>
              <a:gd name="f10" fmla="val 62944"/>
              <a:gd name="f11" fmla="val 154337"/>
              <a:gd name="f12" fmla="val 102688"/>
              <a:gd name="f13" fmla="val 141020"/>
              <a:gd name="f14" fmla="val 104707"/>
              <a:gd name="f15" fmla="val 179755"/>
              <a:gd name="f16" fmla="val 217481"/>
              <a:gd name="f17" fmla="val 187825"/>
              <a:gd name="f18" fmla="val 53263"/>
              <a:gd name="f19" fmla="val 151309"/>
              <a:gd name="f20" fmla="val 152117"/>
              <a:gd name="f21" fmla="val 128915"/>
              <a:gd name="f22" fmla="val 92601"/>
              <a:gd name="f23" fmla="val 52051"/>
              <a:gd name="f24" fmla="val 30867"/>
              <a:gd name="f25" fmla="+- 0 0 -90"/>
              <a:gd name="f26" fmla="*/ f3 1 350168"/>
              <a:gd name="f27" fmla="*/ f4 1 154638"/>
              <a:gd name="f28" fmla="+- f7 0 f5"/>
              <a:gd name="f29" fmla="+- f6 0 f5"/>
              <a:gd name="f30" fmla="*/ f25 f0 1"/>
              <a:gd name="f31" fmla="*/ f29 1 350168"/>
              <a:gd name="f32" fmla="*/ f28 1 154638"/>
              <a:gd name="f33" fmla="*/ 242136 f29 1"/>
              <a:gd name="f34" fmla="*/ 154638 f28 1"/>
              <a:gd name="f35" fmla="*/ 141700 f28 1"/>
              <a:gd name="f36" fmla="*/ 350168 f29 1"/>
              <a:gd name="f37" fmla="*/ 62944 f29 1"/>
              <a:gd name="f38" fmla="*/ 154337 f28 1"/>
              <a:gd name="f39" fmla="*/ 0 f28 1"/>
              <a:gd name="f40" fmla="*/ 102688 f29 1"/>
              <a:gd name="f41" fmla="*/ 141020 f29 1"/>
              <a:gd name="f42" fmla="*/ 104707 f28 1"/>
              <a:gd name="f43" fmla="*/ 179755 f29 1"/>
              <a:gd name="f44" fmla="*/ 217481 f29 1"/>
              <a:gd name="f45" fmla="*/ 187825 f29 1"/>
              <a:gd name="f46" fmla="*/ 53263 f28 1"/>
              <a:gd name="f47" fmla="*/ 151309 f29 1"/>
              <a:gd name="f48" fmla="*/ 152117 f28 1"/>
              <a:gd name="f49" fmla="*/ 128915 f29 1"/>
              <a:gd name="f50" fmla="*/ 92601 f29 1"/>
              <a:gd name="f51" fmla="*/ 52051 f28 1"/>
              <a:gd name="f52" fmla="*/ 0 f29 1"/>
              <a:gd name="f53" fmla="*/ 30867 f29 1"/>
              <a:gd name="f54" fmla="*/ f30 1 f2"/>
              <a:gd name="f55" fmla="*/ f33 1 350168"/>
              <a:gd name="f56" fmla="*/ f34 1 154638"/>
              <a:gd name="f57" fmla="*/ f35 1 154638"/>
              <a:gd name="f58" fmla="*/ f36 1 350168"/>
              <a:gd name="f59" fmla="*/ f37 1 350168"/>
              <a:gd name="f60" fmla="*/ f38 1 154638"/>
              <a:gd name="f61" fmla="*/ f39 1 154638"/>
              <a:gd name="f62" fmla="*/ f40 1 350168"/>
              <a:gd name="f63" fmla="*/ f41 1 350168"/>
              <a:gd name="f64" fmla="*/ f42 1 154638"/>
              <a:gd name="f65" fmla="*/ f43 1 350168"/>
              <a:gd name="f66" fmla="*/ f44 1 350168"/>
              <a:gd name="f67" fmla="*/ f45 1 350168"/>
              <a:gd name="f68" fmla="*/ f46 1 154638"/>
              <a:gd name="f69" fmla="*/ f47 1 350168"/>
              <a:gd name="f70" fmla="*/ f48 1 154638"/>
              <a:gd name="f71" fmla="*/ f49 1 350168"/>
              <a:gd name="f72" fmla="*/ f50 1 350168"/>
              <a:gd name="f73" fmla="*/ f51 1 154638"/>
              <a:gd name="f74" fmla="*/ f52 1 350168"/>
              <a:gd name="f75" fmla="*/ f53 1 350168"/>
              <a:gd name="f76" fmla="*/ f5 1 f31"/>
              <a:gd name="f77" fmla="*/ f6 1 f31"/>
              <a:gd name="f78" fmla="*/ f5 1 f32"/>
              <a:gd name="f79" fmla="*/ f7 1 f32"/>
              <a:gd name="f80" fmla="+- f54 0 f1"/>
              <a:gd name="f81" fmla="*/ f55 1 f31"/>
              <a:gd name="f82" fmla="*/ f56 1 f32"/>
              <a:gd name="f83" fmla="*/ f57 1 f32"/>
              <a:gd name="f84" fmla="*/ f58 1 f31"/>
              <a:gd name="f85" fmla="*/ f59 1 f31"/>
              <a:gd name="f86" fmla="*/ f60 1 f32"/>
              <a:gd name="f87" fmla="*/ f61 1 f32"/>
              <a:gd name="f88" fmla="*/ f62 1 f31"/>
              <a:gd name="f89" fmla="*/ f63 1 f31"/>
              <a:gd name="f90" fmla="*/ f64 1 f32"/>
              <a:gd name="f91" fmla="*/ f65 1 f31"/>
              <a:gd name="f92" fmla="*/ f66 1 f31"/>
              <a:gd name="f93" fmla="*/ f67 1 f31"/>
              <a:gd name="f94" fmla="*/ f68 1 f32"/>
              <a:gd name="f95" fmla="*/ f69 1 f31"/>
              <a:gd name="f96" fmla="*/ f70 1 f32"/>
              <a:gd name="f97" fmla="*/ f71 1 f31"/>
              <a:gd name="f98" fmla="*/ f72 1 f31"/>
              <a:gd name="f99" fmla="*/ f73 1 f32"/>
              <a:gd name="f100" fmla="*/ f74 1 f31"/>
              <a:gd name="f101" fmla="*/ f75 1 f31"/>
              <a:gd name="f102" fmla="*/ f76 f26 1"/>
              <a:gd name="f103" fmla="*/ f77 f26 1"/>
              <a:gd name="f104" fmla="*/ f79 f27 1"/>
              <a:gd name="f105" fmla="*/ f78 f27 1"/>
              <a:gd name="f106" fmla="*/ f81 f26 1"/>
              <a:gd name="f107" fmla="*/ f82 f27 1"/>
              <a:gd name="f108" fmla="*/ f83 f27 1"/>
              <a:gd name="f109" fmla="*/ f84 f26 1"/>
              <a:gd name="f110" fmla="*/ f85 f26 1"/>
              <a:gd name="f111" fmla="*/ f86 f27 1"/>
              <a:gd name="f112" fmla="*/ f87 f27 1"/>
              <a:gd name="f113" fmla="*/ f88 f26 1"/>
              <a:gd name="f114" fmla="*/ f89 f26 1"/>
              <a:gd name="f115" fmla="*/ f90 f27 1"/>
              <a:gd name="f116" fmla="*/ f91 f26 1"/>
              <a:gd name="f117" fmla="*/ f92 f26 1"/>
              <a:gd name="f118" fmla="*/ f93 f26 1"/>
              <a:gd name="f119" fmla="*/ f94 f27 1"/>
              <a:gd name="f120" fmla="*/ f95 f26 1"/>
              <a:gd name="f121" fmla="*/ f96 f27 1"/>
              <a:gd name="f122" fmla="*/ f97 f26 1"/>
              <a:gd name="f123" fmla="*/ f98 f26 1"/>
              <a:gd name="f124" fmla="*/ f99 f27 1"/>
              <a:gd name="f125" fmla="*/ f100 f26 1"/>
              <a:gd name="f126" fmla="*/ f101 f26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80">
                <a:pos x="f106" y="f107"/>
              </a:cxn>
              <a:cxn ang="f80">
                <a:pos x="f106" y="f108"/>
              </a:cxn>
              <a:cxn ang="f80">
                <a:pos x="f109" y="f108"/>
              </a:cxn>
              <a:cxn ang="f80">
                <a:pos x="f109" y="f107"/>
              </a:cxn>
              <a:cxn ang="f80">
                <a:pos x="f110" y="f111"/>
              </a:cxn>
              <a:cxn ang="f80">
                <a:pos x="f110" y="f112"/>
              </a:cxn>
              <a:cxn ang="f80">
                <a:pos x="f113" y="f112"/>
              </a:cxn>
              <a:cxn ang="f80">
                <a:pos x="f114" y="f115"/>
              </a:cxn>
              <a:cxn ang="f80">
                <a:pos x="f116" y="f112"/>
              </a:cxn>
              <a:cxn ang="f80">
                <a:pos x="f117" y="f112"/>
              </a:cxn>
              <a:cxn ang="f80">
                <a:pos x="f117" y="f111"/>
              </a:cxn>
              <a:cxn ang="f80">
                <a:pos x="f118" y="f111"/>
              </a:cxn>
              <a:cxn ang="f80">
                <a:pos x="f118" y="f119"/>
              </a:cxn>
              <a:cxn ang="f80">
                <a:pos x="f120" y="f121"/>
              </a:cxn>
              <a:cxn ang="f80">
                <a:pos x="f122" y="f121"/>
              </a:cxn>
              <a:cxn ang="f80">
                <a:pos x="f123" y="f124"/>
              </a:cxn>
              <a:cxn ang="f80">
                <a:pos x="f123" y="f111"/>
              </a:cxn>
              <a:cxn ang="f80">
                <a:pos x="f125" y="f111"/>
              </a:cxn>
              <a:cxn ang="f80">
                <a:pos x="f125" y="f112"/>
              </a:cxn>
              <a:cxn ang="f80">
                <a:pos x="f126" y="f112"/>
              </a:cxn>
              <a:cxn ang="f80">
                <a:pos x="f126" y="f111"/>
              </a:cxn>
            </a:cxnLst>
            <a:rect l="f102" t="f105" r="f103" b="f104"/>
            <a:pathLst>
              <a:path w="350168" h="154638">
                <a:moveTo>
                  <a:pt x="f8" y="f7"/>
                </a:moveTo>
                <a:lnTo>
                  <a:pt x="f8" y="f9"/>
                </a:lnTo>
                <a:lnTo>
                  <a:pt x="f6" y="f9"/>
                </a:lnTo>
                <a:lnTo>
                  <a:pt x="f6" y="f7"/>
                </a:lnTo>
                <a:close/>
                <a:moveTo>
                  <a:pt x="f10" y="f11"/>
                </a:moveTo>
                <a:lnTo>
                  <a:pt x="f10" y="f5"/>
                </a:lnTo>
                <a:lnTo>
                  <a:pt x="f12" y="f5"/>
                </a:lnTo>
                <a:lnTo>
                  <a:pt x="f13" y="f14"/>
                </a:lnTo>
                <a:lnTo>
                  <a:pt x="f15" y="f5"/>
                </a:lnTo>
                <a:lnTo>
                  <a:pt x="f16" y="f5"/>
                </a:lnTo>
                <a:lnTo>
                  <a:pt x="f16" y="f11"/>
                </a:lnTo>
                <a:lnTo>
                  <a:pt x="f17" y="f11"/>
                </a:lnTo>
                <a:lnTo>
                  <a:pt x="f17" y="f18"/>
                </a:lnTo>
                <a:lnTo>
                  <a:pt x="f19" y="f20"/>
                </a:lnTo>
                <a:lnTo>
                  <a:pt x="f21" y="f20"/>
                </a:lnTo>
                <a:lnTo>
                  <a:pt x="f22" y="f23"/>
                </a:lnTo>
                <a:lnTo>
                  <a:pt x="f22" y="f11"/>
                </a:lnTo>
                <a:close/>
                <a:moveTo>
                  <a:pt x="f5" y="f11"/>
                </a:moveTo>
                <a:lnTo>
                  <a:pt x="f5" y="f5"/>
                </a:lnTo>
                <a:lnTo>
                  <a:pt x="f24" y="f5"/>
                </a:lnTo>
                <a:lnTo>
                  <a:pt x="f24" y="f11"/>
                </a:lnTo>
                <a:close/>
              </a:path>
            </a:pathLst>
          </a:custGeom>
          <a:solidFill>
            <a:srgbClr val="000000"/>
          </a:solidFill>
          <a:ln cap="flat">
            <a:noFill/>
            <a:prstDash val="solid"/>
          </a:ln>
        </p:spPr>
        <p:txBody>
          <a:bodyPr vert="horz" wrap="square" lIns="68580" tIns="34290" rIns="68580" bIns="34290" anchor="t" anchorCtr="0" compatLnSpc="1">
            <a:noAutofit/>
          </a:bodyPr>
          <a:lstStyle/>
          <a:p>
            <a: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750" b="0" i="0" u="none" strike="noStrike" kern="1200" cap="none" spc="0" baseline="0">
              <a:solidFill>
                <a:srgbClr val="1F2023"/>
              </a:solidFill>
              <a:uFillTx/>
              <a:latin typeface="Arial"/>
            </a:endParaRPr>
          </a:p>
        </p:txBody>
      </p:sp>
      <p:sp>
        <p:nvSpPr>
          <p:cNvPr id="10" name="Date_GeneralDate" hidden="1">
            <a:extLst>
              <a:ext uri="{FF2B5EF4-FFF2-40B4-BE49-F238E27FC236}">
                <a16:creationId xmlns:a16="http://schemas.microsoft.com/office/drawing/2014/main" id="{A689D771-18F4-4668-BDAC-258D5ED00F34}"/>
              </a:ext>
            </a:extLst>
          </p:cNvPr>
          <p:cNvSpPr txBox="1">
            <a:spLocks noGrp="1"/>
          </p:cNvSpPr>
          <p:nvPr>
            <p:ph type="dt" sz="half" idx="2"/>
          </p:nvPr>
        </p:nvSpPr>
        <p:spPr>
          <a:xfrm>
            <a:off x="0" y="5148527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1" compatLnSpc="1">
            <a:noAutofit/>
          </a:bodyPr>
          <a:lstStyle>
            <a:lvl1pPr marL="0" marR="0" lvl="0" indent="0" algn="ctr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SzPct val="100000"/>
              <a:buFont typeface="Arial" pitchFamily="34"/>
              <a:buChar char="​"/>
              <a:tabLst/>
              <a:defRPr lang="en-US" sz="108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defRPr>
            </a:lvl1pPr>
          </a:lstStyle>
          <a:p>
            <a:pPr lvl="0"/>
            <a:fld id="{E616A27C-84B7-4CDF-9CDE-DA62C12AFB8C}" type="datetime1">
              <a:rPr lang="en-US"/>
              <a:pPr lvl="0"/>
              <a:t>9/26/2021</a:t>
            </a:fld>
            <a:endParaRPr lang="en-GB"/>
          </a:p>
        </p:txBody>
      </p:sp>
      <p:sp>
        <p:nvSpPr>
          <p:cNvPr id="11" name="FLD_PresentationTitle" hidden="1">
            <a:extLst>
              <a:ext uri="{FF2B5EF4-FFF2-40B4-BE49-F238E27FC236}">
                <a16:creationId xmlns:a16="http://schemas.microsoft.com/office/drawing/2014/main" id="{FC24B8CE-DB4D-486A-A341-E758E8A62EC2}"/>
              </a:ext>
            </a:extLst>
          </p:cNvPr>
          <p:cNvSpPr txBox="1">
            <a:spLocks noGrp="1"/>
          </p:cNvSpPr>
          <p:nvPr>
            <p:ph type="ftr" sz="quarter" idx="3"/>
          </p:nvPr>
        </p:nvSpPr>
        <p:spPr>
          <a:xfrm>
            <a:off x="0" y="5148527"/>
            <a:ext cx="0" cy="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anchor="b" anchorCtr="0" compatLnSpc="1">
            <a:noAutofit/>
          </a:bodyPr>
          <a:lstStyle>
            <a:lvl1pPr marL="0" marR="0" lvl="0" indent="0" algn="l" defTabSz="557213" rtl="0" fontAlgn="auto" hangingPunct="1">
              <a:lnSpc>
                <a:spcPct val="90000"/>
              </a:lnSpc>
              <a:spcBef>
                <a:spcPts val="0"/>
              </a:spcBef>
              <a:spcAft>
                <a:spcPts val="450"/>
              </a:spcAft>
              <a:buNone/>
              <a:tabLst/>
              <a:defRPr lang="en-GB" sz="108" b="0" i="0" u="none" strike="noStrike" kern="1200" cap="none" spc="0" baseline="0">
                <a:solidFill>
                  <a:srgbClr val="000000"/>
                </a:solidFill>
                <a:uFillTx/>
                <a:latin typeface="Arial"/>
              </a:defRPr>
            </a:lvl1pPr>
          </a:lstStyle>
          <a:p>
            <a:pPr lvl="0"/>
            <a:r>
              <a:rPr lang="en-GB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718154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  <p:sldLayoutId id="2147483729" r:id="rId12"/>
    <p:sldLayoutId id="2147483730" r:id="rId13"/>
    <p:sldLayoutId id="2147483731" r:id="rId14"/>
    <p:sldLayoutId id="2147483732" r:id="rId15"/>
    <p:sldLayoutId id="2147483733" r:id="rId16"/>
    <p:sldLayoutId id="2147483734" r:id="rId17"/>
    <p:sldLayoutId id="2147483735" r:id="rId18"/>
    <p:sldLayoutId id="2147483736" r:id="rId19"/>
    <p:sldLayoutId id="2147483737" r:id="rId20"/>
    <p:sldLayoutId id="2147483738" r:id="rId21"/>
    <p:sldLayoutId id="2147483739" r:id="rId22"/>
    <p:sldLayoutId id="2147483740" r:id="rId23"/>
    <p:sldLayoutId id="2147483741" r:id="rId24"/>
    <p:sldLayoutId id="2147483742" r:id="rId25"/>
    <p:sldLayoutId id="2147483743" r:id="rId26"/>
    <p:sldLayoutId id="2147483744" r:id="rId27"/>
    <p:sldLayoutId id="2147483745" r:id="rId28"/>
    <p:sldLayoutId id="2147483746" r:id="rId29"/>
    <p:sldLayoutId id="2147483747" r:id="rId30"/>
    <p:sldLayoutId id="2147483748" r:id="rId31"/>
    <p:sldLayoutId id="2147483749" r:id="rId32"/>
    <p:sldLayoutId id="2147483750" r:id="rId33"/>
    <p:sldLayoutId id="2147483751" r:id="rId34"/>
    <p:sldLayoutId id="2147483752" r:id="rId35"/>
    <p:sldLayoutId id="2147483753" r:id="rId36"/>
    <p:sldLayoutId id="2147483754" r:id="rId37"/>
    <p:sldLayoutId id="2147483755" r:id="rId38"/>
    <p:sldLayoutId id="2147483756" r:id="rId39"/>
    <p:sldLayoutId id="2147483757" r:id="rId40"/>
    <p:sldLayoutId id="2147483758" r:id="rId41"/>
    <p:sldLayoutId id="2147483759" r:id="rId42"/>
    <p:sldLayoutId id="2147483760" r:id="rId43"/>
    <p:sldLayoutId id="2147483761" r:id="rId44"/>
    <p:sldLayoutId id="2147483762" r:id="rId45"/>
    <p:sldLayoutId id="2147483763" r:id="rId46"/>
    <p:sldLayoutId id="2147483764" r:id="rId47"/>
  </p:sldLayoutIdLst>
  <p:transition spd="med">
    <p:fade/>
  </p:transition>
  <p:txStyles>
    <p:titleStyle>
      <a:lvl1pPr marL="0" marR="0" lvl="0" indent="0" algn="l" defTabSz="557192" rtl="0" fontAlgn="auto" hangingPunct="1">
        <a:lnSpc>
          <a:spcPct val="90000"/>
        </a:lnSpc>
        <a:spcBef>
          <a:spcPts val="0"/>
        </a:spcBef>
        <a:spcAft>
          <a:spcPts val="0"/>
        </a:spcAft>
        <a:buNone/>
        <a:tabLst/>
        <a:defRPr lang="da-DK" sz="1575" b="0" i="0" u="none" strike="noStrike" kern="1200" cap="none" spc="0" baseline="0">
          <a:solidFill>
            <a:srgbClr val="1F2023"/>
          </a:solidFill>
          <a:uFillTx/>
          <a:latin typeface="Arial"/>
        </a:defRPr>
      </a:lvl1pPr>
    </p:titleStyle>
    <p:bodyStyle>
      <a:lvl1pPr marL="0" marR="0" lvl="0" indent="0" algn="l" defTabSz="557192" rtl="0" fontAlgn="auto" hangingPunct="1">
        <a:lnSpc>
          <a:spcPct val="93000"/>
        </a:lnSpc>
        <a:spcBef>
          <a:spcPts val="0"/>
        </a:spcBef>
        <a:spcAft>
          <a:spcPts val="450"/>
        </a:spcAft>
        <a:buSzPct val="100000"/>
        <a:buFont typeface="Arial" pitchFamily="34"/>
        <a:buChar char="​"/>
        <a:tabLst/>
        <a:defRPr lang="en-US" sz="826" b="0" i="0" u="none" strike="noStrike" kern="1200" cap="none" spc="0" baseline="0">
          <a:solidFill>
            <a:srgbClr val="1F2023"/>
          </a:solidFill>
          <a:uFillTx/>
          <a:latin typeface="Arial"/>
        </a:defRPr>
      </a:lvl1pPr>
      <a:lvl2pPr marL="107993" marR="0" lvl="1" indent="-107993" algn="l" defTabSz="557192" rtl="0" fontAlgn="auto" hangingPunct="1">
        <a:lnSpc>
          <a:spcPct val="93000"/>
        </a:lnSpc>
        <a:spcBef>
          <a:spcPts val="0"/>
        </a:spcBef>
        <a:spcAft>
          <a:spcPts val="450"/>
        </a:spcAft>
        <a:buSzPct val="100000"/>
        <a:buFont typeface="Arial" pitchFamily="34"/>
        <a:buChar char="•"/>
        <a:tabLst/>
        <a:defRPr lang="en-US" sz="826" b="0" i="0" u="none" strike="noStrike" kern="1200" cap="none" spc="0" baseline="0">
          <a:solidFill>
            <a:srgbClr val="1F2023"/>
          </a:solidFill>
          <a:uFillTx/>
          <a:latin typeface="Arial"/>
        </a:defRPr>
      </a:lvl2pPr>
      <a:lvl3pPr marL="215993" marR="0" lvl="2" indent="-107993" algn="l" defTabSz="557192" rtl="0" fontAlgn="auto" hangingPunct="1">
        <a:lnSpc>
          <a:spcPct val="93000"/>
        </a:lnSpc>
        <a:spcBef>
          <a:spcPts val="0"/>
        </a:spcBef>
        <a:spcAft>
          <a:spcPts val="450"/>
        </a:spcAft>
        <a:buSzPct val="100000"/>
        <a:buFont typeface="Arial" pitchFamily="34"/>
        <a:buChar char="•"/>
        <a:tabLst/>
        <a:defRPr lang="en-US" sz="826" b="0" i="0" u="none" strike="noStrike" kern="1200" cap="none" spc="0" baseline="0">
          <a:solidFill>
            <a:srgbClr val="1F2023"/>
          </a:solidFill>
          <a:uFillTx/>
          <a:latin typeface="Arial"/>
        </a:defRPr>
      </a:lvl3pPr>
      <a:lvl4pPr marL="323985" marR="0" lvl="3" indent="-107993" algn="l" defTabSz="557192" rtl="0" fontAlgn="auto" hangingPunct="1">
        <a:lnSpc>
          <a:spcPct val="93000"/>
        </a:lnSpc>
        <a:spcBef>
          <a:spcPts val="0"/>
        </a:spcBef>
        <a:spcAft>
          <a:spcPts val="450"/>
        </a:spcAft>
        <a:buSzPct val="100000"/>
        <a:buFont typeface="Arial" pitchFamily="34"/>
        <a:buChar char="•"/>
        <a:tabLst/>
        <a:defRPr lang="en-US" sz="826" b="0" i="0" u="none" strike="noStrike" kern="1200" cap="none" spc="0" baseline="0">
          <a:solidFill>
            <a:srgbClr val="1F2023"/>
          </a:solidFill>
          <a:uFillTx/>
          <a:latin typeface="Arial"/>
        </a:defRPr>
      </a:lvl4pPr>
      <a:lvl5pPr marL="0" marR="0" lvl="4" indent="0" algn="l" defTabSz="557192" rtl="0" fontAlgn="auto" hangingPunct="1">
        <a:lnSpc>
          <a:spcPct val="93000"/>
        </a:lnSpc>
        <a:spcBef>
          <a:spcPts val="0"/>
        </a:spcBef>
        <a:spcAft>
          <a:spcPts val="450"/>
        </a:spcAft>
        <a:buSzPct val="100000"/>
        <a:buFont typeface="Arial" pitchFamily="34"/>
        <a:buChar char="​"/>
        <a:tabLst/>
        <a:defRPr lang="en-US" sz="826" b="1" i="0" u="none" strike="noStrike" kern="1200" cap="none" spc="0" baseline="0">
          <a:solidFill>
            <a:srgbClr val="1F2023"/>
          </a:solidFill>
          <a:uFillTx/>
          <a:latin typeface="Arial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8936A29A-3335-4B46-85E6-A2D0BE44F9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1BFCD2AE-FFA6-44CF-9EB3-B6F02812E72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7A4EF7E-669D-47E9-9176-6BE6B6168F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6109A1-8EA1-4005-8E57-E60AEF06B641}" type="datetimeFigureOut">
              <a:rPr lang="da-DK" smtClean="0"/>
              <a:t>26-09-2021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A6D2FAA-9F13-4647-9320-8F988BBB7B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9CC9A490-AF39-42B8-86DC-1D0C882BE1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802BCF-C1BA-4C99-B746-A9A1B2B8F526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660671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6" r:id="rId1"/>
    <p:sldLayoutId id="2147483767" r:id="rId2"/>
    <p:sldLayoutId id="2147483768" r:id="rId3"/>
    <p:sldLayoutId id="2147483769" r:id="rId4"/>
    <p:sldLayoutId id="2147483770" r:id="rId5"/>
    <p:sldLayoutId id="2147483771" r:id="rId6"/>
    <p:sldLayoutId id="2147483772" r:id="rId7"/>
    <p:sldLayoutId id="2147483773" r:id="rId8"/>
    <p:sldLayoutId id="2147483774" r:id="rId9"/>
    <p:sldLayoutId id="2147483775" r:id="rId10"/>
    <p:sldLayoutId id="2147483776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Relationship Id="rId4" Type="http://schemas.openxmlformats.org/officeDocument/2006/relationships/image" Target="../media/image15.e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2" Type="http://schemas.openxmlformats.org/officeDocument/2006/relationships/image" Target="../media/image31.png"/><Relationship Id="rId16" Type="http://schemas.openxmlformats.org/officeDocument/2006/relationships/image" Target="../media/image45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5" Type="http://schemas.openxmlformats.org/officeDocument/2006/relationships/image" Target="../media/image44.jpeg"/><Relationship Id="rId10" Type="http://schemas.openxmlformats.org/officeDocument/2006/relationships/image" Target="../media/image39.jpeg"/><Relationship Id="rId4" Type="http://schemas.openxmlformats.org/officeDocument/2006/relationships/image" Target="../media/image33.jpeg"/><Relationship Id="rId9" Type="http://schemas.openxmlformats.org/officeDocument/2006/relationships/image" Target="../media/image38.jpeg"/><Relationship Id="rId14" Type="http://schemas.openxmlformats.org/officeDocument/2006/relationships/image" Target="../media/image43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br>
              <a:rPr lang="da-DK" dirty="0">
                <a:solidFill>
                  <a:schemeClr val="tx1"/>
                </a:solidFill>
              </a:rPr>
            </a:b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453421" y="672575"/>
            <a:ext cx="8108688" cy="2682744"/>
          </a:xfrm>
        </p:spPr>
        <p:txBody>
          <a:bodyPr>
            <a:normAutofit/>
          </a:bodyPr>
          <a:lstStyle/>
          <a:p>
            <a:r>
              <a:rPr lang="da-DK" dirty="0"/>
              <a:t>Odense Fjord Samarbejdet</a:t>
            </a:r>
          </a:p>
          <a:p>
            <a:endParaRPr lang="da-DK" dirty="0"/>
          </a:p>
          <a:p>
            <a:r>
              <a:rPr lang="da-DK" dirty="0"/>
              <a:t> </a:t>
            </a:r>
            <a:r>
              <a:rPr lang="da-DK" sz="2000" dirty="0"/>
              <a:t>Torben L. Povlsen, Formand</a:t>
            </a:r>
            <a:br>
              <a:rPr lang="da-DK" sz="2000" dirty="0"/>
            </a:br>
            <a:r>
              <a:rPr lang="da-DK" sz="2000" dirty="0"/>
              <a:t>27. september 2021</a:t>
            </a:r>
            <a:br>
              <a:rPr lang="da-DK" dirty="0"/>
            </a:br>
            <a:endParaRPr lang="da-DK" dirty="0"/>
          </a:p>
        </p:txBody>
      </p:sp>
      <p:sp>
        <p:nvSpPr>
          <p:cNvPr id="8" name="Tekstfelt 7">
            <a:extLst>
              <a:ext uri="{FF2B5EF4-FFF2-40B4-BE49-F238E27FC236}">
                <a16:creationId xmlns:a16="http://schemas.microsoft.com/office/drawing/2014/main" id="{50FF58C8-5A65-4104-ABCE-37B79DDE8477}"/>
              </a:ext>
            </a:extLst>
          </p:cNvPr>
          <p:cNvSpPr txBox="1"/>
          <p:nvPr/>
        </p:nvSpPr>
        <p:spPr>
          <a:xfrm>
            <a:off x="1947746" y="3947532"/>
            <a:ext cx="5434361" cy="106308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a-DK" dirty="0"/>
          </a:p>
        </p:txBody>
      </p:sp>
      <p:pic>
        <p:nvPicPr>
          <p:cNvPr id="5" name="Billede 4" descr="Et billede, der indeholder tekst&#10;&#10;Automatisk genereret beskrivelse">
            <a:extLst>
              <a:ext uri="{FF2B5EF4-FFF2-40B4-BE49-F238E27FC236}">
                <a16:creationId xmlns:a16="http://schemas.microsoft.com/office/drawing/2014/main" id="{0DFA785B-1475-4F0A-A65C-CACD162D356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6466" y="3847413"/>
            <a:ext cx="4751067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1151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BFFA786-250E-4935-87A5-97D802FA31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a-DK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E260D20-CF1F-4611-A3A1-B26E12B3FE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53689249-62EF-43C0-BBB9-A68D333E3A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0674" y="548877"/>
            <a:ext cx="5428462" cy="45946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1879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D7D55F-0F4E-4282-905C-ADD86E9B2F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Workshop 7. juni 2021 - samskabelse</a:t>
            </a:r>
          </a:p>
        </p:txBody>
      </p:sp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62B00001-9463-4A1B-B2BC-D5B8E94115E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61743" y="1510869"/>
            <a:ext cx="5475441" cy="3394075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8A6B704D-9648-48A6-85E2-4E1182F4E9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6816" y="1200151"/>
            <a:ext cx="2114034" cy="1472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603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615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3" hidden="1">
            <a:extLst>
              <a:ext uri="{FF2B5EF4-FFF2-40B4-BE49-F238E27FC236}">
                <a16:creationId xmlns:a16="http://schemas.microsoft.com/office/drawing/2014/main" id="{D9EAC730-3E57-4521-849C-916288369F79}"/>
              </a:ext>
            </a:extLst>
          </p:cNvPr>
          <p:cNvGraphicFramePr/>
          <p:nvPr/>
        </p:nvGraphicFramePr>
        <p:xfrm>
          <a:off x="858444" y="1194"/>
          <a:ext cx="1193" cy="119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787" imgH="5787" progId="TCLayout.ActiveDocument.1">
                  <p:embed/>
                </p:oleObj>
              </mc:Choice>
              <mc:Fallback>
                <p:oleObj name="think-cell Slide" r:id="rId3" imgW="5787" imgH="5787" progId="TCLayout.ActiveDocument.1">
                  <p:embed/>
                  <p:pic>
                    <p:nvPicPr>
                      <p:cNvPr id="2" name="Object 3" hidden="1">
                        <a:extLst>
                          <a:ext uri="{FF2B5EF4-FFF2-40B4-BE49-F238E27FC236}">
                            <a16:creationId xmlns:a16="http://schemas.microsoft.com/office/drawing/2014/main" id="{D9EAC730-3E57-4521-849C-916288369F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58444" y="1194"/>
                        <a:ext cx="1193" cy="1193"/>
                      </a:xfrm>
                      <a:prstGeom prst="rect">
                        <a:avLst/>
                      </a:prstGeom>
                      <a:noFill/>
                      <a:ln cap="flat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E26372E-2FC0-44AF-90D4-B86609F4D509}"/>
              </a:ext>
            </a:extLst>
          </p:cNvPr>
          <p:cNvSpPr/>
          <p:nvPr/>
        </p:nvSpPr>
        <p:spPr>
          <a:xfrm>
            <a:off x="857250" y="0"/>
            <a:ext cx="119061" cy="119061"/>
          </a:xfrm>
          <a:prstGeom prst="rect">
            <a:avLst/>
          </a:prstGeom>
          <a:solidFill>
            <a:srgbClr val="E2DED9"/>
          </a:solidFill>
          <a:ln cap="flat">
            <a:noFill/>
            <a:prstDash val="solid"/>
          </a:ln>
        </p:spPr>
        <p:txBody>
          <a:bodyPr vert="horz" wrap="none" lIns="0" tIns="0" rIns="0" bIns="0" anchor="t" anchorCtr="0" compatLnSpc="1">
            <a:noAutofit/>
          </a:bodyPr>
          <a:lstStyle/>
          <a:p>
            <a:pPr defTabSz="557192">
              <a:lnSpc>
                <a:spcPct val="90000"/>
              </a:lnSpc>
              <a:spcAft>
                <a:spcPts val="450"/>
              </a:spcAft>
              <a:buSzPct val="100000"/>
              <a:buFont typeface="Arial" pitchFamily="34"/>
              <a:buChar char="​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da-DK" sz="1575" kern="0">
              <a:solidFill>
                <a:srgbClr val="2F363B"/>
              </a:solidFill>
              <a:latin typeface="Arial" pitchFamily="34"/>
            </a:endParaRPr>
          </a:p>
        </p:txBody>
      </p:sp>
      <p:sp>
        <p:nvSpPr>
          <p:cNvPr id="4" name="Date Placeholder 4">
            <a:extLst>
              <a:ext uri="{FF2B5EF4-FFF2-40B4-BE49-F238E27FC236}">
                <a16:creationId xmlns:a16="http://schemas.microsoft.com/office/drawing/2014/main" id="{604DD6C8-3CB4-4DB0-9ED6-39782B316035}"/>
              </a:ext>
            </a:extLst>
          </p:cNvPr>
          <p:cNvSpPr txBox="1"/>
          <p:nvPr/>
        </p:nvSpPr>
        <p:spPr>
          <a:xfrm>
            <a:off x="857250" y="5184003"/>
            <a:ext cx="0" cy="0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b" anchorCtr="0" compatLnSpc="1">
            <a:noAutofit/>
          </a:bodyPr>
          <a:lstStyle/>
          <a:p>
            <a:pPr defTabSz="557192">
              <a:lnSpc>
                <a:spcPct val="90000"/>
              </a:lnSpc>
              <a:spcAft>
                <a:spcPts val="450"/>
              </a:spcAft>
              <a:buSzPct val="100000"/>
              <a:buFont typeface="Arial" pitchFamily="34"/>
              <a:buChar char="​"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ED63EA0D-204D-459A-9506-40EAE93E2BB7}" type="datetime1">
              <a:rPr lang="da-DK" sz="108" kern="0" cap="all" spc="122">
                <a:solidFill>
                  <a:srgbClr val="000000"/>
                </a:solidFill>
                <a:latin typeface="Arial"/>
              </a:rPr>
              <a:pPr defTabSz="557192">
                <a:lnSpc>
                  <a:spcPct val="90000"/>
                </a:lnSpc>
                <a:spcAft>
                  <a:spcPts val="450"/>
                </a:spcAft>
                <a:buSzPct val="100000"/>
                <a:buFont typeface="Arial" pitchFamily="34"/>
                <a:buChar char="​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26-09-2021</a:t>
            </a:fld>
            <a:endParaRPr lang="da-DK" sz="108" kern="0" cap="all" spc="122">
              <a:solidFill>
                <a:srgbClr val="000000"/>
              </a:solidFill>
              <a:latin typeface="Arial"/>
            </a:endParaRP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B93F7484-BAFF-41B9-B653-E23488649834}"/>
              </a:ext>
            </a:extLst>
          </p:cNvPr>
          <p:cNvSpPr txBox="1"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da-DK" dirty="0">
                <a:solidFill>
                  <a:srgbClr val="FFFFFF"/>
                </a:solidFill>
              </a:rPr>
              <a:t>Hvad skal processen løse?</a:t>
            </a:r>
          </a:p>
        </p:txBody>
      </p:sp>
      <p:sp>
        <p:nvSpPr>
          <p:cNvPr id="6" name="TextBox 8">
            <a:extLst>
              <a:ext uri="{FF2B5EF4-FFF2-40B4-BE49-F238E27FC236}">
                <a16:creationId xmlns:a16="http://schemas.microsoft.com/office/drawing/2014/main" id="{EB0A556D-DF6A-4ECB-8286-231ECCBBC974}"/>
              </a:ext>
            </a:extLst>
          </p:cNvPr>
          <p:cNvSpPr txBox="1"/>
          <p:nvPr/>
        </p:nvSpPr>
        <p:spPr>
          <a:xfrm>
            <a:off x="2114989" y="1108474"/>
            <a:ext cx="5213870" cy="340131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68580" tIns="34290" rIns="68580" bIns="34290" anchor="t" anchorCtr="0" compatLnSpc="1">
            <a:spAutoFit/>
          </a:bodyPr>
          <a:lstStyle/>
          <a:p>
            <a:pPr defTabSz="685772">
              <a:lnSpc>
                <a:spcPct val="150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2099" i="1" kern="0" dirty="0">
                <a:solidFill>
                  <a:srgbClr val="FFFFFF"/>
                </a:solidFill>
                <a:latin typeface="Arial" pitchFamily="34"/>
                <a:cs typeface="Arial" pitchFamily="34"/>
              </a:rPr>
              <a:t>Hvordan kan vi sikre et ambitiøst, nytænkende og forpligtigende</a:t>
            </a:r>
            <a:r>
              <a:rPr lang="da-DK" sz="2099" kern="0" dirty="0">
                <a:solidFill>
                  <a:srgbClr val="FFFFFF"/>
                </a:solidFill>
                <a:latin typeface="Arial" pitchFamily="34"/>
                <a:cs typeface="Arial" pitchFamily="34"/>
              </a:rPr>
              <a:t> </a:t>
            </a:r>
            <a:r>
              <a:rPr lang="da-DK" sz="2099" i="1" kern="0" dirty="0">
                <a:solidFill>
                  <a:srgbClr val="FFFFFF"/>
                </a:solidFill>
                <a:latin typeface="Impact" pitchFamily="34"/>
                <a:cs typeface="Arial" pitchFamily="34"/>
              </a:rPr>
              <a:t>samarbejde</a:t>
            </a:r>
            <a:r>
              <a:rPr lang="da-DK" sz="2099" b="1" kern="0" dirty="0">
                <a:solidFill>
                  <a:srgbClr val="FFFFFF"/>
                </a:solidFill>
                <a:latin typeface="Arial" pitchFamily="34"/>
                <a:cs typeface="Arial" pitchFamily="34"/>
              </a:rPr>
              <a:t> </a:t>
            </a:r>
            <a:r>
              <a:rPr lang="da-DK" sz="2099" kern="0" dirty="0">
                <a:solidFill>
                  <a:srgbClr val="FFFFFF"/>
                </a:solidFill>
                <a:latin typeface="Arial" pitchFamily="34"/>
                <a:cs typeface="Arial" pitchFamily="34"/>
              </a:rPr>
              <a:t>funderet på ejerskab </a:t>
            </a:r>
            <a:r>
              <a:rPr lang="da-DK" sz="2099" i="1" kern="0" dirty="0">
                <a:solidFill>
                  <a:srgbClr val="FFFFFF"/>
                </a:solidFill>
                <a:latin typeface="Arial" pitchFamily="34"/>
                <a:cs typeface="Arial" pitchFamily="34"/>
              </a:rPr>
              <a:t>i både </a:t>
            </a:r>
            <a:r>
              <a:rPr lang="da-DK" sz="2099" b="1" i="1" kern="0" dirty="0">
                <a:solidFill>
                  <a:srgbClr val="FFFFFF"/>
                </a:solidFill>
                <a:latin typeface="Arial" pitchFamily="34"/>
                <a:cs typeface="Arial" pitchFamily="34"/>
              </a:rPr>
              <a:t>bredden</a:t>
            </a:r>
            <a:r>
              <a:rPr lang="da-DK" sz="2099" i="1" kern="0" dirty="0">
                <a:solidFill>
                  <a:srgbClr val="FFFFFF"/>
                </a:solidFill>
                <a:latin typeface="Arial" pitchFamily="34"/>
                <a:cs typeface="Arial" pitchFamily="34"/>
              </a:rPr>
              <a:t> og </a:t>
            </a:r>
            <a:r>
              <a:rPr lang="da-DK" sz="2099" b="1" i="1" kern="0" dirty="0">
                <a:solidFill>
                  <a:srgbClr val="FFFFFF"/>
                </a:solidFill>
                <a:latin typeface="Arial" pitchFamily="34"/>
                <a:cs typeface="Arial" pitchFamily="34"/>
              </a:rPr>
              <a:t>dybden</a:t>
            </a:r>
            <a:r>
              <a:rPr lang="da-DK" sz="2099" i="1" kern="0" dirty="0">
                <a:solidFill>
                  <a:srgbClr val="FFFFFF"/>
                </a:solidFill>
                <a:latin typeface="Arial" pitchFamily="34"/>
                <a:cs typeface="Arial" pitchFamily="34"/>
              </a:rPr>
              <a:t>, fordi vi vil skabe god økologisk tilstand i Odense Fjord gennem en lokalforankret tilgang på en måde, der er bæredygtig for både miljø og erhverv.</a:t>
            </a:r>
          </a:p>
        </p:txBody>
      </p:sp>
      <p:grpSp>
        <p:nvGrpSpPr>
          <p:cNvPr id="7" name="Group 22">
            <a:extLst>
              <a:ext uri="{FF2B5EF4-FFF2-40B4-BE49-F238E27FC236}">
                <a16:creationId xmlns:a16="http://schemas.microsoft.com/office/drawing/2014/main" id="{D9454BA7-FB01-4772-BC5B-C3A0EF98DF6B}"/>
              </a:ext>
            </a:extLst>
          </p:cNvPr>
          <p:cNvGrpSpPr/>
          <p:nvPr/>
        </p:nvGrpSpPr>
        <p:grpSpPr>
          <a:xfrm>
            <a:off x="1283378" y="958413"/>
            <a:ext cx="831608" cy="578815"/>
            <a:chOff x="568171" y="1277883"/>
            <a:chExt cx="1108810" cy="771753"/>
          </a:xfrm>
        </p:grpSpPr>
        <p:sp>
          <p:nvSpPr>
            <p:cNvPr id="8" name="Freeform 51">
              <a:extLst>
                <a:ext uri="{FF2B5EF4-FFF2-40B4-BE49-F238E27FC236}">
                  <a16:creationId xmlns:a16="http://schemas.microsoft.com/office/drawing/2014/main" id="{72DE7B9E-770C-4059-B14E-CC2D23A5A41B}"/>
                </a:ext>
              </a:extLst>
            </p:cNvPr>
            <p:cNvSpPr/>
            <p:nvPr/>
          </p:nvSpPr>
          <p:spPr>
            <a:xfrm>
              <a:off x="568171" y="1277883"/>
              <a:ext cx="409166" cy="77175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6"/>
                <a:gd name="f7" fmla="val 104"/>
                <a:gd name="f8" fmla="val 89"/>
                <a:gd name="f9" fmla="val 8"/>
                <a:gd name="f10" fmla="val 85"/>
                <a:gd name="f11" fmla="val 14"/>
                <a:gd name="f12" fmla="val 80"/>
                <a:gd name="f13" fmla="val 18"/>
                <a:gd name="f14" fmla="val 74"/>
                <a:gd name="f15" fmla="val 22"/>
                <a:gd name="f16" fmla="val 67"/>
                <a:gd name="f17" fmla="val 24"/>
                <a:gd name="f18" fmla="val 57"/>
                <a:gd name="f19" fmla="val 45"/>
                <a:gd name="f20" fmla="val 4"/>
                <a:gd name="f21" fmla="val 30"/>
                <a:gd name="f22" fmla="val 36"/>
                <a:gd name="f23" fmla="val 55"/>
                <a:gd name="f24" fmla="val 44"/>
                <a:gd name="f25" fmla="val 69"/>
                <a:gd name="f26" fmla="val 39"/>
                <a:gd name="f27" fmla="val 78"/>
                <a:gd name="f28" fmla="val 33"/>
                <a:gd name="f29" fmla="val 23"/>
                <a:gd name="f30" fmla="val 98"/>
                <a:gd name="f31" fmla="val 10"/>
                <a:gd name="f32" fmla="+- 0 0 -90"/>
                <a:gd name="f33" fmla="*/ f3 1 46"/>
                <a:gd name="f34" fmla="*/ f4 1 104"/>
                <a:gd name="f35" fmla="+- f7 0 f5"/>
                <a:gd name="f36" fmla="+- f6 0 f5"/>
                <a:gd name="f37" fmla="*/ f32 f0 1"/>
                <a:gd name="f38" fmla="*/ f36 1 46"/>
                <a:gd name="f39" fmla="*/ f35 1 104"/>
                <a:gd name="f40" fmla="*/ 0 f36 1"/>
                <a:gd name="f41" fmla="*/ 89 f35 1"/>
                <a:gd name="f42" fmla="*/ 18 f36 1"/>
                <a:gd name="f43" fmla="*/ 74 f35 1"/>
                <a:gd name="f44" fmla="*/ 24 f36 1"/>
                <a:gd name="f45" fmla="*/ 45 f35 1"/>
                <a:gd name="f46" fmla="*/ 4 f36 1"/>
                <a:gd name="f47" fmla="*/ 0 f35 1"/>
                <a:gd name="f48" fmla="*/ 30 f36 1"/>
                <a:gd name="f49" fmla="*/ 46 f36 1"/>
                <a:gd name="f50" fmla="*/ 36 f35 1"/>
                <a:gd name="f51" fmla="*/ 39 f36 1"/>
                <a:gd name="f52" fmla="*/ 78 f35 1"/>
                <a:gd name="f53" fmla="*/ 10 f36 1"/>
                <a:gd name="f54" fmla="*/ 104 f35 1"/>
                <a:gd name="f55" fmla="*/ f37 1 f2"/>
                <a:gd name="f56" fmla="*/ f40 1 46"/>
                <a:gd name="f57" fmla="*/ f41 1 104"/>
                <a:gd name="f58" fmla="*/ f42 1 46"/>
                <a:gd name="f59" fmla="*/ f43 1 104"/>
                <a:gd name="f60" fmla="*/ f44 1 46"/>
                <a:gd name="f61" fmla="*/ f45 1 104"/>
                <a:gd name="f62" fmla="*/ f46 1 46"/>
                <a:gd name="f63" fmla="*/ f47 1 104"/>
                <a:gd name="f64" fmla="*/ f48 1 46"/>
                <a:gd name="f65" fmla="*/ f49 1 46"/>
                <a:gd name="f66" fmla="*/ f50 1 104"/>
                <a:gd name="f67" fmla="*/ f51 1 46"/>
                <a:gd name="f68" fmla="*/ f52 1 104"/>
                <a:gd name="f69" fmla="*/ f53 1 46"/>
                <a:gd name="f70" fmla="*/ f54 1 104"/>
                <a:gd name="f71" fmla="*/ 0 1 f38"/>
                <a:gd name="f72" fmla="*/ f6 1 f38"/>
                <a:gd name="f73" fmla="*/ 0 1 f39"/>
                <a:gd name="f74" fmla="*/ f7 1 f39"/>
                <a:gd name="f75" fmla="+- f55 0 f1"/>
                <a:gd name="f76" fmla="*/ f56 1 f38"/>
                <a:gd name="f77" fmla="*/ f57 1 f39"/>
                <a:gd name="f78" fmla="*/ f58 1 f38"/>
                <a:gd name="f79" fmla="*/ f59 1 f39"/>
                <a:gd name="f80" fmla="*/ f60 1 f38"/>
                <a:gd name="f81" fmla="*/ f61 1 f39"/>
                <a:gd name="f82" fmla="*/ f62 1 f38"/>
                <a:gd name="f83" fmla="*/ f63 1 f39"/>
                <a:gd name="f84" fmla="*/ f64 1 f38"/>
                <a:gd name="f85" fmla="*/ f65 1 f38"/>
                <a:gd name="f86" fmla="*/ f66 1 f39"/>
                <a:gd name="f87" fmla="*/ f67 1 f38"/>
                <a:gd name="f88" fmla="*/ f68 1 f39"/>
                <a:gd name="f89" fmla="*/ f69 1 f38"/>
                <a:gd name="f90" fmla="*/ f70 1 f39"/>
                <a:gd name="f91" fmla="*/ f71 f33 1"/>
                <a:gd name="f92" fmla="*/ f72 f33 1"/>
                <a:gd name="f93" fmla="*/ f74 f34 1"/>
                <a:gd name="f94" fmla="*/ f73 f34 1"/>
                <a:gd name="f95" fmla="*/ f76 f33 1"/>
                <a:gd name="f96" fmla="*/ f77 f34 1"/>
                <a:gd name="f97" fmla="*/ f78 f33 1"/>
                <a:gd name="f98" fmla="*/ f79 f34 1"/>
                <a:gd name="f99" fmla="*/ f80 f33 1"/>
                <a:gd name="f100" fmla="*/ f81 f34 1"/>
                <a:gd name="f101" fmla="*/ f82 f33 1"/>
                <a:gd name="f102" fmla="*/ f83 f34 1"/>
                <a:gd name="f103" fmla="*/ f84 f33 1"/>
                <a:gd name="f104" fmla="*/ f85 f33 1"/>
                <a:gd name="f105" fmla="*/ f86 f34 1"/>
                <a:gd name="f106" fmla="*/ f87 f33 1"/>
                <a:gd name="f107" fmla="*/ f88 f34 1"/>
                <a:gd name="f108" fmla="*/ f89 f33 1"/>
                <a:gd name="f109" fmla="*/ f90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5">
                  <a:pos x="f95" y="f96"/>
                </a:cxn>
                <a:cxn ang="f75">
                  <a:pos x="f97" y="f98"/>
                </a:cxn>
                <a:cxn ang="f75">
                  <a:pos x="f99" y="f100"/>
                </a:cxn>
                <a:cxn ang="f75">
                  <a:pos x="f101" y="f100"/>
                </a:cxn>
                <a:cxn ang="f75">
                  <a:pos x="f101" y="f102"/>
                </a:cxn>
                <a:cxn ang="f75">
                  <a:pos x="f103" y="f102"/>
                </a:cxn>
                <a:cxn ang="f75">
                  <a:pos x="f104" y="f102"/>
                </a:cxn>
                <a:cxn ang="f75">
                  <a:pos x="f104" y="f105"/>
                </a:cxn>
                <a:cxn ang="f75">
                  <a:pos x="f106" y="f107"/>
                </a:cxn>
                <a:cxn ang="f75">
                  <a:pos x="f108" y="f109"/>
                </a:cxn>
              </a:cxnLst>
              <a:rect l="f91" t="f94" r="f92" b="f93"/>
              <a:pathLst>
                <a:path w="46" h="104">
                  <a:moveTo>
                    <a:pt x="f5" y="f8"/>
                  </a:moveTo>
                  <a:cubicBezTo>
                    <a:pt x="f9" y="f10"/>
                    <a:pt x="f11" y="f12"/>
                    <a:pt x="f13" y="f14"/>
                  </a:cubicBezTo>
                  <a:cubicBezTo>
                    <a:pt x="f15" y="f16"/>
                    <a:pt x="f17" y="f18"/>
                    <a:pt x="f17" y="f19"/>
                  </a:cubicBezTo>
                  <a:cubicBezTo>
                    <a:pt x="f20" y="f19"/>
                    <a:pt x="f20" y="f19"/>
                    <a:pt x="f20" y="f19"/>
                  </a:cubicBezTo>
                  <a:cubicBezTo>
                    <a:pt x="f20" y="f5"/>
                    <a:pt x="f20" y="f5"/>
                    <a:pt x="f20" y="f5"/>
                  </a:cubicBezTo>
                  <a:cubicBezTo>
                    <a:pt x="f21" y="f5"/>
                    <a:pt x="f21" y="f5"/>
                    <a:pt x="f21" y="f5"/>
                  </a:cubicBezTo>
                  <a:cubicBezTo>
                    <a:pt x="f6" y="f5"/>
                    <a:pt x="f6" y="f5"/>
                    <a:pt x="f6" y="f5"/>
                  </a:cubicBezTo>
                  <a:cubicBezTo>
                    <a:pt x="f6" y="f22"/>
                    <a:pt x="f6" y="f22"/>
                    <a:pt x="f6" y="f22"/>
                  </a:cubicBezTo>
                  <a:cubicBezTo>
                    <a:pt x="f6" y="f23"/>
                    <a:pt x="f24" y="f25"/>
                    <a:pt x="f26" y="f27"/>
                  </a:cubicBezTo>
                  <a:cubicBezTo>
                    <a:pt x="f28" y="f8"/>
                    <a:pt x="f29" y="f30"/>
                    <a:pt x="f31" y="f7"/>
                  </a:cubicBezTo>
                </a:path>
              </a:pathLst>
            </a:custGeom>
            <a:noFill/>
            <a:ln w="9528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/>
            <a:p>
              <a:pPr defTabSz="557192">
                <a:lnSpc>
                  <a:spcPct val="90000"/>
                </a:lnSpc>
                <a:spcAft>
                  <a:spcPts val="450"/>
                </a:spcAft>
                <a:buSzPct val="100000"/>
                <a:buFont typeface="Arial" pitchFamily="34"/>
                <a:buChar char="​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350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" name="Freeform 52">
              <a:extLst>
                <a:ext uri="{FF2B5EF4-FFF2-40B4-BE49-F238E27FC236}">
                  <a16:creationId xmlns:a16="http://schemas.microsoft.com/office/drawing/2014/main" id="{DB8F2E6B-D0C7-44C2-81AD-62FE5CF38C58}"/>
                </a:ext>
              </a:extLst>
            </p:cNvPr>
            <p:cNvSpPr/>
            <p:nvPr/>
          </p:nvSpPr>
          <p:spPr>
            <a:xfrm>
              <a:off x="1170998" y="1277883"/>
              <a:ext cx="399793" cy="77175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5"/>
                <a:gd name="f7" fmla="val 104"/>
                <a:gd name="f8" fmla="val 89"/>
                <a:gd name="f9" fmla="val 7"/>
                <a:gd name="f10" fmla="val 85"/>
                <a:gd name="f11" fmla="val 13"/>
                <a:gd name="f12" fmla="val 80"/>
                <a:gd name="f13" fmla="val 17"/>
                <a:gd name="f14" fmla="val 74"/>
                <a:gd name="f15" fmla="val 21"/>
                <a:gd name="f16" fmla="val 67"/>
                <a:gd name="f17" fmla="val 23"/>
                <a:gd name="f18" fmla="val 57"/>
                <a:gd name="f19" fmla="val 24"/>
                <a:gd name="f20" fmla="val 3"/>
                <a:gd name="f21" fmla="val 29"/>
                <a:gd name="f22" fmla="val 36"/>
                <a:gd name="f23" fmla="val 55"/>
                <a:gd name="f24" fmla="val 43"/>
                <a:gd name="f25" fmla="val 69"/>
                <a:gd name="f26" fmla="val 38"/>
                <a:gd name="f27" fmla="val 78"/>
                <a:gd name="f28" fmla="val 32"/>
                <a:gd name="f29" fmla="val 22"/>
                <a:gd name="f30" fmla="val 98"/>
                <a:gd name="f31" fmla="val 9"/>
                <a:gd name="f32" fmla="+- 0 0 -90"/>
                <a:gd name="f33" fmla="*/ f3 1 45"/>
                <a:gd name="f34" fmla="*/ f4 1 104"/>
                <a:gd name="f35" fmla="+- f7 0 f5"/>
                <a:gd name="f36" fmla="+- f6 0 f5"/>
                <a:gd name="f37" fmla="*/ f32 f0 1"/>
                <a:gd name="f38" fmla="*/ f36 1 45"/>
                <a:gd name="f39" fmla="*/ f35 1 104"/>
                <a:gd name="f40" fmla="*/ 0 f36 1"/>
                <a:gd name="f41" fmla="*/ 89 f35 1"/>
                <a:gd name="f42" fmla="*/ 17 f36 1"/>
                <a:gd name="f43" fmla="*/ 74 f35 1"/>
                <a:gd name="f44" fmla="*/ 24 f36 1"/>
                <a:gd name="f45" fmla="*/ 45 f35 1"/>
                <a:gd name="f46" fmla="*/ 3 f36 1"/>
                <a:gd name="f47" fmla="*/ 0 f35 1"/>
                <a:gd name="f48" fmla="*/ 29 f36 1"/>
                <a:gd name="f49" fmla="*/ 45 f36 1"/>
                <a:gd name="f50" fmla="*/ 36 f35 1"/>
                <a:gd name="f51" fmla="*/ 38 f36 1"/>
                <a:gd name="f52" fmla="*/ 78 f35 1"/>
                <a:gd name="f53" fmla="*/ 9 f36 1"/>
                <a:gd name="f54" fmla="*/ 104 f35 1"/>
                <a:gd name="f55" fmla="*/ f37 1 f2"/>
                <a:gd name="f56" fmla="*/ f40 1 45"/>
                <a:gd name="f57" fmla="*/ f41 1 104"/>
                <a:gd name="f58" fmla="*/ f42 1 45"/>
                <a:gd name="f59" fmla="*/ f43 1 104"/>
                <a:gd name="f60" fmla="*/ f44 1 45"/>
                <a:gd name="f61" fmla="*/ f45 1 104"/>
                <a:gd name="f62" fmla="*/ f46 1 45"/>
                <a:gd name="f63" fmla="*/ f47 1 104"/>
                <a:gd name="f64" fmla="*/ f48 1 45"/>
                <a:gd name="f65" fmla="*/ f49 1 45"/>
                <a:gd name="f66" fmla="*/ f50 1 104"/>
                <a:gd name="f67" fmla="*/ f51 1 45"/>
                <a:gd name="f68" fmla="*/ f52 1 104"/>
                <a:gd name="f69" fmla="*/ f53 1 45"/>
                <a:gd name="f70" fmla="*/ f54 1 104"/>
                <a:gd name="f71" fmla="*/ 0 1 f38"/>
                <a:gd name="f72" fmla="*/ f6 1 f38"/>
                <a:gd name="f73" fmla="*/ 0 1 f39"/>
                <a:gd name="f74" fmla="*/ f7 1 f39"/>
                <a:gd name="f75" fmla="+- f55 0 f1"/>
                <a:gd name="f76" fmla="*/ f56 1 f38"/>
                <a:gd name="f77" fmla="*/ f57 1 f39"/>
                <a:gd name="f78" fmla="*/ f58 1 f38"/>
                <a:gd name="f79" fmla="*/ f59 1 f39"/>
                <a:gd name="f80" fmla="*/ f60 1 f38"/>
                <a:gd name="f81" fmla="*/ f61 1 f39"/>
                <a:gd name="f82" fmla="*/ f62 1 f38"/>
                <a:gd name="f83" fmla="*/ f63 1 f39"/>
                <a:gd name="f84" fmla="*/ f64 1 f38"/>
                <a:gd name="f85" fmla="*/ f65 1 f38"/>
                <a:gd name="f86" fmla="*/ f66 1 f39"/>
                <a:gd name="f87" fmla="*/ f67 1 f38"/>
                <a:gd name="f88" fmla="*/ f68 1 f39"/>
                <a:gd name="f89" fmla="*/ f69 1 f38"/>
                <a:gd name="f90" fmla="*/ f70 1 f39"/>
                <a:gd name="f91" fmla="*/ f71 f33 1"/>
                <a:gd name="f92" fmla="*/ f72 f33 1"/>
                <a:gd name="f93" fmla="*/ f74 f34 1"/>
                <a:gd name="f94" fmla="*/ f73 f34 1"/>
                <a:gd name="f95" fmla="*/ f76 f33 1"/>
                <a:gd name="f96" fmla="*/ f77 f34 1"/>
                <a:gd name="f97" fmla="*/ f78 f33 1"/>
                <a:gd name="f98" fmla="*/ f79 f34 1"/>
                <a:gd name="f99" fmla="*/ f80 f33 1"/>
                <a:gd name="f100" fmla="*/ f81 f34 1"/>
                <a:gd name="f101" fmla="*/ f82 f33 1"/>
                <a:gd name="f102" fmla="*/ f83 f34 1"/>
                <a:gd name="f103" fmla="*/ f84 f33 1"/>
                <a:gd name="f104" fmla="*/ f85 f33 1"/>
                <a:gd name="f105" fmla="*/ f86 f34 1"/>
                <a:gd name="f106" fmla="*/ f87 f33 1"/>
                <a:gd name="f107" fmla="*/ f88 f34 1"/>
                <a:gd name="f108" fmla="*/ f89 f33 1"/>
                <a:gd name="f109" fmla="*/ f90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5">
                  <a:pos x="f95" y="f96"/>
                </a:cxn>
                <a:cxn ang="f75">
                  <a:pos x="f97" y="f98"/>
                </a:cxn>
                <a:cxn ang="f75">
                  <a:pos x="f99" y="f100"/>
                </a:cxn>
                <a:cxn ang="f75">
                  <a:pos x="f101" y="f100"/>
                </a:cxn>
                <a:cxn ang="f75">
                  <a:pos x="f101" y="f102"/>
                </a:cxn>
                <a:cxn ang="f75">
                  <a:pos x="f103" y="f102"/>
                </a:cxn>
                <a:cxn ang="f75">
                  <a:pos x="f104" y="f102"/>
                </a:cxn>
                <a:cxn ang="f75">
                  <a:pos x="f104" y="f105"/>
                </a:cxn>
                <a:cxn ang="f75">
                  <a:pos x="f106" y="f107"/>
                </a:cxn>
                <a:cxn ang="f75">
                  <a:pos x="f108" y="f109"/>
                </a:cxn>
              </a:cxnLst>
              <a:rect l="f91" t="f94" r="f92" b="f93"/>
              <a:pathLst>
                <a:path w="45" h="104">
                  <a:moveTo>
                    <a:pt x="f5" y="f8"/>
                  </a:moveTo>
                  <a:cubicBezTo>
                    <a:pt x="f9" y="f10"/>
                    <a:pt x="f11" y="f12"/>
                    <a:pt x="f13" y="f14"/>
                  </a:cubicBezTo>
                  <a:cubicBezTo>
                    <a:pt x="f15" y="f16"/>
                    <a:pt x="f17" y="f18"/>
                    <a:pt x="f19" y="f6"/>
                  </a:cubicBezTo>
                  <a:cubicBezTo>
                    <a:pt x="f20" y="f6"/>
                    <a:pt x="f20" y="f6"/>
                    <a:pt x="f20" y="f6"/>
                  </a:cubicBezTo>
                  <a:cubicBezTo>
                    <a:pt x="f20" y="f5"/>
                    <a:pt x="f20" y="f5"/>
                    <a:pt x="f20" y="f5"/>
                  </a:cubicBezTo>
                  <a:cubicBezTo>
                    <a:pt x="f21" y="f5"/>
                    <a:pt x="f21" y="f5"/>
                    <a:pt x="f21" y="f5"/>
                  </a:cubicBezTo>
                  <a:cubicBezTo>
                    <a:pt x="f6" y="f5"/>
                    <a:pt x="f6" y="f5"/>
                    <a:pt x="f6" y="f5"/>
                  </a:cubicBezTo>
                  <a:cubicBezTo>
                    <a:pt x="f6" y="f22"/>
                    <a:pt x="f6" y="f22"/>
                    <a:pt x="f6" y="f22"/>
                  </a:cubicBezTo>
                  <a:cubicBezTo>
                    <a:pt x="f6" y="f23"/>
                    <a:pt x="f24" y="f25"/>
                    <a:pt x="f26" y="f27"/>
                  </a:cubicBezTo>
                  <a:cubicBezTo>
                    <a:pt x="f28" y="f8"/>
                    <a:pt x="f29" y="f30"/>
                    <a:pt x="f31" y="f7"/>
                  </a:cubicBezTo>
                </a:path>
              </a:pathLst>
            </a:custGeom>
            <a:noFill/>
            <a:ln w="9528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/>
            <a:p>
              <a:pPr defTabSz="557192">
                <a:lnSpc>
                  <a:spcPct val="90000"/>
                </a:lnSpc>
                <a:spcAft>
                  <a:spcPts val="450"/>
                </a:spcAft>
                <a:buSzPct val="100000"/>
                <a:buFont typeface="Arial" pitchFamily="34"/>
                <a:buChar char="​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350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0" name="Freeform 53">
              <a:extLst>
                <a:ext uri="{FF2B5EF4-FFF2-40B4-BE49-F238E27FC236}">
                  <a16:creationId xmlns:a16="http://schemas.microsoft.com/office/drawing/2014/main" id="{C60EEC2C-DD18-48C1-8C36-7BB2614E73CE}"/>
                </a:ext>
              </a:extLst>
            </p:cNvPr>
            <p:cNvSpPr/>
            <p:nvPr/>
          </p:nvSpPr>
          <p:spPr>
            <a:xfrm>
              <a:off x="674360" y="1277883"/>
              <a:ext cx="409166" cy="77175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6"/>
                <a:gd name="f7" fmla="val 104"/>
                <a:gd name="f8" fmla="val 89"/>
                <a:gd name="f9" fmla="val 8"/>
                <a:gd name="f10" fmla="val 85"/>
                <a:gd name="f11" fmla="val 14"/>
                <a:gd name="f12" fmla="val 80"/>
                <a:gd name="f13" fmla="val 18"/>
                <a:gd name="f14" fmla="val 74"/>
                <a:gd name="f15" fmla="val 22"/>
                <a:gd name="f16" fmla="val 67"/>
                <a:gd name="f17" fmla="val 24"/>
                <a:gd name="f18" fmla="val 57"/>
                <a:gd name="f19" fmla="val 45"/>
                <a:gd name="f20" fmla="val 4"/>
                <a:gd name="f21" fmla="val 30"/>
                <a:gd name="f22" fmla="val 36"/>
                <a:gd name="f23" fmla="val 55"/>
                <a:gd name="f24" fmla="val 44"/>
                <a:gd name="f25" fmla="val 69"/>
                <a:gd name="f26" fmla="val 39"/>
                <a:gd name="f27" fmla="val 78"/>
                <a:gd name="f28" fmla="val 33"/>
                <a:gd name="f29" fmla="val 23"/>
                <a:gd name="f30" fmla="val 98"/>
                <a:gd name="f31" fmla="val 10"/>
                <a:gd name="f32" fmla="+- 0 0 -90"/>
                <a:gd name="f33" fmla="*/ f3 1 46"/>
                <a:gd name="f34" fmla="*/ f4 1 104"/>
                <a:gd name="f35" fmla="+- f7 0 f5"/>
                <a:gd name="f36" fmla="+- f6 0 f5"/>
                <a:gd name="f37" fmla="*/ f32 f0 1"/>
                <a:gd name="f38" fmla="*/ f36 1 46"/>
                <a:gd name="f39" fmla="*/ f35 1 104"/>
                <a:gd name="f40" fmla="*/ 0 f36 1"/>
                <a:gd name="f41" fmla="*/ 89 f35 1"/>
                <a:gd name="f42" fmla="*/ 18 f36 1"/>
                <a:gd name="f43" fmla="*/ 74 f35 1"/>
                <a:gd name="f44" fmla="*/ 24 f36 1"/>
                <a:gd name="f45" fmla="*/ 45 f35 1"/>
                <a:gd name="f46" fmla="*/ 4 f36 1"/>
                <a:gd name="f47" fmla="*/ 0 f35 1"/>
                <a:gd name="f48" fmla="*/ 30 f36 1"/>
                <a:gd name="f49" fmla="*/ 46 f36 1"/>
                <a:gd name="f50" fmla="*/ 36 f35 1"/>
                <a:gd name="f51" fmla="*/ 39 f36 1"/>
                <a:gd name="f52" fmla="*/ 78 f35 1"/>
                <a:gd name="f53" fmla="*/ 10 f36 1"/>
                <a:gd name="f54" fmla="*/ 104 f35 1"/>
                <a:gd name="f55" fmla="*/ f37 1 f2"/>
                <a:gd name="f56" fmla="*/ f40 1 46"/>
                <a:gd name="f57" fmla="*/ f41 1 104"/>
                <a:gd name="f58" fmla="*/ f42 1 46"/>
                <a:gd name="f59" fmla="*/ f43 1 104"/>
                <a:gd name="f60" fmla="*/ f44 1 46"/>
                <a:gd name="f61" fmla="*/ f45 1 104"/>
                <a:gd name="f62" fmla="*/ f46 1 46"/>
                <a:gd name="f63" fmla="*/ f47 1 104"/>
                <a:gd name="f64" fmla="*/ f48 1 46"/>
                <a:gd name="f65" fmla="*/ f49 1 46"/>
                <a:gd name="f66" fmla="*/ f50 1 104"/>
                <a:gd name="f67" fmla="*/ f51 1 46"/>
                <a:gd name="f68" fmla="*/ f52 1 104"/>
                <a:gd name="f69" fmla="*/ f53 1 46"/>
                <a:gd name="f70" fmla="*/ f54 1 104"/>
                <a:gd name="f71" fmla="*/ 0 1 f38"/>
                <a:gd name="f72" fmla="*/ f6 1 f38"/>
                <a:gd name="f73" fmla="*/ 0 1 f39"/>
                <a:gd name="f74" fmla="*/ f7 1 f39"/>
                <a:gd name="f75" fmla="+- f55 0 f1"/>
                <a:gd name="f76" fmla="*/ f56 1 f38"/>
                <a:gd name="f77" fmla="*/ f57 1 f39"/>
                <a:gd name="f78" fmla="*/ f58 1 f38"/>
                <a:gd name="f79" fmla="*/ f59 1 f39"/>
                <a:gd name="f80" fmla="*/ f60 1 f38"/>
                <a:gd name="f81" fmla="*/ f61 1 f39"/>
                <a:gd name="f82" fmla="*/ f62 1 f38"/>
                <a:gd name="f83" fmla="*/ f63 1 f39"/>
                <a:gd name="f84" fmla="*/ f64 1 f38"/>
                <a:gd name="f85" fmla="*/ f65 1 f38"/>
                <a:gd name="f86" fmla="*/ f66 1 f39"/>
                <a:gd name="f87" fmla="*/ f67 1 f38"/>
                <a:gd name="f88" fmla="*/ f68 1 f39"/>
                <a:gd name="f89" fmla="*/ f69 1 f38"/>
                <a:gd name="f90" fmla="*/ f70 1 f39"/>
                <a:gd name="f91" fmla="*/ f71 f33 1"/>
                <a:gd name="f92" fmla="*/ f72 f33 1"/>
                <a:gd name="f93" fmla="*/ f74 f34 1"/>
                <a:gd name="f94" fmla="*/ f73 f34 1"/>
                <a:gd name="f95" fmla="*/ f76 f33 1"/>
                <a:gd name="f96" fmla="*/ f77 f34 1"/>
                <a:gd name="f97" fmla="*/ f78 f33 1"/>
                <a:gd name="f98" fmla="*/ f79 f34 1"/>
                <a:gd name="f99" fmla="*/ f80 f33 1"/>
                <a:gd name="f100" fmla="*/ f81 f34 1"/>
                <a:gd name="f101" fmla="*/ f82 f33 1"/>
                <a:gd name="f102" fmla="*/ f83 f34 1"/>
                <a:gd name="f103" fmla="*/ f84 f33 1"/>
                <a:gd name="f104" fmla="*/ f85 f33 1"/>
                <a:gd name="f105" fmla="*/ f86 f34 1"/>
                <a:gd name="f106" fmla="*/ f87 f33 1"/>
                <a:gd name="f107" fmla="*/ f88 f34 1"/>
                <a:gd name="f108" fmla="*/ f89 f33 1"/>
                <a:gd name="f109" fmla="*/ f90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5">
                  <a:pos x="f95" y="f96"/>
                </a:cxn>
                <a:cxn ang="f75">
                  <a:pos x="f97" y="f98"/>
                </a:cxn>
                <a:cxn ang="f75">
                  <a:pos x="f99" y="f100"/>
                </a:cxn>
                <a:cxn ang="f75">
                  <a:pos x="f101" y="f100"/>
                </a:cxn>
                <a:cxn ang="f75">
                  <a:pos x="f101" y="f102"/>
                </a:cxn>
                <a:cxn ang="f75">
                  <a:pos x="f103" y="f102"/>
                </a:cxn>
                <a:cxn ang="f75">
                  <a:pos x="f104" y="f102"/>
                </a:cxn>
                <a:cxn ang="f75">
                  <a:pos x="f104" y="f105"/>
                </a:cxn>
                <a:cxn ang="f75">
                  <a:pos x="f106" y="f107"/>
                </a:cxn>
                <a:cxn ang="f75">
                  <a:pos x="f108" y="f109"/>
                </a:cxn>
              </a:cxnLst>
              <a:rect l="f91" t="f94" r="f92" b="f93"/>
              <a:pathLst>
                <a:path w="46" h="104">
                  <a:moveTo>
                    <a:pt x="f5" y="f8"/>
                  </a:moveTo>
                  <a:cubicBezTo>
                    <a:pt x="f9" y="f10"/>
                    <a:pt x="f11" y="f12"/>
                    <a:pt x="f13" y="f14"/>
                  </a:cubicBezTo>
                  <a:cubicBezTo>
                    <a:pt x="f15" y="f16"/>
                    <a:pt x="f17" y="f18"/>
                    <a:pt x="f17" y="f19"/>
                  </a:cubicBezTo>
                  <a:cubicBezTo>
                    <a:pt x="f20" y="f19"/>
                    <a:pt x="f20" y="f19"/>
                    <a:pt x="f20" y="f19"/>
                  </a:cubicBezTo>
                  <a:cubicBezTo>
                    <a:pt x="f20" y="f5"/>
                    <a:pt x="f20" y="f5"/>
                    <a:pt x="f20" y="f5"/>
                  </a:cubicBezTo>
                  <a:cubicBezTo>
                    <a:pt x="f21" y="f5"/>
                    <a:pt x="f21" y="f5"/>
                    <a:pt x="f21" y="f5"/>
                  </a:cubicBezTo>
                  <a:cubicBezTo>
                    <a:pt x="f6" y="f5"/>
                    <a:pt x="f6" y="f5"/>
                    <a:pt x="f6" y="f5"/>
                  </a:cubicBezTo>
                  <a:cubicBezTo>
                    <a:pt x="f6" y="f22"/>
                    <a:pt x="f6" y="f22"/>
                    <a:pt x="f6" y="f22"/>
                  </a:cubicBezTo>
                  <a:cubicBezTo>
                    <a:pt x="f6" y="f23"/>
                    <a:pt x="f24" y="f25"/>
                    <a:pt x="f26" y="f27"/>
                  </a:cubicBezTo>
                  <a:cubicBezTo>
                    <a:pt x="f28" y="f8"/>
                    <a:pt x="f29" y="f30"/>
                    <a:pt x="f31" y="f7"/>
                  </a:cubicBezTo>
                </a:path>
              </a:pathLst>
            </a:custGeom>
            <a:noFill/>
            <a:ln w="12701" cap="rnd">
              <a:solidFill>
                <a:srgbClr val="FFFFFF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/>
            <a:p>
              <a:pPr defTabSz="557192">
                <a:lnSpc>
                  <a:spcPct val="90000"/>
                </a:lnSpc>
                <a:spcAft>
                  <a:spcPts val="450"/>
                </a:spcAft>
                <a:buSzPct val="100000"/>
                <a:buFont typeface="Arial" pitchFamily="34"/>
                <a:buChar char="​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350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1" name="Freeform 54">
              <a:extLst>
                <a:ext uri="{FF2B5EF4-FFF2-40B4-BE49-F238E27FC236}">
                  <a16:creationId xmlns:a16="http://schemas.microsoft.com/office/drawing/2014/main" id="{6D7D2CA1-4E7D-4D2D-B50E-830A3BE19715}"/>
                </a:ext>
              </a:extLst>
            </p:cNvPr>
            <p:cNvSpPr/>
            <p:nvPr/>
          </p:nvSpPr>
          <p:spPr>
            <a:xfrm>
              <a:off x="1277188" y="1277883"/>
              <a:ext cx="399793" cy="77175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5"/>
                <a:gd name="f7" fmla="val 104"/>
                <a:gd name="f8" fmla="val 89"/>
                <a:gd name="f9" fmla="val 7"/>
                <a:gd name="f10" fmla="val 85"/>
                <a:gd name="f11" fmla="val 13"/>
                <a:gd name="f12" fmla="val 80"/>
                <a:gd name="f13" fmla="val 17"/>
                <a:gd name="f14" fmla="val 74"/>
                <a:gd name="f15" fmla="val 21"/>
                <a:gd name="f16" fmla="val 67"/>
                <a:gd name="f17" fmla="val 23"/>
                <a:gd name="f18" fmla="val 57"/>
                <a:gd name="f19" fmla="val 24"/>
                <a:gd name="f20" fmla="val 3"/>
                <a:gd name="f21" fmla="val 29"/>
                <a:gd name="f22" fmla="val 36"/>
                <a:gd name="f23" fmla="val 55"/>
                <a:gd name="f24" fmla="val 43"/>
                <a:gd name="f25" fmla="val 69"/>
                <a:gd name="f26" fmla="val 38"/>
                <a:gd name="f27" fmla="val 78"/>
                <a:gd name="f28" fmla="val 32"/>
                <a:gd name="f29" fmla="val 22"/>
                <a:gd name="f30" fmla="val 98"/>
                <a:gd name="f31" fmla="val 9"/>
                <a:gd name="f32" fmla="+- 0 0 -90"/>
                <a:gd name="f33" fmla="*/ f3 1 45"/>
                <a:gd name="f34" fmla="*/ f4 1 104"/>
                <a:gd name="f35" fmla="+- f7 0 f5"/>
                <a:gd name="f36" fmla="+- f6 0 f5"/>
                <a:gd name="f37" fmla="*/ f32 f0 1"/>
                <a:gd name="f38" fmla="*/ f36 1 45"/>
                <a:gd name="f39" fmla="*/ f35 1 104"/>
                <a:gd name="f40" fmla="*/ 0 f36 1"/>
                <a:gd name="f41" fmla="*/ 89 f35 1"/>
                <a:gd name="f42" fmla="*/ 17 f36 1"/>
                <a:gd name="f43" fmla="*/ 74 f35 1"/>
                <a:gd name="f44" fmla="*/ 24 f36 1"/>
                <a:gd name="f45" fmla="*/ 45 f35 1"/>
                <a:gd name="f46" fmla="*/ 3 f36 1"/>
                <a:gd name="f47" fmla="*/ 0 f35 1"/>
                <a:gd name="f48" fmla="*/ 29 f36 1"/>
                <a:gd name="f49" fmla="*/ 45 f36 1"/>
                <a:gd name="f50" fmla="*/ 36 f35 1"/>
                <a:gd name="f51" fmla="*/ 38 f36 1"/>
                <a:gd name="f52" fmla="*/ 78 f35 1"/>
                <a:gd name="f53" fmla="*/ 9 f36 1"/>
                <a:gd name="f54" fmla="*/ 104 f35 1"/>
                <a:gd name="f55" fmla="*/ f37 1 f2"/>
                <a:gd name="f56" fmla="*/ f40 1 45"/>
                <a:gd name="f57" fmla="*/ f41 1 104"/>
                <a:gd name="f58" fmla="*/ f42 1 45"/>
                <a:gd name="f59" fmla="*/ f43 1 104"/>
                <a:gd name="f60" fmla="*/ f44 1 45"/>
                <a:gd name="f61" fmla="*/ f45 1 104"/>
                <a:gd name="f62" fmla="*/ f46 1 45"/>
                <a:gd name="f63" fmla="*/ f47 1 104"/>
                <a:gd name="f64" fmla="*/ f48 1 45"/>
                <a:gd name="f65" fmla="*/ f49 1 45"/>
                <a:gd name="f66" fmla="*/ f50 1 104"/>
                <a:gd name="f67" fmla="*/ f51 1 45"/>
                <a:gd name="f68" fmla="*/ f52 1 104"/>
                <a:gd name="f69" fmla="*/ f53 1 45"/>
                <a:gd name="f70" fmla="*/ f54 1 104"/>
                <a:gd name="f71" fmla="*/ 0 1 f38"/>
                <a:gd name="f72" fmla="*/ f6 1 f38"/>
                <a:gd name="f73" fmla="*/ 0 1 f39"/>
                <a:gd name="f74" fmla="*/ f7 1 f39"/>
                <a:gd name="f75" fmla="+- f55 0 f1"/>
                <a:gd name="f76" fmla="*/ f56 1 f38"/>
                <a:gd name="f77" fmla="*/ f57 1 f39"/>
                <a:gd name="f78" fmla="*/ f58 1 f38"/>
                <a:gd name="f79" fmla="*/ f59 1 f39"/>
                <a:gd name="f80" fmla="*/ f60 1 f38"/>
                <a:gd name="f81" fmla="*/ f61 1 f39"/>
                <a:gd name="f82" fmla="*/ f62 1 f38"/>
                <a:gd name="f83" fmla="*/ f63 1 f39"/>
                <a:gd name="f84" fmla="*/ f64 1 f38"/>
                <a:gd name="f85" fmla="*/ f65 1 f38"/>
                <a:gd name="f86" fmla="*/ f66 1 f39"/>
                <a:gd name="f87" fmla="*/ f67 1 f38"/>
                <a:gd name="f88" fmla="*/ f68 1 f39"/>
                <a:gd name="f89" fmla="*/ f69 1 f38"/>
                <a:gd name="f90" fmla="*/ f70 1 f39"/>
                <a:gd name="f91" fmla="*/ f71 f33 1"/>
                <a:gd name="f92" fmla="*/ f72 f33 1"/>
                <a:gd name="f93" fmla="*/ f74 f34 1"/>
                <a:gd name="f94" fmla="*/ f73 f34 1"/>
                <a:gd name="f95" fmla="*/ f76 f33 1"/>
                <a:gd name="f96" fmla="*/ f77 f34 1"/>
                <a:gd name="f97" fmla="*/ f78 f33 1"/>
                <a:gd name="f98" fmla="*/ f79 f34 1"/>
                <a:gd name="f99" fmla="*/ f80 f33 1"/>
                <a:gd name="f100" fmla="*/ f81 f34 1"/>
                <a:gd name="f101" fmla="*/ f82 f33 1"/>
                <a:gd name="f102" fmla="*/ f83 f34 1"/>
                <a:gd name="f103" fmla="*/ f84 f33 1"/>
                <a:gd name="f104" fmla="*/ f85 f33 1"/>
                <a:gd name="f105" fmla="*/ f86 f34 1"/>
                <a:gd name="f106" fmla="*/ f87 f33 1"/>
                <a:gd name="f107" fmla="*/ f88 f34 1"/>
                <a:gd name="f108" fmla="*/ f89 f33 1"/>
                <a:gd name="f109" fmla="*/ f90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5">
                  <a:pos x="f95" y="f96"/>
                </a:cxn>
                <a:cxn ang="f75">
                  <a:pos x="f97" y="f98"/>
                </a:cxn>
                <a:cxn ang="f75">
                  <a:pos x="f99" y="f100"/>
                </a:cxn>
                <a:cxn ang="f75">
                  <a:pos x="f101" y="f100"/>
                </a:cxn>
                <a:cxn ang="f75">
                  <a:pos x="f101" y="f102"/>
                </a:cxn>
                <a:cxn ang="f75">
                  <a:pos x="f103" y="f102"/>
                </a:cxn>
                <a:cxn ang="f75">
                  <a:pos x="f104" y="f102"/>
                </a:cxn>
                <a:cxn ang="f75">
                  <a:pos x="f104" y="f105"/>
                </a:cxn>
                <a:cxn ang="f75">
                  <a:pos x="f106" y="f107"/>
                </a:cxn>
                <a:cxn ang="f75">
                  <a:pos x="f108" y="f109"/>
                </a:cxn>
              </a:cxnLst>
              <a:rect l="f91" t="f94" r="f92" b="f93"/>
              <a:pathLst>
                <a:path w="45" h="104">
                  <a:moveTo>
                    <a:pt x="f5" y="f8"/>
                  </a:moveTo>
                  <a:cubicBezTo>
                    <a:pt x="f9" y="f10"/>
                    <a:pt x="f11" y="f12"/>
                    <a:pt x="f13" y="f14"/>
                  </a:cubicBezTo>
                  <a:cubicBezTo>
                    <a:pt x="f15" y="f16"/>
                    <a:pt x="f17" y="f18"/>
                    <a:pt x="f19" y="f6"/>
                  </a:cubicBezTo>
                  <a:cubicBezTo>
                    <a:pt x="f20" y="f6"/>
                    <a:pt x="f20" y="f6"/>
                    <a:pt x="f20" y="f6"/>
                  </a:cubicBezTo>
                  <a:cubicBezTo>
                    <a:pt x="f20" y="f5"/>
                    <a:pt x="f20" y="f5"/>
                    <a:pt x="f20" y="f5"/>
                  </a:cubicBezTo>
                  <a:cubicBezTo>
                    <a:pt x="f21" y="f5"/>
                    <a:pt x="f21" y="f5"/>
                    <a:pt x="f21" y="f5"/>
                  </a:cubicBezTo>
                  <a:cubicBezTo>
                    <a:pt x="f6" y="f5"/>
                    <a:pt x="f6" y="f5"/>
                    <a:pt x="f6" y="f5"/>
                  </a:cubicBezTo>
                  <a:cubicBezTo>
                    <a:pt x="f6" y="f22"/>
                    <a:pt x="f6" y="f22"/>
                    <a:pt x="f6" y="f22"/>
                  </a:cubicBezTo>
                  <a:cubicBezTo>
                    <a:pt x="f6" y="f23"/>
                    <a:pt x="f24" y="f25"/>
                    <a:pt x="f26" y="f27"/>
                  </a:cubicBezTo>
                  <a:cubicBezTo>
                    <a:pt x="f28" y="f8"/>
                    <a:pt x="f29" y="f30"/>
                    <a:pt x="f31" y="f7"/>
                  </a:cubicBezTo>
                </a:path>
              </a:pathLst>
            </a:custGeom>
            <a:noFill/>
            <a:ln w="12701" cap="rnd">
              <a:solidFill>
                <a:srgbClr val="FFFFFF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/>
            <a:p>
              <a:pPr defTabSz="557192">
                <a:lnSpc>
                  <a:spcPct val="90000"/>
                </a:lnSpc>
                <a:spcAft>
                  <a:spcPts val="450"/>
                </a:spcAft>
                <a:buSzPct val="100000"/>
                <a:buFont typeface="Arial" pitchFamily="34"/>
                <a:buChar char="​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350" kern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12" name="Group 27">
            <a:extLst>
              <a:ext uri="{FF2B5EF4-FFF2-40B4-BE49-F238E27FC236}">
                <a16:creationId xmlns:a16="http://schemas.microsoft.com/office/drawing/2014/main" id="{DFF1A16E-E382-431A-A570-F77A5EB791D9}"/>
              </a:ext>
            </a:extLst>
          </p:cNvPr>
          <p:cNvGrpSpPr/>
          <p:nvPr/>
        </p:nvGrpSpPr>
        <p:grpSpPr>
          <a:xfrm>
            <a:off x="6942347" y="3884637"/>
            <a:ext cx="831607" cy="578815"/>
            <a:chOff x="3595823" y="5421084"/>
            <a:chExt cx="1108809" cy="771753"/>
          </a:xfrm>
        </p:grpSpPr>
        <p:sp>
          <p:nvSpPr>
            <p:cNvPr id="13" name="Freeform 51">
              <a:extLst>
                <a:ext uri="{FF2B5EF4-FFF2-40B4-BE49-F238E27FC236}">
                  <a16:creationId xmlns:a16="http://schemas.microsoft.com/office/drawing/2014/main" id="{83CD54A7-AF99-49B0-8B9C-05949E959057}"/>
                </a:ext>
              </a:extLst>
            </p:cNvPr>
            <p:cNvSpPr/>
            <p:nvPr/>
          </p:nvSpPr>
          <p:spPr>
            <a:xfrm>
              <a:off x="3595823" y="5421084"/>
              <a:ext cx="409166" cy="77175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6"/>
                <a:gd name="f7" fmla="val 104"/>
                <a:gd name="f8" fmla="val 89"/>
                <a:gd name="f9" fmla="val 8"/>
                <a:gd name="f10" fmla="val 85"/>
                <a:gd name="f11" fmla="val 14"/>
                <a:gd name="f12" fmla="val 80"/>
                <a:gd name="f13" fmla="val 18"/>
                <a:gd name="f14" fmla="val 74"/>
                <a:gd name="f15" fmla="val 22"/>
                <a:gd name="f16" fmla="val 67"/>
                <a:gd name="f17" fmla="val 24"/>
                <a:gd name="f18" fmla="val 57"/>
                <a:gd name="f19" fmla="val 45"/>
                <a:gd name="f20" fmla="val 4"/>
                <a:gd name="f21" fmla="val 30"/>
                <a:gd name="f22" fmla="val 36"/>
                <a:gd name="f23" fmla="val 55"/>
                <a:gd name="f24" fmla="val 44"/>
                <a:gd name="f25" fmla="val 69"/>
                <a:gd name="f26" fmla="val 39"/>
                <a:gd name="f27" fmla="val 78"/>
                <a:gd name="f28" fmla="val 33"/>
                <a:gd name="f29" fmla="val 23"/>
                <a:gd name="f30" fmla="val 98"/>
                <a:gd name="f31" fmla="val 10"/>
                <a:gd name="f32" fmla="+- 0 0 -90"/>
                <a:gd name="f33" fmla="*/ f3 1 46"/>
                <a:gd name="f34" fmla="*/ f4 1 104"/>
                <a:gd name="f35" fmla="+- f7 0 f5"/>
                <a:gd name="f36" fmla="+- f6 0 f5"/>
                <a:gd name="f37" fmla="*/ f32 f0 1"/>
                <a:gd name="f38" fmla="*/ f36 1 46"/>
                <a:gd name="f39" fmla="*/ f35 1 104"/>
                <a:gd name="f40" fmla="*/ 0 f36 1"/>
                <a:gd name="f41" fmla="*/ 89 f35 1"/>
                <a:gd name="f42" fmla="*/ 18 f36 1"/>
                <a:gd name="f43" fmla="*/ 74 f35 1"/>
                <a:gd name="f44" fmla="*/ 24 f36 1"/>
                <a:gd name="f45" fmla="*/ 45 f35 1"/>
                <a:gd name="f46" fmla="*/ 4 f36 1"/>
                <a:gd name="f47" fmla="*/ 0 f35 1"/>
                <a:gd name="f48" fmla="*/ 30 f36 1"/>
                <a:gd name="f49" fmla="*/ 46 f36 1"/>
                <a:gd name="f50" fmla="*/ 36 f35 1"/>
                <a:gd name="f51" fmla="*/ 39 f36 1"/>
                <a:gd name="f52" fmla="*/ 78 f35 1"/>
                <a:gd name="f53" fmla="*/ 10 f36 1"/>
                <a:gd name="f54" fmla="*/ 104 f35 1"/>
                <a:gd name="f55" fmla="*/ f37 1 f2"/>
                <a:gd name="f56" fmla="*/ f40 1 46"/>
                <a:gd name="f57" fmla="*/ f41 1 104"/>
                <a:gd name="f58" fmla="*/ f42 1 46"/>
                <a:gd name="f59" fmla="*/ f43 1 104"/>
                <a:gd name="f60" fmla="*/ f44 1 46"/>
                <a:gd name="f61" fmla="*/ f45 1 104"/>
                <a:gd name="f62" fmla="*/ f46 1 46"/>
                <a:gd name="f63" fmla="*/ f47 1 104"/>
                <a:gd name="f64" fmla="*/ f48 1 46"/>
                <a:gd name="f65" fmla="*/ f49 1 46"/>
                <a:gd name="f66" fmla="*/ f50 1 104"/>
                <a:gd name="f67" fmla="*/ f51 1 46"/>
                <a:gd name="f68" fmla="*/ f52 1 104"/>
                <a:gd name="f69" fmla="*/ f53 1 46"/>
                <a:gd name="f70" fmla="*/ f54 1 104"/>
                <a:gd name="f71" fmla="*/ 0 1 f38"/>
                <a:gd name="f72" fmla="*/ f6 1 f38"/>
                <a:gd name="f73" fmla="*/ 0 1 f39"/>
                <a:gd name="f74" fmla="*/ f7 1 f39"/>
                <a:gd name="f75" fmla="+- f55 0 f1"/>
                <a:gd name="f76" fmla="*/ f56 1 f38"/>
                <a:gd name="f77" fmla="*/ f57 1 f39"/>
                <a:gd name="f78" fmla="*/ f58 1 f38"/>
                <a:gd name="f79" fmla="*/ f59 1 f39"/>
                <a:gd name="f80" fmla="*/ f60 1 f38"/>
                <a:gd name="f81" fmla="*/ f61 1 f39"/>
                <a:gd name="f82" fmla="*/ f62 1 f38"/>
                <a:gd name="f83" fmla="*/ f63 1 f39"/>
                <a:gd name="f84" fmla="*/ f64 1 f38"/>
                <a:gd name="f85" fmla="*/ f65 1 f38"/>
                <a:gd name="f86" fmla="*/ f66 1 f39"/>
                <a:gd name="f87" fmla="*/ f67 1 f38"/>
                <a:gd name="f88" fmla="*/ f68 1 f39"/>
                <a:gd name="f89" fmla="*/ f69 1 f38"/>
                <a:gd name="f90" fmla="*/ f70 1 f39"/>
                <a:gd name="f91" fmla="*/ f71 f33 1"/>
                <a:gd name="f92" fmla="*/ f72 f33 1"/>
                <a:gd name="f93" fmla="*/ f74 f34 1"/>
                <a:gd name="f94" fmla="*/ f73 f34 1"/>
                <a:gd name="f95" fmla="*/ f76 f33 1"/>
                <a:gd name="f96" fmla="*/ f77 f34 1"/>
                <a:gd name="f97" fmla="*/ f78 f33 1"/>
                <a:gd name="f98" fmla="*/ f79 f34 1"/>
                <a:gd name="f99" fmla="*/ f80 f33 1"/>
                <a:gd name="f100" fmla="*/ f81 f34 1"/>
                <a:gd name="f101" fmla="*/ f82 f33 1"/>
                <a:gd name="f102" fmla="*/ f83 f34 1"/>
                <a:gd name="f103" fmla="*/ f84 f33 1"/>
                <a:gd name="f104" fmla="*/ f85 f33 1"/>
                <a:gd name="f105" fmla="*/ f86 f34 1"/>
                <a:gd name="f106" fmla="*/ f87 f33 1"/>
                <a:gd name="f107" fmla="*/ f88 f34 1"/>
                <a:gd name="f108" fmla="*/ f89 f33 1"/>
                <a:gd name="f109" fmla="*/ f90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5">
                  <a:pos x="f95" y="f96"/>
                </a:cxn>
                <a:cxn ang="f75">
                  <a:pos x="f97" y="f98"/>
                </a:cxn>
                <a:cxn ang="f75">
                  <a:pos x="f99" y="f100"/>
                </a:cxn>
                <a:cxn ang="f75">
                  <a:pos x="f101" y="f100"/>
                </a:cxn>
                <a:cxn ang="f75">
                  <a:pos x="f101" y="f102"/>
                </a:cxn>
                <a:cxn ang="f75">
                  <a:pos x="f103" y="f102"/>
                </a:cxn>
                <a:cxn ang="f75">
                  <a:pos x="f104" y="f102"/>
                </a:cxn>
                <a:cxn ang="f75">
                  <a:pos x="f104" y="f105"/>
                </a:cxn>
                <a:cxn ang="f75">
                  <a:pos x="f106" y="f107"/>
                </a:cxn>
                <a:cxn ang="f75">
                  <a:pos x="f108" y="f109"/>
                </a:cxn>
              </a:cxnLst>
              <a:rect l="f91" t="f94" r="f92" b="f93"/>
              <a:pathLst>
                <a:path w="46" h="104">
                  <a:moveTo>
                    <a:pt x="f5" y="f8"/>
                  </a:moveTo>
                  <a:cubicBezTo>
                    <a:pt x="f9" y="f10"/>
                    <a:pt x="f11" y="f12"/>
                    <a:pt x="f13" y="f14"/>
                  </a:cubicBezTo>
                  <a:cubicBezTo>
                    <a:pt x="f15" y="f16"/>
                    <a:pt x="f17" y="f18"/>
                    <a:pt x="f17" y="f19"/>
                  </a:cubicBezTo>
                  <a:cubicBezTo>
                    <a:pt x="f20" y="f19"/>
                    <a:pt x="f20" y="f19"/>
                    <a:pt x="f20" y="f19"/>
                  </a:cubicBezTo>
                  <a:cubicBezTo>
                    <a:pt x="f20" y="f5"/>
                    <a:pt x="f20" y="f5"/>
                    <a:pt x="f20" y="f5"/>
                  </a:cubicBezTo>
                  <a:cubicBezTo>
                    <a:pt x="f21" y="f5"/>
                    <a:pt x="f21" y="f5"/>
                    <a:pt x="f21" y="f5"/>
                  </a:cubicBezTo>
                  <a:cubicBezTo>
                    <a:pt x="f6" y="f5"/>
                    <a:pt x="f6" y="f5"/>
                    <a:pt x="f6" y="f5"/>
                  </a:cubicBezTo>
                  <a:cubicBezTo>
                    <a:pt x="f6" y="f22"/>
                    <a:pt x="f6" y="f22"/>
                    <a:pt x="f6" y="f22"/>
                  </a:cubicBezTo>
                  <a:cubicBezTo>
                    <a:pt x="f6" y="f23"/>
                    <a:pt x="f24" y="f25"/>
                    <a:pt x="f26" y="f27"/>
                  </a:cubicBezTo>
                  <a:cubicBezTo>
                    <a:pt x="f28" y="f8"/>
                    <a:pt x="f29" y="f30"/>
                    <a:pt x="f31" y="f7"/>
                  </a:cubicBezTo>
                </a:path>
              </a:pathLst>
            </a:custGeom>
            <a:noFill/>
            <a:ln w="9528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/>
            <a:p>
              <a:pPr defTabSz="557192">
                <a:lnSpc>
                  <a:spcPct val="90000"/>
                </a:lnSpc>
                <a:spcAft>
                  <a:spcPts val="450"/>
                </a:spcAft>
                <a:buSzPct val="100000"/>
                <a:buFont typeface="Arial" pitchFamily="34"/>
                <a:buChar char="​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350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Freeform 52">
              <a:extLst>
                <a:ext uri="{FF2B5EF4-FFF2-40B4-BE49-F238E27FC236}">
                  <a16:creationId xmlns:a16="http://schemas.microsoft.com/office/drawing/2014/main" id="{7E10CE33-F642-4C2D-928C-A43B0FF9BCE0}"/>
                </a:ext>
              </a:extLst>
            </p:cNvPr>
            <p:cNvSpPr/>
            <p:nvPr/>
          </p:nvSpPr>
          <p:spPr>
            <a:xfrm>
              <a:off x="4198623" y="5421084"/>
              <a:ext cx="399793" cy="77175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5"/>
                <a:gd name="f7" fmla="val 104"/>
                <a:gd name="f8" fmla="val 89"/>
                <a:gd name="f9" fmla="val 7"/>
                <a:gd name="f10" fmla="val 85"/>
                <a:gd name="f11" fmla="val 13"/>
                <a:gd name="f12" fmla="val 80"/>
                <a:gd name="f13" fmla="val 17"/>
                <a:gd name="f14" fmla="val 74"/>
                <a:gd name="f15" fmla="val 21"/>
                <a:gd name="f16" fmla="val 67"/>
                <a:gd name="f17" fmla="val 23"/>
                <a:gd name="f18" fmla="val 57"/>
                <a:gd name="f19" fmla="val 24"/>
                <a:gd name="f20" fmla="val 3"/>
                <a:gd name="f21" fmla="val 29"/>
                <a:gd name="f22" fmla="val 36"/>
                <a:gd name="f23" fmla="val 55"/>
                <a:gd name="f24" fmla="val 43"/>
                <a:gd name="f25" fmla="val 69"/>
                <a:gd name="f26" fmla="val 38"/>
                <a:gd name="f27" fmla="val 78"/>
                <a:gd name="f28" fmla="val 32"/>
                <a:gd name="f29" fmla="val 22"/>
                <a:gd name="f30" fmla="val 98"/>
                <a:gd name="f31" fmla="val 9"/>
                <a:gd name="f32" fmla="+- 0 0 -90"/>
                <a:gd name="f33" fmla="*/ f3 1 45"/>
                <a:gd name="f34" fmla="*/ f4 1 104"/>
                <a:gd name="f35" fmla="+- f7 0 f5"/>
                <a:gd name="f36" fmla="+- f6 0 f5"/>
                <a:gd name="f37" fmla="*/ f32 f0 1"/>
                <a:gd name="f38" fmla="*/ f36 1 45"/>
                <a:gd name="f39" fmla="*/ f35 1 104"/>
                <a:gd name="f40" fmla="*/ 0 f36 1"/>
                <a:gd name="f41" fmla="*/ 89 f35 1"/>
                <a:gd name="f42" fmla="*/ 17 f36 1"/>
                <a:gd name="f43" fmla="*/ 74 f35 1"/>
                <a:gd name="f44" fmla="*/ 24 f36 1"/>
                <a:gd name="f45" fmla="*/ 45 f35 1"/>
                <a:gd name="f46" fmla="*/ 3 f36 1"/>
                <a:gd name="f47" fmla="*/ 0 f35 1"/>
                <a:gd name="f48" fmla="*/ 29 f36 1"/>
                <a:gd name="f49" fmla="*/ 45 f36 1"/>
                <a:gd name="f50" fmla="*/ 36 f35 1"/>
                <a:gd name="f51" fmla="*/ 38 f36 1"/>
                <a:gd name="f52" fmla="*/ 78 f35 1"/>
                <a:gd name="f53" fmla="*/ 9 f36 1"/>
                <a:gd name="f54" fmla="*/ 104 f35 1"/>
                <a:gd name="f55" fmla="*/ f37 1 f2"/>
                <a:gd name="f56" fmla="*/ f40 1 45"/>
                <a:gd name="f57" fmla="*/ f41 1 104"/>
                <a:gd name="f58" fmla="*/ f42 1 45"/>
                <a:gd name="f59" fmla="*/ f43 1 104"/>
                <a:gd name="f60" fmla="*/ f44 1 45"/>
                <a:gd name="f61" fmla="*/ f45 1 104"/>
                <a:gd name="f62" fmla="*/ f46 1 45"/>
                <a:gd name="f63" fmla="*/ f47 1 104"/>
                <a:gd name="f64" fmla="*/ f48 1 45"/>
                <a:gd name="f65" fmla="*/ f49 1 45"/>
                <a:gd name="f66" fmla="*/ f50 1 104"/>
                <a:gd name="f67" fmla="*/ f51 1 45"/>
                <a:gd name="f68" fmla="*/ f52 1 104"/>
                <a:gd name="f69" fmla="*/ f53 1 45"/>
                <a:gd name="f70" fmla="*/ f54 1 104"/>
                <a:gd name="f71" fmla="*/ 0 1 f38"/>
                <a:gd name="f72" fmla="*/ f6 1 f38"/>
                <a:gd name="f73" fmla="*/ 0 1 f39"/>
                <a:gd name="f74" fmla="*/ f7 1 f39"/>
                <a:gd name="f75" fmla="+- f55 0 f1"/>
                <a:gd name="f76" fmla="*/ f56 1 f38"/>
                <a:gd name="f77" fmla="*/ f57 1 f39"/>
                <a:gd name="f78" fmla="*/ f58 1 f38"/>
                <a:gd name="f79" fmla="*/ f59 1 f39"/>
                <a:gd name="f80" fmla="*/ f60 1 f38"/>
                <a:gd name="f81" fmla="*/ f61 1 f39"/>
                <a:gd name="f82" fmla="*/ f62 1 f38"/>
                <a:gd name="f83" fmla="*/ f63 1 f39"/>
                <a:gd name="f84" fmla="*/ f64 1 f38"/>
                <a:gd name="f85" fmla="*/ f65 1 f38"/>
                <a:gd name="f86" fmla="*/ f66 1 f39"/>
                <a:gd name="f87" fmla="*/ f67 1 f38"/>
                <a:gd name="f88" fmla="*/ f68 1 f39"/>
                <a:gd name="f89" fmla="*/ f69 1 f38"/>
                <a:gd name="f90" fmla="*/ f70 1 f39"/>
                <a:gd name="f91" fmla="*/ f71 f33 1"/>
                <a:gd name="f92" fmla="*/ f72 f33 1"/>
                <a:gd name="f93" fmla="*/ f74 f34 1"/>
                <a:gd name="f94" fmla="*/ f73 f34 1"/>
                <a:gd name="f95" fmla="*/ f76 f33 1"/>
                <a:gd name="f96" fmla="*/ f77 f34 1"/>
                <a:gd name="f97" fmla="*/ f78 f33 1"/>
                <a:gd name="f98" fmla="*/ f79 f34 1"/>
                <a:gd name="f99" fmla="*/ f80 f33 1"/>
                <a:gd name="f100" fmla="*/ f81 f34 1"/>
                <a:gd name="f101" fmla="*/ f82 f33 1"/>
                <a:gd name="f102" fmla="*/ f83 f34 1"/>
                <a:gd name="f103" fmla="*/ f84 f33 1"/>
                <a:gd name="f104" fmla="*/ f85 f33 1"/>
                <a:gd name="f105" fmla="*/ f86 f34 1"/>
                <a:gd name="f106" fmla="*/ f87 f33 1"/>
                <a:gd name="f107" fmla="*/ f88 f34 1"/>
                <a:gd name="f108" fmla="*/ f89 f33 1"/>
                <a:gd name="f109" fmla="*/ f90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5">
                  <a:pos x="f95" y="f96"/>
                </a:cxn>
                <a:cxn ang="f75">
                  <a:pos x="f97" y="f98"/>
                </a:cxn>
                <a:cxn ang="f75">
                  <a:pos x="f99" y="f100"/>
                </a:cxn>
                <a:cxn ang="f75">
                  <a:pos x="f101" y="f100"/>
                </a:cxn>
                <a:cxn ang="f75">
                  <a:pos x="f101" y="f102"/>
                </a:cxn>
                <a:cxn ang="f75">
                  <a:pos x="f103" y="f102"/>
                </a:cxn>
                <a:cxn ang="f75">
                  <a:pos x="f104" y="f102"/>
                </a:cxn>
                <a:cxn ang="f75">
                  <a:pos x="f104" y="f105"/>
                </a:cxn>
                <a:cxn ang="f75">
                  <a:pos x="f106" y="f107"/>
                </a:cxn>
                <a:cxn ang="f75">
                  <a:pos x="f108" y="f109"/>
                </a:cxn>
              </a:cxnLst>
              <a:rect l="f91" t="f94" r="f92" b="f93"/>
              <a:pathLst>
                <a:path w="45" h="104">
                  <a:moveTo>
                    <a:pt x="f5" y="f8"/>
                  </a:moveTo>
                  <a:cubicBezTo>
                    <a:pt x="f9" y="f10"/>
                    <a:pt x="f11" y="f12"/>
                    <a:pt x="f13" y="f14"/>
                  </a:cubicBezTo>
                  <a:cubicBezTo>
                    <a:pt x="f15" y="f16"/>
                    <a:pt x="f17" y="f18"/>
                    <a:pt x="f19" y="f6"/>
                  </a:cubicBezTo>
                  <a:cubicBezTo>
                    <a:pt x="f20" y="f6"/>
                    <a:pt x="f20" y="f6"/>
                    <a:pt x="f20" y="f6"/>
                  </a:cubicBezTo>
                  <a:cubicBezTo>
                    <a:pt x="f20" y="f5"/>
                    <a:pt x="f20" y="f5"/>
                    <a:pt x="f20" y="f5"/>
                  </a:cubicBezTo>
                  <a:cubicBezTo>
                    <a:pt x="f21" y="f5"/>
                    <a:pt x="f21" y="f5"/>
                    <a:pt x="f21" y="f5"/>
                  </a:cubicBezTo>
                  <a:cubicBezTo>
                    <a:pt x="f6" y="f5"/>
                    <a:pt x="f6" y="f5"/>
                    <a:pt x="f6" y="f5"/>
                  </a:cubicBezTo>
                  <a:cubicBezTo>
                    <a:pt x="f6" y="f22"/>
                    <a:pt x="f6" y="f22"/>
                    <a:pt x="f6" y="f22"/>
                  </a:cubicBezTo>
                  <a:cubicBezTo>
                    <a:pt x="f6" y="f23"/>
                    <a:pt x="f24" y="f25"/>
                    <a:pt x="f26" y="f27"/>
                  </a:cubicBezTo>
                  <a:cubicBezTo>
                    <a:pt x="f28" y="f8"/>
                    <a:pt x="f29" y="f30"/>
                    <a:pt x="f31" y="f7"/>
                  </a:cubicBezTo>
                </a:path>
              </a:pathLst>
            </a:custGeom>
            <a:noFill/>
            <a:ln w="9528" cap="flat">
              <a:solidFill>
                <a:srgbClr val="FFFFFF"/>
              </a:solidFill>
              <a:prstDash val="solid"/>
              <a:miter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/>
            <a:p>
              <a:pPr defTabSz="557192">
                <a:lnSpc>
                  <a:spcPct val="90000"/>
                </a:lnSpc>
                <a:spcAft>
                  <a:spcPts val="450"/>
                </a:spcAft>
                <a:buSzPct val="100000"/>
                <a:buFont typeface="Arial" pitchFamily="34"/>
                <a:buChar char="​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350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" name="Freeform 53">
              <a:extLst>
                <a:ext uri="{FF2B5EF4-FFF2-40B4-BE49-F238E27FC236}">
                  <a16:creationId xmlns:a16="http://schemas.microsoft.com/office/drawing/2014/main" id="{95FB2BE7-9B7A-4717-BC8C-BC486F623DC5}"/>
                </a:ext>
              </a:extLst>
            </p:cNvPr>
            <p:cNvSpPr/>
            <p:nvPr/>
          </p:nvSpPr>
          <p:spPr>
            <a:xfrm>
              <a:off x="3702012" y="5421084"/>
              <a:ext cx="409166" cy="77175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6"/>
                <a:gd name="f7" fmla="val 104"/>
                <a:gd name="f8" fmla="val 89"/>
                <a:gd name="f9" fmla="val 8"/>
                <a:gd name="f10" fmla="val 85"/>
                <a:gd name="f11" fmla="val 14"/>
                <a:gd name="f12" fmla="val 80"/>
                <a:gd name="f13" fmla="val 18"/>
                <a:gd name="f14" fmla="val 74"/>
                <a:gd name="f15" fmla="val 22"/>
                <a:gd name="f16" fmla="val 67"/>
                <a:gd name="f17" fmla="val 24"/>
                <a:gd name="f18" fmla="val 57"/>
                <a:gd name="f19" fmla="val 45"/>
                <a:gd name="f20" fmla="val 4"/>
                <a:gd name="f21" fmla="val 30"/>
                <a:gd name="f22" fmla="val 36"/>
                <a:gd name="f23" fmla="val 55"/>
                <a:gd name="f24" fmla="val 44"/>
                <a:gd name="f25" fmla="val 69"/>
                <a:gd name="f26" fmla="val 39"/>
                <a:gd name="f27" fmla="val 78"/>
                <a:gd name="f28" fmla="val 33"/>
                <a:gd name="f29" fmla="val 23"/>
                <a:gd name="f30" fmla="val 98"/>
                <a:gd name="f31" fmla="val 10"/>
                <a:gd name="f32" fmla="+- 0 0 -90"/>
                <a:gd name="f33" fmla="*/ f3 1 46"/>
                <a:gd name="f34" fmla="*/ f4 1 104"/>
                <a:gd name="f35" fmla="+- f7 0 f5"/>
                <a:gd name="f36" fmla="+- f6 0 f5"/>
                <a:gd name="f37" fmla="*/ f32 f0 1"/>
                <a:gd name="f38" fmla="*/ f36 1 46"/>
                <a:gd name="f39" fmla="*/ f35 1 104"/>
                <a:gd name="f40" fmla="*/ 0 f36 1"/>
                <a:gd name="f41" fmla="*/ 89 f35 1"/>
                <a:gd name="f42" fmla="*/ 18 f36 1"/>
                <a:gd name="f43" fmla="*/ 74 f35 1"/>
                <a:gd name="f44" fmla="*/ 24 f36 1"/>
                <a:gd name="f45" fmla="*/ 45 f35 1"/>
                <a:gd name="f46" fmla="*/ 4 f36 1"/>
                <a:gd name="f47" fmla="*/ 0 f35 1"/>
                <a:gd name="f48" fmla="*/ 30 f36 1"/>
                <a:gd name="f49" fmla="*/ 46 f36 1"/>
                <a:gd name="f50" fmla="*/ 36 f35 1"/>
                <a:gd name="f51" fmla="*/ 39 f36 1"/>
                <a:gd name="f52" fmla="*/ 78 f35 1"/>
                <a:gd name="f53" fmla="*/ 10 f36 1"/>
                <a:gd name="f54" fmla="*/ 104 f35 1"/>
                <a:gd name="f55" fmla="*/ f37 1 f2"/>
                <a:gd name="f56" fmla="*/ f40 1 46"/>
                <a:gd name="f57" fmla="*/ f41 1 104"/>
                <a:gd name="f58" fmla="*/ f42 1 46"/>
                <a:gd name="f59" fmla="*/ f43 1 104"/>
                <a:gd name="f60" fmla="*/ f44 1 46"/>
                <a:gd name="f61" fmla="*/ f45 1 104"/>
                <a:gd name="f62" fmla="*/ f46 1 46"/>
                <a:gd name="f63" fmla="*/ f47 1 104"/>
                <a:gd name="f64" fmla="*/ f48 1 46"/>
                <a:gd name="f65" fmla="*/ f49 1 46"/>
                <a:gd name="f66" fmla="*/ f50 1 104"/>
                <a:gd name="f67" fmla="*/ f51 1 46"/>
                <a:gd name="f68" fmla="*/ f52 1 104"/>
                <a:gd name="f69" fmla="*/ f53 1 46"/>
                <a:gd name="f70" fmla="*/ f54 1 104"/>
                <a:gd name="f71" fmla="*/ 0 1 f38"/>
                <a:gd name="f72" fmla="*/ f6 1 f38"/>
                <a:gd name="f73" fmla="*/ 0 1 f39"/>
                <a:gd name="f74" fmla="*/ f7 1 f39"/>
                <a:gd name="f75" fmla="+- f55 0 f1"/>
                <a:gd name="f76" fmla="*/ f56 1 f38"/>
                <a:gd name="f77" fmla="*/ f57 1 f39"/>
                <a:gd name="f78" fmla="*/ f58 1 f38"/>
                <a:gd name="f79" fmla="*/ f59 1 f39"/>
                <a:gd name="f80" fmla="*/ f60 1 f38"/>
                <a:gd name="f81" fmla="*/ f61 1 f39"/>
                <a:gd name="f82" fmla="*/ f62 1 f38"/>
                <a:gd name="f83" fmla="*/ f63 1 f39"/>
                <a:gd name="f84" fmla="*/ f64 1 f38"/>
                <a:gd name="f85" fmla="*/ f65 1 f38"/>
                <a:gd name="f86" fmla="*/ f66 1 f39"/>
                <a:gd name="f87" fmla="*/ f67 1 f38"/>
                <a:gd name="f88" fmla="*/ f68 1 f39"/>
                <a:gd name="f89" fmla="*/ f69 1 f38"/>
                <a:gd name="f90" fmla="*/ f70 1 f39"/>
                <a:gd name="f91" fmla="*/ f71 f33 1"/>
                <a:gd name="f92" fmla="*/ f72 f33 1"/>
                <a:gd name="f93" fmla="*/ f74 f34 1"/>
                <a:gd name="f94" fmla="*/ f73 f34 1"/>
                <a:gd name="f95" fmla="*/ f76 f33 1"/>
                <a:gd name="f96" fmla="*/ f77 f34 1"/>
                <a:gd name="f97" fmla="*/ f78 f33 1"/>
                <a:gd name="f98" fmla="*/ f79 f34 1"/>
                <a:gd name="f99" fmla="*/ f80 f33 1"/>
                <a:gd name="f100" fmla="*/ f81 f34 1"/>
                <a:gd name="f101" fmla="*/ f82 f33 1"/>
                <a:gd name="f102" fmla="*/ f83 f34 1"/>
                <a:gd name="f103" fmla="*/ f84 f33 1"/>
                <a:gd name="f104" fmla="*/ f85 f33 1"/>
                <a:gd name="f105" fmla="*/ f86 f34 1"/>
                <a:gd name="f106" fmla="*/ f87 f33 1"/>
                <a:gd name="f107" fmla="*/ f88 f34 1"/>
                <a:gd name="f108" fmla="*/ f89 f33 1"/>
                <a:gd name="f109" fmla="*/ f90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5">
                  <a:pos x="f95" y="f96"/>
                </a:cxn>
                <a:cxn ang="f75">
                  <a:pos x="f97" y="f98"/>
                </a:cxn>
                <a:cxn ang="f75">
                  <a:pos x="f99" y="f100"/>
                </a:cxn>
                <a:cxn ang="f75">
                  <a:pos x="f101" y="f100"/>
                </a:cxn>
                <a:cxn ang="f75">
                  <a:pos x="f101" y="f102"/>
                </a:cxn>
                <a:cxn ang="f75">
                  <a:pos x="f103" y="f102"/>
                </a:cxn>
                <a:cxn ang="f75">
                  <a:pos x="f104" y="f102"/>
                </a:cxn>
                <a:cxn ang="f75">
                  <a:pos x="f104" y="f105"/>
                </a:cxn>
                <a:cxn ang="f75">
                  <a:pos x="f106" y="f107"/>
                </a:cxn>
                <a:cxn ang="f75">
                  <a:pos x="f108" y="f109"/>
                </a:cxn>
              </a:cxnLst>
              <a:rect l="f91" t="f94" r="f92" b="f93"/>
              <a:pathLst>
                <a:path w="46" h="104">
                  <a:moveTo>
                    <a:pt x="f5" y="f8"/>
                  </a:moveTo>
                  <a:cubicBezTo>
                    <a:pt x="f9" y="f10"/>
                    <a:pt x="f11" y="f12"/>
                    <a:pt x="f13" y="f14"/>
                  </a:cubicBezTo>
                  <a:cubicBezTo>
                    <a:pt x="f15" y="f16"/>
                    <a:pt x="f17" y="f18"/>
                    <a:pt x="f17" y="f19"/>
                  </a:cubicBezTo>
                  <a:cubicBezTo>
                    <a:pt x="f20" y="f19"/>
                    <a:pt x="f20" y="f19"/>
                    <a:pt x="f20" y="f19"/>
                  </a:cubicBezTo>
                  <a:cubicBezTo>
                    <a:pt x="f20" y="f5"/>
                    <a:pt x="f20" y="f5"/>
                    <a:pt x="f20" y="f5"/>
                  </a:cubicBezTo>
                  <a:cubicBezTo>
                    <a:pt x="f21" y="f5"/>
                    <a:pt x="f21" y="f5"/>
                    <a:pt x="f21" y="f5"/>
                  </a:cubicBezTo>
                  <a:cubicBezTo>
                    <a:pt x="f6" y="f5"/>
                    <a:pt x="f6" y="f5"/>
                    <a:pt x="f6" y="f5"/>
                  </a:cubicBezTo>
                  <a:cubicBezTo>
                    <a:pt x="f6" y="f22"/>
                    <a:pt x="f6" y="f22"/>
                    <a:pt x="f6" y="f22"/>
                  </a:cubicBezTo>
                  <a:cubicBezTo>
                    <a:pt x="f6" y="f23"/>
                    <a:pt x="f24" y="f25"/>
                    <a:pt x="f26" y="f27"/>
                  </a:cubicBezTo>
                  <a:cubicBezTo>
                    <a:pt x="f28" y="f8"/>
                    <a:pt x="f29" y="f30"/>
                    <a:pt x="f31" y="f7"/>
                  </a:cubicBezTo>
                </a:path>
              </a:pathLst>
            </a:custGeom>
            <a:noFill/>
            <a:ln w="12701" cap="rnd">
              <a:solidFill>
                <a:srgbClr val="FFFFFF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/>
            <a:p>
              <a:pPr defTabSz="557192">
                <a:lnSpc>
                  <a:spcPct val="90000"/>
                </a:lnSpc>
                <a:spcAft>
                  <a:spcPts val="450"/>
                </a:spcAft>
                <a:buSzPct val="100000"/>
                <a:buFont typeface="Arial" pitchFamily="34"/>
                <a:buChar char="​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350" kern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6" name="Freeform 54">
              <a:extLst>
                <a:ext uri="{FF2B5EF4-FFF2-40B4-BE49-F238E27FC236}">
                  <a16:creationId xmlns:a16="http://schemas.microsoft.com/office/drawing/2014/main" id="{C0DE6630-B0E7-4F6D-A588-9EEE0CF29113}"/>
                </a:ext>
              </a:extLst>
            </p:cNvPr>
            <p:cNvSpPr/>
            <p:nvPr/>
          </p:nvSpPr>
          <p:spPr>
            <a:xfrm>
              <a:off x="4304839" y="5421084"/>
              <a:ext cx="399793" cy="771753"/>
            </a:xfrm>
            <a:custGeom>
              <a:avLst/>
              <a:gdLst>
                <a:gd name="f0" fmla="val 10800000"/>
                <a:gd name="f1" fmla="val 5400000"/>
                <a:gd name="f2" fmla="val 180"/>
                <a:gd name="f3" fmla="val w"/>
                <a:gd name="f4" fmla="val h"/>
                <a:gd name="f5" fmla="val 0"/>
                <a:gd name="f6" fmla="val 45"/>
                <a:gd name="f7" fmla="val 104"/>
                <a:gd name="f8" fmla="val 89"/>
                <a:gd name="f9" fmla="val 7"/>
                <a:gd name="f10" fmla="val 85"/>
                <a:gd name="f11" fmla="val 13"/>
                <a:gd name="f12" fmla="val 80"/>
                <a:gd name="f13" fmla="val 17"/>
                <a:gd name="f14" fmla="val 74"/>
                <a:gd name="f15" fmla="val 21"/>
                <a:gd name="f16" fmla="val 67"/>
                <a:gd name="f17" fmla="val 23"/>
                <a:gd name="f18" fmla="val 57"/>
                <a:gd name="f19" fmla="val 24"/>
                <a:gd name="f20" fmla="val 3"/>
                <a:gd name="f21" fmla="val 29"/>
                <a:gd name="f22" fmla="val 36"/>
                <a:gd name="f23" fmla="val 55"/>
                <a:gd name="f24" fmla="val 43"/>
                <a:gd name="f25" fmla="val 69"/>
                <a:gd name="f26" fmla="val 38"/>
                <a:gd name="f27" fmla="val 78"/>
                <a:gd name="f28" fmla="val 32"/>
                <a:gd name="f29" fmla="val 22"/>
                <a:gd name="f30" fmla="val 98"/>
                <a:gd name="f31" fmla="val 9"/>
                <a:gd name="f32" fmla="+- 0 0 -90"/>
                <a:gd name="f33" fmla="*/ f3 1 45"/>
                <a:gd name="f34" fmla="*/ f4 1 104"/>
                <a:gd name="f35" fmla="+- f7 0 f5"/>
                <a:gd name="f36" fmla="+- f6 0 f5"/>
                <a:gd name="f37" fmla="*/ f32 f0 1"/>
                <a:gd name="f38" fmla="*/ f36 1 45"/>
                <a:gd name="f39" fmla="*/ f35 1 104"/>
                <a:gd name="f40" fmla="*/ 0 f36 1"/>
                <a:gd name="f41" fmla="*/ 89 f35 1"/>
                <a:gd name="f42" fmla="*/ 17 f36 1"/>
                <a:gd name="f43" fmla="*/ 74 f35 1"/>
                <a:gd name="f44" fmla="*/ 24 f36 1"/>
                <a:gd name="f45" fmla="*/ 45 f35 1"/>
                <a:gd name="f46" fmla="*/ 3 f36 1"/>
                <a:gd name="f47" fmla="*/ 0 f35 1"/>
                <a:gd name="f48" fmla="*/ 29 f36 1"/>
                <a:gd name="f49" fmla="*/ 45 f36 1"/>
                <a:gd name="f50" fmla="*/ 36 f35 1"/>
                <a:gd name="f51" fmla="*/ 38 f36 1"/>
                <a:gd name="f52" fmla="*/ 78 f35 1"/>
                <a:gd name="f53" fmla="*/ 9 f36 1"/>
                <a:gd name="f54" fmla="*/ 104 f35 1"/>
                <a:gd name="f55" fmla="*/ f37 1 f2"/>
                <a:gd name="f56" fmla="*/ f40 1 45"/>
                <a:gd name="f57" fmla="*/ f41 1 104"/>
                <a:gd name="f58" fmla="*/ f42 1 45"/>
                <a:gd name="f59" fmla="*/ f43 1 104"/>
                <a:gd name="f60" fmla="*/ f44 1 45"/>
                <a:gd name="f61" fmla="*/ f45 1 104"/>
                <a:gd name="f62" fmla="*/ f46 1 45"/>
                <a:gd name="f63" fmla="*/ f47 1 104"/>
                <a:gd name="f64" fmla="*/ f48 1 45"/>
                <a:gd name="f65" fmla="*/ f49 1 45"/>
                <a:gd name="f66" fmla="*/ f50 1 104"/>
                <a:gd name="f67" fmla="*/ f51 1 45"/>
                <a:gd name="f68" fmla="*/ f52 1 104"/>
                <a:gd name="f69" fmla="*/ f53 1 45"/>
                <a:gd name="f70" fmla="*/ f54 1 104"/>
                <a:gd name="f71" fmla="*/ 0 1 f38"/>
                <a:gd name="f72" fmla="*/ f6 1 f38"/>
                <a:gd name="f73" fmla="*/ 0 1 f39"/>
                <a:gd name="f74" fmla="*/ f7 1 f39"/>
                <a:gd name="f75" fmla="+- f55 0 f1"/>
                <a:gd name="f76" fmla="*/ f56 1 f38"/>
                <a:gd name="f77" fmla="*/ f57 1 f39"/>
                <a:gd name="f78" fmla="*/ f58 1 f38"/>
                <a:gd name="f79" fmla="*/ f59 1 f39"/>
                <a:gd name="f80" fmla="*/ f60 1 f38"/>
                <a:gd name="f81" fmla="*/ f61 1 f39"/>
                <a:gd name="f82" fmla="*/ f62 1 f38"/>
                <a:gd name="f83" fmla="*/ f63 1 f39"/>
                <a:gd name="f84" fmla="*/ f64 1 f38"/>
                <a:gd name="f85" fmla="*/ f65 1 f38"/>
                <a:gd name="f86" fmla="*/ f66 1 f39"/>
                <a:gd name="f87" fmla="*/ f67 1 f38"/>
                <a:gd name="f88" fmla="*/ f68 1 f39"/>
                <a:gd name="f89" fmla="*/ f69 1 f38"/>
                <a:gd name="f90" fmla="*/ f70 1 f39"/>
                <a:gd name="f91" fmla="*/ f71 f33 1"/>
                <a:gd name="f92" fmla="*/ f72 f33 1"/>
                <a:gd name="f93" fmla="*/ f74 f34 1"/>
                <a:gd name="f94" fmla="*/ f73 f34 1"/>
                <a:gd name="f95" fmla="*/ f76 f33 1"/>
                <a:gd name="f96" fmla="*/ f77 f34 1"/>
                <a:gd name="f97" fmla="*/ f78 f33 1"/>
                <a:gd name="f98" fmla="*/ f79 f34 1"/>
                <a:gd name="f99" fmla="*/ f80 f33 1"/>
                <a:gd name="f100" fmla="*/ f81 f34 1"/>
                <a:gd name="f101" fmla="*/ f82 f33 1"/>
                <a:gd name="f102" fmla="*/ f83 f34 1"/>
                <a:gd name="f103" fmla="*/ f84 f33 1"/>
                <a:gd name="f104" fmla="*/ f85 f33 1"/>
                <a:gd name="f105" fmla="*/ f86 f34 1"/>
                <a:gd name="f106" fmla="*/ f87 f33 1"/>
                <a:gd name="f107" fmla="*/ f88 f34 1"/>
                <a:gd name="f108" fmla="*/ f89 f33 1"/>
                <a:gd name="f109" fmla="*/ f90 f34 1"/>
              </a:gdLst>
              <a:ahLst/>
              <a:cxnLst>
                <a:cxn ang="3cd4">
                  <a:pos x="hc" y="t"/>
                </a:cxn>
                <a:cxn ang="0">
                  <a:pos x="r" y="vc"/>
                </a:cxn>
                <a:cxn ang="cd4">
                  <a:pos x="hc" y="b"/>
                </a:cxn>
                <a:cxn ang="cd2">
                  <a:pos x="l" y="vc"/>
                </a:cxn>
                <a:cxn ang="f75">
                  <a:pos x="f95" y="f96"/>
                </a:cxn>
                <a:cxn ang="f75">
                  <a:pos x="f97" y="f98"/>
                </a:cxn>
                <a:cxn ang="f75">
                  <a:pos x="f99" y="f100"/>
                </a:cxn>
                <a:cxn ang="f75">
                  <a:pos x="f101" y="f100"/>
                </a:cxn>
                <a:cxn ang="f75">
                  <a:pos x="f101" y="f102"/>
                </a:cxn>
                <a:cxn ang="f75">
                  <a:pos x="f103" y="f102"/>
                </a:cxn>
                <a:cxn ang="f75">
                  <a:pos x="f104" y="f102"/>
                </a:cxn>
                <a:cxn ang="f75">
                  <a:pos x="f104" y="f105"/>
                </a:cxn>
                <a:cxn ang="f75">
                  <a:pos x="f106" y="f107"/>
                </a:cxn>
                <a:cxn ang="f75">
                  <a:pos x="f108" y="f109"/>
                </a:cxn>
              </a:cxnLst>
              <a:rect l="f91" t="f94" r="f92" b="f93"/>
              <a:pathLst>
                <a:path w="45" h="104">
                  <a:moveTo>
                    <a:pt x="f5" y="f8"/>
                  </a:moveTo>
                  <a:cubicBezTo>
                    <a:pt x="f9" y="f10"/>
                    <a:pt x="f11" y="f12"/>
                    <a:pt x="f13" y="f14"/>
                  </a:cubicBezTo>
                  <a:cubicBezTo>
                    <a:pt x="f15" y="f16"/>
                    <a:pt x="f17" y="f18"/>
                    <a:pt x="f19" y="f6"/>
                  </a:cubicBezTo>
                  <a:cubicBezTo>
                    <a:pt x="f20" y="f6"/>
                    <a:pt x="f20" y="f6"/>
                    <a:pt x="f20" y="f6"/>
                  </a:cubicBezTo>
                  <a:cubicBezTo>
                    <a:pt x="f20" y="f5"/>
                    <a:pt x="f20" y="f5"/>
                    <a:pt x="f20" y="f5"/>
                  </a:cubicBezTo>
                  <a:cubicBezTo>
                    <a:pt x="f21" y="f5"/>
                    <a:pt x="f21" y="f5"/>
                    <a:pt x="f21" y="f5"/>
                  </a:cubicBezTo>
                  <a:cubicBezTo>
                    <a:pt x="f6" y="f5"/>
                    <a:pt x="f6" y="f5"/>
                    <a:pt x="f6" y="f5"/>
                  </a:cubicBezTo>
                  <a:cubicBezTo>
                    <a:pt x="f6" y="f22"/>
                    <a:pt x="f6" y="f22"/>
                    <a:pt x="f6" y="f22"/>
                  </a:cubicBezTo>
                  <a:cubicBezTo>
                    <a:pt x="f6" y="f23"/>
                    <a:pt x="f24" y="f25"/>
                    <a:pt x="f26" y="f27"/>
                  </a:cubicBezTo>
                  <a:cubicBezTo>
                    <a:pt x="f28" y="f8"/>
                    <a:pt x="f29" y="f30"/>
                    <a:pt x="f31" y="f7"/>
                  </a:cubicBezTo>
                </a:path>
              </a:pathLst>
            </a:custGeom>
            <a:noFill/>
            <a:ln w="12701" cap="rnd">
              <a:solidFill>
                <a:srgbClr val="FFFFFF"/>
              </a:solidFill>
              <a:prstDash val="solid"/>
              <a:round/>
            </a:ln>
          </p:spPr>
          <p:txBody>
            <a:bodyPr vert="horz" wrap="square" lIns="68580" tIns="34290" rIns="68580" bIns="34290" anchor="t" anchorCtr="0" compatLnSpc="1">
              <a:noAutofit/>
            </a:bodyPr>
            <a:lstStyle/>
            <a:p>
              <a:pPr defTabSz="557192">
                <a:lnSpc>
                  <a:spcPct val="90000"/>
                </a:lnSpc>
                <a:spcAft>
                  <a:spcPts val="450"/>
                </a:spcAft>
                <a:buSzPct val="100000"/>
                <a:buFont typeface="Arial" pitchFamily="34"/>
                <a:buChar char="​"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en-US" sz="1350" kern="0">
                <a:solidFill>
                  <a:srgbClr val="000000"/>
                </a:solidFill>
                <a:latin typeface="Arial"/>
              </a:endParaRPr>
            </a:p>
          </p:txBody>
        </p:sp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:a16="http://schemas.microsoft.com/office/drawing/2014/main" id="{A644D5F9-18B1-4BB8-8E62-B540FF970B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534" y="50800"/>
            <a:ext cx="8692933" cy="5041900"/>
          </a:xfrm>
          <a:prstGeom prst="rect">
            <a:avLst/>
          </a:prstGeom>
          <a:noFill/>
        </p:spPr>
      </p:pic>
      <p:sp>
        <p:nvSpPr>
          <p:cNvPr id="2" name="Rektangel 1">
            <a:extLst>
              <a:ext uri="{FF2B5EF4-FFF2-40B4-BE49-F238E27FC236}">
                <a16:creationId xmlns:a16="http://schemas.microsoft.com/office/drawing/2014/main" id="{6094436B-3122-4622-A7D4-A92C8A2FE7BE}"/>
              </a:ext>
            </a:extLst>
          </p:cNvPr>
          <p:cNvSpPr/>
          <p:nvPr/>
        </p:nvSpPr>
        <p:spPr>
          <a:xfrm>
            <a:off x="445863" y="4352845"/>
            <a:ext cx="8410969" cy="64234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EBFFEFC9-5DA3-47DA-BB4E-4C0A7F4765F1}"/>
              </a:ext>
            </a:extLst>
          </p:cNvPr>
          <p:cNvSpPr/>
          <p:nvPr/>
        </p:nvSpPr>
        <p:spPr>
          <a:xfrm>
            <a:off x="1512664" y="3341463"/>
            <a:ext cx="2879582" cy="11211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AC86EAAD-D5A1-4243-B26D-352B4EE45831}"/>
              </a:ext>
            </a:extLst>
          </p:cNvPr>
          <p:cNvSpPr/>
          <p:nvPr/>
        </p:nvSpPr>
        <p:spPr>
          <a:xfrm>
            <a:off x="4814277" y="3362263"/>
            <a:ext cx="2461845" cy="2406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B192FC99-A2C2-4543-BDCF-B9D4B93AFAFA}"/>
              </a:ext>
            </a:extLst>
          </p:cNvPr>
          <p:cNvSpPr/>
          <p:nvPr/>
        </p:nvSpPr>
        <p:spPr>
          <a:xfrm>
            <a:off x="1715477" y="772440"/>
            <a:ext cx="2676769" cy="37642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 err="1"/>
              <a:t>vv</a:t>
            </a:r>
            <a:endParaRPr lang="da-DK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0F66AE7C-2DA8-4CEB-A5C7-798DC8411D7A}"/>
              </a:ext>
            </a:extLst>
          </p:cNvPr>
          <p:cNvSpPr/>
          <p:nvPr/>
        </p:nvSpPr>
        <p:spPr>
          <a:xfrm>
            <a:off x="1575187" y="625807"/>
            <a:ext cx="1144567" cy="6559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dirty="0"/>
              <a:t>v</a:t>
            </a:r>
          </a:p>
        </p:txBody>
      </p:sp>
    </p:spTree>
    <p:extLst>
      <p:ext uri="{BB962C8B-B14F-4D97-AF65-F5344CB8AC3E}">
        <p14:creationId xmlns:p14="http://schemas.microsoft.com/office/powerpoint/2010/main" val="2263929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D9457E-3742-4B25-A226-88EFF9F2E3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50DFEEC-11B7-4014-B637-231A2F84079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28BB101B-4395-4EF8-A847-59A3B3FAC0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80629"/>
            <a:ext cx="9144000" cy="5033516"/>
          </a:xfrm>
          <a:prstGeom prst="rect">
            <a:avLst/>
          </a:prstGeom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id="{5787A5D0-CCCC-4FB5-8295-B8DE9A0D75E7}"/>
              </a:ext>
            </a:extLst>
          </p:cNvPr>
          <p:cNvSpPr txBox="1"/>
          <p:nvPr/>
        </p:nvSpPr>
        <p:spPr>
          <a:xfrm>
            <a:off x="247902" y="3852283"/>
            <a:ext cx="5130700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a-DK" sz="6600" dirty="0">
                <a:solidFill>
                  <a:schemeClr val="bg1"/>
                </a:solidFill>
              </a:rPr>
              <a:t>Tak for ordet </a:t>
            </a:r>
          </a:p>
        </p:txBody>
      </p:sp>
    </p:spTree>
    <p:extLst>
      <p:ext uri="{BB962C8B-B14F-4D97-AF65-F5344CB8AC3E}">
        <p14:creationId xmlns:p14="http://schemas.microsoft.com/office/powerpoint/2010/main" val="1124154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445252-01CD-1B46-8C71-D08A0CD897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a-DK" dirty="0"/>
              <a:t>Vandmiljørapporter af tre fynske fjorde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ACEAD8A7-8254-A645-B7AE-FC0B491A8B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9503" y="1325879"/>
            <a:ext cx="2225696" cy="3147449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B121745F-29FA-D64B-A654-67D8F66D97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59152" y="1325879"/>
            <a:ext cx="2225696" cy="3147449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F225B2B0-5D02-B945-8612-10593AE45A9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8801" y="1325879"/>
            <a:ext cx="2225696" cy="3147449"/>
          </a:xfrm>
          <a:prstGeom prst="rect">
            <a:avLst/>
          </a:prstGeom>
          <a:ln w="19050"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75313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141B67-7294-45BF-BB47-73C8269D8C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60" y="1555773"/>
            <a:ext cx="2064266" cy="2031956"/>
          </a:xfrm>
          <a:prstGeom prst="ellipse">
            <a:avLst/>
          </a:prstGeom>
          <a:solidFill>
            <a:schemeClr val="tx1">
              <a:lumMod val="85000"/>
              <a:lumOff val="15000"/>
            </a:schemeClr>
          </a:solidFill>
          <a:ln w="174625" cmpd="thinThick">
            <a:solidFill>
              <a:schemeClr val="tx1">
                <a:lumMod val="85000"/>
                <a:lumOff val="15000"/>
              </a:schemeClr>
            </a:solidFill>
          </a:ln>
        </p:spPr>
        <p:txBody>
          <a:bodyPr vert="horz" lIns="68580" tIns="34290" rIns="68580" bIns="34290" rtlCol="0" anchor="ctr">
            <a:normAutofit/>
          </a:bodyPr>
          <a:lstStyle/>
          <a:p>
            <a:pPr algn="ctr"/>
            <a:r>
              <a:rPr lang="en-US" sz="1650" dirty="0">
                <a:solidFill>
                  <a:schemeClr val="bg1"/>
                </a:solidFill>
              </a:rPr>
              <a:t>Et </a:t>
            </a:r>
            <a:r>
              <a:rPr lang="en-US" sz="1650" dirty="0" err="1">
                <a:solidFill>
                  <a:schemeClr val="bg1"/>
                </a:solidFill>
              </a:rPr>
              <a:t>opland</a:t>
            </a:r>
            <a:r>
              <a:rPr lang="en-US" sz="1650" dirty="0">
                <a:solidFill>
                  <a:schemeClr val="bg1"/>
                </a:solidFill>
              </a:rPr>
              <a:t> og fjord i </a:t>
            </a:r>
            <a:r>
              <a:rPr lang="en-US" sz="1650" dirty="0" err="1">
                <a:solidFill>
                  <a:schemeClr val="bg1"/>
                </a:solidFill>
              </a:rPr>
              <a:t>sammenhæng</a:t>
            </a:r>
            <a:endParaRPr lang="en-US" sz="1650" dirty="0">
              <a:solidFill>
                <a:schemeClr val="bg1"/>
              </a:solidFill>
            </a:endParaRPr>
          </a:p>
        </p:txBody>
      </p:sp>
      <p:pic>
        <p:nvPicPr>
          <p:cNvPr id="4" name="Pladsholder til indhold 3">
            <a:extLst>
              <a:ext uri="{FF2B5EF4-FFF2-40B4-BE49-F238E27FC236}">
                <a16:creationId xmlns:a16="http://schemas.microsoft.com/office/drawing/2014/main" id="{B6643B13-BCCC-4B52-B64B-BA52D5522D0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17682" b="18793"/>
          <a:stretch/>
        </p:blipFill>
        <p:spPr>
          <a:xfrm>
            <a:off x="3028951" y="1063600"/>
            <a:ext cx="5391149" cy="3013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6276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C0285E7-AC6C-4655-B4E8-9E403CE1B1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396" y="-364330"/>
            <a:ext cx="7040215" cy="1192724"/>
          </a:xfrm>
        </p:spPr>
        <p:txBody>
          <a:bodyPr>
            <a:normAutofit/>
          </a:bodyPr>
          <a:lstStyle/>
          <a:p>
            <a:r>
              <a:rPr lang="da-DK" dirty="0"/>
              <a:t>Odense Fjord og opland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A057049C-7804-454F-B375-D9A54ED2F8A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-40988" y="394529"/>
            <a:ext cx="162021" cy="4293000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67A80ECB-DDDB-4EB3-9918-AD406593912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A4F1FF4E-7F8E-4D69-B9F4-4BB8817B8F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85639" y="789058"/>
            <a:ext cx="3836194" cy="3505334"/>
          </a:xfrm>
          <a:prstGeom prst="rect">
            <a:avLst/>
          </a:prstGeom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539D5072-CD1D-4F5B-9B92-12ECDFB8F5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7939" y="789058"/>
            <a:ext cx="3907655" cy="3503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00312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AD538D0-4368-4B6F-81C2-25F06D5A69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396" y="-350044"/>
            <a:ext cx="7040215" cy="1178437"/>
          </a:xfrm>
        </p:spPr>
        <p:txBody>
          <a:bodyPr>
            <a:normAutofit fontScale="90000"/>
          </a:bodyPr>
          <a:lstStyle/>
          <a:p>
            <a:r>
              <a:rPr lang="da-DK" dirty="0"/>
              <a:t>Tilførsler af N – Månedsfordeling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80DC36D5-2A69-4E90-A21D-6EAD592341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759CA580-63B1-47FB-9678-4AD1511B396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42D7F13C-7397-40D9-A516-FD7DFC04D4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940" y="828393"/>
            <a:ext cx="4621778" cy="4051111"/>
          </a:xfrm>
          <a:prstGeom prst="rect">
            <a:avLst/>
          </a:prstGeom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024A574E-FF0B-4A97-A70B-472ED65A77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1550" y="1159002"/>
            <a:ext cx="3258115" cy="2921508"/>
          </a:xfrm>
          <a:prstGeom prst="rect">
            <a:avLst/>
          </a:prstGeom>
        </p:spPr>
      </p:pic>
      <p:sp>
        <p:nvSpPr>
          <p:cNvPr id="8" name="Ellipse 7">
            <a:extLst>
              <a:ext uri="{FF2B5EF4-FFF2-40B4-BE49-F238E27FC236}">
                <a16:creationId xmlns:a16="http://schemas.microsoft.com/office/drawing/2014/main" id="{B19A9ED3-9527-4C64-BA49-B7028C414162}"/>
              </a:ext>
            </a:extLst>
          </p:cNvPr>
          <p:cNvSpPr/>
          <p:nvPr/>
        </p:nvSpPr>
        <p:spPr>
          <a:xfrm rot="1467107">
            <a:off x="6228771" y="1942324"/>
            <a:ext cx="1320327" cy="216814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da-DK" sz="1050" dirty="0" err="1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222373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FF84AF-D843-473F-8439-51EABE81B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396" y="0"/>
            <a:ext cx="7040215" cy="498499"/>
          </a:xfrm>
        </p:spPr>
        <p:txBody>
          <a:bodyPr>
            <a:normAutofit/>
          </a:bodyPr>
          <a:lstStyle/>
          <a:p>
            <a:r>
              <a:rPr lang="da-DK" sz="1600" dirty="0"/>
              <a:t>Odense Indre Fjord – Kvælstof og fosfor begrænsning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7B4ACA02-88AF-4B15-9EF2-D1B4EF398F4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DA2435D6-923F-4270-B3D3-DAE446AF821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830DC8AC-C6BC-4B67-8A27-AA8F92EBF2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1142" y="828393"/>
            <a:ext cx="5391473" cy="3816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417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lipse 3">
            <a:extLst>
              <a:ext uri="{FF2B5EF4-FFF2-40B4-BE49-F238E27FC236}">
                <a16:creationId xmlns:a16="http://schemas.microsoft.com/office/drawing/2014/main" id="{BA8D42D1-CAB2-470A-816D-8D6BEB1E13EF}"/>
              </a:ext>
            </a:extLst>
          </p:cNvPr>
          <p:cNvSpPr/>
          <p:nvPr/>
        </p:nvSpPr>
        <p:spPr>
          <a:xfrm>
            <a:off x="2637400" y="2101703"/>
            <a:ext cx="3204179" cy="1127833"/>
          </a:xfrm>
          <a:prstGeom prst="ellipse">
            <a:avLst/>
          </a:prstGeom>
          <a:gradFill>
            <a:gsLst>
              <a:gs pos="0">
                <a:schemeClr val="accent1">
                  <a:shade val="58000"/>
                  <a:satMod val="150000"/>
                  <a:alpha val="44000"/>
                </a:schemeClr>
              </a:gs>
              <a:gs pos="72000">
                <a:schemeClr val="accent1">
                  <a:tint val="90000"/>
                  <a:satMod val="135000"/>
                </a:schemeClr>
              </a:gs>
              <a:gs pos="100000">
                <a:schemeClr val="accent1">
                  <a:tint val="80000"/>
                  <a:satMod val="155000"/>
                </a:schemeClr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2A0FA94-2611-4721-AFE6-4552B3A52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93498" y="2272829"/>
            <a:ext cx="9144000" cy="606572"/>
          </a:xfrm>
        </p:spPr>
        <p:txBody>
          <a:bodyPr>
            <a:normAutofit fontScale="90000"/>
          </a:bodyPr>
          <a:lstStyle/>
          <a:p>
            <a:r>
              <a:rPr lang="da-DK" dirty="0"/>
              <a:t>Fra tanker og spørgsmål…</a:t>
            </a:r>
            <a:br>
              <a:rPr lang="da-DK" dirty="0"/>
            </a:br>
            <a:br>
              <a:rPr lang="da-DK" dirty="0"/>
            </a:br>
            <a:br>
              <a:rPr lang="da-DK" dirty="0"/>
            </a:br>
            <a:r>
              <a:rPr lang="da-DK" dirty="0">
                <a:solidFill>
                  <a:schemeClr val="bg1"/>
                </a:solidFill>
                <a:latin typeface="Footlight MT Light" panose="0204060206030A020304" pitchFamily="18" charset="0"/>
              </a:rPr>
              <a:t>Samtale</a:t>
            </a:r>
            <a:br>
              <a:rPr lang="da-DK" dirty="0"/>
            </a:br>
            <a:r>
              <a:rPr lang="da-DK" dirty="0"/>
              <a:t> </a:t>
            </a:r>
            <a:br>
              <a:rPr lang="da-DK" dirty="0"/>
            </a:br>
            <a:br>
              <a:rPr lang="da-DK" dirty="0"/>
            </a:br>
            <a:r>
              <a:rPr lang="da-DK" dirty="0"/>
              <a:t>…til handlinger og svar</a:t>
            </a:r>
          </a:p>
        </p:txBody>
      </p:sp>
      <p:sp>
        <p:nvSpPr>
          <p:cNvPr id="5" name="Pil: bøjet nedad 4">
            <a:extLst>
              <a:ext uri="{FF2B5EF4-FFF2-40B4-BE49-F238E27FC236}">
                <a16:creationId xmlns:a16="http://schemas.microsoft.com/office/drawing/2014/main" id="{CCC339F3-4A4B-4DDD-9666-6977EC2454FF}"/>
              </a:ext>
            </a:extLst>
          </p:cNvPr>
          <p:cNvSpPr/>
          <p:nvPr/>
        </p:nvSpPr>
        <p:spPr>
          <a:xfrm>
            <a:off x="2085464" y="1692248"/>
            <a:ext cx="4308050" cy="751978"/>
          </a:xfrm>
          <a:prstGeom prst="curved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  <p:sp>
        <p:nvSpPr>
          <p:cNvPr id="6" name="Pil: bøjet nedad 5">
            <a:extLst>
              <a:ext uri="{FF2B5EF4-FFF2-40B4-BE49-F238E27FC236}">
                <a16:creationId xmlns:a16="http://schemas.microsoft.com/office/drawing/2014/main" id="{6977B954-03B4-490D-9791-7E912699A512}"/>
              </a:ext>
            </a:extLst>
          </p:cNvPr>
          <p:cNvSpPr/>
          <p:nvPr/>
        </p:nvSpPr>
        <p:spPr>
          <a:xfrm rot="10800000">
            <a:off x="1992767" y="2887013"/>
            <a:ext cx="4308050" cy="751978"/>
          </a:xfrm>
          <a:prstGeom prst="curvedDown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484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ktangel 21">
            <a:extLst>
              <a:ext uri="{FF2B5EF4-FFF2-40B4-BE49-F238E27FC236}">
                <a16:creationId xmlns:a16="http://schemas.microsoft.com/office/drawing/2014/main" id="{748C0E12-897F-9744-97AD-39B34FB43826}"/>
              </a:ext>
            </a:extLst>
          </p:cNvPr>
          <p:cNvSpPr/>
          <p:nvPr/>
        </p:nvSpPr>
        <p:spPr>
          <a:xfrm>
            <a:off x="0" y="-9203"/>
            <a:ext cx="9144000" cy="195674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da-DK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43A9147-5EC7-6246-BB00-2224604AA4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615745"/>
            <a:ext cx="6858000" cy="755855"/>
          </a:xfrm>
        </p:spPr>
        <p:txBody>
          <a:bodyPr>
            <a:noAutofit/>
          </a:bodyPr>
          <a:lstStyle/>
          <a:p>
            <a:r>
              <a:rPr lang="da-DK" sz="2700" b="1" dirty="0">
                <a:latin typeface="Arial" panose="020B0604020202020204" pitchFamily="34" charset="0"/>
                <a:cs typeface="Arial" panose="020B0604020202020204" pitchFamily="34" charset="0"/>
              </a:rPr>
              <a:t>Odense Fjord-samarbejdet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D7C65230-0CFD-DB44-ADA0-C4E282A158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980" y="2373727"/>
            <a:ext cx="1431618" cy="481382"/>
          </a:xfrm>
          <a:prstGeom prst="rect">
            <a:avLst/>
          </a:prstGeom>
          <a:ln>
            <a:noFill/>
          </a:ln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9F97CB2F-36D2-3A48-86AC-79F2C78B12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8867" y="3111743"/>
            <a:ext cx="1378084" cy="435185"/>
          </a:xfrm>
          <a:prstGeom prst="rect">
            <a:avLst/>
          </a:prstGeom>
          <a:ln>
            <a:noFill/>
          </a:ln>
        </p:spPr>
      </p:pic>
      <p:pic>
        <p:nvPicPr>
          <p:cNvPr id="6" name="Billede 5">
            <a:extLst>
              <a:ext uri="{FF2B5EF4-FFF2-40B4-BE49-F238E27FC236}">
                <a16:creationId xmlns:a16="http://schemas.microsoft.com/office/drawing/2014/main" id="{8609D1BC-689D-5A42-9160-2085C1101A9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54304" y="2439818"/>
            <a:ext cx="1303939" cy="454403"/>
          </a:xfrm>
          <a:prstGeom prst="rect">
            <a:avLst/>
          </a:prstGeom>
          <a:ln>
            <a:noFill/>
          </a:ln>
        </p:spPr>
      </p:pic>
      <p:pic>
        <p:nvPicPr>
          <p:cNvPr id="7" name="Billede 6">
            <a:extLst>
              <a:ext uri="{FF2B5EF4-FFF2-40B4-BE49-F238E27FC236}">
                <a16:creationId xmlns:a16="http://schemas.microsoft.com/office/drawing/2014/main" id="{6F33DFA0-27AD-4749-B2BF-090F747E8E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17723" y="2405681"/>
            <a:ext cx="1298183" cy="680825"/>
          </a:xfrm>
          <a:prstGeom prst="rect">
            <a:avLst/>
          </a:prstGeom>
          <a:ln>
            <a:noFill/>
          </a:ln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C0F6F3B9-6713-5147-AA34-174520CCF6D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31407"/>
          <a:stretch/>
        </p:blipFill>
        <p:spPr>
          <a:xfrm>
            <a:off x="3991042" y="3219473"/>
            <a:ext cx="1221848" cy="369458"/>
          </a:xfrm>
          <a:prstGeom prst="rect">
            <a:avLst/>
          </a:prstGeom>
          <a:ln>
            <a:noFill/>
          </a:ln>
        </p:spPr>
      </p:pic>
      <p:pic>
        <p:nvPicPr>
          <p:cNvPr id="9" name="Billede 8">
            <a:extLst>
              <a:ext uri="{FF2B5EF4-FFF2-40B4-BE49-F238E27FC236}">
                <a16:creationId xmlns:a16="http://schemas.microsoft.com/office/drawing/2014/main" id="{3DF59730-3B78-0F42-BEAD-632B1BD542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32021" y="3255311"/>
            <a:ext cx="1270475" cy="282328"/>
          </a:xfrm>
          <a:prstGeom prst="rect">
            <a:avLst/>
          </a:prstGeom>
          <a:ln>
            <a:noFill/>
          </a:ln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B2EDF73B-9033-4E45-B6AC-B8A867D010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065112" y="3279513"/>
            <a:ext cx="1633402" cy="309417"/>
          </a:xfrm>
          <a:prstGeom prst="rect">
            <a:avLst/>
          </a:prstGeom>
          <a:ln>
            <a:noFill/>
          </a:ln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A13D35FF-3DD0-144B-9799-8A0C57BF156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379245" y="2229094"/>
            <a:ext cx="1162323" cy="631499"/>
          </a:xfrm>
          <a:prstGeom prst="rect">
            <a:avLst/>
          </a:prstGeom>
          <a:ln>
            <a:noFill/>
          </a:ln>
        </p:spPr>
      </p:pic>
      <p:pic>
        <p:nvPicPr>
          <p:cNvPr id="10" name="Billede 9">
            <a:extLst>
              <a:ext uri="{FF2B5EF4-FFF2-40B4-BE49-F238E27FC236}">
                <a16:creationId xmlns:a16="http://schemas.microsoft.com/office/drawing/2014/main" id="{EAB4E606-D7AE-204A-A66E-8457F510698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80034" y="3803563"/>
            <a:ext cx="1525933" cy="429169"/>
          </a:xfrm>
          <a:prstGeom prst="rect">
            <a:avLst/>
          </a:prstGeom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D940202E-32B9-C84C-AA68-E44DD311248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163485" y="3970059"/>
            <a:ext cx="1378084" cy="286456"/>
          </a:xfrm>
          <a:prstGeom prst="rect">
            <a:avLst/>
          </a:prstGeom>
        </p:spPr>
      </p:pic>
      <p:pic>
        <p:nvPicPr>
          <p:cNvPr id="16" name="Billede 15">
            <a:extLst>
              <a:ext uri="{FF2B5EF4-FFF2-40B4-BE49-F238E27FC236}">
                <a16:creationId xmlns:a16="http://schemas.microsoft.com/office/drawing/2014/main" id="{F2F70C22-FB31-3140-B9A7-F827D4CAFA7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633901" y="3923167"/>
            <a:ext cx="1311650" cy="333347"/>
          </a:xfrm>
          <a:prstGeom prst="rect">
            <a:avLst/>
          </a:prstGeom>
        </p:spPr>
      </p:pic>
      <p:pic>
        <p:nvPicPr>
          <p:cNvPr id="1026" name="Picture 2" descr="Kerteminde-Kommune - Fjordens Dag">
            <a:extLst>
              <a:ext uri="{FF2B5EF4-FFF2-40B4-BE49-F238E27FC236}">
                <a16:creationId xmlns:a16="http://schemas.microsoft.com/office/drawing/2014/main" id="{F8480B92-2F14-EC4A-BFA9-2EDA57D576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15906" y="3185292"/>
            <a:ext cx="1311650" cy="1855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faaborg-midtfyn-kommune logo - Flagdagen.dk">
            <a:extLst>
              <a:ext uri="{FF2B5EF4-FFF2-40B4-BE49-F238E27FC236}">
                <a16:creationId xmlns:a16="http://schemas.microsoft.com/office/drawing/2014/main" id="{5C628B8B-980E-B148-8416-391BC7323D4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083"/>
          <a:stretch/>
        </p:blipFill>
        <p:spPr bwMode="auto">
          <a:xfrm>
            <a:off x="3866196" y="3842929"/>
            <a:ext cx="1592047" cy="540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PRODUKTER - Emmelev A/S - siden 1838">
            <a:extLst>
              <a:ext uri="{FF2B5EF4-FFF2-40B4-BE49-F238E27FC236}">
                <a16:creationId xmlns:a16="http://schemas.microsoft.com/office/drawing/2014/main" id="{27725294-38D8-8443-B050-ECF0312E65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94" r="19447"/>
          <a:stretch/>
        </p:blipFill>
        <p:spPr bwMode="auto">
          <a:xfrm>
            <a:off x="481206" y="3192385"/>
            <a:ext cx="1525933" cy="445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Odense Havn - Posts | Facebook">
            <a:extLst>
              <a:ext uri="{FF2B5EF4-FFF2-40B4-BE49-F238E27FC236}">
                <a16:creationId xmlns:a16="http://schemas.microsoft.com/office/drawing/2014/main" id="{430CAF8C-5869-8D47-8756-2CCB50D7C5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5537" y="2218644"/>
            <a:ext cx="1032059" cy="1036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03153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390B21-775F-4909-B9BC-FF85CACAEE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a-DK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E2547DC3-80C1-4E3E-8CA7-ACFE0DE59E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380629"/>
            <a:ext cx="9144000" cy="5033516"/>
          </a:xfrm>
          <a:prstGeom prst="rect">
            <a:avLst/>
          </a:prstGeom>
        </p:spPr>
      </p:pic>
      <p:sp>
        <p:nvSpPr>
          <p:cNvPr id="7" name="Pladsholder til indhold 6">
            <a:extLst>
              <a:ext uri="{FF2B5EF4-FFF2-40B4-BE49-F238E27FC236}">
                <a16:creationId xmlns:a16="http://schemas.microsoft.com/office/drawing/2014/main" id="{34C7B69D-E7DB-4C94-B146-2D57AAF366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9253" y="2254332"/>
            <a:ext cx="8229600" cy="2782401"/>
          </a:xfrm>
          <a:solidFill>
            <a:schemeClr val="bg2">
              <a:lumMod val="90000"/>
              <a:lumOff val="10000"/>
            </a:schemeClr>
          </a:solidFill>
        </p:spPr>
        <p:txBody>
          <a:bodyPr/>
          <a:lstStyle/>
          <a:p>
            <a:pPr marL="0" indent="0" algn="ctr">
              <a:buNone/>
            </a:pPr>
            <a:r>
              <a:rPr lang="da-DK" dirty="0">
                <a:solidFill>
                  <a:schemeClr val="bg1"/>
                </a:solidFill>
              </a:rPr>
              <a:t>En række centrale parter går sammen om at bringe Odense Fjord i god økologisk tilstand på en måde, der er bæredygtig for både miljø og erhverv.  Det sker med afsæt i den nyeste tilgængelige viden om tilstanden i fjorden og dennes presfaktorer.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25612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heme/theme1.xml><?xml version="1.0" encoding="utf-8"?>
<a:theme xmlns:a="http://schemas.openxmlformats.org/drawingml/2006/main" name="1_blomme centrovice">
  <a:themeElements>
    <a:clrScheme name="Centrovice - Farvetema">
      <a:dk1>
        <a:sysClr val="windowText" lastClr="000000"/>
      </a:dk1>
      <a:lt1>
        <a:sysClr val="window" lastClr="FFFFFF"/>
      </a:lt1>
      <a:dk2>
        <a:srgbClr val="646B86"/>
      </a:dk2>
      <a:lt2>
        <a:srgbClr val="00583C"/>
      </a:lt2>
      <a:accent1>
        <a:srgbClr val="00583C"/>
      </a:accent1>
      <a:accent2>
        <a:srgbClr val="CCB400"/>
      </a:accent2>
      <a:accent3>
        <a:srgbClr val="86303B"/>
      </a:accent3>
      <a:accent4>
        <a:srgbClr val="8C7B70"/>
      </a:accent4>
      <a:accent5>
        <a:srgbClr val="D5D10E"/>
      </a:accent5>
      <a:accent6>
        <a:srgbClr val="86303B"/>
      </a:accent6>
      <a:hlink>
        <a:srgbClr val="CCB400"/>
      </a:hlink>
      <a:folHlink>
        <a:srgbClr val="694F07"/>
      </a:folHlink>
    </a:clrScheme>
    <a:fontScheme name="Klassisk kontor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Håndsats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80000"/>
              </a:schemeClr>
            </a:gs>
            <a:gs pos="62000">
              <a:schemeClr val="phClr">
                <a:tint val="30000"/>
                <a:satMod val="180000"/>
              </a:schemeClr>
            </a:gs>
            <a:gs pos="100000">
              <a:schemeClr val="phClr">
                <a:tint val="22000"/>
                <a:satMod val="18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58000"/>
                <a:satMod val="150000"/>
              </a:schemeClr>
            </a:gs>
            <a:gs pos="72000">
              <a:schemeClr val="phClr">
                <a:tint val="90000"/>
                <a:satMod val="135000"/>
              </a:schemeClr>
            </a:gs>
            <a:gs pos="100000">
              <a:schemeClr val="phClr">
                <a:tint val="8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80000"/>
            </a:schemeClr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43137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000000"/>
            </a:lightRig>
          </a:scene3d>
          <a:sp3d prstMaterial="matte">
            <a:bevelT w="63500" h="635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LF PPT - SEGES">
  <a:themeElements>
    <a:clrScheme name="Landbrug &amp; Fødevarer">
      <a:dk1>
        <a:srgbClr val="000000"/>
      </a:dk1>
      <a:lt1>
        <a:sysClr val="window" lastClr="FFFFFF"/>
      </a:lt1>
      <a:dk2>
        <a:srgbClr val="09562C"/>
      </a:dk2>
      <a:lt2>
        <a:srgbClr val="FFFFFF"/>
      </a:lt2>
      <a:accent1>
        <a:srgbClr val="BF9C81"/>
      </a:accent1>
      <a:accent2>
        <a:srgbClr val="076471"/>
      </a:accent2>
      <a:accent3>
        <a:srgbClr val="C8C7B2"/>
      </a:accent3>
      <a:accent4>
        <a:srgbClr val="9DDCF9"/>
      </a:accent4>
      <a:accent5>
        <a:srgbClr val="000000"/>
      </a:accent5>
      <a:accent6>
        <a:srgbClr val="FFD800"/>
      </a:accent6>
      <a:hlink>
        <a:srgbClr val="076471"/>
      </a:hlink>
      <a:folHlink>
        <a:srgbClr val="09562C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Landbrug_og_Foedevarer - Kopi.potx" id="{B28ED082-C69A-41E3-9CEF-E4B9B55CE828}" vid="{5B8A47E8-E1B5-436D-9AA0-B1FA5122A1DB}"/>
    </a:ext>
  </a:extLst>
</a:theme>
</file>

<file path=ppt/theme/theme3.xml><?xml version="1.0" encoding="utf-8"?>
<a:theme xmlns:a="http://schemas.openxmlformats.org/drawingml/2006/main" name="Office-tema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Implement PowerPoint A4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kumenttype xmlns="24b09c0f-be6b-49fe-9581-9ba5578eaf5c">Massør</Dokumenttype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B69779D10B81B4494AF3CBC4B78D528" ma:contentTypeVersion="0" ma:contentTypeDescription="Opret et nyt dokument." ma:contentTypeScope="" ma:versionID="9758a535a0cb2d9b9d4bf9815179f8b5">
  <xsd:schema xmlns:xsd="http://www.w3.org/2001/XMLSchema" xmlns:xs="http://www.w3.org/2001/XMLSchema" xmlns:p="http://schemas.microsoft.com/office/2006/metadata/properties" xmlns:ns1="http://schemas.microsoft.com/sharepoint/v3" xmlns:ns2="24b09c0f-be6b-49fe-9581-9ba5578eaf5c" targetNamespace="http://schemas.microsoft.com/office/2006/metadata/properties" ma:root="true" ma:fieldsID="2feb4feaca61c23953b076904e19c5aa" ns1:_="" ns2:_="">
    <xsd:import namespace="http://schemas.microsoft.com/sharepoint/v3"/>
    <xsd:import namespace="24b09c0f-be6b-49fe-9581-9ba5578eaf5c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Dokumenttype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tartdato for planlægning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lutdato for planlægning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4b09c0f-be6b-49fe-9581-9ba5578eaf5c" elementFormDefault="qualified">
    <xsd:import namespace="http://schemas.microsoft.com/office/2006/documentManagement/types"/>
    <xsd:import namespace="http://schemas.microsoft.com/office/infopath/2007/PartnerControls"/>
    <xsd:element name="Dokumenttype" ma:index="10" ma:displayName="Dokumenttype" ma:default="Massør" ma:format="Dropdown" ma:internalName="Dokumenttype">
      <xsd:simpleType>
        <xsd:restriction base="dms:Choice">
          <xsd:enumeration value="Løn"/>
          <xsd:enumeration value="Massør"/>
          <xsd:enumeration value="Pension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92A3CC9-73E0-4A8D-8814-C65AE04D915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C77F40A-9695-4A0B-968D-F409C12320AC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24b09c0f-be6b-49fe-9581-9ba5578eaf5c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A628662-511B-48DE-8948-588800106F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4b09c0f-be6b-49fe-9581-9ba5578eaf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omme centrovice.potx</Template>
  <TotalTime>4502</TotalTime>
  <Words>179</Words>
  <Application>Microsoft Office PowerPoint</Application>
  <PresentationFormat>Skærmshow (16:9)</PresentationFormat>
  <Paragraphs>22</Paragraphs>
  <Slides>14</Slides>
  <Notes>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5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4</vt:i4>
      </vt:variant>
    </vt:vector>
  </HeadingPairs>
  <TitlesOfParts>
    <vt:vector size="25" baseType="lpstr">
      <vt:lpstr>Arial</vt:lpstr>
      <vt:lpstr>Calibri</vt:lpstr>
      <vt:lpstr>Calibri Light</vt:lpstr>
      <vt:lpstr>Footlight MT Light</vt:lpstr>
      <vt:lpstr>Impact</vt:lpstr>
      <vt:lpstr>1_blomme centrovice</vt:lpstr>
      <vt:lpstr>LF PPT - SEGES</vt:lpstr>
      <vt:lpstr>Office-tema</vt:lpstr>
      <vt:lpstr>Implement PowerPoint A4</vt:lpstr>
      <vt:lpstr>1_Office-tema</vt:lpstr>
      <vt:lpstr>think-cell Slide</vt:lpstr>
      <vt:lpstr> </vt:lpstr>
      <vt:lpstr>Vandmiljørapporter af tre fynske fjorde</vt:lpstr>
      <vt:lpstr>Et opland og fjord i sammenhæng</vt:lpstr>
      <vt:lpstr>Odense Fjord og opland</vt:lpstr>
      <vt:lpstr>Tilførsler af N – Månedsfordeling</vt:lpstr>
      <vt:lpstr>Odense Indre Fjord – Kvælstof og fosfor begrænsning</vt:lpstr>
      <vt:lpstr>Fra tanker og spørgsmål…   Samtale    …til handlinger og svar</vt:lpstr>
      <vt:lpstr>Odense Fjord-samarbejdet</vt:lpstr>
      <vt:lpstr>PowerPoint-præsentation</vt:lpstr>
      <vt:lpstr>PowerPoint-præsentation</vt:lpstr>
      <vt:lpstr>Workshop 7. juni 2021 - samskabelse</vt:lpstr>
      <vt:lpstr>Hvad skal processen løse?</vt:lpstr>
      <vt:lpstr>PowerPoint-præsentation</vt:lpstr>
      <vt:lpstr>PowerPoint-præsentation</vt:lpstr>
    </vt:vector>
  </TitlesOfParts>
  <Company>Centrovic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Pia Kragh Buffoon</dc:creator>
  <cp:lastModifiedBy>Torben Lyngsøe Povlsen</cp:lastModifiedBy>
  <cp:revision>154</cp:revision>
  <cp:lastPrinted>2021-08-30T06:50:02Z</cp:lastPrinted>
  <dcterms:created xsi:type="dcterms:W3CDTF">2012-03-14T10:32:30Z</dcterms:created>
  <dcterms:modified xsi:type="dcterms:W3CDTF">2021-09-26T19:0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69779D10B81B4494AF3CBC4B78D528</vt:lpwstr>
  </property>
</Properties>
</file>